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2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3.xml" ContentType="application/vnd.openxmlformats-officedocument.theme+xml"/>
  <Override PartName="/ppt/slideLayouts/slideLayout23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36" r:id="rId2"/>
    <p:sldMasterId id="2147483813" r:id="rId3"/>
    <p:sldMasterId id="2147483895" r:id="rId4"/>
  </p:sldMasterIdLst>
  <p:notesMasterIdLst>
    <p:notesMasterId r:id="rId26"/>
  </p:notesMasterIdLst>
  <p:sldIdLst>
    <p:sldId id="2147470105" r:id="rId5"/>
    <p:sldId id="2147470108" r:id="rId6"/>
    <p:sldId id="2147470112" r:id="rId7"/>
    <p:sldId id="2147470187" r:id="rId8"/>
    <p:sldId id="2147470188" r:id="rId9"/>
    <p:sldId id="340" r:id="rId10"/>
    <p:sldId id="272" r:id="rId11"/>
    <p:sldId id="2147470016" r:id="rId12"/>
    <p:sldId id="2147470204" r:id="rId13"/>
    <p:sldId id="1598" r:id="rId14"/>
    <p:sldId id="2147470035" r:id="rId15"/>
    <p:sldId id="1487" r:id="rId16"/>
    <p:sldId id="2147470203" r:id="rId17"/>
    <p:sldId id="2147470176" r:id="rId18"/>
    <p:sldId id="2147470227" r:id="rId19"/>
    <p:sldId id="2147470228" r:id="rId20"/>
    <p:sldId id="2147470229" r:id="rId21"/>
    <p:sldId id="2147482754" r:id="rId22"/>
    <p:sldId id="2147482755" r:id="rId23"/>
    <p:sldId id="2147470198" r:id="rId24"/>
    <p:sldId id="524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305775-3946-1A5A-5510-34FCC3FEDB2D}" name="Christopher Kirschten - CW" initials="CK" userId="S::christopher.kirschten@cfainstitute.org::22455bd1-568b-4ee2-8c9e-16793a834605" providerId="AD"/>
  <p188:author id="{7C0BBBB1-A7B2-0DFD-8B01-2AAD8BC4C5F5}" name="Michelle DeMarco" initials="MD" userId="S::michelle.demarco@cfainstitute.org::8d291132-ca42-4114-a06e-cac98ca73e3d" providerId="AD"/>
  <p188:author id="{A5498FDF-5C0A-BEE6-F77A-DBC43EA6FFAF}" name="Brittany Morasse" initials="BM" userId="S::brittany.morasse@cfainstitute.org::223c7bb9-fd71-474f-8e88-157315eeeba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45DD21-E030-4265-951E-6C4CA387E90A}" v="8" dt="2025-10-30T15:49:21.1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0" autoAdjust="0"/>
    <p:restoredTop sz="94660"/>
  </p:normalViewPr>
  <p:slideViewPr>
    <p:cSldViewPr snapToGrid="0">
      <p:cViewPr varScale="1">
        <p:scale>
          <a:sx n="79" d="100"/>
          <a:sy n="79" d="100"/>
        </p:scale>
        <p:origin x="688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ttany Morasse" userId="223c7bb9-fd71-474f-8e88-157315eeeba4" providerId="ADAL" clId="{BB335745-9B9D-41C5-8765-AC590871B340}"/>
    <pc:docChg chg="modSld">
      <pc:chgData name="Brittany Morasse" userId="223c7bb9-fd71-474f-8e88-157315eeeba4" providerId="ADAL" clId="{BB335745-9B9D-41C5-8765-AC590871B340}" dt="2025-10-30T15:49:21.157" v="9" actId="1076"/>
      <pc:docMkLst>
        <pc:docMk/>
      </pc:docMkLst>
      <pc:sldChg chg="addSp modSp mod">
        <pc:chgData name="Brittany Morasse" userId="223c7bb9-fd71-474f-8e88-157315eeeba4" providerId="ADAL" clId="{BB335745-9B9D-41C5-8765-AC590871B340}" dt="2025-10-30T15:49:21.157" v="9" actId="1076"/>
        <pc:sldMkLst>
          <pc:docMk/>
          <pc:sldMk cId="4010010435" sldId="340"/>
        </pc:sldMkLst>
        <pc:spChg chg="mod">
          <ac:chgData name="Brittany Morasse" userId="223c7bb9-fd71-474f-8e88-157315eeeba4" providerId="ADAL" clId="{BB335745-9B9D-41C5-8765-AC590871B340}" dt="2025-10-30T15:49:16.434" v="7" actId="1076"/>
          <ac:spMkLst>
            <pc:docMk/>
            <pc:sldMk cId="4010010435" sldId="340"/>
            <ac:spMk id="8" creationId="{E862FB3D-F0D5-D772-5789-5B8D81BF5757}"/>
          </ac:spMkLst>
        </pc:spChg>
        <pc:picChg chg="add mod">
          <ac:chgData name="Brittany Morasse" userId="223c7bb9-fd71-474f-8e88-157315eeeba4" providerId="ADAL" clId="{BB335745-9B9D-41C5-8765-AC590871B340}" dt="2025-10-30T15:49:21.157" v="9" actId="1076"/>
          <ac:picMkLst>
            <pc:docMk/>
            <pc:sldMk cId="4010010435" sldId="340"/>
            <ac:picMk id="1026" creationId="{9FB8F132-AA72-588D-E09C-793497FB81E8}"/>
          </ac:picMkLst>
        </pc:picChg>
        <pc:cxnChg chg="mod">
          <ac:chgData name="Brittany Morasse" userId="223c7bb9-fd71-474f-8e88-157315eeeba4" providerId="ADAL" clId="{BB335745-9B9D-41C5-8765-AC590871B340}" dt="2025-10-30T15:49:18.580" v="8" actId="1076"/>
          <ac:cxnSpMkLst>
            <pc:docMk/>
            <pc:sldMk cId="4010010435" sldId="340"/>
            <ac:cxnSpMk id="14" creationId="{F0F44222-64B8-41B4-9427-96743D8A4B5C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265048996733551E-2"/>
          <c:y val="1.6014782876501387E-2"/>
          <c:w val="0.8894073728418106"/>
          <c:h val="0.9679704342469972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D53-4BCE-8C9F-ED2A9F793EF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D53-4BCE-8C9F-ED2A9F793EF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D53-4BCE-8C9F-ED2A9F793EF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D53-4BCE-8C9F-ED2A9F793EF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D53-4BCE-8C9F-ED2A9F793EF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D53-4BCE-8C9F-ED2A9F793EF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D53-4BCE-8C9F-ED2A9F793EFB}"/>
              </c:ext>
            </c:extLst>
          </c:dPt>
          <c:dLbls>
            <c:dLbl>
              <c:idx val="0"/>
              <c:layout>
                <c:manualLayout>
                  <c:x val="0.4885674288380774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D53-4BCE-8C9F-ED2A9F793EFB}"/>
                </c:ext>
              </c:extLst>
            </c:dLbl>
            <c:dLbl>
              <c:idx val="1"/>
              <c:layout>
                <c:manualLayout>
                  <c:x val="0.40457302846476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D53-4BCE-8C9F-ED2A9F793EFB}"/>
                </c:ext>
              </c:extLst>
            </c:dLbl>
            <c:dLbl>
              <c:idx val="2"/>
              <c:layout>
                <c:manualLayout>
                  <c:x val="0.3583761082594493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D53-4BCE-8C9F-ED2A9F793EFB}"/>
                </c:ext>
              </c:extLst>
            </c:dLbl>
            <c:dLbl>
              <c:idx val="3"/>
              <c:layout>
                <c:manualLayout>
                  <c:x val="0.3509099393373775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D53-4BCE-8C9F-ED2A9F793EFB}"/>
                </c:ext>
              </c:extLst>
            </c:dLbl>
            <c:dLbl>
              <c:idx val="4"/>
              <c:layout>
                <c:manualLayout>
                  <c:x val="0.220251983201119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D53-4BCE-8C9F-ED2A9F793EFB}"/>
                </c:ext>
              </c:extLst>
            </c:dLbl>
            <c:dLbl>
              <c:idx val="5"/>
              <c:layout>
                <c:manualLayout>
                  <c:x val="0.204853009799346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D53-4BCE-8C9F-ED2A9F793EFB}"/>
                </c:ext>
              </c:extLst>
            </c:dLbl>
            <c:dLbl>
              <c:idx val="6"/>
              <c:layout>
                <c:manualLayout>
                  <c:x val="0.1969202053196453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D53-4BCE-8C9F-ED2A9F793EFB}"/>
                </c:ext>
              </c:extLst>
            </c:dLbl>
            <c:dLbl>
              <c:idx val="7"/>
              <c:layout>
                <c:manualLayout>
                  <c:x val="0.1819878674755016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D53-4BCE-8C9F-ED2A9F793EFB}"/>
                </c:ext>
              </c:extLst>
            </c:dLbl>
            <c:dLbl>
              <c:idx val="8"/>
              <c:layout>
                <c:manualLayout>
                  <c:x val="0.1432571161922538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D53-4BCE-8C9F-ED2A9F793EFB}"/>
                </c:ext>
              </c:extLst>
            </c:dLbl>
            <c:dLbl>
              <c:idx val="9"/>
              <c:layout>
                <c:manualLayout>
                  <c:x val="9.8460102659822676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D53-4BCE-8C9F-ED2A9F793EFB}"/>
                </c:ext>
              </c:extLst>
            </c:dLbl>
            <c:dLbl>
              <c:idx val="10"/>
              <c:layout>
                <c:manualLayout>
                  <c:x val="9.8460102659822676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D53-4BCE-8C9F-ED2A9F793EFB}"/>
                </c:ext>
              </c:extLst>
            </c:dLbl>
            <c:dLbl>
              <c:idx val="11"/>
              <c:layout>
                <c:manualLayout>
                  <c:x val="7.5128324778348105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D53-4BCE-8C9F-ED2A9F793EFB}"/>
                </c:ext>
              </c:extLst>
            </c:dLbl>
            <c:dLbl>
              <c:idx val="12"/>
              <c:layout>
                <c:manualLayout>
                  <c:x val="6.0195986934204387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0D53-4BCE-8C9F-ED2A9F793E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2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58</c:v>
                </c:pt>
                <c:pt idx="1">
                  <c:v>47</c:v>
                </c:pt>
                <c:pt idx="2">
                  <c:v>41</c:v>
                </c:pt>
                <c:pt idx="3">
                  <c:v>40</c:v>
                </c:pt>
                <c:pt idx="4">
                  <c:v>23</c:v>
                </c:pt>
                <c:pt idx="5">
                  <c:v>21</c:v>
                </c:pt>
                <c:pt idx="6">
                  <c:v>20</c:v>
                </c:pt>
                <c:pt idx="7">
                  <c:v>18</c:v>
                </c:pt>
                <c:pt idx="8">
                  <c:v>13</c:v>
                </c:pt>
                <c:pt idx="9">
                  <c:v>9</c:v>
                </c:pt>
                <c:pt idx="10">
                  <c:v>9</c:v>
                </c:pt>
                <c:pt idx="11">
                  <c:v>6</c:v>
                </c:pt>
                <c:pt idx="1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0D53-4BCE-8C9F-ED2A9F793E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87538576"/>
        <c:axId val="1"/>
      </c:barChart>
      <c:catAx>
        <c:axId val="88753857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87538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1B7532-B196-47CE-90EC-98E90E5789D6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1B73BD-E2B7-4E6E-A791-E8541B8289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452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4F8672-8174-4157-9CD7-BC591DEEF2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13548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7262B9-1698-4209-8CA2-489E8DDEF728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18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811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b="1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298B5D-0736-41F4-9F31-BE872B0B13B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4975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3FD3-E12D-6D4A-A57F-4E768C9A1D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11028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4BE196-1AA8-3B49-840D-B09139E3235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7883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913" indent="-174913" defTabSz="932871">
              <a:buFont typeface="Arial" panose="020B0604020202020204" pitchFamily="34" charset="0"/>
              <a:buChar char="•"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4F8672-8174-4157-9CD7-BC591DEEF2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425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784EE-4A31-478F-F358-8F9744898F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ECBA03-6004-0629-4FC8-C70925FC2B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C6097C-FAC7-3AB8-B49C-75061EFDA9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All candidates take the CORE curriculum.  Then, they have their choice of “Specialized Path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zo Sans" panose="02000000000000000000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Having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specialized paths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allows us to cover key job roles in the investment management indust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zo Sans" panose="02000000000000000000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Candidates can choose the path they are most interested in.  However, there is only 1 CFA Char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>
              <a:solidFill>
                <a:srgbClr val="000000"/>
              </a:solidFill>
              <a:latin typeface="Azo Sans" panose="02000000000000000000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1618AA-E99D-84FB-4B63-B3F31FD5B8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3FD3-E12D-6D4A-A57F-4E768C9A1D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3759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1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3725272F-C41F-221F-0AA3-A7AF0DF462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899" y="270942"/>
            <a:ext cx="3209159" cy="1080187"/>
          </a:xfrm>
          <a:prstGeom prst="rect">
            <a:avLst/>
          </a:prstGeom>
        </p:spPr>
      </p:pic>
      <p:pic>
        <p:nvPicPr>
          <p:cNvPr id="11" name="Picture 10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395C89A0-B92F-C0E7-2D2B-86475F9106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0585" t="36257" r="9098" b="16089"/>
          <a:stretch/>
        </p:blipFill>
        <p:spPr>
          <a:xfrm>
            <a:off x="0" y="0"/>
            <a:ext cx="867997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210100"/>
            <a:ext cx="59436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D6FA52-BDDD-A4CC-2EB6-7315D0FFCA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3504" y="4198555"/>
            <a:ext cx="3657600" cy="215444"/>
          </a:xfrm>
        </p:spPr>
        <p:txBody>
          <a:bodyPr>
            <a:no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irst Las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3A9D68-8F74-784C-88FA-EDC9BEE775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504" y="4443984"/>
            <a:ext cx="3657600" cy="215444"/>
          </a:xfrm>
        </p:spPr>
        <p:txBody>
          <a:bodyPr>
            <a:noAutofit/>
          </a:bodyPr>
          <a:lstStyle>
            <a:lvl1pPr>
              <a:defRPr cap="all" spc="150" baseline="0"/>
            </a:lvl1pPr>
          </a:lstStyle>
          <a:p>
            <a:pPr lvl="0"/>
            <a:r>
              <a:rPr lang="en-US" dirty="0"/>
              <a:t>Month xx, </a:t>
            </a:r>
            <a:r>
              <a:rPr lang="en-US" dirty="0" err="1"/>
              <a:t>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104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4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2699-6D86-4659-D799-4912355B6CE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37480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51376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D43F2-EAA3-73BE-D020-2B63AB088F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4151376"/>
            <a:ext cx="4708525" cy="1874838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8B6CF07-364E-4D1B-66F0-CD310581E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51021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50999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F990B34-DCCC-0637-3A39-B888C31D72D7}"/>
              </a:ext>
            </a:extLst>
          </p:cNvPr>
          <p:cNvGrpSpPr/>
          <p:nvPr userDrawn="1"/>
        </p:nvGrpSpPr>
        <p:grpSpPr>
          <a:xfrm>
            <a:off x="5780124" y="351481"/>
            <a:ext cx="6127625" cy="6157860"/>
            <a:chOff x="5780124" y="351481"/>
            <a:chExt cx="6127625" cy="6157860"/>
          </a:xfrm>
        </p:grpSpPr>
        <p:pic>
          <p:nvPicPr>
            <p:cNvPr id="8" name="Picture 7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3A71B57-2416-0EE6-F643-5A3457CEBD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351481"/>
              <a:ext cx="1720011" cy="1739972"/>
            </a:xfrm>
            <a:prstGeom prst="rect">
              <a:avLst/>
            </a:prstGeom>
          </p:spPr>
        </p:pic>
        <p:pic>
          <p:nvPicPr>
            <p:cNvPr id="10" name="Picture 9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F078736-AFAA-AC3C-51E0-43894B5E6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2560425"/>
              <a:ext cx="1720011" cy="1739972"/>
            </a:xfrm>
            <a:prstGeom prst="rect">
              <a:avLst/>
            </a:prstGeom>
          </p:spPr>
        </p:pic>
        <p:pic>
          <p:nvPicPr>
            <p:cNvPr id="11" name="Picture 10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33D5C7F0-BD5F-6743-C95C-A1DAE9FC9B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4769369"/>
              <a:ext cx="1720011" cy="1739972"/>
            </a:xfrm>
            <a:prstGeom prst="rect">
              <a:avLst/>
            </a:prstGeom>
          </p:spPr>
        </p:pic>
        <p:pic>
          <p:nvPicPr>
            <p:cNvPr id="12" name="Picture 11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D462BB83-2009-8BC4-28EC-B5F96452B5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351481"/>
              <a:ext cx="1720011" cy="1739972"/>
            </a:xfrm>
            <a:prstGeom prst="rect">
              <a:avLst/>
            </a:prstGeom>
          </p:spPr>
        </p:pic>
        <p:pic>
          <p:nvPicPr>
            <p:cNvPr id="13" name="Picture 12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05A66E2-8E5D-11DC-089C-507161ED8F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2560425"/>
              <a:ext cx="1720011" cy="1739972"/>
            </a:xfrm>
            <a:prstGeom prst="rect">
              <a:avLst/>
            </a:prstGeom>
          </p:spPr>
        </p:pic>
        <p:pic>
          <p:nvPicPr>
            <p:cNvPr id="14" name="Picture 13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08A401AD-93D0-49A9-EE74-376EB8517C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4769369"/>
              <a:ext cx="1720011" cy="1739972"/>
            </a:xfrm>
            <a:prstGeom prst="rect">
              <a:avLst/>
            </a:prstGeom>
          </p:spPr>
        </p:pic>
        <p:pic>
          <p:nvPicPr>
            <p:cNvPr id="15" name="Picture 14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A1743CA-DFC0-C251-C271-BF787C74C3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351481"/>
              <a:ext cx="1720011" cy="1739972"/>
            </a:xfrm>
            <a:prstGeom prst="rect">
              <a:avLst/>
            </a:prstGeom>
          </p:spPr>
        </p:pic>
        <p:pic>
          <p:nvPicPr>
            <p:cNvPr id="16" name="Picture 15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26703AE7-3432-430B-8F0B-013571ECEB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2560425"/>
              <a:ext cx="1720011" cy="1739972"/>
            </a:xfrm>
            <a:prstGeom prst="rect">
              <a:avLst/>
            </a:prstGeom>
          </p:spPr>
        </p:pic>
        <p:pic>
          <p:nvPicPr>
            <p:cNvPr id="17" name="Picture 16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C2BE9E68-6658-7AB7-D401-28BF51195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4769369"/>
              <a:ext cx="1720011" cy="173997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1C741-2459-B0EB-B696-D51B2770FDD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683422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D75616-E1FA-6274-A4E4-AAB485146407}"/>
              </a:ext>
            </a:extLst>
          </p:cNvPr>
          <p:cNvGrpSpPr/>
          <p:nvPr userDrawn="1"/>
        </p:nvGrpSpPr>
        <p:grpSpPr>
          <a:xfrm>
            <a:off x="5758846" y="355955"/>
            <a:ext cx="6174573" cy="6153385"/>
            <a:chOff x="5758846" y="355955"/>
            <a:chExt cx="6174573" cy="6153385"/>
          </a:xfrm>
        </p:grpSpPr>
        <p:pic>
          <p:nvPicPr>
            <p:cNvPr id="6" name="Picture 5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D0DD864-94A9-9EF5-1089-07D04E4C2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355955"/>
              <a:ext cx="1715588" cy="1735497"/>
            </a:xfrm>
            <a:prstGeom prst="rect">
              <a:avLst/>
            </a:prstGeom>
          </p:spPr>
        </p:pic>
        <p:pic>
          <p:nvPicPr>
            <p:cNvPr id="18" name="Picture 17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42CBF60-482E-E42E-2502-459131822D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2564899"/>
              <a:ext cx="1715588" cy="1735497"/>
            </a:xfrm>
            <a:prstGeom prst="rect">
              <a:avLst/>
            </a:prstGeom>
          </p:spPr>
        </p:pic>
        <p:pic>
          <p:nvPicPr>
            <p:cNvPr id="19" name="Picture 18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42CB3768-444C-34F4-DAAA-C239D3BB14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4773843"/>
              <a:ext cx="1715588" cy="1735497"/>
            </a:xfrm>
            <a:prstGeom prst="rect">
              <a:avLst/>
            </a:prstGeom>
          </p:spPr>
        </p:pic>
        <p:pic>
          <p:nvPicPr>
            <p:cNvPr id="20" name="Picture 19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8AC1CE0B-C2CB-5E36-5A4E-C28212D909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355955"/>
              <a:ext cx="1715588" cy="1735497"/>
            </a:xfrm>
            <a:prstGeom prst="rect">
              <a:avLst/>
            </a:prstGeom>
          </p:spPr>
        </p:pic>
        <p:pic>
          <p:nvPicPr>
            <p:cNvPr id="21" name="Picture 20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66262E94-9A7F-D643-B3F9-A1FB24DB49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2564899"/>
              <a:ext cx="1715588" cy="1735497"/>
            </a:xfrm>
            <a:prstGeom prst="rect">
              <a:avLst/>
            </a:prstGeom>
          </p:spPr>
        </p:pic>
        <p:pic>
          <p:nvPicPr>
            <p:cNvPr id="22" name="Picture 21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2FBF6FA8-5D82-9460-508A-9AA3EB7E59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4773843"/>
              <a:ext cx="1715588" cy="1735497"/>
            </a:xfrm>
            <a:prstGeom prst="rect">
              <a:avLst/>
            </a:prstGeom>
          </p:spPr>
        </p:pic>
        <p:pic>
          <p:nvPicPr>
            <p:cNvPr id="23" name="Picture 22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4D8ADEC-3BB6-D09B-E946-126C1A462D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355955"/>
              <a:ext cx="1715588" cy="1735497"/>
            </a:xfrm>
            <a:prstGeom prst="rect">
              <a:avLst/>
            </a:prstGeom>
          </p:spPr>
        </p:pic>
        <p:pic>
          <p:nvPicPr>
            <p:cNvPr id="24" name="Picture 23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91554CB-ABB3-337E-B0B6-843EBE228F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2564899"/>
              <a:ext cx="1715588" cy="1735497"/>
            </a:xfrm>
            <a:prstGeom prst="rect">
              <a:avLst/>
            </a:prstGeom>
          </p:spPr>
        </p:pic>
        <p:pic>
          <p:nvPicPr>
            <p:cNvPr id="25" name="Picture 24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FDA5056B-4BB4-96C9-5431-A9BEE9D0D1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4773843"/>
              <a:ext cx="1715588" cy="173549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D28366-4C6B-15F1-2EC8-23DEC891C15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547970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4612463-897C-3480-2C0B-54B482310469}"/>
              </a:ext>
            </a:extLst>
          </p:cNvPr>
          <p:cNvGrpSpPr/>
          <p:nvPr userDrawn="1"/>
        </p:nvGrpSpPr>
        <p:grpSpPr>
          <a:xfrm>
            <a:off x="5763852" y="335015"/>
            <a:ext cx="6172051" cy="6190563"/>
            <a:chOff x="5763852" y="335015"/>
            <a:chExt cx="6172051" cy="6190563"/>
          </a:xfrm>
        </p:grpSpPr>
        <p:pic>
          <p:nvPicPr>
            <p:cNvPr id="6" name="Picture 5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9C9C109-2747-22A3-A27D-44D4E6B66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335015"/>
              <a:ext cx="1733615" cy="1752127"/>
            </a:xfrm>
            <a:prstGeom prst="rect">
              <a:avLst/>
            </a:prstGeom>
          </p:spPr>
        </p:pic>
        <p:pic>
          <p:nvPicPr>
            <p:cNvPr id="18" name="Picture 17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E0128AE-700F-0194-7F7B-0D1708E084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2554233"/>
              <a:ext cx="1733615" cy="1752127"/>
            </a:xfrm>
            <a:prstGeom prst="rect">
              <a:avLst/>
            </a:prstGeom>
          </p:spPr>
        </p:pic>
        <p:pic>
          <p:nvPicPr>
            <p:cNvPr id="19" name="Picture 18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323343E7-ACC5-9B5B-DCC4-D62B19AD66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4773451"/>
              <a:ext cx="1733615" cy="1752127"/>
            </a:xfrm>
            <a:prstGeom prst="rect">
              <a:avLst/>
            </a:prstGeom>
          </p:spPr>
        </p:pic>
        <p:pic>
          <p:nvPicPr>
            <p:cNvPr id="20" name="Picture 19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CF17C9E-40C9-A1B2-921B-A117E1445B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335015"/>
              <a:ext cx="1733615" cy="1752127"/>
            </a:xfrm>
            <a:prstGeom prst="rect">
              <a:avLst/>
            </a:prstGeom>
          </p:spPr>
        </p:pic>
        <p:pic>
          <p:nvPicPr>
            <p:cNvPr id="21" name="Picture 20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62D3AD15-40FB-E0AE-E3FD-E92E188E96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2554233"/>
              <a:ext cx="1733615" cy="1752127"/>
            </a:xfrm>
            <a:prstGeom prst="rect">
              <a:avLst/>
            </a:prstGeom>
          </p:spPr>
        </p:pic>
        <p:pic>
          <p:nvPicPr>
            <p:cNvPr id="22" name="Picture 21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B7CF3F1F-9F91-CF4A-FF07-FA15A22A9A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4773451"/>
              <a:ext cx="1733615" cy="1752127"/>
            </a:xfrm>
            <a:prstGeom prst="rect">
              <a:avLst/>
            </a:prstGeom>
          </p:spPr>
        </p:pic>
        <p:pic>
          <p:nvPicPr>
            <p:cNvPr id="23" name="Picture 22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D010AA3-929E-77D1-8103-2E11D2AEDB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335015"/>
              <a:ext cx="1733615" cy="1752127"/>
            </a:xfrm>
            <a:prstGeom prst="rect">
              <a:avLst/>
            </a:prstGeom>
          </p:spPr>
        </p:pic>
        <p:pic>
          <p:nvPicPr>
            <p:cNvPr id="24" name="Picture 23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281E6B5-D294-8C31-06F4-403B03B0CF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2554233"/>
              <a:ext cx="1733615" cy="1752127"/>
            </a:xfrm>
            <a:prstGeom prst="rect">
              <a:avLst/>
            </a:prstGeom>
          </p:spPr>
        </p:pic>
        <p:pic>
          <p:nvPicPr>
            <p:cNvPr id="25" name="Picture 24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DA0AFAAB-A69C-360D-13B4-236DA86E41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4773451"/>
              <a:ext cx="1733615" cy="175212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F652F3F-B68F-070A-0393-A10B967801F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949602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F717E2-4C55-360C-9F54-BFC432B482D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990B34-DCCC-0637-3A39-B888C31D72D7}"/>
              </a:ext>
            </a:extLst>
          </p:cNvPr>
          <p:cNvGrpSpPr/>
          <p:nvPr userDrawn="1"/>
        </p:nvGrpSpPr>
        <p:grpSpPr>
          <a:xfrm>
            <a:off x="5780124" y="351481"/>
            <a:ext cx="6127625" cy="6157860"/>
            <a:chOff x="5780124" y="351481"/>
            <a:chExt cx="6127625" cy="6157860"/>
          </a:xfrm>
        </p:grpSpPr>
        <p:pic>
          <p:nvPicPr>
            <p:cNvPr id="8" name="Picture 7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3A71B57-2416-0EE6-F643-5A3457CEBD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351481"/>
              <a:ext cx="1720011" cy="1739972"/>
            </a:xfrm>
            <a:prstGeom prst="rect">
              <a:avLst/>
            </a:prstGeom>
          </p:spPr>
        </p:pic>
        <p:pic>
          <p:nvPicPr>
            <p:cNvPr id="10" name="Picture 9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F078736-AFAA-AC3C-51E0-43894B5E6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2560425"/>
              <a:ext cx="1720011" cy="1739972"/>
            </a:xfrm>
            <a:prstGeom prst="rect">
              <a:avLst/>
            </a:prstGeom>
          </p:spPr>
        </p:pic>
        <p:pic>
          <p:nvPicPr>
            <p:cNvPr id="11" name="Picture 10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33D5C7F0-BD5F-6743-C95C-A1DAE9FC9B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4769369"/>
              <a:ext cx="1720011" cy="1739972"/>
            </a:xfrm>
            <a:prstGeom prst="rect">
              <a:avLst/>
            </a:prstGeom>
          </p:spPr>
        </p:pic>
        <p:pic>
          <p:nvPicPr>
            <p:cNvPr id="12" name="Picture 11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D462BB83-2009-8BC4-28EC-B5F96452B5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351481"/>
              <a:ext cx="1720011" cy="1739972"/>
            </a:xfrm>
            <a:prstGeom prst="rect">
              <a:avLst/>
            </a:prstGeom>
          </p:spPr>
        </p:pic>
        <p:pic>
          <p:nvPicPr>
            <p:cNvPr id="13" name="Picture 12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05A66E2-8E5D-11DC-089C-507161ED8F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2560425"/>
              <a:ext cx="1720011" cy="1739972"/>
            </a:xfrm>
            <a:prstGeom prst="rect">
              <a:avLst/>
            </a:prstGeom>
          </p:spPr>
        </p:pic>
        <p:pic>
          <p:nvPicPr>
            <p:cNvPr id="14" name="Picture 13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08A401AD-93D0-49A9-EE74-376EB8517C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4769369"/>
              <a:ext cx="1720011" cy="1739972"/>
            </a:xfrm>
            <a:prstGeom prst="rect">
              <a:avLst/>
            </a:prstGeom>
          </p:spPr>
        </p:pic>
        <p:pic>
          <p:nvPicPr>
            <p:cNvPr id="15" name="Picture 14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A1743CA-DFC0-C251-C271-BF787C74C3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351481"/>
              <a:ext cx="1720011" cy="1739972"/>
            </a:xfrm>
            <a:prstGeom prst="rect">
              <a:avLst/>
            </a:prstGeom>
          </p:spPr>
        </p:pic>
        <p:pic>
          <p:nvPicPr>
            <p:cNvPr id="16" name="Picture 15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26703AE7-3432-430B-8F0B-013571ECEB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2560425"/>
              <a:ext cx="1720011" cy="1739972"/>
            </a:xfrm>
            <a:prstGeom prst="rect">
              <a:avLst/>
            </a:prstGeom>
          </p:spPr>
        </p:pic>
        <p:pic>
          <p:nvPicPr>
            <p:cNvPr id="17" name="Picture 16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C2BE9E68-6658-7AB7-D401-28BF51195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4769369"/>
              <a:ext cx="1720011" cy="173997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449088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D75616-E1FA-6274-A4E4-AAB485146407}"/>
              </a:ext>
            </a:extLst>
          </p:cNvPr>
          <p:cNvGrpSpPr/>
          <p:nvPr userDrawn="1"/>
        </p:nvGrpSpPr>
        <p:grpSpPr>
          <a:xfrm>
            <a:off x="5758846" y="355955"/>
            <a:ext cx="6174573" cy="6153385"/>
            <a:chOff x="5758846" y="355955"/>
            <a:chExt cx="6174573" cy="6153385"/>
          </a:xfrm>
        </p:grpSpPr>
        <p:pic>
          <p:nvPicPr>
            <p:cNvPr id="6" name="Picture 5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D0DD864-94A9-9EF5-1089-07D04E4C2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355955"/>
              <a:ext cx="1715588" cy="1735497"/>
            </a:xfrm>
            <a:prstGeom prst="rect">
              <a:avLst/>
            </a:prstGeom>
          </p:spPr>
        </p:pic>
        <p:pic>
          <p:nvPicPr>
            <p:cNvPr id="18" name="Picture 17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42CBF60-482E-E42E-2502-459131822D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2564899"/>
              <a:ext cx="1715588" cy="1735497"/>
            </a:xfrm>
            <a:prstGeom prst="rect">
              <a:avLst/>
            </a:prstGeom>
          </p:spPr>
        </p:pic>
        <p:pic>
          <p:nvPicPr>
            <p:cNvPr id="19" name="Picture 18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42CB3768-444C-34F4-DAAA-C239D3BB14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4773843"/>
              <a:ext cx="1715588" cy="1735497"/>
            </a:xfrm>
            <a:prstGeom prst="rect">
              <a:avLst/>
            </a:prstGeom>
          </p:spPr>
        </p:pic>
        <p:pic>
          <p:nvPicPr>
            <p:cNvPr id="20" name="Picture 19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8AC1CE0B-C2CB-5E36-5A4E-C28212D909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355955"/>
              <a:ext cx="1715588" cy="1735497"/>
            </a:xfrm>
            <a:prstGeom prst="rect">
              <a:avLst/>
            </a:prstGeom>
          </p:spPr>
        </p:pic>
        <p:pic>
          <p:nvPicPr>
            <p:cNvPr id="21" name="Picture 20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66262E94-9A7F-D643-B3F9-A1FB24DB49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2564899"/>
              <a:ext cx="1715588" cy="1735497"/>
            </a:xfrm>
            <a:prstGeom prst="rect">
              <a:avLst/>
            </a:prstGeom>
          </p:spPr>
        </p:pic>
        <p:pic>
          <p:nvPicPr>
            <p:cNvPr id="22" name="Picture 21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2FBF6FA8-5D82-9460-508A-9AA3EB7E59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4773843"/>
              <a:ext cx="1715588" cy="1735497"/>
            </a:xfrm>
            <a:prstGeom prst="rect">
              <a:avLst/>
            </a:prstGeom>
          </p:spPr>
        </p:pic>
        <p:pic>
          <p:nvPicPr>
            <p:cNvPr id="23" name="Picture 22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4D8ADEC-3BB6-D09B-E946-126C1A462D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355955"/>
              <a:ext cx="1715588" cy="1735497"/>
            </a:xfrm>
            <a:prstGeom prst="rect">
              <a:avLst/>
            </a:prstGeom>
          </p:spPr>
        </p:pic>
        <p:pic>
          <p:nvPicPr>
            <p:cNvPr id="24" name="Picture 23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91554CB-ABB3-337E-B0B6-843EBE228F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2564899"/>
              <a:ext cx="1715588" cy="1735497"/>
            </a:xfrm>
            <a:prstGeom prst="rect">
              <a:avLst/>
            </a:prstGeom>
          </p:spPr>
        </p:pic>
        <p:pic>
          <p:nvPicPr>
            <p:cNvPr id="25" name="Picture 24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FDA5056B-4BB4-96C9-5431-A9BEE9D0D1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4773843"/>
              <a:ext cx="1715588" cy="173549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DE6DA1B-09AD-6211-A6CB-0278735C7A7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644399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4612463-897C-3480-2C0B-54B482310469}"/>
              </a:ext>
            </a:extLst>
          </p:cNvPr>
          <p:cNvGrpSpPr/>
          <p:nvPr userDrawn="1"/>
        </p:nvGrpSpPr>
        <p:grpSpPr>
          <a:xfrm>
            <a:off x="5763852" y="335015"/>
            <a:ext cx="6172051" cy="6190563"/>
            <a:chOff x="5763852" y="335015"/>
            <a:chExt cx="6172051" cy="6190563"/>
          </a:xfrm>
        </p:grpSpPr>
        <p:pic>
          <p:nvPicPr>
            <p:cNvPr id="6" name="Picture 5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9C9C109-2747-22A3-A27D-44D4E6B66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335015"/>
              <a:ext cx="1733615" cy="1752127"/>
            </a:xfrm>
            <a:prstGeom prst="rect">
              <a:avLst/>
            </a:prstGeom>
          </p:spPr>
        </p:pic>
        <p:pic>
          <p:nvPicPr>
            <p:cNvPr id="18" name="Picture 17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E0128AE-700F-0194-7F7B-0D1708E084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2554233"/>
              <a:ext cx="1733615" cy="1752127"/>
            </a:xfrm>
            <a:prstGeom prst="rect">
              <a:avLst/>
            </a:prstGeom>
          </p:spPr>
        </p:pic>
        <p:pic>
          <p:nvPicPr>
            <p:cNvPr id="19" name="Picture 18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323343E7-ACC5-9B5B-DCC4-D62B19AD66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4773451"/>
              <a:ext cx="1733615" cy="1752127"/>
            </a:xfrm>
            <a:prstGeom prst="rect">
              <a:avLst/>
            </a:prstGeom>
          </p:spPr>
        </p:pic>
        <p:pic>
          <p:nvPicPr>
            <p:cNvPr id="20" name="Picture 19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CF17C9E-40C9-A1B2-921B-A117E1445B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335015"/>
              <a:ext cx="1733615" cy="1752127"/>
            </a:xfrm>
            <a:prstGeom prst="rect">
              <a:avLst/>
            </a:prstGeom>
          </p:spPr>
        </p:pic>
        <p:pic>
          <p:nvPicPr>
            <p:cNvPr id="21" name="Picture 20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62D3AD15-40FB-E0AE-E3FD-E92E188E96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2554233"/>
              <a:ext cx="1733615" cy="1752127"/>
            </a:xfrm>
            <a:prstGeom prst="rect">
              <a:avLst/>
            </a:prstGeom>
          </p:spPr>
        </p:pic>
        <p:pic>
          <p:nvPicPr>
            <p:cNvPr id="22" name="Picture 21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B7CF3F1F-9F91-CF4A-FF07-FA15A22A9A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4773451"/>
              <a:ext cx="1733615" cy="1752127"/>
            </a:xfrm>
            <a:prstGeom prst="rect">
              <a:avLst/>
            </a:prstGeom>
          </p:spPr>
        </p:pic>
        <p:pic>
          <p:nvPicPr>
            <p:cNvPr id="23" name="Picture 22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D010AA3-929E-77D1-8103-2E11D2AEDB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335015"/>
              <a:ext cx="1733615" cy="1752127"/>
            </a:xfrm>
            <a:prstGeom prst="rect">
              <a:avLst/>
            </a:prstGeom>
          </p:spPr>
        </p:pic>
        <p:pic>
          <p:nvPicPr>
            <p:cNvPr id="24" name="Picture 23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281E6B5-D294-8C31-06F4-403B03B0CF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2554233"/>
              <a:ext cx="1733615" cy="1752127"/>
            </a:xfrm>
            <a:prstGeom prst="rect">
              <a:avLst/>
            </a:prstGeom>
          </p:spPr>
        </p:pic>
        <p:pic>
          <p:nvPicPr>
            <p:cNvPr id="25" name="Picture 24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DA0AFAAB-A69C-360D-13B4-236DA86E41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4773451"/>
              <a:ext cx="1733615" cy="175212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0E2453-DB81-82A4-3405-D5E14BB626E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281805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121408"/>
            <a:ext cx="5026134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3429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739128" y="4315969"/>
            <a:ext cx="2423160" cy="185623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spcBef>
                <a:spcPts val="700"/>
              </a:spcBef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573768" y="4315969"/>
            <a:ext cx="2008632" cy="185623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spcBef>
                <a:spcPts val="700"/>
              </a:spcBef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B1228E4-8377-6E68-3D10-D550A75C2B2F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306081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490878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084832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pic>
        <p:nvPicPr>
          <p:cNvPr id="4" name="Picture 3" descr="A pattern of blue circles&#10;&#10;Description automatically generated">
            <a:extLst>
              <a:ext uri="{FF2B5EF4-FFF2-40B4-BE49-F238E27FC236}">
                <a16:creationId xmlns:a16="http://schemas.microsoft.com/office/drawing/2014/main" id="{399FE45F-0BCA-FC9E-A383-FEE0CCF44A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r="48001"/>
          <a:stretch/>
        </p:blipFill>
        <p:spPr>
          <a:xfrm>
            <a:off x="8969249" y="0"/>
            <a:ext cx="3222751" cy="685800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DF3524F-ADB9-5EB7-841A-A2297D3830C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05122" y="3941064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643888B-3D0A-A12B-2C3F-3CD26A3FFAA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15968" y="2084832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C859D8D-0525-93EA-1323-6E608B1CE62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15968" y="3941064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7C246B3-A122-2C67-A52A-6FFA2D84FCC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296275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490878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084832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pic>
        <p:nvPicPr>
          <p:cNvPr id="4" name="Picture 3" descr="A pattern of blue circles&#10;&#10;Description automatically generated">
            <a:extLst>
              <a:ext uri="{FF2B5EF4-FFF2-40B4-BE49-F238E27FC236}">
                <a16:creationId xmlns:a16="http://schemas.microsoft.com/office/drawing/2014/main" id="{399FE45F-0BCA-FC9E-A383-FEE0CCF44A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r="48001"/>
          <a:stretch/>
        </p:blipFill>
        <p:spPr>
          <a:xfrm>
            <a:off x="8969249" y="0"/>
            <a:ext cx="3222751" cy="685800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0A2C275-350A-2BF9-CB81-7E8AB07E777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5122" y="4407408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4C163C0-0F5B-5F76-E6E9-DA947DA50F6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15968" y="2084832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7F454EB-969E-695D-5173-002A800FC68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315968" y="4407408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B6D5804-1B6C-EBCD-B26D-AE39D7A1283D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595993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0" y="0"/>
            <a:ext cx="8501204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9"/>
            <a:ext cx="3383280" cy="3192758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 marL="233363" indent="0">
              <a:tabLst/>
              <a:defRPr sz="1800" b="0">
                <a:solidFill>
                  <a:schemeClr val="accent2"/>
                </a:solidFill>
              </a:defRPr>
            </a:lvl2pPr>
            <a:lvl3pPr marL="458788" indent="-225425">
              <a:tabLst/>
              <a:defRPr sz="1800" b="0">
                <a:solidFill>
                  <a:schemeClr val="accent2"/>
                </a:solidFill>
              </a:defRPr>
            </a:lvl3pPr>
            <a:lvl4pPr>
              <a:defRPr sz="1800" b="0">
                <a:solidFill>
                  <a:schemeClr val="accent2"/>
                </a:solidFill>
              </a:defRPr>
            </a:lvl4pPr>
            <a:lvl5pPr>
              <a:defRPr sz="18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10256" y="2534971"/>
            <a:ext cx="3681743" cy="432303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51960" y="2578608"/>
            <a:ext cx="3383280" cy="31975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>
                <a:solidFill>
                  <a:schemeClr val="accent2"/>
                </a:solidFill>
              </a:defRPr>
            </a:lvl1pPr>
            <a:lvl2pPr marL="179388" indent="0">
              <a:tabLst/>
              <a:defRPr lang="en-US" sz="1800" b="0" dirty="0">
                <a:solidFill>
                  <a:schemeClr val="accent2"/>
                </a:solidFill>
              </a:defRPr>
            </a:lvl2pPr>
            <a:lvl3pPr marL="350838" indent="-225425">
              <a:tabLst/>
              <a:defRPr lang="en-US" sz="1800" b="0" dirty="0">
                <a:solidFill>
                  <a:schemeClr val="accent2"/>
                </a:solidFill>
              </a:defRPr>
            </a:lvl3pPr>
            <a:lvl4pPr>
              <a:defRPr lang="en-US" sz="1800" b="0" dirty="0">
                <a:solidFill>
                  <a:schemeClr val="accent2"/>
                </a:solidFill>
              </a:defRPr>
            </a:lvl4pPr>
            <a:lvl5pPr>
              <a:defRPr lang="en-US" sz="1800" b="0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6840" y="1289304"/>
            <a:ext cx="2916574" cy="1091757"/>
          </a:xfrm>
        </p:spPr>
        <p:txBody>
          <a:bodyPr/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703600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F76D2A-5A5E-8755-0879-B729A3A7E693}"/>
              </a:ext>
            </a:extLst>
          </p:cNvPr>
          <p:cNvSpPr txBox="1"/>
          <p:nvPr userDrawn="1"/>
        </p:nvSpPr>
        <p:spPr>
          <a:xfrm>
            <a:off x="8894253" y="716770"/>
            <a:ext cx="5309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endParaRPr lang="en-US" sz="5400" dirty="0">
              <a:solidFill>
                <a:schemeClr val="accent3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E7F670-5779-2D85-ABED-6B3627E548E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05519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01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860613"/>
            <a:ext cx="6405280" cy="636494"/>
          </a:xfrm>
        </p:spPr>
        <p:txBody>
          <a:bodyPr/>
          <a:lstStyle/>
          <a:p>
            <a:r>
              <a:rPr lang="en-US" dirty="0"/>
              <a:t>Headlin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121408"/>
            <a:ext cx="6405279" cy="3651863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6D2811B-4F7D-1E70-1DDB-293FBB480BF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259809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8506968" y="0"/>
            <a:ext cx="368503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9"/>
            <a:ext cx="3383280" cy="3192758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10257" y="2534971"/>
            <a:ext cx="3681743" cy="432303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51960" y="2578608"/>
            <a:ext cx="3383280" cy="31975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1" dirty="0">
                <a:solidFill>
                  <a:schemeClr val="accent1"/>
                </a:solidFill>
              </a:defRPr>
            </a:lvl1pPr>
            <a:lvl2pPr>
              <a:defRPr lang="en-US" sz="1400" dirty="0">
                <a:solidFill>
                  <a:schemeClr val="accent1"/>
                </a:solidFill>
              </a:defRPr>
            </a:lvl2pPr>
            <a:lvl3pPr>
              <a:defRPr lang="en-US" sz="1400" dirty="0">
                <a:solidFill>
                  <a:schemeClr val="accent1"/>
                </a:solidFill>
              </a:defRPr>
            </a:lvl3pPr>
            <a:lvl4pPr>
              <a:defRPr lang="en-US" sz="1400" dirty="0">
                <a:solidFill>
                  <a:schemeClr val="accent1"/>
                </a:solidFill>
              </a:defRPr>
            </a:lvl4pPr>
            <a:lvl5pPr>
              <a:defRPr lang="en-US" sz="1400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6840" y="1289304"/>
            <a:ext cx="2916574" cy="1091757"/>
          </a:xfr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703600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F76D2A-5A5E-8755-0879-B729A3A7E693}"/>
              </a:ext>
            </a:extLst>
          </p:cNvPr>
          <p:cNvSpPr txBox="1"/>
          <p:nvPr userDrawn="1"/>
        </p:nvSpPr>
        <p:spPr>
          <a:xfrm>
            <a:off x="8894253" y="716770"/>
            <a:ext cx="5309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endParaRPr lang="en-US" sz="5400" dirty="0">
              <a:solidFill>
                <a:schemeClr val="accent3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014DBAA-69D2-AFA3-2DF4-C93601325569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504647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578609"/>
            <a:ext cx="5026133" cy="3192758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 marL="233363" indent="0">
              <a:tabLst/>
              <a:defRPr sz="1800" b="0">
                <a:solidFill>
                  <a:schemeClr val="accent2"/>
                </a:solidFill>
              </a:defRPr>
            </a:lvl2pPr>
            <a:lvl3pPr marL="458788" indent="-225425">
              <a:tabLst/>
              <a:defRPr sz="1800" b="0">
                <a:solidFill>
                  <a:schemeClr val="accent2"/>
                </a:solidFill>
              </a:defRPr>
            </a:lvl3pPr>
            <a:lvl4pPr>
              <a:defRPr sz="1800" b="0">
                <a:solidFill>
                  <a:schemeClr val="accent2"/>
                </a:solidFill>
              </a:defRPr>
            </a:lvl4pPr>
            <a:lvl5pPr>
              <a:defRPr sz="18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502613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D77116FA-59E4-9678-35EA-2DD825686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1768" b="18271"/>
          <a:stretch/>
        </p:blipFill>
        <p:spPr>
          <a:xfrm>
            <a:off x="6096000" y="1253066"/>
            <a:ext cx="6096000" cy="560493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F514533-C94F-8609-93A6-A19790A94DC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7690634-037A-6A64-D161-5D5869497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9831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C23E17BE-2E48-0935-4279-C10DB90E51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1768" b="18271"/>
          <a:stretch/>
        </p:blipFill>
        <p:spPr>
          <a:xfrm>
            <a:off x="6096000" y="1253066"/>
            <a:ext cx="6096000" cy="560493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578609"/>
            <a:ext cx="5026133" cy="3192758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502613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9468717-5522-4DB6-361A-E875ABE8CCB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BBEADF4-725C-3FBB-E8F0-DD9218B3C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88008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0792" y="3720973"/>
            <a:ext cx="2981608" cy="2451227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4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D3DD303-98F8-790E-26F4-58B3AE82A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45B6BEB5-1754-B310-CBB5-DBEE19995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135"/>
          <a:stretch/>
        </p:blipFill>
        <p:spPr>
          <a:xfrm>
            <a:off x="719233" y="0"/>
            <a:ext cx="6909070" cy="609432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5ED32F-D900-C4C9-650D-3C1B3105E559}"/>
              </a:ext>
            </a:extLst>
          </p:cNvPr>
          <p:cNvSpPr txBox="1"/>
          <p:nvPr userDrawn="1"/>
        </p:nvSpPr>
        <p:spPr>
          <a:xfrm>
            <a:off x="7916163" y="3408680"/>
            <a:ext cx="6896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b="0" i="0" dirty="0">
                <a:solidFill>
                  <a:schemeClr val="accent3"/>
                </a:solidFill>
                <a:latin typeface="Flecha S Medium" panose="02050703060505060204" pitchFamily="18" charset="77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19593199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0792" y="3720973"/>
            <a:ext cx="2981608" cy="2451227"/>
          </a:xfrm>
        </p:spPr>
        <p:txBody>
          <a:bodyPr/>
          <a:lstStyle>
            <a:lvl1pPr>
              <a:defRPr sz="1800" b="0">
                <a:solidFill>
                  <a:schemeClr val="accent1"/>
                </a:solidFill>
              </a:defRPr>
            </a:lvl1pPr>
            <a:lvl2pPr>
              <a:defRPr sz="14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D3DD303-98F8-790E-26F4-58B3AE82A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45B6BEB5-1754-B310-CBB5-DBEE19995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135"/>
          <a:stretch/>
        </p:blipFill>
        <p:spPr>
          <a:xfrm>
            <a:off x="719233" y="0"/>
            <a:ext cx="6909070" cy="609432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9F404EE-B6C7-1493-016D-2B689B90D1B8}"/>
              </a:ext>
            </a:extLst>
          </p:cNvPr>
          <p:cNvSpPr txBox="1"/>
          <p:nvPr userDrawn="1"/>
        </p:nvSpPr>
        <p:spPr>
          <a:xfrm>
            <a:off x="7916163" y="3408680"/>
            <a:ext cx="6896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b="0" i="0" dirty="0">
                <a:solidFill>
                  <a:schemeClr val="accent3"/>
                </a:solidFill>
                <a:latin typeface="Flecha S Medium" panose="02050703060505060204" pitchFamily="18" charset="77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416798179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66183C46-1769-9A50-E51B-3A8FD115FD5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7868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813E447B-791E-6268-100D-AF8B7E6854E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46136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277868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6136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1042EB-F58E-FE11-9161-A504845C6B95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47961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905029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00457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179B86-FFB8-1DFC-5BBB-9FDCEE68427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495885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94B261-6A5E-C0F6-88A5-A53999340F7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791314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668AE1-3651-4DA2-66EE-C51F911F74C0}"/>
              </a:ext>
            </a:extLst>
          </p:cNvPr>
          <p:cNvSpPr txBox="1"/>
          <p:nvPr userDrawn="1"/>
        </p:nvSpPr>
        <p:spPr>
          <a:xfrm>
            <a:off x="609600" y="3159245"/>
            <a:ext cx="732893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ES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46DC47-A240-C2CA-8385-580BE4F48031}"/>
              </a:ext>
            </a:extLst>
          </p:cNvPr>
          <p:cNvSpPr txBox="1"/>
          <p:nvPr userDrawn="1"/>
        </p:nvSpPr>
        <p:spPr>
          <a:xfrm>
            <a:off x="2905028" y="3159245"/>
            <a:ext cx="1122423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Data</a:t>
            </a:r>
          </a:p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sc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8B1383-3526-5203-3D8A-1F931ACCB4D1}"/>
              </a:ext>
            </a:extLst>
          </p:cNvPr>
          <p:cNvSpPr txBox="1"/>
          <p:nvPr userDrawn="1"/>
        </p:nvSpPr>
        <p:spPr>
          <a:xfrm>
            <a:off x="5200456" y="3159245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isk</a:t>
            </a:r>
          </a:p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896AE5-095A-8745-1BAC-D9F71BCE188E}"/>
              </a:ext>
            </a:extLst>
          </p:cNvPr>
          <p:cNvSpPr txBox="1"/>
          <p:nvPr userDrawn="1"/>
        </p:nvSpPr>
        <p:spPr>
          <a:xfrm>
            <a:off x="7495884" y="3159245"/>
            <a:ext cx="1326004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esear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439CDA-DC34-EA39-3B6A-F7CCDABF2378}"/>
              </a:ext>
            </a:extLst>
          </p:cNvPr>
          <p:cNvSpPr txBox="1"/>
          <p:nvPr userDrawn="1"/>
        </p:nvSpPr>
        <p:spPr>
          <a:xfrm>
            <a:off x="9765637" y="3159245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Performance</a:t>
            </a:r>
          </a:p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FF4D5CE-BBE2-5CA8-D232-F9E5EF28D8E7}"/>
              </a:ext>
            </a:extLst>
          </p:cNvPr>
          <p:cNvCxnSpPr>
            <a:cxnSpLocks/>
          </p:cNvCxnSpPr>
          <p:nvPr userDrawn="1"/>
        </p:nvCxnSpPr>
        <p:spPr>
          <a:xfrm>
            <a:off x="609600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7FB574-7D8F-BDBD-8EBC-50ADF9908533}"/>
              </a:ext>
            </a:extLst>
          </p:cNvPr>
          <p:cNvCxnSpPr>
            <a:cxnSpLocks/>
          </p:cNvCxnSpPr>
          <p:nvPr userDrawn="1"/>
        </p:nvCxnSpPr>
        <p:spPr>
          <a:xfrm>
            <a:off x="2905028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CD60AC4-0EDA-37B8-61A8-9DFA179959E3}"/>
              </a:ext>
            </a:extLst>
          </p:cNvPr>
          <p:cNvCxnSpPr>
            <a:cxnSpLocks/>
          </p:cNvCxnSpPr>
          <p:nvPr userDrawn="1"/>
        </p:nvCxnSpPr>
        <p:spPr>
          <a:xfrm>
            <a:off x="5200456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B2F06F-EC57-9192-83A9-FEA40616824A}"/>
              </a:ext>
            </a:extLst>
          </p:cNvPr>
          <p:cNvCxnSpPr>
            <a:cxnSpLocks/>
          </p:cNvCxnSpPr>
          <p:nvPr userDrawn="1"/>
        </p:nvCxnSpPr>
        <p:spPr>
          <a:xfrm>
            <a:off x="7495884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37196BA3-C288-8086-E479-4FBF9E497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1888832"/>
            <a:ext cx="810693" cy="810693"/>
          </a:xfrm>
          <a:prstGeom prst="rect">
            <a:avLst/>
          </a:prstGeom>
        </p:spPr>
      </p:pic>
      <p:pic>
        <p:nvPicPr>
          <p:cNvPr id="24" name="Picture 23" descr="A blue and black rectangles&#10;&#10;Description automatically generated">
            <a:extLst>
              <a:ext uri="{FF2B5EF4-FFF2-40B4-BE49-F238E27FC236}">
                <a16:creationId xmlns:a16="http://schemas.microsoft.com/office/drawing/2014/main" id="{29FB279F-F0E8-2F9A-6703-86F6DA49F3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05028" y="1923088"/>
            <a:ext cx="736474" cy="742183"/>
          </a:xfrm>
          <a:prstGeom prst="rect">
            <a:avLst/>
          </a:prstGeom>
        </p:spPr>
      </p:pic>
      <p:pic>
        <p:nvPicPr>
          <p:cNvPr id="25" name="Picture 24" descr="A blue gear with a black background&#10;&#10;Description automatically generated">
            <a:extLst>
              <a:ext uri="{FF2B5EF4-FFF2-40B4-BE49-F238E27FC236}">
                <a16:creationId xmlns:a16="http://schemas.microsoft.com/office/drawing/2014/main" id="{37265398-1D05-C3C7-10E3-5965EAD042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200456" y="1860287"/>
            <a:ext cx="650838" cy="804984"/>
          </a:xfrm>
          <a:prstGeom prst="rect">
            <a:avLst/>
          </a:prstGeom>
        </p:spPr>
      </p:pic>
      <p:pic>
        <p:nvPicPr>
          <p:cNvPr id="26" name="Picture 25" descr="A blue magnifying glass and a blue circle&#10;&#10;Description automatically generated">
            <a:extLst>
              <a:ext uri="{FF2B5EF4-FFF2-40B4-BE49-F238E27FC236}">
                <a16:creationId xmlns:a16="http://schemas.microsoft.com/office/drawing/2014/main" id="{F223D8AD-ACC1-7E26-22C9-7AAE2C025D3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95884" y="1836757"/>
            <a:ext cx="890620" cy="890620"/>
          </a:xfrm>
          <a:prstGeom prst="rect">
            <a:avLst/>
          </a:prstGeom>
        </p:spPr>
      </p:pic>
      <p:pic>
        <p:nvPicPr>
          <p:cNvPr id="27" name="Picture 26" descr="A blue and white clock&#10;&#10;Description automatically generated">
            <a:extLst>
              <a:ext uri="{FF2B5EF4-FFF2-40B4-BE49-F238E27FC236}">
                <a16:creationId xmlns:a16="http://schemas.microsoft.com/office/drawing/2014/main" id="{320E5A69-5809-42DD-3D6B-05F1B13E247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791313" y="2007613"/>
            <a:ext cx="844947" cy="616583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BBEC30-FCB4-DF6F-BEC0-45322FF2808C}"/>
              </a:ext>
            </a:extLst>
          </p:cNvPr>
          <p:cNvCxnSpPr>
            <a:cxnSpLocks/>
          </p:cNvCxnSpPr>
          <p:nvPr userDrawn="1"/>
        </p:nvCxnSpPr>
        <p:spPr>
          <a:xfrm>
            <a:off x="9791313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CCA62-5A2A-6719-2FF5-D957D797812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63921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01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8417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5874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179B86-FFB8-1DFC-5BBB-9FDCEE68427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43331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94B261-6A5E-C0F6-88A5-A53999340F7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70788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668AE1-3651-4DA2-66EE-C51F911F74C0}"/>
              </a:ext>
            </a:extLst>
          </p:cNvPr>
          <p:cNvSpPr txBox="1"/>
          <p:nvPr userDrawn="1"/>
        </p:nvSpPr>
        <p:spPr>
          <a:xfrm>
            <a:off x="609600" y="3602736"/>
            <a:ext cx="732893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ES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46DC47-A240-C2CA-8385-580BE4F48031}"/>
              </a:ext>
            </a:extLst>
          </p:cNvPr>
          <p:cNvSpPr txBox="1"/>
          <p:nvPr userDrawn="1"/>
        </p:nvSpPr>
        <p:spPr>
          <a:xfrm>
            <a:off x="2884171" y="3602736"/>
            <a:ext cx="1122423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Data</a:t>
            </a:r>
          </a:p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sc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8B1383-3526-5203-3D8A-1F931ACCB4D1}"/>
              </a:ext>
            </a:extLst>
          </p:cNvPr>
          <p:cNvSpPr txBox="1"/>
          <p:nvPr userDrawn="1"/>
        </p:nvSpPr>
        <p:spPr>
          <a:xfrm>
            <a:off x="5158741" y="3602736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isk</a:t>
            </a:r>
          </a:p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896AE5-095A-8745-1BAC-D9F71BCE188E}"/>
              </a:ext>
            </a:extLst>
          </p:cNvPr>
          <p:cNvSpPr txBox="1"/>
          <p:nvPr userDrawn="1"/>
        </p:nvSpPr>
        <p:spPr>
          <a:xfrm>
            <a:off x="7433311" y="3602736"/>
            <a:ext cx="1326004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esear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439CDA-DC34-EA39-3B6A-F7CCDABF2378}"/>
              </a:ext>
            </a:extLst>
          </p:cNvPr>
          <p:cNvSpPr txBox="1"/>
          <p:nvPr userDrawn="1"/>
        </p:nvSpPr>
        <p:spPr>
          <a:xfrm>
            <a:off x="9707881" y="3602736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Performance</a:t>
            </a:r>
          </a:p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FF4D5CE-BBE2-5CA8-D232-F9E5EF28D8E7}"/>
              </a:ext>
            </a:extLst>
          </p:cNvPr>
          <p:cNvCxnSpPr>
            <a:cxnSpLocks/>
          </p:cNvCxnSpPr>
          <p:nvPr userDrawn="1"/>
        </p:nvCxnSpPr>
        <p:spPr>
          <a:xfrm>
            <a:off x="60960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7FB574-7D8F-BDBD-8EBC-50ADF9908533}"/>
              </a:ext>
            </a:extLst>
          </p:cNvPr>
          <p:cNvCxnSpPr>
            <a:cxnSpLocks/>
          </p:cNvCxnSpPr>
          <p:nvPr userDrawn="1"/>
        </p:nvCxnSpPr>
        <p:spPr>
          <a:xfrm>
            <a:off x="288417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CD60AC4-0EDA-37B8-61A8-9DFA179959E3}"/>
              </a:ext>
            </a:extLst>
          </p:cNvPr>
          <p:cNvCxnSpPr>
            <a:cxnSpLocks/>
          </p:cNvCxnSpPr>
          <p:nvPr userDrawn="1"/>
        </p:nvCxnSpPr>
        <p:spPr>
          <a:xfrm>
            <a:off x="515874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B2F06F-EC57-9192-83A9-FEA40616824A}"/>
              </a:ext>
            </a:extLst>
          </p:cNvPr>
          <p:cNvCxnSpPr>
            <a:cxnSpLocks/>
          </p:cNvCxnSpPr>
          <p:nvPr userDrawn="1"/>
        </p:nvCxnSpPr>
        <p:spPr>
          <a:xfrm>
            <a:off x="743331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BBEC30-FCB4-DF6F-BEC0-45322FF2808C}"/>
              </a:ext>
            </a:extLst>
          </p:cNvPr>
          <p:cNvCxnSpPr>
            <a:cxnSpLocks/>
          </p:cNvCxnSpPr>
          <p:nvPr userDrawn="1"/>
        </p:nvCxnSpPr>
        <p:spPr>
          <a:xfrm>
            <a:off x="970788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ue and black rectangles&#10;&#10;Description automatically generated">
            <a:extLst>
              <a:ext uri="{FF2B5EF4-FFF2-40B4-BE49-F238E27FC236}">
                <a16:creationId xmlns:a16="http://schemas.microsoft.com/office/drawing/2014/main" id="{A5C11F12-075B-CCED-5251-252E655EC6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813" y="2066403"/>
            <a:ext cx="1047233" cy="1055351"/>
          </a:xfrm>
          <a:prstGeom prst="rect">
            <a:avLst/>
          </a:prstGeom>
        </p:spPr>
      </p:pic>
      <p:pic>
        <p:nvPicPr>
          <p:cNvPr id="10" name="Picture 9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C4F01B50-B84D-E3F7-F532-B7BDD34E7D9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0475" y="2021962"/>
            <a:ext cx="1152768" cy="1152768"/>
          </a:xfrm>
          <a:prstGeom prst="rect">
            <a:avLst/>
          </a:prstGeom>
        </p:spPr>
      </p:pic>
      <p:pic>
        <p:nvPicPr>
          <p:cNvPr id="11" name="Picture 10" descr="A blue and white clock&#10;&#10;Description automatically generated">
            <a:extLst>
              <a:ext uri="{FF2B5EF4-FFF2-40B4-BE49-F238E27FC236}">
                <a16:creationId xmlns:a16="http://schemas.microsoft.com/office/drawing/2014/main" id="{B6223589-A946-B8F9-23DB-3CB298CB08A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44401" y="2155701"/>
            <a:ext cx="1201477" cy="876753"/>
          </a:xfrm>
          <a:prstGeom prst="rect">
            <a:avLst/>
          </a:prstGeom>
        </p:spPr>
      </p:pic>
      <p:pic>
        <p:nvPicPr>
          <p:cNvPr id="29" name="Picture 28" descr="A blue magnifying glass and a blue circle&#10;&#10;Description automatically generated">
            <a:extLst>
              <a:ext uri="{FF2B5EF4-FFF2-40B4-BE49-F238E27FC236}">
                <a16:creationId xmlns:a16="http://schemas.microsoft.com/office/drawing/2014/main" id="{5BF9C195-907E-A813-87A2-783B0C9432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37359" y="1977104"/>
            <a:ext cx="1266421" cy="1266421"/>
          </a:xfrm>
          <a:prstGeom prst="rect">
            <a:avLst/>
          </a:prstGeom>
        </p:spPr>
      </p:pic>
      <p:pic>
        <p:nvPicPr>
          <p:cNvPr id="30" name="Picture 29" descr="A blue gear with a black background&#10;&#10;Description automatically generated">
            <a:extLst>
              <a:ext uri="{FF2B5EF4-FFF2-40B4-BE49-F238E27FC236}">
                <a16:creationId xmlns:a16="http://schemas.microsoft.com/office/drawing/2014/main" id="{D188576F-F6D8-E7B1-C1FA-C0F82357D89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633268" y="1977104"/>
            <a:ext cx="925462" cy="1144651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88E93F6-68CD-29D8-FD48-BE252C6D1CB9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701758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521" y="1276539"/>
            <a:ext cx="4068025" cy="57036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459736"/>
            <a:ext cx="4953707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266DC31C-6F0B-47FA-6872-96690E81BF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1568" y="511033"/>
            <a:ext cx="1101849" cy="1101849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84D9861-A635-D728-8C5A-C5A03E8551B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53328" y="2459736"/>
            <a:ext cx="4953707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3F5CF95-46EC-A5AA-8BA2-26E8B0B1B5C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2027521" y="94483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802152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286000"/>
            <a:ext cx="10977279" cy="3334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603371D-95A1-CE04-CB51-17193AB3C4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05347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7A8DA75-FB00-D9E8-94BB-23E6EDE3D2C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121408"/>
            <a:ext cx="6405279" cy="3651863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3534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2729" y="860613"/>
            <a:ext cx="3669671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60382B-A8FB-9E60-A6B8-2CA3707784C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912729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47687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88E2E2C-E1D8-3600-1F6D-487C3A0617EA}"/>
              </a:ext>
            </a:extLst>
          </p:cNvPr>
          <p:cNvSpPr/>
          <p:nvPr userDrawn="1"/>
        </p:nvSpPr>
        <p:spPr>
          <a:xfrm>
            <a:off x="5169529" y="0"/>
            <a:ext cx="70224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4111734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8"/>
            <a:ext cx="4111734" cy="3197503"/>
          </a:xfrm>
        </p:spPr>
        <p:txBody>
          <a:bodyPr>
            <a:no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699A093-C444-B416-3E2D-72058A615DD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4102681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BD6302A-207F-4F17-1921-4825B0CF07F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96000" y="4434840"/>
            <a:ext cx="5486400" cy="1737360"/>
          </a:xfrm>
        </p:spPr>
        <p:txBody>
          <a:bodyPr numCol="2"/>
          <a:lstStyle>
            <a:lvl1pPr>
              <a:defRPr sz="1200" b="1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A26EB27-5C47-E5B7-0D16-CBAAF9935A4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96000" y="687388"/>
            <a:ext cx="5486400" cy="27699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0D8C723B-6EE2-FE37-A79E-37DAD9824EE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096000" y="1168400"/>
            <a:ext cx="5486400" cy="2914650"/>
          </a:xfrm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 dirty="0"/>
              <a:t>Insert Char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2022A4A-39DB-30EE-2119-7D09252705AC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849159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342900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121408"/>
            <a:ext cx="3429000" cy="3660827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BFF57EF-97E3-11A4-1100-F38E0C6315BC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912351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0DC3361-9B01-BF52-793E-777D7F6293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853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20FC08E-7489-D139-3331-DB3981897D3A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6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C45C1BA-960D-125F-2C6F-A1E06878F1D7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096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F8094E2-804D-3F0D-FE87-4E4FAEC33F7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6096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2912979A-3C2A-AAD9-2B4C-184A98317901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4577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811D3531-3E96-0C28-F17B-05B39C43768C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44577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50CB65E5-4F19-9839-AB0D-BEC289F2A14C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4577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45D58218-D6D5-C2FC-BF9C-B24A0CCB028A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3058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0106B269-D456-8C25-9ABE-23476151D9EB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83058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A260AE45-3B28-335B-BD74-2819BC10A7CF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83058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FA8399-0448-E39F-9EC1-11FD493244E3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20853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7C4CDCA-94F9-00DC-51EF-E7F4F84BC57D}"/>
              </a:ext>
            </a:extLst>
          </p:cNvPr>
          <p:cNvSpPr>
            <a:spLocks noGrp="1"/>
          </p:cNvSpPr>
          <p:nvPr>
            <p:ph idx="31"/>
          </p:nvPr>
        </p:nvSpPr>
        <p:spPr>
          <a:xfrm>
            <a:off x="20853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576AAE9-01C7-0C9D-92FA-D90724C371DD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59334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55807-A98D-DABA-0A32-DFBA17F3DF67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59334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82C269D3-7ACC-997D-C150-365315A2422B}"/>
              </a:ext>
            </a:extLst>
          </p:cNvPr>
          <p:cNvSpPr>
            <a:spLocks noGrp="1"/>
          </p:cNvSpPr>
          <p:nvPr>
            <p:ph idx="34"/>
          </p:nvPr>
        </p:nvSpPr>
        <p:spPr>
          <a:xfrm>
            <a:off x="59334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FAB9A17-A3DF-E1E8-217B-6F4A8FF54198}"/>
              </a:ext>
            </a:extLst>
          </p:cNvPr>
          <p:cNvSpPr>
            <a:spLocks noGrp="1"/>
          </p:cNvSpPr>
          <p:nvPr>
            <p:ph idx="35"/>
          </p:nvPr>
        </p:nvSpPr>
        <p:spPr>
          <a:xfrm>
            <a:off x="97815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BB46A8A3-D9DE-81A1-D910-4450032D5812}"/>
              </a:ext>
            </a:extLst>
          </p:cNvPr>
          <p:cNvSpPr>
            <a:spLocks noGrp="1"/>
          </p:cNvSpPr>
          <p:nvPr>
            <p:ph idx="36"/>
          </p:nvPr>
        </p:nvSpPr>
        <p:spPr>
          <a:xfrm>
            <a:off x="97815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71A69FD0-1F85-3AFC-222B-2A689BA17EE7}"/>
              </a:ext>
            </a:extLst>
          </p:cNvPr>
          <p:cNvSpPr>
            <a:spLocks noGrp="1"/>
          </p:cNvSpPr>
          <p:nvPr>
            <p:ph idx="37"/>
          </p:nvPr>
        </p:nvSpPr>
        <p:spPr>
          <a:xfrm>
            <a:off x="97815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8D29BAD-2050-638E-B0CB-6FAC30A2E75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05567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66183C46-1769-9A50-E51B-3A8FD115FD5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7868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813E447B-791E-6268-100D-AF8B7E6854E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46136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A88A16-66AC-9CAC-3917-DA287ECE0B7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7868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88227DF-7FC1-0AFC-418A-D46220D35C8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946136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6EEB533-E99D-D8DB-B98C-3784DC7621F5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631841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361688"/>
            <a:ext cx="2743200" cy="14868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4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664208"/>
            <a:ext cx="2286000" cy="22860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A88A16-66AC-9CAC-3917-DA287ECE0B7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9392" y="1664208"/>
            <a:ext cx="3474720" cy="401973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1500"/>
              </a:spcBef>
              <a:defRPr lang="en-US" sz="1800" b="0" dirty="0">
                <a:solidFill>
                  <a:schemeClr val="accent2"/>
                </a:solidFill>
                <a:latin typeface="+mn-lt"/>
              </a:defRPr>
            </a:lvl1pPr>
            <a:lvl2pPr marL="233363" indent="-225425">
              <a:spcAft>
                <a:spcPts val="500"/>
              </a:spcAft>
              <a:buFont typeface="Arial" panose="020B0604020202020204" pitchFamily="34" charset="0"/>
              <a:buChar char="•"/>
              <a:tabLst/>
              <a:defRPr lang="en-US" sz="1800" dirty="0">
                <a:solidFill>
                  <a:schemeClr val="accent2"/>
                </a:solidFill>
                <a:latin typeface="+mn-lt"/>
              </a:defRPr>
            </a:lvl2pPr>
            <a:lvl3pPr marL="233363" indent="0">
              <a:spcBef>
                <a:spcPts val="0"/>
              </a:spcBef>
              <a:buNone/>
              <a:tabLst/>
              <a:defRPr sz="1800">
                <a:solidFill>
                  <a:schemeClr val="accent2"/>
                </a:solidFill>
                <a:latin typeface="+mn-lt"/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88227DF-7FC1-0AFC-418A-D46220D35C8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936992" y="1664208"/>
            <a:ext cx="3474720" cy="401973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1500"/>
              </a:spcBef>
              <a:defRPr lang="en-US" sz="1800" b="0" dirty="0">
                <a:solidFill>
                  <a:schemeClr val="accent2"/>
                </a:solidFill>
                <a:latin typeface="+mn-lt"/>
              </a:defRPr>
            </a:lvl1pPr>
            <a:lvl2pPr marL="233363" indent="-225425">
              <a:spcAft>
                <a:spcPts val="500"/>
              </a:spcAft>
              <a:buFont typeface="Arial" panose="020B0604020202020204" pitchFamily="34" charset="0"/>
              <a:buChar char="•"/>
              <a:tabLst/>
              <a:defRPr lang="en-US" sz="1800" dirty="0">
                <a:solidFill>
                  <a:schemeClr val="accent2"/>
                </a:solidFill>
                <a:latin typeface="+mn-lt"/>
              </a:defRPr>
            </a:lvl2pPr>
            <a:lvl3pPr marL="233363" indent="0">
              <a:spcBef>
                <a:spcPts val="0"/>
              </a:spcBef>
              <a:buNone/>
              <a:tabLst/>
              <a:defRPr sz="1800">
                <a:solidFill>
                  <a:schemeClr val="accent2"/>
                </a:solidFill>
                <a:latin typeface="+mn-lt"/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A93A3B2-0AB2-C90D-501D-D2452C06A7C1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010023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squares on a black background&#10;&#10;Description automatically generated">
            <a:extLst>
              <a:ext uri="{FF2B5EF4-FFF2-40B4-BE49-F238E27FC236}">
                <a16:creationId xmlns:a16="http://schemas.microsoft.com/office/drawing/2014/main" id="{60825B88-96B2-9387-961C-9017F09ECF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74229" y="740229"/>
            <a:ext cx="6117771" cy="61177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38488"/>
            <a:ext cx="45720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solidFill>
                  <a:schemeClr val="accent2"/>
                </a:solidFill>
              </a:rPr>
              <a:t>Section title goes her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9877448-ED28-7E48-23E9-7E77F3D4C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36208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C458318-B554-9EFD-B994-7340E4C37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F67FB2-BC35-3F89-183A-082341696DF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192486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5D0B882-7E2D-3A5C-E1AE-9A2AB120430D}"/>
              </a:ext>
            </a:extLst>
          </p:cNvPr>
          <p:cNvGrpSpPr/>
          <p:nvPr userDrawn="1"/>
        </p:nvGrpSpPr>
        <p:grpSpPr>
          <a:xfrm>
            <a:off x="5154334" y="684914"/>
            <a:ext cx="7053164" cy="5173810"/>
            <a:chOff x="6378853" y="2598509"/>
            <a:chExt cx="5813147" cy="4264203"/>
          </a:xfrm>
        </p:grpSpPr>
        <p:pic>
          <p:nvPicPr>
            <p:cNvPr id="5" name="Picture 4" descr="A blue rectangle with black border&#10;&#10;Description automatically generated">
              <a:extLst>
                <a:ext uri="{FF2B5EF4-FFF2-40B4-BE49-F238E27FC236}">
                  <a16:creationId xmlns:a16="http://schemas.microsoft.com/office/drawing/2014/main" id="{5E6FE1D3-52BD-8A3E-4ECB-BBB0BD4D82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78363" y="3148888"/>
              <a:ext cx="5213637" cy="3713824"/>
            </a:xfrm>
            <a:prstGeom prst="rect">
              <a:avLst/>
            </a:prstGeom>
          </p:spPr>
        </p:pic>
        <p:pic>
          <p:nvPicPr>
            <p:cNvPr id="6" name="Picture 5" descr="A screen shot of numbers and symbols&#10;&#10;Description automatically generated">
              <a:extLst>
                <a:ext uri="{FF2B5EF4-FFF2-40B4-BE49-F238E27FC236}">
                  <a16:creationId xmlns:a16="http://schemas.microsoft.com/office/drawing/2014/main" id="{9317EB54-6219-B6DD-7939-CDB6007B9E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929" t="8347" r="2" b="8"/>
            <a:stretch/>
          </p:blipFill>
          <p:spPr>
            <a:xfrm>
              <a:off x="6378853" y="2598509"/>
              <a:ext cx="4967788" cy="3381468"/>
            </a:xfrm>
            <a:prstGeom prst="rect">
              <a:avLst/>
            </a:prstGeom>
          </p:spPr>
        </p:pic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BD1111D-006B-AC28-884B-A419711E06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55917" y="684913"/>
            <a:ext cx="6025896" cy="4105656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38488"/>
            <a:ext cx="45720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solidFill>
                  <a:schemeClr val="accent2"/>
                </a:solidFill>
              </a:rPr>
              <a:t>Section title</a:t>
            </a:r>
            <a:br>
              <a:rPr lang="en-US" dirty="0">
                <a:solidFill>
                  <a:schemeClr val="accent2"/>
                </a:solidFill>
              </a:rPr>
            </a:br>
            <a:r>
              <a:rPr lang="en-US" dirty="0">
                <a:solidFill>
                  <a:schemeClr val="accent2"/>
                </a:solidFill>
              </a:rPr>
              <a:t>goes her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9877448-ED28-7E48-23E9-7E77F3D4C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36208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C458318-B554-9EFD-B994-7340E4C37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9D0DD24-4288-5627-4EFC-6A48B7B7594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499032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47BE3F58-CAAB-5707-08D5-68AEE1A17A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79628" y="1862868"/>
            <a:ext cx="5012372" cy="4995132"/>
          </a:xfrm>
          <a:prstGeom prst="rect">
            <a:avLst/>
          </a:prstGeom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687388"/>
            <a:ext cx="4572000" cy="4572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20EBA34-B0FF-DBC0-045B-B5B66EFA3EB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42217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ue squares on a black background&#10;&#10;Description automatically generated">
            <a:extLst>
              <a:ext uri="{FF2B5EF4-FFF2-40B4-BE49-F238E27FC236}">
                <a16:creationId xmlns:a16="http://schemas.microsoft.com/office/drawing/2014/main" id="{82EC82EF-3E6E-E271-E522-D403457BDB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74229" y="740229"/>
            <a:ext cx="6117771" cy="61177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1C54A4-7120-3603-B48A-3C23C424AA8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91990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AAC23BB0-ECCE-A8BF-59DE-1AC543592B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569465"/>
            <a:ext cx="6405279" cy="338328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Insert table chart</a:t>
            </a:r>
          </a:p>
        </p:txBody>
      </p:sp>
    </p:spTree>
    <p:extLst>
      <p:ext uri="{BB962C8B-B14F-4D97-AF65-F5344CB8AC3E}">
        <p14:creationId xmlns:p14="http://schemas.microsoft.com/office/powerpoint/2010/main" val="180789148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rectangle with black border&#10;&#10;Description automatically generated">
            <a:extLst>
              <a:ext uri="{FF2B5EF4-FFF2-40B4-BE49-F238E27FC236}">
                <a16:creationId xmlns:a16="http://schemas.microsoft.com/office/drawing/2014/main" id="{8EF0AD21-194F-3CFE-20A0-FC3F89D15F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5822"/>
          <a:stretch/>
        </p:blipFill>
        <p:spPr>
          <a:xfrm>
            <a:off x="6089229" y="1261546"/>
            <a:ext cx="6102770" cy="5164297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480CAE2C-65D2-72C5-0D74-825ABBD21C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19106" y="861569"/>
            <a:ext cx="6473952" cy="4306824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5B326-1C84-D77B-065E-AA7C7E34FDA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65370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47BE3F58-CAAB-5707-08D5-68AEE1A17A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79628" y="1862868"/>
            <a:ext cx="5012372" cy="4995132"/>
          </a:xfrm>
          <a:prstGeom prst="rect">
            <a:avLst/>
          </a:prstGeom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46520" y="1124712"/>
            <a:ext cx="4087368" cy="4087368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D7C9A64-1433-09DB-3598-B26FBD63920B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348989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87FAD20-C231-D0C9-1404-B5C84F7032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5602" r="28360"/>
          <a:stretch/>
        </p:blipFill>
        <p:spPr>
          <a:xfrm>
            <a:off x="4649551" y="247439"/>
            <a:ext cx="7542449" cy="63631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A1C71EE-6D02-2C69-FCD6-00D6A254C5C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115078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29AC916-8EE2-F611-6DC5-5ABC767786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2" r="21347"/>
          <a:stretch/>
        </p:blipFill>
        <p:spPr>
          <a:xfrm>
            <a:off x="5953961" y="441313"/>
            <a:ext cx="6238039" cy="5975374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65487F1-C21A-94A8-1632-58F818A2E1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4712" y="441313"/>
            <a:ext cx="5970270" cy="5970270"/>
          </a:xfrm>
          <a:prstGeom prst="diamond">
            <a:avLst/>
          </a:prstGeo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071D2F-74BD-7611-B1AB-F968A8BE23D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6849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25FAC0F-D95A-58F0-6CC0-6EB4B98A9F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2" r="21347"/>
          <a:stretch/>
        </p:blipFill>
        <p:spPr>
          <a:xfrm>
            <a:off x="5953961" y="441313"/>
            <a:ext cx="6238039" cy="5975374"/>
          </a:xfrm>
          <a:prstGeom prst="rect">
            <a:avLst/>
          </a:prstGeom>
        </p:spPr>
      </p:pic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F32BC729-F69F-41DF-21E9-706F0EA9AE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4712" y="441313"/>
            <a:ext cx="5970270" cy="5970270"/>
          </a:xfrm>
          <a:prstGeom prst="diamond">
            <a:avLst/>
          </a:prstGeo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DB9BB4-07BC-0859-6039-0BBA35F9A11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036216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and black background&#10;&#10;Description automatically generated">
            <a:extLst>
              <a:ext uri="{FF2B5EF4-FFF2-40B4-BE49-F238E27FC236}">
                <a16:creationId xmlns:a16="http://schemas.microsoft.com/office/drawing/2014/main" id="{F0FD70F6-C90D-F610-3F1E-0731264A12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8B8578-8536-95E2-05DB-327FD1D512A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388410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black background&#10;&#10;Description automatically generated">
            <a:extLst>
              <a:ext uri="{FF2B5EF4-FFF2-40B4-BE49-F238E27FC236}">
                <a16:creationId xmlns:a16="http://schemas.microsoft.com/office/drawing/2014/main" id="{3A7C5441-32E0-4544-E941-82FA49B250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2340864"/>
            <a:ext cx="6096000" cy="4517136"/>
          </a:xfrm>
          <a:prstGeom prst="rect">
            <a:avLst/>
          </a:prstGeom>
        </p:spPr>
      </p:pic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17F08B4-6B39-CF48-5659-86BE4E75B2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2953" y="-904"/>
            <a:ext cx="6099048" cy="4169663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581DAB-032B-E5BD-8987-56002ABB5F4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939155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square with black border&#10;&#10;Description automatically generated">
            <a:extLst>
              <a:ext uri="{FF2B5EF4-FFF2-40B4-BE49-F238E27FC236}">
                <a16:creationId xmlns:a16="http://schemas.microsoft.com/office/drawing/2014/main" id="{A746F025-622C-F9C4-F01F-8E059EE432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3927" y="1601258"/>
            <a:ext cx="5708073" cy="5256742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2AE0D8B-6181-B3E9-637E-BC0FD1A039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86144" y="0"/>
            <a:ext cx="5705856" cy="4498848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E42C435-236B-6B1A-CB9A-786200853C6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964715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urple square with a black background&#10;&#10;Description automatically generated">
            <a:extLst>
              <a:ext uri="{FF2B5EF4-FFF2-40B4-BE49-F238E27FC236}">
                <a16:creationId xmlns:a16="http://schemas.microsoft.com/office/drawing/2014/main" id="{AFA87D52-7641-5C67-D0A0-357D54896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6626" y="0"/>
            <a:ext cx="686537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41A7A37-C1DB-45A9-BBB2-A84ACE394FA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800788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00345FF7-0213-C5E9-C74B-74C47815E5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6626" y="0"/>
            <a:ext cx="6865374" cy="6858000"/>
          </a:xfrm>
          <a:prstGeom prst="rect">
            <a:avLst/>
          </a:prstGeom>
        </p:spPr>
      </p:pic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D9D04C40-7BA3-33A2-73DB-7EEC68C372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7889" y="946880"/>
            <a:ext cx="4965192" cy="493776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0B8DA0-78D9-FF55-A7E3-8EBF5D6B70F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84365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F73C4CF6-3813-0C7F-6995-9DFCC05C2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569465"/>
            <a:ext cx="6405279" cy="338328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Insert table chart</a:t>
            </a:r>
          </a:p>
        </p:txBody>
      </p:sp>
    </p:spTree>
    <p:extLst>
      <p:ext uri="{BB962C8B-B14F-4D97-AF65-F5344CB8AC3E}">
        <p14:creationId xmlns:p14="http://schemas.microsoft.com/office/powerpoint/2010/main" val="212724728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square with a black border&#10;&#10;Description automatically generated">
            <a:extLst>
              <a:ext uri="{FF2B5EF4-FFF2-40B4-BE49-F238E27FC236}">
                <a16:creationId xmlns:a16="http://schemas.microsoft.com/office/drawing/2014/main" id="{0DE8F8A1-FFC0-5D5D-34C4-0DE35D7B68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V="1">
            <a:off x="6020520" y="682170"/>
            <a:ext cx="6171479" cy="6175829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2AE0D8B-6181-B3E9-637E-BC0FD1A039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37960" y="1234440"/>
            <a:ext cx="3566160" cy="356616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19B1D3-3CB1-4569-86DA-F998D2D47E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230227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10619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91327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3FF5C02B-D6A8-F290-2E29-F96B58D53A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76728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6897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86F1FEC-FC9B-5A24-ADFD-E96F5845B44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0" y="0"/>
            <a:ext cx="3810000" cy="6858000"/>
          </a:xfr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7971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47897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1B6915-BF75-E111-D330-1DD70CBAEC65}"/>
              </a:ext>
            </a:extLst>
          </p:cNvPr>
          <p:cNvSpPr txBox="1"/>
          <p:nvPr userDrawn="1"/>
        </p:nvSpPr>
        <p:spPr>
          <a:xfrm>
            <a:off x="473308" y="4224144"/>
            <a:ext cx="498566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0" b="0" i="0" dirty="0">
                <a:solidFill>
                  <a:schemeClr val="accent2"/>
                </a:solidFill>
                <a:latin typeface="Flecha S Medium" panose="02050703060505060204" pitchFamily="18" charset="77"/>
              </a:rPr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5F04A9-7FB4-206D-6D50-251EE16E2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1394" r="19041"/>
          <a:stretch/>
        </p:blipFill>
        <p:spPr>
          <a:xfrm>
            <a:off x="6111018" y="0"/>
            <a:ext cx="6097064" cy="587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03113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63FB08-913E-A540-03AA-E526F6B296D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6405279" cy="500719"/>
          </a:xfr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8548A8-495E-F717-2EC6-8E21593DA2C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655811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118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AAC23BB0-ECCE-A8BF-59DE-1AC543592B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295144"/>
            <a:ext cx="6405279" cy="3383280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268076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121408"/>
            <a:ext cx="6405279" cy="3660827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BB9A353-2E47-AA6F-BFD6-AE895167D4B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57939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6D797A-F7E6-B4A1-BF93-DE389A1911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87563" y="6198594"/>
            <a:ext cx="2743200" cy="187170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5665DFC-E6E1-AC46-8C75-398C3AC7E5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917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1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3725272F-C41F-221F-0AA3-A7AF0DF462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899" y="270942"/>
            <a:ext cx="3209159" cy="1080187"/>
          </a:xfrm>
          <a:prstGeom prst="rect">
            <a:avLst/>
          </a:prstGeom>
        </p:spPr>
      </p:pic>
      <p:pic>
        <p:nvPicPr>
          <p:cNvPr id="11" name="Picture 10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395C89A0-B92F-C0E7-2D2B-86475F9106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0585" t="36257" r="9098" b="16089"/>
          <a:stretch/>
        </p:blipFill>
        <p:spPr>
          <a:xfrm>
            <a:off x="0" y="0"/>
            <a:ext cx="867997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210100"/>
            <a:ext cx="59436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D6FA52-BDDD-A4CC-2EB6-7315D0FFCA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3504" y="4198555"/>
            <a:ext cx="3657600" cy="215444"/>
          </a:xfrm>
        </p:spPr>
        <p:txBody>
          <a:bodyPr>
            <a:no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First Las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3A9D68-8F74-784C-88FA-EDC9BEE775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504" y="4443984"/>
            <a:ext cx="3657600" cy="215444"/>
          </a:xfrm>
        </p:spPr>
        <p:txBody>
          <a:bodyPr>
            <a:noAutofit/>
          </a:bodyPr>
          <a:lstStyle>
            <a:lvl1pPr>
              <a:defRPr cap="all" spc="150" baseline="0"/>
            </a:lvl1pPr>
          </a:lstStyle>
          <a:p>
            <a:pPr lvl="0"/>
            <a:r>
              <a:rPr lang="en-US"/>
              <a:t>Month xx, </a:t>
            </a:r>
            <a:r>
              <a:rPr lang="en-US" err="1"/>
              <a:t>x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45997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BE351D0F-548B-C8B5-E4F5-27C0BA3FE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0585" t="36257" r="9098" b="16089"/>
          <a:stretch/>
        </p:blipFill>
        <p:spPr>
          <a:xfrm>
            <a:off x="0" y="0"/>
            <a:ext cx="8679977" cy="6858000"/>
          </a:xfrm>
          <a:prstGeom prst="rect">
            <a:avLst/>
          </a:prstGeom>
        </p:spPr>
      </p:pic>
      <p:pic>
        <p:nvPicPr>
          <p:cNvPr id="6" name="Picture 5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EDED7CF9-F191-CABB-B8EC-BAFEE23BFDE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1350" y="510266"/>
            <a:ext cx="2741522" cy="59297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210100"/>
            <a:ext cx="59436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Presentation</a:t>
            </a:r>
            <a:br>
              <a:rPr lang="en-US">
                <a:solidFill>
                  <a:schemeClr val="accent2"/>
                </a:solidFill>
              </a:rPr>
            </a:br>
            <a:r>
              <a:rPr lang="en-US">
                <a:solidFill>
                  <a:schemeClr val="accent2"/>
                </a:solidFill>
              </a:rPr>
              <a:t>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D6FA52-BDDD-A4CC-2EB6-7315D0FFCA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3504" y="4198555"/>
            <a:ext cx="3657600" cy="215444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First Last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21F297B-0637-9ABD-12E3-5428E0F0B6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504" y="4443984"/>
            <a:ext cx="3657600" cy="215444"/>
          </a:xfrm>
        </p:spPr>
        <p:txBody>
          <a:bodyPr>
            <a:noAutofit/>
          </a:bodyPr>
          <a:lstStyle>
            <a:lvl1pPr>
              <a:defRPr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Month xx, </a:t>
            </a:r>
            <a:r>
              <a:rPr lang="en-US" err="1"/>
              <a:t>x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66036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561D86-26BE-0782-B9C1-337F57D821BC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B525631-172F-1503-6D51-B6A8940318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022" t="8592" r="29897" b="35341"/>
          <a:stretch/>
        </p:blipFill>
        <p:spPr>
          <a:xfrm>
            <a:off x="6396780" y="1449970"/>
            <a:ext cx="5795219" cy="54080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50292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86962447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FB0112-5FB7-06C8-73F4-9770574E19B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B525631-172F-1503-6D51-B6A8940318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022" t="8592" r="29897" b="35341"/>
          <a:stretch/>
        </p:blipFill>
        <p:spPr>
          <a:xfrm>
            <a:off x="6396780" y="1449970"/>
            <a:ext cx="5795219" cy="54080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50292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07651764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2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attern of blue circles&#10;&#10;Description automatically generated">
            <a:extLst>
              <a:ext uri="{FF2B5EF4-FFF2-40B4-BE49-F238E27FC236}">
                <a16:creationId xmlns:a16="http://schemas.microsoft.com/office/drawing/2014/main" id="{A0EA0990-A2F4-1BF9-7E2E-0F928BF438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4400" y="0"/>
            <a:ext cx="61976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E3DA334-BD67-3270-BB6B-1974F72537E2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055049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attern of blue circles&#10;&#10;Description automatically generated">
            <a:extLst>
              <a:ext uri="{FF2B5EF4-FFF2-40B4-BE49-F238E27FC236}">
                <a16:creationId xmlns:a16="http://schemas.microsoft.com/office/drawing/2014/main" id="{48FC7204-5736-4986-257C-8B009A7B61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4400" y="0"/>
            <a:ext cx="61976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1DFE6FA-E4B1-90C8-AD9A-BAC2391E3C4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3002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3 Photo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8ABD6A7-97DC-0F94-73C1-05E5826CC6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630863" y="0"/>
            <a:ext cx="6561137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32EED-DAB1-2FA3-9475-434B19BD843B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836091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3 Photo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3E0DBAF3-315B-0F99-2AB9-2CCA70A0593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630863" y="0"/>
            <a:ext cx="6561137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EDE136-7733-53B9-929D-67A8295584A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2419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F73C4CF6-3813-0C7F-6995-9DFCC05C2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295144"/>
            <a:ext cx="6405279" cy="3383280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011978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4 Text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51376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D43F2-EAA3-73BE-D020-2B63AB088F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4151376"/>
            <a:ext cx="4708525" cy="1874838"/>
          </a:xfrm>
        </p:spPr>
        <p:txBody>
          <a:bodyPr>
            <a:noAutofit/>
          </a:bodyPr>
          <a:lstStyle>
            <a:lvl1pPr>
              <a:spcAft>
                <a:spcPts val="1400"/>
              </a:spcAft>
              <a:defRPr sz="1400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8B6CF07-364E-4D1B-66F0-CD310581E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51021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3B3F0A-DA00-A216-2B2E-B115DBA31CB1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37480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017110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4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2699-6D86-4659-D799-4912355B6CE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37480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51376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D43F2-EAA3-73BE-D020-2B63AB088F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4151376"/>
            <a:ext cx="4708525" cy="1874838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8B6CF07-364E-4D1B-66F0-CD310581E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51021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91135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01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860613"/>
            <a:ext cx="6405280" cy="636494"/>
          </a:xfrm>
        </p:spPr>
        <p:txBody>
          <a:bodyPr/>
          <a:lstStyle/>
          <a:p>
            <a:r>
              <a:rPr lang="en-US"/>
              <a:t>Headlin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121408"/>
            <a:ext cx="6405279" cy="3651863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Topic goes here</a:t>
            </a:r>
          </a:p>
          <a:p>
            <a:pPr lvl="1"/>
            <a:r>
              <a:rPr lang="en-US"/>
              <a:t>Sub-topic goes her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6D2811B-4F7D-1E70-1DDB-293FBB480BF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469902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7A8DA75-FB00-D9E8-94BB-23E6EDE3D2C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121408"/>
            <a:ext cx="6405279" cy="3651863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Topic goes here</a:t>
            </a:r>
          </a:p>
          <a:p>
            <a:pPr lvl="1"/>
            <a:r>
              <a:rPr lang="en-US"/>
              <a:t>Sub-topic goes her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63542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AAC23BB0-ECCE-A8BF-59DE-1AC543592B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569465"/>
            <a:ext cx="6405279" cy="338328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Insert table chart</a:t>
            </a:r>
          </a:p>
        </p:txBody>
      </p:sp>
    </p:spTree>
    <p:extLst>
      <p:ext uri="{BB962C8B-B14F-4D97-AF65-F5344CB8AC3E}">
        <p14:creationId xmlns:p14="http://schemas.microsoft.com/office/powerpoint/2010/main" val="186441783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F73C4CF6-3813-0C7F-6995-9DFCC05C2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569465"/>
            <a:ext cx="6405279" cy="338328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Insert table chart</a:t>
            </a:r>
          </a:p>
        </p:txBody>
      </p:sp>
    </p:spTree>
    <p:extLst>
      <p:ext uri="{BB962C8B-B14F-4D97-AF65-F5344CB8AC3E}">
        <p14:creationId xmlns:p14="http://schemas.microsoft.com/office/powerpoint/2010/main" val="361903797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AAC23BB0-ECCE-A8BF-59DE-1AC543592B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295144"/>
            <a:ext cx="6405279" cy="3383280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Topic goes here</a:t>
            </a:r>
          </a:p>
          <a:p>
            <a:pPr lvl="1"/>
            <a:r>
              <a:rPr lang="en-US"/>
              <a:t>Sub-topic goes her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507243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F73C4CF6-3813-0C7F-6995-9DFCC05C2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295144"/>
            <a:ext cx="6405279" cy="3383280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Topic goes here</a:t>
            </a:r>
          </a:p>
          <a:p>
            <a:pPr lvl="1"/>
            <a:r>
              <a:rPr lang="en-US"/>
              <a:t>Sub-topic goes her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266655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6405280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ont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958B4A9-FF0E-5E01-939D-8B8963B5E1F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5121" y="2136775"/>
            <a:ext cx="2369433" cy="3679825"/>
          </a:xfrm>
        </p:spPr>
        <p:txBody>
          <a:bodyPr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574EBD5-A878-C2F7-1B98-414683D3EA3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528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Add tab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9485D06-7DBB-D860-135D-3968C2AE3B3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960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ab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7816DC8-948A-4D9A-86B8-AA36E000F30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8392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ab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F0BA6F-6DE8-E572-EE40-3F4DD00FCE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3528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48B2648-EFDC-4E85-ADA6-3BF0253AB32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0960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82951DA-E01F-A040-D2B9-A2E4C8F21F3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8392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</p:spTree>
    <p:extLst>
      <p:ext uri="{BB962C8B-B14F-4D97-AF65-F5344CB8AC3E}">
        <p14:creationId xmlns:p14="http://schemas.microsoft.com/office/powerpoint/2010/main" val="67116477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3B4BA7AB-7730-19B3-538E-1FC93465E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291" t="28824" r="29453" b="1033"/>
          <a:stretch/>
        </p:blipFill>
        <p:spPr>
          <a:xfrm>
            <a:off x="5355170" y="-1"/>
            <a:ext cx="6836830" cy="66754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614236"/>
            <a:ext cx="4561239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574EBD5-A878-C2F7-1B98-414683D3EA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9599" y="2590800"/>
            <a:ext cx="4556761" cy="3200400"/>
          </a:xfrm>
        </p:spPr>
        <p:txBody>
          <a:bodyPr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F0BA6F-6DE8-E572-EE40-3F4DD00FCE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09599" y="1938528"/>
            <a:ext cx="4556761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opic Title</a:t>
            </a:r>
          </a:p>
        </p:txBody>
      </p:sp>
    </p:spTree>
    <p:extLst>
      <p:ext uri="{BB962C8B-B14F-4D97-AF65-F5344CB8AC3E}">
        <p14:creationId xmlns:p14="http://schemas.microsoft.com/office/powerpoint/2010/main" val="12895300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6405280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958B4A9-FF0E-5E01-939D-8B8963B5E1F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5121" y="2136775"/>
            <a:ext cx="2369433" cy="3679825"/>
          </a:xfrm>
        </p:spPr>
        <p:txBody>
          <a:bodyPr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574EBD5-A878-C2F7-1B98-414683D3EA3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528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Add tab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9485D06-7DBB-D860-135D-3968C2AE3B3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960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tab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7816DC8-948A-4D9A-86B8-AA36E000F30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8392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tab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F0BA6F-6DE8-E572-EE40-3F4DD00FCE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3528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 dirty="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48B2648-EFDC-4E85-ADA6-3BF0253AB32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0960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 dirty="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82951DA-E01F-A040-D2B9-A2E4C8F21F3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8392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 dirty="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</p:spTree>
    <p:extLst>
      <p:ext uri="{BB962C8B-B14F-4D97-AF65-F5344CB8AC3E}">
        <p14:creationId xmlns:p14="http://schemas.microsoft.com/office/powerpoint/2010/main" val="214963141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3427B2F-6A21-192B-1B7F-345925033D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291" t="28824" r="29453" b="1033"/>
          <a:stretch/>
        </p:blipFill>
        <p:spPr>
          <a:xfrm>
            <a:off x="5355170" y="-1"/>
            <a:ext cx="6836830" cy="66754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642123"/>
            <a:ext cx="5490879" cy="63649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642616"/>
            <a:ext cx="5490879" cy="3187816"/>
          </a:xfrm>
        </p:spPr>
        <p:txBody>
          <a:bodyPr>
            <a:noAutofit/>
          </a:bodyPr>
          <a:lstStyle>
            <a:lvl1pPr marL="285750" indent="-28575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Topic goes here</a:t>
            </a:r>
          </a:p>
          <a:p>
            <a:pPr lvl="1"/>
            <a:r>
              <a:rPr lang="en-US"/>
              <a:t>Sub-topic goes her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62FEE6E-D91A-AAEF-3DBE-92C78473E8F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09600" y="1938528"/>
            <a:ext cx="54864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opic Title</a:t>
            </a:r>
          </a:p>
        </p:txBody>
      </p:sp>
    </p:spTree>
    <p:extLst>
      <p:ext uri="{BB962C8B-B14F-4D97-AF65-F5344CB8AC3E}">
        <p14:creationId xmlns:p14="http://schemas.microsoft.com/office/powerpoint/2010/main" val="11593453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4806516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/>
              <a:t>Content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121408"/>
            <a:ext cx="4799798" cy="3651863"/>
          </a:xfrm>
        </p:spPr>
        <p:txBody>
          <a:bodyPr>
            <a:noAutofit/>
          </a:bodyPr>
          <a:lstStyle>
            <a:lvl1pPr marL="285750" indent="-28575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Topic goes here</a:t>
            </a:r>
          </a:p>
          <a:p>
            <a:pPr lvl="1"/>
            <a:r>
              <a:rPr lang="en-US"/>
              <a:t>Sub-topic goes her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993473E-2B47-0C6F-19ED-AA2C3FFC4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19483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4806516" cy="636494"/>
          </a:xfrm>
        </p:spPr>
        <p:txBody>
          <a:bodyPr/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ontent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3063241"/>
            <a:ext cx="4799798" cy="27614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1pPr>
            <a:lvl2pPr marL="261938" indent="-2619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100">
                <a:solidFill>
                  <a:schemeClr val="accent1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100">
                <a:solidFill>
                  <a:schemeClr val="accent1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1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Add tab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3F17D64-9D3B-C833-73E0-0D513B6C323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020824"/>
            <a:ext cx="3637695" cy="500719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131D0A-A6D5-5B51-BEC3-B6297761E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60881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88AD24B-4065-AB58-EB41-A2259242AB9C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012538" y="195067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2538" y="2423342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7016434" y="422519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B548721-0354-3DFF-6E2E-F7DC118950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68059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pic>
        <p:nvPicPr>
          <p:cNvPr id="6" name="Picture 5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DFB4BEA2-1B52-A7CF-9977-948D59186C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32088" y="117088"/>
            <a:ext cx="6623824" cy="66238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FAE43A8-7D69-D8E8-8803-71173C89262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0AD87C-005A-684E-789F-DC17C92D41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0595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pic>
        <p:nvPicPr>
          <p:cNvPr id="6" name="Picture 5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DFB4BEA2-1B52-A7CF-9977-948D59186C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84088" y="117088"/>
            <a:ext cx="6623824" cy="6623824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4672" y="2651760"/>
            <a:ext cx="2962656" cy="1554480"/>
          </a:xfrm>
        </p:spPr>
        <p:txBody>
          <a:bodyPr anchor="ctr"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56368DA-6188-6BE1-B9CE-CEB140471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148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F990B34-DCCC-0637-3A39-B888C31D72D7}"/>
              </a:ext>
            </a:extLst>
          </p:cNvPr>
          <p:cNvGrpSpPr/>
          <p:nvPr userDrawn="1"/>
        </p:nvGrpSpPr>
        <p:grpSpPr>
          <a:xfrm>
            <a:off x="5780124" y="351481"/>
            <a:ext cx="6127625" cy="6157860"/>
            <a:chOff x="5780124" y="351481"/>
            <a:chExt cx="6127625" cy="6157860"/>
          </a:xfrm>
        </p:grpSpPr>
        <p:pic>
          <p:nvPicPr>
            <p:cNvPr id="8" name="Picture 7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3A71B57-2416-0EE6-F643-5A3457CEBD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351481"/>
              <a:ext cx="1720011" cy="1739972"/>
            </a:xfrm>
            <a:prstGeom prst="rect">
              <a:avLst/>
            </a:prstGeom>
          </p:spPr>
        </p:pic>
        <p:pic>
          <p:nvPicPr>
            <p:cNvPr id="10" name="Picture 9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F078736-AFAA-AC3C-51E0-43894B5E6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2560425"/>
              <a:ext cx="1720011" cy="1739972"/>
            </a:xfrm>
            <a:prstGeom prst="rect">
              <a:avLst/>
            </a:prstGeom>
          </p:spPr>
        </p:pic>
        <p:pic>
          <p:nvPicPr>
            <p:cNvPr id="11" name="Picture 10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33D5C7F0-BD5F-6743-C95C-A1DAE9FC9B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4769369"/>
              <a:ext cx="1720011" cy="1739972"/>
            </a:xfrm>
            <a:prstGeom prst="rect">
              <a:avLst/>
            </a:prstGeom>
          </p:spPr>
        </p:pic>
        <p:pic>
          <p:nvPicPr>
            <p:cNvPr id="12" name="Picture 11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D462BB83-2009-8BC4-28EC-B5F96452B5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351481"/>
              <a:ext cx="1720011" cy="1739972"/>
            </a:xfrm>
            <a:prstGeom prst="rect">
              <a:avLst/>
            </a:prstGeom>
          </p:spPr>
        </p:pic>
        <p:pic>
          <p:nvPicPr>
            <p:cNvPr id="13" name="Picture 12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05A66E2-8E5D-11DC-089C-507161ED8F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2560425"/>
              <a:ext cx="1720011" cy="1739972"/>
            </a:xfrm>
            <a:prstGeom prst="rect">
              <a:avLst/>
            </a:prstGeom>
          </p:spPr>
        </p:pic>
        <p:pic>
          <p:nvPicPr>
            <p:cNvPr id="14" name="Picture 13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08A401AD-93D0-49A9-EE74-376EB8517C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4769369"/>
              <a:ext cx="1720011" cy="1739972"/>
            </a:xfrm>
            <a:prstGeom prst="rect">
              <a:avLst/>
            </a:prstGeom>
          </p:spPr>
        </p:pic>
        <p:pic>
          <p:nvPicPr>
            <p:cNvPr id="15" name="Picture 14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A1743CA-DFC0-C251-C271-BF787C74C3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351481"/>
              <a:ext cx="1720011" cy="1739972"/>
            </a:xfrm>
            <a:prstGeom prst="rect">
              <a:avLst/>
            </a:prstGeom>
          </p:spPr>
        </p:pic>
        <p:pic>
          <p:nvPicPr>
            <p:cNvPr id="16" name="Picture 15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26703AE7-3432-430B-8F0B-013571ECEB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2560425"/>
              <a:ext cx="1720011" cy="1739972"/>
            </a:xfrm>
            <a:prstGeom prst="rect">
              <a:avLst/>
            </a:prstGeom>
          </p:spPr>
        </p:pic>
        <p:pic>
          <p:nvPicPr>
            <p:cNvPr id="17" name="Picture 16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C2BE9E68-6658-7AB7-D401-28BF51195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4769369"/>
              <a:ext cx="1720011" cy="173997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1C741-2459-B0EB-B696-D51B2770FDD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453520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D75616-E1FA-6274-A4E4-AAB485146407}"/>
              </a:ext>
            </a:extLst>
          </p:cNvPr>
          <p:cNvGrpSpPr/>
          <p:nvPr userDrawn="1"/>
        </p:nvGrpSpPr>
        <p:grpSpPr>
          <a:xfrm>
            <a:off x="5758846" y="355955"/>
            <a:ext cx="6174573" cy="6153385"/>
            <a:chOff x="5758846" y="355955"/>
            <a:chExt cx="6174573" cy="6153385"/>
          </a:xfrm>
        </p:grpSpPr>
        <p:pic>
          <p:nvPicPr>
            <p:cNvPr id="6" name="Picture 5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D0DD864-94A9-9EF5-1089-07D04E4C2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355955"/>
              <a:ext cx="1715588" cy="1735497"/>
            </a:xfrm>
            <a:prstGeom prst="rect">
              <a:avLst/>
            </a:prstGeom>
          </p:spPr>
        </p:pic>
        <p:pic>
          <p:nvPicPr>
            <p:cNvPr id="18" name="Picture 17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42CBF60-482E-E42E-2502-459131822D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2564899"/>
              <a:ext cx="1715588" cy="1735497"/>
            </a:xfrm>
            <a:prstGeom prst="rect">
              <a:avLst/>
            </a:prstGeom>
          </p:spPr>
        </p:pic>
        <p:pic>
          <p:nvPicPr>
            <p:cNvPr id="19" name="Picture 18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42CB3768-444C-34F4-DAAA-C239D3BB14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4773843"/>
              <a:ext cx="1715588" cy="1735497"/>
            </a:xfrm>
            <a:prstGeom prst="rect">
              <a:avLst/>
            </a:prstGeom>
          </p:spPr>
        </p:pic>
        <p:pic>
          <p:nvPicPr>
            <p:cNvPr id="20" name="Picture 19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8AC1CE0B-C2CB-5E36-5A4E-C28212D909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355955"/>
              <a:ext cx="1715588" cy="1735497"/>
            </a:xfrm>
            <a:prstGeom prst="rect">
              <a:avLst/>
            </a:prstGeom>
          </p:spPr>
        </p:pic>
        <p:pic>
          <p:nvPicPr>
            <p:cNvPr id="21" name="Picture 20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66262E94-9A7F-D643-B3F9-A1FB24DB49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2564899"/>
              <a:ext cx="1715588" cy="1735497"/>
            </a:xfrm>
            <a:prstGeom prst="rect">
              <a:avLst/>
            </a:prstGeom>
          </p:spPr>
        </p:pic>
        <p:pic>
          <p:nvPicPr>
            <p:cNvPr id="22" name="Picture 21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2FBF6FA8-5D82-9460-508A-9AA3EB7E59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4773843"/>
              <a:ext cx="1715588" cy="1735497"/>
            </a:xfrm>
            <a:prstGeom prst="rect">
              <a:avLst/>
            </a:prstGeom>
          </p:spPr>
        </p:pic>
        <p:pic>
          <p:nvPicPr>
            <p:cNvPr id="23" name="Picture 22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4D8ADEC-3BB6-D09B-E946-126C1A462D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355955"/>
              <a:ext cx="1715588" cy="1735497"/>
            </a:xfrm>
            <a:prstGeom prst="rect">
              <a:avLst/>
            </a:prstGeom>
          </p:spPr>
        </p:pic>
        <p:pic>
          <p:nvPicPr>
            <p:cNvPr id="24" name="Picture 23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91554CB-ABB3-337E-B0B6-843EBE228F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2564899"/>
              <a:ext cx="1715588" cy="1735497"/>
            </a:xfrm>
            <a:prstGeom prst="rect">
              <a:avLst/>
            </a:prstGeom>
          </p:spPr>
        </p:pic>
        <p:pic>
          <p:nvPicPr>
            <p:cNvPr id="25" name="Picture 24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FDA5056B-4BB4-96C9-5431-A9BEE9D0D1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4773843"/>
              <a:ext cx="1715588" cy="173549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D28366-4C6B-15F1-2EC8-23DEC891C15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055963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4612463-897C-3480-2C0B-54B482310469}"/>
              </a:ext>
            </a:extLst>
          </p:cNvPr>
          <p:cNvGrpSpPr/>
          <p:nvPr userDrawn="1"/>
        </p:nvGrpSpPr>
        <p:grpSpPr>
          <a:xfrm>
            <a:off x="5763852" y="335015"/>
            <a:ext cx="6172051" cy="6190563"/>
            <a:chOff x="5763852" y="335015"/>
            <a:chExt cx="6172051" cy="6190563"/>
          </a:xfrm>
        </p:grpSpPr>
        <p:pic>
          <p:nvPicPr>
            <p:cNvPr id="6" name="Picture 5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9C9C109-2747-22A3-A27D-44D4E6B66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335015"/>
              <a:ext cx="1733615" cy="1752127"/>
            </a:xfrm>
            <a:prstGeom prst="rect">
              <a:avLst/>
            </a:prstGeom>
          </p:spPr>
        </p:pic>
        <p:pic>
          <p:nvPicPr>
            <p:cNvPr id="18" name="Picture 17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E0128AE-700F-0194-7F7B-0D1708E084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2554233"/>
              <a:ext cx="1733615" cy="1752127"/>
            </a:xfrm>
            <a:prstGeom prst="rect">
              <a:avLst/>
            </a:prstGeom>
          </p:spPr>
        </p:pic>
        <p:pic>
          <p:nvPicPr>
            <p:cNvPr id="19" name="Picture 18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323343E7-ACC5-9B5B-DCC4-D62B19AD66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4773451"/>
              <a:ext cx="1733615" cy="1752127"/>
            </a:xfrm>
            <a:prstGeom prst="rect">
              <a:avLst/>
            </a:prstGeom>
          </p:spPr>
        </p:pic>
        <p:pic>
          <p:nvPicPr>
            <p:cNvPr id="20" name="Picture 19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CF17C9E-40C9-A1B2-921B-A117E1445B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335015"/>
              <a:ext cx="1733615" cy="1752127"/>
            </a:xfrm>
            <a:prstGeom prst="rect">
              <a:avLst/>
            </a:prstGeom>
          </p:spPr>
        </p:pic>
        <p:pic>
          <p:nvPicPr>
            <p:cNvPr id="21" name="Picture 20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62D3AD15-40FB-E0AE-E3FD-E92E188E96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2554233"/>
              <a:ext cx="1733615" cy="1752127"/>
            </a:xfrm>
            <a:prstGeom prst="rect">
              <a:avLst/>
            </a:prstGeom>
          </p:spPr>
        </p:pic>
        <p:pic>
          <p:nvPicPr>
            <p:cNvPr id="22" name="Picture 21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B7CF3F1F-9F91-CF4A-FF07-FA15A22A9A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4773451"/>
              <a:ext cx="1733615" cy="1752127"/>
            </a:xfrm>
            <a:prstGeom prst="rect">
              <a:avLst/>
            </a:prstGeom>
          </p:spPr>
        </p:pic>
        <p:pic>
          <p:nvPicPr>
            <p:cNvPr id="23" name="Picture 22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D010AA3-929E-77D1-8103-2E11D2AEDB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335015"/>
              <a:ext cx="1733615" cy="1752127"/>
            </a:xfrm>
            <a:prstGeom prst="rect">
              <a:avLst/>
            </a:prstGeom>
          </p:spPr>
        </p:pic>
        <p:pic>
          <p:nvPicPr>
            <p:cNvPr id="24" name="Picture 23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281E6B5-D294-8C31-06F4-403B03B0CF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2554233"/>
              <a:ext cx="1733615" cy="1752127"/>
            </a:xfrm>
            <a:prstGeom prst="rect">
              <a:avLst/>
            </a:prstGeom>
          </p:spPr>
        </p:pic>
        <p:pic>
          <p:nvPicPr>
            <p:cNvPr id="25" name="Picture 24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DA0AFAAB-A69C-360D-13B4-236DA86E41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4773451"/>
              <a:ext cx="1733615" cy="175212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F652F3F-B68F-070A-0393-A10B967801F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674714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F717E2-4C55-360C-9F54-BFC432B482D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990B34-DCCC-0637-3A39-B888C31D72D7}"/>
              </a:ext>
            </a:extLst>
          </p:cNvPr>
          <p:cNvGrpSpPr/>
          <p:nvPr userDrawn="1"/>
        </p:nvGrpSpPr>
        <p:grpSpPr>
          <a:xfrm>
            <a:off x="5780124" y="351481"/>
            <a:ext cx="6127625" cy="6157860"/>
            <a:chOff x="5780124" y="351481"/>
            <a:chExt cx="6127625" cy="6157860"/>
          </a:xfrm>
        </p:grpSpPr>
        <p:pic>
          <p:nvPicPr>
            <p:cNvPr id="8" name="Picture 7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3A71B57-2416-0EE6-F643-5A3457CEBD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351481"/>
              <a:ext cx="1720011" cy="1739972"/>
            </a:xfrm>
            <a:prstGeom prst="rect">
              <a:avLst/>
            </a:prstGeom>
          </p:spPr>
        </p:pic>
        <p:pic>
          <p:nvPicPr>
            <p:cNvPr id="10" name="Picture 9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F078736-AFAA-AC3C-51E0-43894B5E6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2560425"/>
              <a:ext cx="1720011" cy="1739972"/>
            </a:xfrm>
            <a:prstGeom prst="rect">
              <a:avLst/>
            </a:prstGeom>
          </p:spPr>
        </p:pic>
        <p:pic>
          <p:nvPicPr>
            <p:cNvPr id="11" name="Picture 10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33D5C7F0-BD5F-6743-C95C-A1DAE9FC9B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4769369"/>
              <a:ext cx="1720011" cy="1739972"/>
            </a:xfrm>
            <a:prstGeom prst="rect">
              <a:avLst/>
            </a:prstGeom>
          </p:spPr>
        </p:pic>
        <p:pic>
          <p:nvPicPr>
            <p:cNvPr id="12" name="Picture 11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D462BB83-2009-8BC4-28EC-B5F96452B5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351481"/>
              <a:ext cx="1720011" cy="1739972"/>
            </a:xfrm>
            <a:prstGeom prst="rect">
              <a:avLst/>
            </a:prstGeom>
          </p:spPr>
        </p:pic>
        <p:pic>
          <p:nvPicPr>
            <p:cNvPr id="13" name="Picture 12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05A66E2-8E5D-11DC-089C-507161ED8F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2560425"/>
              <a:ext cx="1720011" cy="1739972"/>
            </a:xfrm>
            <a:prstGeom prst="rect">
              <a:avLst/>
            </a:prstGeom>
          </p:spPr>
        </p:pic>
        <p:pic>
          <p:nvPicPr>
            <p:cNvPr id="14" name="Picture 13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08A401AD-93D0-49A9-EE74-376EB8517C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4769369"/>
              <a:ext cx="1720011" cy="1739972"/>
            </a:xfrm>
            <a:prstGeom prst="rect">
              <a:avLst/>
            </a:prstGeom>
          </p:spPr>
        </p:pic>
        <p:pic>
          <p:nvPicPr>
            <p:cNvPr id="15" name="Picture 14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A1743CA-DFC0-C251-C271-BF787C74C3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351481"/>
              <a:ext cx="1720011" cy="1739972"/>
            </a:xfrm>
            <a:prstGeom prst="rect">
              <a:avLst/>
            </a:prstGeom>
          </p:spPr>
        </p:pic>
        <p:pic>
          <p:nvPicPr>
            <p:cNvPr id="16" name="Picture 15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26703AE7-3432-430B-8F0B-013571ECEB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2560425"/>
              <a:ext cx="1720011" cy="1739972"/>
            </a:xfrm>
            <a:prstGeom prst="rect">
              <a:avLst/>
            </a:prstGeom>
          </p:spPr>
        </p:pic>
        <p:pic>
          <p:nvPicPr>
            <p:cNvPr id="17" name="Picture 16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C2BE9E68-6658-7AB7-D401-28BF51195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4769369"/>
              <a:ext cx="1720011" cy="173997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4428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3B4BA7AB-7730-19B3-538E-1FC93465E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291" t="28824" r="29453" b="1033"/>
          <a:stretch/>
        </p:blipFill>
        <p:spPr>
          <a:xfrm>
            <a:off x="5355170" y="-1"/>
            <a:ext cx="6836830" cy="66754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614236"/>
            <a:ext cx="4561239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574EBD5-A878-C2F7-1B98-414683D3EA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9599" y="2590800"/>
            <a:ext cx="4556761" cy="3200400"/>
          </a:xfrm>
        </p:spPr>
        <p:txBody>
          <a:bodyPr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F0BA6F-6DE8-E572-EE40-3F4DD00FCE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09599" y="1938528"/>
            <a:ext cx="4556761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opic Title</a:t>
            </a:r>
          </a:p>
        </p:txBody>
      </p:sp>
    </p:spTree>
    <p:extLst>
      <p:ext uri="{BB962C8B-B14F-4D97-AF65-F5344CB8AC3E}">
        <p14:creationId xmlns:p14="http://schemas.microsoft.com/office/powerpoint/2010/main" val="250549227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D75616-E1FA-6274-A4E4-AAB485146407}"/>
              </a:ext>
            </a:extLst>
          </p:cNvPr>
          <p:cNvGrpSpPr/>
          <p:nvPr userDrawn="1"/>
        </p:nvGrpSpPr>
        <p:grpSpPr>
          <a:xfrm>
            <a:off x="5758846" y="355955"/>
            <a:ext cx="6174573" cy="6153385"/>
            <a:chOff x="5758846" y="355955"/>
            <a:chExt cx="6174573" cy="6153385"/>
          </a:xfrm>
        </p:grpSpPr>
        <p:pic>
          <p:nvPicPr>
            <p:cNvPr id="6" name="Picture 5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D0DD864-94A9-9EF5-1089-07D04E4C2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355955"/>
              <a:ext cx="1715588" cy="1735497"/>
            </a:xfrm>
            <a:prstGeom prst="rect">
              <a:avLst/>
            </a:prstGeom>
          </p:spPr>
        </p:pic>
        <p:pic>
          <p:nvPicPr>
            <p:cNvPr id="18" name="Picture 17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42CBF60-482E-E42E-2502-459131822D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2564899"/>
              <a:ext cx="1715588" cy="1735497"/>
            </a:xfrm>
            <a:prstGeom prst="rect">
              <a:avLst/>
            </a:prstGeom>
          </p:spPr>
        </p:pic>
        <p:pic>
          <p:nvPicPr>
            <p:cNvPr id="19" name="Picture 18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42CB3768-444C-34F4-DAAA-C239D3BB14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4773843"/>
              <a:ext cx="1715588" cy="1735497"/>
            </a:xfrm>
            <a:prstGeom prst="rect">
              <a:avLst/>
            </a:prstGeom>
          </p:spPr>
        </p:pic>
        <p:pic>
          <p:nvPicPr>
            <p:cNvPr id="20" name="Picture 19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8AC1CE0B-C2CB-5E36-5A4E-C28212D909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355955"/>
              <a:ext cx="1715588" cy="1735497"/>
            </a:xfrm>
            <a:prstGeom prst="rect">
              <a:avLst/>
            </a:prstGeom>
          </p:spPr>
        </p:pic>
        <p:pic>
          <p:nvPicPr>
            <p:cNvPr id="21" name="Picture 20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66262E94-9A7F-D643-B3F9-A1FB24DB49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2564899"/>
              <a:ext cx="1715588" cy="1735497"/>
            </a:xfrm>
            <a:prstGeom prst="rect">
              <a:avLst/>
            </a:prstGeom>
          </p:spPr>
        </p:pic>
        <p:pic>
          <p:nvPicPr>
            <p:cNvPr id="22" name="Picture 21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2FBF6FA8-5D82-9460-508A-9AA3EB7E59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4773843"/>
              <a:ext cx="1715588" cy="1735497"/>
            </a:xfrm>
            <a:prstGeom prst="rect">
              <a:avLst/>
            </a:prstGeom>
          </p:spPr>
        </p:pic>
        <p:pic>
          <p:nvPicPr>
            <p:cNvPr id="23" name="Picture 22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4D8ADEC-3BB6-D09B-E946-126C1A462D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355955"/>
              <a:ext cx="1715588" cy="1735497"/>
            </a:xfrm>
            <a:prstGeom prst="rect">
              <a:avLst/>
            </a:prstGeom>
          </p:spPr>
        </p:pic>
        <p:pic>
          <p:nvPicPr>
            <p:cNvPr id="24" name="Picture 23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91554CB-ABB3-337E-B0B6-843EBE228F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2564899"/>
              <a:ext cx="1715588" cy="1735497"/>
            </a:xfrm>
            <a:prstGeom prst="rect">
              <a:avLst/>
            </a:prstGeom>
          </p:spPr>
        </p:pic>
        <p:pic>
          <p:nvPicPr>
            <p:cNvPr id="25" name="Picture 24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FDA5056B-4BB4-96C9-5431-A9BEE9D0D1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4773843"/>
              <a:ext cx="1715588" cy="173549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DE6DA1B-09AD-6211-A6CB-0278735C7A7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379093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4612463-897C-3480-2C0B-54B482310469}"/>
              </a:ext>
            </a:extLst>
          </p:cNvPr>
          <p:cNvGrpSpPr/>
          <p:nvPr userDrawn="1"/>
        </p:nvGrpSpPr>
        <p:grpSpPr>
          <a:xfrm>
            <a:off x="5763852" y="335015"/>
            <a:ext cx="6172051" cy="6190563"/>
            <a:chOff x="5763852" y="335015"/>
            <a:chExt cx="6172051" cy="6190563"/>
          </a:xfrm>
        </p:grpSpPr>
        <p:pic>
          <p:nvPicPr>
            <p:cNvPr id="6" name="Picture 5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9C9C109-2747-22A3-A27D-44D4E6B66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335015"/>
              <a:ext cx="1733615" cy="1752127"/>
            </a:xfrm>
            <a:prstGeom prst="rect">
              <a:avLst/>
            </a:prstGeom>
          </p:spPr>
        </p:pic>
        <p:pic>
          <p:nvPicPr>
            <p:cNvPr id="18" name="Picture 17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E0128AE-700F-0194-7F7B-0D1708E084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2554233"/>
              <a:ext cx="1733615" cy="1752127"/>
            </a:xfrm>
            <a:prstGeom prst="rect">
              <a:avLst/>
            </a:prstGeom>
          </p:spPr>
        </p:pic>
        <p:pic>
          <p:nvPicPr>
            <p:cNvPr id="19" name="Picture 18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323343E7-ACC5-9B5B-DCC4-D62B19AD66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4773451"/>
              <a:ext cx="1733615" cy="1752127"/>
            </a:xfrm>
            <a:prstGeom prst="rect">
              <a:avLst/>
            </a:prstGeom>
          </p:spPr>
        </p:pic>
        <p:pic>
          <p:nvPicPr>
            <p:cNvPr id="20" name="Picture 19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CF17C9E-40C9-A1B2-921B-A117E1445B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335015"/>
              <a:ext cx="1733615" cy="1752127"/>
            </a:xfrm>
            <a:prstGeom prst="rect">
              <a:avLst/>
            </a:prstGeom>
          </p:spPr>
        </p:pic>
        <p:pic>
          <p:nvPicPr>
            <p:cNvPr id="21" name="Picture 20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62D3AD15-40FB-E0AE-E3FD-E92E188E96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2554233"/>
              <a:ext cx="1733615" cy="1752127"/>
            </a:xfrm>
            <a:prstGeom prst="rect">
              <a:avLst/>
            </a:prstGeom>
          </p:spPr>
        </p:pic>
        <p:pic>
          <p:nvPicPr>
            <p:cNvPr id="22" name="Picture 21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B7CF3F1F-9F91-CF4A-FF07-FA15A22A9A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4773451"/>
              <a:ext cx="1733615" cy="1752127"/>
            </a:xfrm>
            <a:prstGeom prst="rect">
              <a:avLst/>
            </a:prstGeom>
          </p:spPr>
        </p:pic>
        <p:pic>
          <p:nvPicPr>
            <p:cNvPr id="23" name="Picture 22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D010AA3-929E-77D1-8103-2E11D2AEDB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335015"/>
              <a:ext cx="1733615" cy="1752127"/>
            </a:xfrm>
            <a:prstGeom prst="rect">
              <a:avLst/>
            </a:prstGeom>
          </p:spPr>
        </p:pic>
        <p:pic>
          <p:nvPicPr>
            <p:cNvPr id="24" name="Picture 23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281E6B5-D294-8C31-06F4-403B03B0CF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2554233"/>
              <a:ext cx="1733615" cy="1752127"/>
            </a:xfrm>
            <a:prstGeom prst="rect">
              <a:avLst/>
            </a:prstGeom>
          </p:spPr>
        </p:pic>
        <p:pic>
          <p:nvPicPr>
            <p:cNvPr id="25" name="Picture 24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DA0AFAAB-A69C-360D-13B4-236DA86E41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4773451"/>
              <a:ext cx="1733615" cy="175212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0E2453-DB81-82A4-3405-D5E14BB626E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09393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121408"/>
            <a:ext cx="5026134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3429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739128" y="4315969"/>
            <a:ext cx="2423160" cy="185623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spcBef>
                <a:spcPts val="700"/>
              </a:spcBef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573768" y="4315969"/>
            <a:ext cx="2008632" cy="185623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spcBef>
                <a:spcPts val="700"/>
              </a:spcBef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B1228E4-8377-6E68-3D10-D550A75C2B2F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823329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490878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084832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01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pic>
        <p:nvPicPr>
          <p:cNvPr id="4" name="Picture 3" descr="A pattern of blue circles&#10;&#10;Description automatically generated">
            <a:extLst>
              <a:ext uri="{FF2B5EF4-FFF2-40B4-BE49-F238E27FC236}">
                <a16:creationId xmlns:a16="http://schemas.microsoft.com/office/drawing/2014/main" id="{399FE45F-0BCA-FC9E-A383-FEE0CCF44A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r="48001"/>
          <a:stretch/>
        </p:blipFill>
        <p:spPr>
          <a:xfrm>
            <a:off x="8969249" y="0"/>
            <a:ext cx="3222751" cy="685800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DF3524F-ADB9-5EB7-841A-A2297D3830C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05122" y="3941064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02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643888B-3D0A-A12B-2C3F-3CD26A3FFAA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15968" y="2084832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03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C859D8D-0525-93EA-1323-6E608B1CE62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15968" y="3941064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04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7C246B3-A122-2C67-A52A-6FFA2D84FCC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697827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490878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084832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0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pic>
        <p:nvPicPr>
          <p:cNvPr id="4" name="Picture 3" descr="A pattern of blue circles&#10;&#10;Description automatically generated">
            <a:extLst>
              <a:ext uri="{FF2B5EF4-FFF2-40B4-BE49-F238E27FC236}">
                <a16:creationId xmlns:a16="http://schemas.microsoft.com/office/drawing/2014/main" id="{399FE45F-0BCA-FC9E-A383-FEE0CCF44A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r="48001"/>
          <a:stretch/>
        </p:blipFill>
        <p:spPr>
          <a:xfrm>
            <a:off x="8969249" y="0"/>
            <a:ext cx="3222751" cy="685800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0A2C275-350A-2BF9-CB81-7E8AB07E777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5122" y="4407408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02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4C163C0-0F5B-5F76-E6E9-DA947DA50F6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15968" y="2084832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03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7F454EB-969E-695D-5173-002A800FC68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315968" y="4407408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04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B6D5804-1B6C-EBCD-B26D-AE39D7A1283D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424126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0" y="0"/>
            <a:ext cx="8501204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9"/>
            <a:ext cx="3383280" cy="3192758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 marL="233363" indent="0">
              <a:tabLst/>
              <a:defRPr sz="1800" b="0">
                <a:solidFill>
                  <a:schemeClr val="accent2"/>
                </a:solidFill>
              </a:defRPr>
            </a:lvl2pPr>
            <a:lvl3pPr marL="458788" indent="-225425">
              <a:tabLst/>
              <a:defRPr sz="1800" b="0">
                <a:solidFill>
                  <a:schemeClr val="accent2"/>
                </a:solidFill>
              </a:defRPr>
            </a:lvl3pPr>
            <a:lvl4pPr>
              <a:defRPr sz="1800" b="0">
                <a:solidFill>
                  <a:schemeClr val="accent2"/>
                </a:solidFill>
              </a:defRPr>
            </a:lvl4pPr>
            <a:lvl5pPr>
              <a:defRPr sz="18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10256" y="2534971"/>
            <a:ext cx="3681743" cy="432303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51960" y="2578608"/>
            <a:ext cx="3383280" cy="31975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>
                <a:solidFill>
                  <a:schemeClr val="accent2"/>
                </a:solidFill>
              </a:defRPr>
            </a:lvl1pPr>
            <a:lvl2pPr marL="179388" indent="0">
              <a:tabLst/>
              <a:defRPr lang="en-US" sz="1800" b="0" dirty="0">
                <a:solidFill>
                  <a:schemeClr val="accent2"/>
                </a:solidFill>
              </a:defRPr>
            </a:lvl2pPr>
            <a:lvl3pPr marL="350838" indent="-225425">
              <a:tabLst/>
              <a:defRPr lang="en-US" sz="1800" b="0" dirty="0">
                <a:solidFill>
                  <a:schemeClr val="accent2"/>
                </a:solidFill>
              </a:defRPr>
            </a:lvl3pPr>
            <a:lvl4pPr>
              <a:defRPr lang="en-US" sz="1800" b="0" dirty="0">
                <a:solidFill>
                  <a:schemeClr val="accent2"/>
                </a:solidFill>
              </a:defRPr>
            </a:lvl4pPr>
            <a:lvl5pPr>
              <a:defRPr lang="en-US" sz="1800" b="0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6840" y="1289304"/>
            <a:ext cx="2916574" cy="1091757"/>
          </a:xfrm>
        </p:spPr>
        <p:txBody>
          <a:bodyPr/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703600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F76D2A-5A5E-8755-0879-B729A3A7E693}"/>
              </a:ext>
            </a:extLst>
          </p:cNvPr>
          <p:cNvSpPr txBox="1"/>
          <p:nvPr userDrawn="1"/>
        </p:nvSpPr>
        <p:spPr>
          <a:xfrm>
            <a:off x="8894253" y="716770"/>
            <a:ext cx="5309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endParaRPr lang="en-US" sz="5400">
              <a:solidFill>
                <a:schemeClr val="accent3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E7F670-5779-2D85-ABED-6B3627E548E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697590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8506968" y="0"/>
            <a:ext cx="368503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9"/>
            <a:ext cx="3383280" cy="3192758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10257" y="2534971"/>
            <a:ext cx="3681743" cy="432303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51960" y="2578608"/>
            <a:ext cx="3383280" cy="31975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1" dirty="0">
                <a:solidFill>
                  <a:schemeClr val="accent1"/>
                </a:solidFill>
              </a:defRPr>
            </a:lvl1pPr>
            <a:lvl2pPr>
              <a:defRPr lang="en-US" sz="1400" dirty="0">
                <a:solidFill>
                  <a:schemeClr val="accent1"/>
                </a:solidFill>
              </a:defRPr>
            </a:lvl2pPr>
            <a:lvl3pPr>
              <a:defRPr lang="en-US" sz="1400" dirty="0">
                <a:solidFill>
                  <a:schemeClr val="accent1"/>
                </a:solidFill>
              </a:defRPr>
            </a:lvl3pPr>
            <a:lvl4pPr>
              <a:defRPr lang="en-US" sz="1400" dirty="0">
                <a:solidFill>
                  <a:schemeClr val="accent1"/>
                </a:solidFill>
              </a:defRPr>
            </a:lvl4pPr>
            <a:lvl5pPr>
              <a:defRPr lang="en-US" sz="1400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6840" y="1289304"/>
            <a:ext cx="2916574" cy="1091757"/>
          </a:xfr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703600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F76D2A-5A5E-8755-0879-B729A3A7E693}"/>
              </a:ext>
            </a:extLst>
          </p:cNvPr>
          <p:cNvSpPr txBox="1"/>
          <p:nvPr userDrawn="1"/>
        </p:nvSpPr>
        <p:spPr>
          <a:xfrm>
            <a:off x="8894253" y="716770"/>
            <a:ext cx="5309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endParaRPr lang="en-US" sz="5400">
              <a:solidFill>
                <a:schemeClr val="accent3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014DBAA-69D2-AFA3-2DF4-C93601325569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12966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578609"/>
            <a:ext cx="5026133" cy="3192758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 marL="233363" indent="0">
              <a:tabLst/>
              <a:defRPr sz="1800" b="0">
                <a:solidFill>
                  <a:schemeClr val="accent2"/>
                </a:solidFill>
              </a:defRPr>
            </a:lvl2pPr>
            <a:lvl3pPr marL="458788" indent="-225425">
              <a:tabLst/>
              <a:defRPr sz="1800" b="0">
                <a:solidFill>
                  <a:schemeClr val="accent2"/>
                </a:solidFill>
              </a:defRPr>
            </a:lvl3pPr>
            <a:lvl4pPr>
              <a:defRPr sz="1800" b="0">
                <a:solidFill>
                  <a:schemeClr val="accent2"/>
                </a:solidFill>
              </a:defRPr>
            </a:lvl4pPr>
            <a:lvl5pPr>
              <a:defRPr sz="18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502613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D77116FA-59E4-9678-35EA-2DD825686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1768" b="18271"/>
          <a:stretch/>
        </p:blipFill>
        <p:spPr>
          <a:xfrm>
            <a:off x="6096000" y="1253066"/>
            <a:ext cx="6096000" cy="560493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F514533-C94F-8609-93A6-A19790A94DC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7690634-037A-6A64-D161-5D5869497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94157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C23E17BE-2E48-0935-4279-C10DB90E51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1768" b="18271"/>
          <a:stretch/>
        </p:blipFill>
        <p:spPr>
          <a:xfrm>
            <a:off x="6096000" y="1253066"/>
            <a:ext cx="6096000" cy="560493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578609"/>
            <a:ext cx="5026133" cy="3192758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502613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9468717-5522-4DB6-361A-E875ABE8CCB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BBEADF4-725C-3FBB-E8F0-DD9218B3C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68566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0792" y="3720973"/>
            <a:ext cx="2981608" cy="2451227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4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D3DD303-98F8-790E-26F4-58B3AE82A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45B6BEB5-1754-B310-CBB5-DBEE19995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135"/>
          <a:stretch/>
        </p:blipFill>
        <p:spPr>
          <a:xfrm>
            <a:off x="719233" y="0"/>
            <a:ext cx="6909070" cy="609432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5ED32F-D900-C4C9-650D-3C1B3105E559}"/>
              </a:ext>
            </a:extLst>
          </p:cNvPr>
          <p:cNvSpPr txBox="1"/>
          <p:nvPr userDrawn="1"/>
        </p:nvSpPr>
        <p:spPr>
          <a:xfrm>
            <a:off x="7916163" y="3408680"/>
            <a:ext cx="6896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b="0" i="0">
                <a:solidFill>
                  <a:schemeClr val="accent3"/>
                </a:solidFill>
                <a:latin typeface="Flecha S Medium" panose="02050703060505060204" pitchFamily="18" charset="77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580489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3427B2F-6A21-192B-1B7F-345925033D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291" t="28824" r="29453" b="1033"/>
          <a:stretch/>
        </p:blipFill>
        <p:spPr>
          <a:xfrm>
            <a:off x="5355170" y="-1"/>
            <a:ext cx="6836830" cy="66754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642123"/>
            <a:ext cx="5490879" cy="6364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642616"/>
            <a:ext cx="5490879" cy="3187816"/>
          </a:xfrm>
        </p:spPr>
        <p:txBody>
          <a:bodyPr>
            <a:noAutofit/>
          </a:bodyPr>
          <a:lstStyle>
            <a:lvl1pPr marL="285750" indent="-28575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62FEE6E-D91A-AAEF-3DBE-92C78473E8F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09600" y="1938528"/>
            <a:ext cx="54864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opic Title</a:t>
            </a:r>
          </a:p>
        </p:txBody>
      </p:sp>
    </p:spTree>
    <p:extLst>
      <p:ext uri="{BB962C8B-B14F-4D97-AF65-F5344CB8AC3E}">
        <p14:creationId xmlns:p14="http://schemas.microsoft.com/office/powerpoint/2010/main" val="23878464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0792" y="3720973"/>
            <a:ext cx="2981608" cy="2451227"/>
          </a:xfrm>
        </p:spPr>
        <p:txBody>
          <a:bodyPr/>
          <a:lstStyle>
            <a:lvl1pPr>
              <a:defRPr sz="1800" b="0">
                <a:solidFill>
                  <a:schemeClr val="accent1"/>
                </a:solidFill>
              </a:defRPr>
            </a:lvl1pPr>
            <a:lvl2pPr>
              <a:defRPr sz="14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D3DD303-98F8-790E-26F4-58B3AE82A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45B6BEB5-1754-B310-CBB5-DBEE19995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135"/>
          <a:stretch/>
        </p:blipFill>
        <p:spPr>
          <a:xfrm>
            <a:off x="719233" y="0"/>
            <a:ext cx="6909070" cy="609432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9F404EE-B6C7-1493-016D-2B689B90D1B8}"/>
              </a:ext>
            </a:extLst>
          </p:cNvPr>
          <p:cNvSpPr txBox="1"/>
          <p:nvPr userDrawn="1"/>
        </p:nvSpPr>
        <p:spPr>
          <a:xfrm>
            <a:off x="7916163" y="3408680"/>
            <a:ext cx="6896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b="0" i="0">
                <a:solidFill>
                  <a:schemeClr val="accent3"/>
                </a:solidFill>
                <a:latin typeface="Flecha S Medium" panose="02050703060505060204" pitchFamily="18" charset="77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84681881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66183C46-1769-9A50-E51B-3A8FD115FD5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7868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813E447B-791E-6268-100D-AF8B7E6854E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46136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277868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6136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1042EB-F58E-FE11-9161-A504845C6B95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147906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905029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00457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179B86-FFB8-1DFC-5BBB-9FDCEE68427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495885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94B261-6A5E-C0F6-88A5-A53999340F7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791314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668AE1-3651-4DA2-66EE-C51F911F74C0}"/>
              </a:ext>
            </a:extLst>
          </p:cNvPr>
          <p:cNvSpPr txBox="1"/>
          <p:nvPr userDrawn="1"/>
        </p:nvSpPr>
        <p:spPr>
          <a:xfrm>
            <a:off x="609600" y="3159245"/>
            <a:ext cx="732893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ES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46DC47-A240-C2CA-8385-580BE4F48031}"/>
              </a:ext>
            </a:extLst>
          </p:cNvPr>
          <p:cNvSpPr txBox="1"/>
          <p:nvPr userDrawn="1"/>
        </p:nvSpPr>
        <p:spPr>
          <a:xfrm>
            <a:off x="2905028" y="3159245"/>
            <a:ext cx="1122423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Data</a:t>
            </a:r>
          </a:p>
          <a:p>
            <a:r>
              <a:rPr lang="en-US" sz="2200" b="0" i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sc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8B1383-3526-5203-3D8A-1F931ACCB4D1}"/>
              </a:ext>
            </a:extLst>
          </p:cNvPr>
          <p:cNvSpPr txBox="1"/>
          <p:nvPr userDrawn="1"/>
        </p:nvSpPr>
        <p:spPr>
          <a:xfrm>
            <a:off x="5200456" y="3159245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isk</a:t>
            </a:r>
          </a:p>
          <a:p>
            <a:r>
              <a:rPr lang="en-US" sz="2200" b="0" i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896AE5-095A-8745-1BAC-D9F71BCE188E}"/>
              </a:ext>
            </a:extLst>
          </p:cNvPr>
          <p:cNvSpPr txBox="1"/>
          <p:nvPr userDrawn="1"/>
        </p:nvSpPr>
        <p:spPr>
          <a:xfrm>
            <a:off x="7495884" y="3159245"/>
            <a:ext cx="1326004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esear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439CDA-DC34-EA39-3B6A-F7CCDABF2378}"/>
              </a:ext>
            </a:extLst>
          </p:cNvPr>
          <p:cNvSpPr txBox="1"/>
          <p:nvPr userDrawn="1"/>
        </p:nvSpPr>
        <p:spPr>
          <a:xfrm>
            <a:off x="9765637" y="3159245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Performance</a:t>
            </a:r>
          </a:p>
          <a:p>
            <a:r>
              <a:rPr lang="en-US" sz="2200" b="0" i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FF4D5CE-BBE2-5CA8-D232-F9E5EF28D8E7}"/>
              </a:ext>
            </a:extLst>
          </p:cNvPr>
          <p:cNvCxnSpPr>
            <a:cxnSpLocks/>
          </p:cNvCxnSpPr>
          <p:nvPr userDrawn="1"/>
        </p:nvCxnSpPr>
        <p:spPr>
          <a:xfrm>
            <a:off x="609600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7FB574-7D8F-BDBD-8EBC-50ADF9908533}"/>
              </a:ext>
            </a:extLst>
          </p:cNvPr>
          <p:cNvCxnSpPr>
            <a:cxnSpLocks/>
          </p:cNvCxnSpPr>
          <p:nvPr userDrawn="1"/>
        </p:nvCxnSpPr>
        <p:spPr>
          <a:xfrm>
            <a:off x="2905028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CD60AC4-0EDA-37B8-61A8-9DFA179959E3}"/>
              </a:ext>
            </a:extLst>
          </p:cNvPr>
          <p:cNvCxnSpPr>
            <a:cxnSpLocks/>
          </p:cNvCxnSpPr>
          <p:nvPr userDrawn="1"/>
        </p:nvCxnSpPr>
        <p:spPr>
          <a:xfrm>
            <a:off x="5200456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B2F06F-EC57-9192-83A9-FEA40616824A}"/>
              </a:ext>
            </a:extLst>
          </p:cNvPr>
          <p:cNvCxnSpPr>
            <a:cxnSpLocks/>
          </p:cNvCxnSpPr>
          <p:nvPr userDrawn="1"/>
        </p:nvCxnSpPr>
        <p:spPr>
          <a:xfrm>
            <a:off x="7495884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37196BA3-C288-8086-E479-4FBF9E497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1888832"/>
            <a:ext cx="810693" cy="810693"/>
          </a:xfrm>
          <a:prstGeom prst="rect">
            <a:avLst/>
          </a:prstGeom>
        </p:spPr>
      </p:pic>
      <p:pic>
        <p:nvPicPr>
          <p:cNvPr id="24" name="Picture 23" descr="A blue and black rectangles&#10;&#10;Description automatically generated">
            <a:extLst>
              <a:ext uri="{FF2B5EF4-FFF2-40B4-BE49-F238E27FC236}">
                <a16:creationId xmlns:a16="http://schemas.microsoft.com/office/drawing/2014/main" id="{29FB279F-F0E8-2F9A-6703-86F6DA49F3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05028" y="1923088"/>
            <a:ext cx="736474" cy="742183"/>
          </a:xfrm>
          <a:prstGeom prst="rect">
            <a:avLst/>
          </a:prstGeom>
        </p:spPr>
      </p:pic>
      <p:pic>
        <p:nvPicPr>
          <p:cNvPr id="25" name="Picture 24" descr="A blue gear with a black background&#10;&#10;Description automatically generated">
            <a:extLst>
              <a:ext uri="{FF2B5EF4-FFF2-40B4-BE49-F238E27FC236}">
                <a16:creationId xmlns:a16="http://schemas.microsoft.com/office/drawing/2014/main" id="{37265398-1D05-C3C7-10E3-5965EAD042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200456" y="1860287"/>
            <a:ext cx="650838" cy="804984"/>
          </a:xfrm>
          <a:prstGeom prst="rect">
            <a:avLst/>
          </a:prstGeom>
        </p:spPr>
      </p:pic>
      <p:pic>
        <p:nvPicPr>
          <p:cNvPr id="26" name="Picture 25" descr="A blue magnifying glass and a blue circle&#10;&#10;Description automatically generated">
            <a:extLst>
              <a:ext uri="{FF2B5EF4-FFF2-40B4-BE49-F238E27FC236}">
                <a16:creationId xmlns:a16="http://schemas.microsoft.com/office/drawing/2014/main" id="{F223D8AD-ACC1-7E26-22C9-7AAE2C025D3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95884" y="1836757"/>
            <a:ext cx="890620" cy="890620"/>
          </a:xfrm>
          <a:prstGeom prst="rect">
            <a:avLst/>
          </a:prstGeom>
        </p:spPr>
      </p:pic>
      <p:pic>
        <p:nvPicPr>
          <p:cNvPr id="27" name="Picture 26" descr="A blue and white clock&#10;&#10;Description automatically generated">
            <a:extLst>
              <a:ext uri="{FF2B5EF4-FFF2-40B4-BE49-F238E27FC236}">
                <a16:creationId xmlns:a16="http://schemas.microsoft.com/office/drawing/2014/main" id="{320E5A69-5809-42DD-3D6B-05F1B13E247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791313" y="2007613"/>
            <a:ext cx="844947" cy="616583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BBEC30-FCB4-DF6F-BEC0-45322FF2808C}"/>
              </a:ext>
            </a:extLst>
          </p:cNvPr>
          <p:cNvCxnSpPr>
            <a:cxnSpLocks/>
          </p:cNvCxnSpPr>
          <p:nvPr userDrawn="1"/>
        </p:nvCxnSpPr>
        <p:spPr>
          <a:xfrm>
            <a:off x="9791313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CCA62-5A2A-6719-2FF5-D957D797812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53824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01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8417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5874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179B86-FFB8-1DFC-5BBB-9FDCEE68427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43331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94B261-6A5E-C0F6-88A5-A53999340F7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70788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668AE1-3651-4DA2-66EE-C51F911F74C0}"/>
              </a:ext>
            </a:extLst>
          </p:cNvPr>
          <p:cNvSpPr txBox="1"/>
          <p:nvPr userDrawn="1"/>
        </p:nvSpPr>
        <p:spPr>
          <a:xfrm>
            <a:off x="609600" y="3602736"/>
            <a:ext cx="732893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ES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46DC47-A240-C2CA-8385-580BE4F48031}"/>
              </a:ext>
            </a:extLst>
          </p:cNvPr>
          <p:cNvSpPr txBox="1"/>
          <p:nvPr userDrawn="1"/>
        </p:nvSpPr>
        <p:spPr>
          <a:xfrm>
            <a:off x="2884171" y="3602736"/>
            <a:ext cx="1122423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Data</a:t>
            </a:r>
          </a:p>
          <a:p>
            <a:r>
              <a:rPr lang="en-US" sz="1800" b="0" i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sc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8B1383-3526-5203-3D8A-1F931ACCB4D1}"/>
              </a:ext>
            </a:extLst>
          </p:cNvPr>
          <p:cNvSpPr txBox="1"/>
          <p:nvPr userDrawn="1"/>
        </p:nvSpPr>
        <p:spPr>
          <a:xfrm>
            <a:off x="5158741" y="3602736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isk</a:t>
            </a:r>
          </a:p>
          <a:p>
            <a:r>
              <a:rPr lang="en-US" sz="1800" b="0" i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896AE5-095A-8745-1BAC-D9F71BCE188E}"/>
              </a:ext>
            </a:extLst>
          </p:cNvPr>
          <p:cNvSpPr txBox="1"/>
          <p:nvPr userDrawn="1"/>
        </p:nvSpPr>
        <p:spPr>
          <a:xfrm>
            <a:off x="7433311" y="3602736"/>
            <a:ext cx="1326004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esear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439CDA-DC34-EA39-3B6A-F7CCDABF2378}"/>
              </a:ext>
            </a:extLst>
          </p:cNvPr>
          <p:cNvSpPr txBox="1"/>
          <p:nvPr userDrawn="1"/>
        </p:nvSpPr>
        <p:spPr>
          <a:xfrm>
            <a:off x="9707881" y="3602736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Performance</a:t>
            </a:r>
          </a:p>
          <a:p>
            <a:r>
              <a:rPr lang="en-US" sz="1800" b="0" i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FF4D5CE-BBE2-5CA8-D232-F9E5EF28D8E7}"/>
              </a:ext>
            </a:extLst>
          </p:cNvPr>
          <p:cNvCxnSpPr>
            <a:cxnSpLocks/>
          </p:cNvCxnSpPr>
          <p:nvPr userDrawn="1"/>
        </p:nvCxnSpPr>
        <p:spPr>
          <a:xfrm>
            <a:off x="60960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7FB574-7D8F-BDBD-8EBC-50ADF9908533}"/>
              </a:ext>
            </a:extLst>
          </p:cNvPr>
          <p:cNvCxnSpPr>
            <a:cxnSpLocks/>
          </p:cNvCxnSpPr>
          <p:nvPr userDrawn="1"/>
        </p:nvCxnSpPr>
        <p:spPr>
          <a:xfrm>
            <a:off x="288417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CD60AC4-0EDA-37B8-61A8-9DFA179959E3}"/>
              </a:ext>
            </a:extLst>
          </p:cNvPr>
          <p:cNvCxnSpPr>
            <a:cxnSpLocks/>
          </p:cNvCxnSpPr>
          <p:nvPr userDrawn="1"/>
        </p:nvCxnSpPr>
        <p:spPr>
          <a:xfrm>
            <a:off x="515874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B2F06F-EC57-9192-83A9-FEA40616824A}"/>
              </a:ext>
            </a:extLst>
          </p:cNvPr>
          <p:cNvCxnSpPr>
            <a:cxnSpLocks/>
          </p:cNvCxnSpPr>
          <p:nvPr userDrawn="1"/>
        </p:nvCxnSpPr>
        <p:spPr>
          <a:xfrm>
            <a:off x="743331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BBEC30-FCB4-DF6F-BEC0-45322FF2808C}"/>
              </a:ext>
            </a:extLst>
          </p:cNvPr>
          <p:cNvCxnSpPr>
            <a:cxnSpLocks/>
          </p:cNvCxnSpPr>
          <p:nvPr userDrawn="1"/>
        </p:nvCxnSpPr>
        <p:spPr>
          <a:xfrm>
            <a:off x="970788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ue and black rectangles&#10;&#10;Description automatically generated">
            <a:extLst>
              <a:ext uri="{FF2B5EF4-FFF2-40B4-BE49-F238E27FC236}">
                <a16:creationId xmlns:a16="http://schemas.microsoft.com/office/drawing/2014/main" id="{A5C11F12-075B-CCED-5251-252E655EC6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813" y="2066403"/>
            <a:ext cx="1047233" cy="1055351"/>
          </a:xfrm>
          <a:prstGeom prst="rect">
            <a:avLst/>
          </a:prstGeom>
        </p:spPr>
      </p:pic>
      <p:pic>
        <p:nvPicPr>
          <p:cNvPr id="10" name="Picture 9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C4F01B50-B84D-E3F7-F532-B7BDD34E7D9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0475" y="2021962"/>
            <a:ext cx="1152768" cy="1152768"/>
          </a:xfrm>
          <a:prstGeom prst="rect">
            <a:avLst/>
          </a:prstGeom>
        </p:spPr>
      </p:pic>
      <p:pic>
        <p:nvPicPr>
          <p:cNvPr id="11" name="Picture 10" descr="A blue and white clock&#10;&#10;Description automatically generated">
            <a:extLst>
              <a:ext uri="{FF2B5EF4-FFF2-40B4-BE49-F238E27FC236}">
                <a16:creationId xmlns:a16="http://schemas.microsoft.com/office/drawing/2014/main" id="{B6223589-A946-B8F9-23DB-3CB298CB08A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44401" y="2155701"/>
            <a:ext cx="1201477" cy="876753"/>
          </a:xfrm>
          <a:prstGeom prst="rect">
            <a:avLst/>
          </a:prstGeom>
        </p:spPr>
      </p:pic>
      <p:pic>
        <p:nvPicPr>
          <p:cNvPr id="29" name="Picture 28" descr="A blue magnifying glass and a blue circle&#10;&#10;Description automatically generated">
            <a:extLst>
              <a:ext uri="{FF2B5EF4-FFF2-40B4-BE49-F238E27FC236}">
                <a16:creationId xmlns:a16="http://schemas.microsoft.com/office/drawing/2014/main" id="{5BF9C195-907E-A813-87A2-783B0C9432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37359" y="1977104"/>
            <a:ext cx="1266421" cy="1266421"/>
          </a:xfrm>
          <a:prstGeom prst="rect">
            <a:avLst/>
          </a:prstGeom>
        </p:spPr>
      </p:pic>
      <p:pic>
        <p:nvPicPr>
          <p:cNvPr id="30" name="Picture 29" descr="A blue gear with a black background&#10;&#10;Description automatically generated">
            <a:extLst>
              <a:ext uri="{FF2B5EF4-FFF2-40B4-BE49-F238E27FC236}">
                <a16:creationId xmlns:a16="http://schemas.microsoft.com/office/drawing/2014/main" id="{D188576F-F6D8-E7B1-C1FA-C0F82357D89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633268" y="1977104"/>
            <a:ext cx="925462" cy="1144651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88E93F6-68CD-29D8-FD48-BE252C6D1CB9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240398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521" y="1276539"/>
            <a:ext cx="4068025" cy="57036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459736"/>
            <a:ext cx="4953707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266DC31C-6F0B-47FA-6872-96690E81BF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1568" y="511033"/>
            <a:ext cx="1101849" cy="1101849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84D9861-A635-D728-8C5A-C5A03E8551B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53328" y="2459736"/>
            <a:ext cx="4953707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3F5CF95-46EC-A5AA-8BA2-26E8B0B1B5C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2027521" y="94483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412875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286000"/>
            <a:ext cx="10977279" cy="3334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603371D-95A1-CE04-CB51-17193AB3C4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740219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2729" y="860613"/>
            <a:ext cx="3669671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60382B-A8FB-9E60-A6B8-2CA3707784C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912729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921380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88E2E2C-E1D8-3600-1F6D-487C3A0617EA}"/>
              </a:ext>
            </a:extLst>
          </p:cNvPr>
          <p:cNvSpPr/>
          <p:nvPr userDrawn="1"/>
        </p:nvSpPr>
        <p:spPr>
          <a:xfrm>
            <a:off x="5169529" y="0"/>
            <a:ext cx="70224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4111734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8"/>
            <a:ext cx="4111734" cy="3197503"/>
          </a:xfrm>
        </p:spPr>
        <p:txBody>
          <a:bodyPr>
            <a:no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699A093-C444-B416-3E2D-72058A615DD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4102681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BD6302A-207F-4F17-1921-4825B0CF07F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96000" y="4434840"/>
            <a:ext cx="5486400" cy="1737360"/>
          </a:xfrm>
        </p:spPr>
        <p:txBody>
          <a:bodyPr numCol="2"/>
          <a:lstStyle>
            <a:lvl1pPr>
              <a:defRPr sz="1200" b="1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A26EB27-5C47-E5B7-0D16-CBAAF9935A4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96000" y="687388"/>
            <a:ext cx="5486400" cy="27699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0D8C723B-6EE2-FE37-A79E-37DAD9824EE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096000" y="1168400"/>
            <a:ext cx="5486400" cy="2914650"/>
          </a:xfrm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/>
              <a:t>Insert Char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2022A4A-39DB-30EE-2119-7D09252705AC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977179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342900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121408"/>
            <a:ext cx="3429000" cy="3660827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BFF57EF-97E3-11A4-1100-F38E0C6315BC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84391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0DC3361-9B01-BF52-793E-777D7F6293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853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20FC08E-7489-D139-3331-DB3981897D3A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6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C45C1BA-960D-125F-2C6F-A1E06878F1D7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096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F8094E2-804D-3F0D-FE87-4E4FAEC33F7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6096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2912979A-3C2A-AAD9-2B4C-184A98317901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4577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811D3531-3E96-0C28-F17B-05B39C43768C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44577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50CB65E5-4F19-9839-AB0D-BEC289F2A14C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4577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45D58218-D6D5-C2FC-BF9C-B24A0CCB028A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3058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0106B269-D456-8C25-9ABE-23476151D9EB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83058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A260AE45-3B28-335B-BD74-2819BC10A7CF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83058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FA8399-0448-E39F-9EC1-11FD493244E3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20853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7C4CDCA-94F9-00DC-51EF-E7F4F84BC57D}"/>
              </a:ext>
            </a:extLst>
          </p:cNvPr>
          <p:cNvSpPr>
            <a:spLocks noGrp="1"/>
          </p:cNvSpPr>
          <p:nvPr>
            <p:ph idx="31"/>
          </p:nvPr>
        </p:nvSpPr>
        <p:spPr>
          <a:xfrm>
            <a:off x="20853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576AAE9-01C7-0C9D-92FA-D90724C371DD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59334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55807-A98D-DABA-0A32-DFBA17F3DF67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59334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82C269D3-7ACC-997D-C150-365315A2422B}"/>
              </a:ext>
            </a:extLst>
          </p:cNvPr>
          <p:cNvSpPr>
            <a:spLocks noGrp="1"/>
          </p:cNvSpPr>
          <p:nvPr>
            <p:ph idx="34"/>
          </p:nvPr>
        </p:nvSpPr>
        <p:spPr>
          <a:xfrm>
            <a:off x="59334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FAB9A17-A3DF-E1E8-217B-6F4A8FF54198}"/>
              </a:ext>
            </a:extLst>
          </p:cNvPr>
          <p:cNvSpPr>
            <a:spLocks noGrp="1"/>
          </p:cNvSpPr>
          <p:nvPr>
            <p:ph idx="35"/>
          </p:nvPr>
        </p:nvSpPr>
        <p:spPr>
          <a:xfrm>
            <a:off x="97815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BB46A8A3-D9DE-81A1-D910-4450032D5812}"/>
              </a:ext>
            </a:extLst>
          </p:cNvPr>
          <p:cNvSpPr>
            <a:spLocks noGrp="1"/>
          </p:cNvSpPr>
          <p:nvPr>
            <p:ph idx="36"/>
          </p:nvPr>
        </p:nvSpPr>
        <p:spPr>
          <a:xfrm>
            <a:off x="97815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71A69FD0-1F85-3AFC-222B-2A689BA17EE7}"/>
              </a:ext>
            </a:extLst>
          </p:cNvPr>
          <p:cNvSpPr>
            <a:spLocks noGrp="1"/>
          </p:cNvSpPr>
          <p:nvPr>
            <p:ph idx="37"/>
          </p:nvPr>
        </p:nvSpPr>
        <p:spPr>
          <a:xfrm>
            <a:off x="97815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8D29BAD-2050-638E-B0CB-6FAC30A2E75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6814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BE351D0F-548B-C8B5-E4F5-27C0BA3FE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0585" t="36257" r="9098" b="16089"/>
          <a:stretch/>
        </p:blipFill>
        <p:spPr>
          <a:xfrm>
            <a:off x="0" y="0"/>
            <a:ext cx="8679977" cy="6858000"/>
          </a:xfrm>
          <a:prstGeom prst="rect">
            <a:avLst/>
          </a:prstGeom>
        </p:spPr>
      </p:pic>
      <p:pic>
        <p:nvPicPr>
          <p:cNvPr id="6" name="Picture 5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EDED7CF9-F191-CABB-B8EC-BAFEE23BFDE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1350" y="510266"/>
            <a:ext cx="2741522" cy="59297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210100"/>
            <a:ext cx="59436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solidFill>
                  <a:schemeClr val="accent2"/>
                </a:solidFill>
              </a:rPr>
              <a:t>Presentation</a:t>
            </a:r>
            <a:br>
              <a:rPr lang="en-US" dirty="0">
                <a:solidFill>
                  <a:schemeClr val="accent2"/>
                </a:solidFill>
              </a:rPr>
            </a:br>
            <a:r>
              <a:rPr lang="en-US" dirty="0">
                <a:solidFill>
                  <a:schemeClr val="accent2"/>
                </a:solidFill>
              </a:rPr>
              <a:t>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D6FA52-BDDD-A4CC-2EB6-7315D0FFCA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3504" y="4198555"/>
            <a:ext cx="3657600" cy="215444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irst Last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21F297B-0637-9ABD-12E3-5428E0F0B6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504" y="4443984"/>
            <a:ext cx="3657600" cy="215444"/>
          </a:xfrm>
        </p:spPr>
        <p:txBody>
          <a:bodyPr>
            <a:noAutofit/>
          </a:bodyPr>
          <a:lstStyle>
            <a:lvl1pPr>
              <a:defRPr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Month xx, </a:t>
            </a:r>
            <a:r>
              <a:rPr lang="en-US" dirty="0" err="1"/>
              <a:t>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2628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4806516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ontent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121408"/>
            <a:ext cx="4799798" cy="3651863"/>
          </a:xfrm>
        </p:spPr>
        <p:txBody>
          <a:bodyPr>
            <a:noAutofit/>
          </a:bodyPr>
          <a:lstStyle>
            <a:lvl1pPr marL="285750" indent="-28575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993473E-2B47-0C6F-19ED-AA2C3FFC4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98713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66183C46-1769-9A50-E51B-3A8FD115FD5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7868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813E447B-791E-6268-100D-AF8B7E6854E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46136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A88A16-66AC-9CAC-3917-DA287ECE0B7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7868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88227DF-7FC1-0AFC-418A-D46220D35C8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946136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6EEB533-E99D-D8DB-B98C-3784DC7621F5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1358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361688"/>
            <a:ext cx="2743200" cy="14868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4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664208"/>
            <a:ext cx="2286000" cy="22860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A88A16-66AC-9CAC-3917-DA287ECE0B7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9392" y="1664208"/>
            <a:ext cx="3474720" cy="401973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1500"/>
              </a:spcBef>
              <a:defRPr lang="en-US" sz="1800" b="0" dirty="0">
                <a:solidFill>
                  <a:schemeClr val="accent2"/>
                </a:solidFill>
                <a:latin typeface="+mn-lt"/>
              </a:defRPr>
            </a:lvl1pPr>
            <a:lvl2pPr marL="233363" indent="-225425">
              <a:spcAft>
                <a:spcPts val="500"/>
              </a:spcAft>
              <a:buFont typeface="Arial" panose="020B0604020202020204" pitchFamily="34" charset="0"/>
              <a:buChar char="•"/>
              <a:tabLst/>
              <a:defRPr lang="en-US" sz="1800" dirty="0">
                <a:solidFill>
                  <a:schemeClr val="accent2"/>
                </a:solidFill>
                <a:latin typeface="+mn-lt"/>
              </a:defRPr>
            </a:lvl2pPr>
            <a:lvl3pPr marL="233363" indent="0">
              <a:spcBef>
                <a:spcPts val="0"/>
              </a:spcBef>
              <a:buNone/>
              <a:tabLst/>
              <a:defRPr sz="1800">
                <a:solidFill>
                  <a:schemeClr val="accent2"/>
                </a:solidFill>
                <a:latin typeface="+mn-lt"/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88227DF-7FC1-0AFC-418A-D46220D35C8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936992" y="1664208"/>
            <a:ext cx="3474720" cy="401973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1500"/>
              </a:spcBef>
              <a:defRPr lang="en-US" sz="1800" b="0" dirty="0">
                <a:solidFill>
                  <a:schemeClr val="accent2"/>
                </a:solidFill>
                <a:latin typeface="+mn-lt"/>
              </a:defRPr>
            </a:lvl1pPr>
            <a:lvl2pPr marL="233363" indent="-225425">
              <a:spcAft>
                <a:spcPts val="500"/>
              </a:spcAft>
              <a:buFont typeface="Arial" panose="020B0604020202020204" pitchFamily="34" charset="0"/>
              <a:buChar char="•"/>
              <a:tabLst/>
              <a:defRPr lang="en-US" sz="1800" dirty="0">
                <a:solidFill>
                  <a:schemeClr val="accent2"/>
                </a:solidFill>
                <a:latin typeface="+mn-lt"/>
              </a:defRPr>
            </a:lvl2pPr>
            <a:lvl3pPr marL="233363" indent="0">
              <a:spcBef>
                <a:spcPts val="0"/>
              </a:spcBef>
              <a:buNone/>
              <a:tabLst/>
              <a:defRPr sz="1800">
                <a:solidFill>
                  <a:schemeClr val="accent2"/>
                </a:solidFill>
                <a:latin typeface="+mn-lt"/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A93A3B2-0AB2-C90D-501D-D2452C06A7C1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123087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squares on a black background&#10;&#10;Description automatically generated">
            <a:extLst>
              <a:ext uri="{FF2B5EF4-FFF2-40B4-BE49-F238E27FC236}">
                <a16:creationId xmlns:a16="http://schemas.microsoft.com/office/drawing/2014/main" id="{60825B88-96B2-9387-961C-9017F09ECF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74229" y="740229"/>
            <a:ext cx="6117771" cy="61177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38488"/>
            <a:ext cx="45720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Section title goes her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9877448-ED28-7E48-23E9-7E77F3D4C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36208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C458318-B554-9EFD-B994-7340E4C37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F67FB2-BC35-3F89-183A-082341696DF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272479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5D0B882-7E2D-3A5C-E1AE-9A2AB120430D}"/>
              </a:ext>
            </a:extLst>
          </p:cNvPr>
          <p:cNvGrpSpPr/>
          <p:nvPr userDrawn="1"/>
        </p:nvGrpSpPr>
        <p:grpSpPr>
          <a:xfrm>
            <a:off x="5154334" y="684914"/>
            <a:ext cx="7053164" cy="5173810"/>
            <a:chOff x="6378853" y="2598509"/>
            <a:chExt cx="5813147" cy="4264203"/>
          </a:xfrm>
        </p:grpSpPr>
        <p:pic>
          <p:nvPicPr>
            <p:cNvPr id="5" name="Picture 4" descr="A blue rectangle with black border&#10;&#10;Description automatically generated">
              <a:extLst>
                <a:ext uri="{FF2B5EF4-FFF2-40B4-BE49-F238E27FC236}">
                  <a16:creationId xmlns:a16="http://schemas.microsoft.com/office/drawing/2014/main" id="{5E6FE1D3-52BD-8A3E-4ECB-BBB0BD4D82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78363" y="3148888"/>
              <a:ext cx="5213637" cy="3713824"/>
            </a:xfrm>
            <a:prstGeom prst="rect">
              <a:avLst/>
            </a:prstGeom>
          </p:spPr>
        </p:pic>
        <p:pic>
          <p:nvPicPr>
            <p:cNvPr id="6" name="Picture 5" descr="A screen shot of numbers and symbols&#10;&#10;Description automatically generated">
              <a:extLst>
                <a:ext uri="{FF2B5EF4-FFF2-40B4-BE49-F238E27FC236}">
                  <a16:creationId xmlns:a16="http://schemas.microsoft.com/office/drawing/2014/main" id="{9317EB54-6219-B6DD-7939-CDB6007B9E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929" t="8347" r="2" b="8"/>
            <a:stretch/>
          </p:blipFill>
          <p:spPr>
            <a:xfrm>
              <a:off x="6378853" y="2598509"/>
              <a:ext cx="4967788" cy="3381468"/>
            </a:xfrm>
            <a:prstGeom prst="rect">
              <a:avLst/>
            </a:prstGeom>
          </p:spPr>
        </p:pic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BD1111D-006B-AC28-884B-A419711E06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55917" y="684913"/>
            <a:ext cx="6025896" cy="4105656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38488"/>
            <a:ext cx="45720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Section title</a:t>
            </a:r>
            <a:br>
              <a:rPr lang="en-US">
                <a:solidFill>
                  <a:schemeClr val="accent2"/>
                </a:solidFill>
              </a:rPr>
            </a:br>
            <a:r>
              <a:rPr lang="en-US">
                <a:solidFill>
                  <a:schemeClr val="accent2"/>
                </a:solidFill>
              </a:rPr>
              <a:t>goes her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9877448-ED28-7E48-23E9-7E77F3D4C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36208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C458318-B554-9EFD-B994-7340E4C37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9D0DD24-4288-5627-4EFC-6A48B7B7594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109993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47BE3F58-CAAB-5707-08D5-68AEE1A17A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79628" y="1862868"/>
            <a:ext cx="5012372" cy="4995132"/>
          </a:xfrm>
          <a:prstGeom prst="rect">
            <a:avLst/>
          </a:prstGeom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687388"/>
            <a:ext cx="4572000" cy="4572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20EBA34-B0FF-DBC0-045B-B5B66EFA3EB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73930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ue squares on a black background&#10;&#10;Description automatically generated">
            <a:extLst>
              <a:ext uri="{FF2B5EF4-FFF2-40B4-BE49-F238E27FC236}">
                <a16:creationId xmlns:a16="http://schemas.microsoft.com/office/drawing/2014/main" id="{82EC82EF-3E6E-E271-E522-D403457BDB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74229" y="740229"/>
            <a:ext cx="6117771" cy="61177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1C54A4-7120-3603-B48A-3C23C424AA8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32151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rectangle with black border&#10;&#10;Description automatically generated">
            <a:extLst>
              <a:ext uri="{FF2B5EF4-FFF2-40B4-BE49-F238E27FC236}">
                <a16:creationId xmlns:a16="http://schemas.microsoft.com/office/drawing/2014/main" id="{8EF0AD21-194F-3CFE-20A0-FC3F89D15F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5822"/>
          <a:stretch/>
        </p:blipFill>
        <p:spPr>
          <a:xfrm>
            <a:off x="6089229" y="1261546"/>
            <a:ext cx="6102770" cy="5164297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480CAE2C-65D2-72C5-0D74-825ABBD21C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19106" y="861569"/>
            <a:ext cx="6473952" cy="4306824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5B326-1C84-D77B-065E-AA7C7E34FDA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701253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47BE3F58-CAAB-5707-08D5-68AEE1A17A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79628" y="1862868"/>
            <a:ext cx="5012372" cy="4995132"/>
          </a:xfrm>
          <a:prstGeom prst="rect">
            <a:avLst/>
          </a:prstGeom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46520" y="1124712"/>
            <a:ext cx="4087368" cy="4087368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D7C9A64-1433-09DB-3598-B26FBD63920B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643283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87FAD20-C231-D0C9-1404-B5C84F7032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5602" r="28360"/>
          <a:stretch/>
        </p:blipFill>
        <p:spPr>
          <a:xfrm>
            <a:off x="4649551" y="247439"/>
            <a:ext cx="7542449" cy="63631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A1C71EE-6D02-2C69-FCD6-00D6A254C5C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666717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29AC916-8EE2-F611-6DC5-5ABC767786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2" r="21347"/>
          <a:stretch/>
        </p:blipFill>
        <p:spPr>
          <a:xfrm>
            <a:off x="5953961" y="441313"/>
            <a:ext cx="6238039" cy="5975374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65487F1-C21A-94A8-1632-58F818A2E1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4712" y="441313"/>
            <a:ext cx="5970270" cy="5970270"/>
          </a:xfrm>
          <a:prstGeom prst="diamond">
            <a:avLst/>
          </a:prstGeo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071D2F-74BD-7611-B1AB-F968A8BE23D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838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4806516" cy="636494"/>
          </a:xfrm>
        </p:spPr>
        <p:txBody>
          <a:bodyPr/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ontent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3063241"/>
            <a:ext cx="4799798" cy="27614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1pPr>
            <a:lvl2pPr marL="261938" indent="-2619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100">
                <a:solidFill>
                  <a:schemeClr val="accent1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100">
                <a:solidFill>
                  <a:schemeClr val="accent1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1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Add tab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3F17D64-9D3B-C833-73E0-0D513B6C323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020824"/>
            <a:ext cx="3637695" cy="500719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131D0A-A6D5-5B51-BEC3-B6297761E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74050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25FAC0F-D95A-58F0-6CC0-6EB4B98A9F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2" r="21347"/>
          <a:stretch/>
        </p:blipFill>
        <p:spPr>
          <a:xfrm>
            <a:off x="5953961" y="441313"/>
            <a:ext cx="6238039" cy="5975374"/>
          </a:xfrm>
          <a:prstGeom prst="rect">
            <a:avLst/>
          </a:prstGeom>
        </p:spPr>
      </p:pic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F32BC729-F69F-41DF-21E9-706F0EA9AE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4712" y="441313"/>
            <a:ext cx="5970270" cy="5970270"/>
          </a:xfrm>
          <a:prstGeom prst="diamond">
            <a:avLst/>
          </a:prstGeo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DB9BB4-07BC-0859-6039-0BBA35F9A11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039925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and black background&#10;&#10;Description automatically generated">
            <a:extLst>
              <a:ext uri="{FF2B5EF4-FFF2-40B4-BE49-F238E27FC236}">
                <a16:creationId xmlns:a16="http://schemas.microsoft.com/office/drawing/2014/main" id="{F0FD70F6-C90D-F610-3F1E-0731264A12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8B8578-8536-95E2-05DB-327FD1D512A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221477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black background&#10;&#10;Description automatically generated">
            <a:extLst>
              <a:ext uri="{FF2B5EF4-FFF2-40B4-BE49-F238E27FC236}">
                <a16:creationId xmlns:a16="http://schemas.microsoft.com/office/drawing/2014/main" id="{3A7C5441-32E0-4544-E941-82FA49B250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2340864"/>
            <a:ext cx="6096000" cy="4517136"/>
          </a:xfrm>
          <a:prstGeom prst="rect">
            <a:avLst/>
          </a:prstGeom>
        </p:spPr>
      </p:pic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17F08B4-6B39-CF48-5659-86BE4E75B2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2953" y="-904"/>
            <a:ext cx="6099048" cy="4169663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581DAB-032B-E5BD-8987-56002ABB5F4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907976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square with black border&#10;&#10;Description automatically generated">
            <a:extLst>
              <a:ext uri="{FF2B5EF4-FFF2-40B4-BE49-F238E27FC236}">
                <a16:creationId xmlns:a16="http://schemas.microsoft.com/office/drawing/2014/main" id="{A746F025-622C-F9C4-F01F-8E059EE432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3927" y="1601258"/>
            <a:ext cx="5708073" cy="5256742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2AE0D8B-6181-B3E9-637E-BC0FD1A039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86144" y="0"/>
            <a:ext cx="5705856" cy="4498848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E42C435-236B-6B1A-CB9A-786200853C6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335039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urple square with a black background&#10;&#10;Description automatically generated">
            <a:extLst>
              <a:ext uri="{FF2B5EF4-FFF2-40B4-BE49-F238E27FC236}">
                <a16:creationId xmlns:a16="http://schemas.microsoft.com/office/drawing/2014/main" id="{AFA87D52-7641-5C67-D0A0-357D54896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6626" y="0"/>
            <a:ext cx="686537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41A7A37-C1DB-45A9-BBB2-A84ACE394FA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12060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00345FF7-0213-C5E9-C74B-74C47815E5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6626" y="0"/>
            <a:ext cx="6865374" cy="6858000"/>
          </a:xfrm>
          <a:prstGeom prst="rect">
            <a:avLst/>
          </a:prstGeom>
        </p:spPr>
      </p:pic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D9D04C40-7BA3-33A2-73DB-7EEC68C372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7889" y="946880"/>
            <a:ext cx="4965192" cy="493776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0B8DA0-78D9-FF55-A7E3-8EBF5D6B70F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389170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square with a black border&#10;&#10;Description automatically generated">
            <a:extLst>
              <a:ext uri="{FF2B5EF4-FFF2-40B4-BE49-F238E27FC236}">
                <a16:creationId xmlns:a16="http://schemas.microsoft.com/office/drawing/2014/main" id="{0DE8F8A1-FFC0-5D5D-34C4-0DE35D7B68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V="1">
            <a:off x="6020520" y="682170"/>
            <a:ext cx="6171479" cy="6175829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2AE0D8B-6181-B3E9-637E-BC0FD1A039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37960" y="1234440"/>
            <a:ext cx="3566160" cy="356616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19B1D3-3CB1-4569-86DA-F998D2D47E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351426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66753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09296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3FF5C02B-D6A8-F290-2E29-F96B58D53A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990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88AD24B-4065-AB58-EB41-A2259242AB9C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012538" y="195067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2538" y="2423342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7016434" y="422519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B548721-0354-3DFF-6E2E-F7DC118950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67339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95884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86F1FEC-FC9B-5A24-ADFD-E96F5845B44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0" y="0"/>
            <a:ext cx="3810000" cy="6858000"/>
          </a:xfr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67952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1273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1B6915-BF75-E111-D330-1DD70CBAEC65}"/>
              </a:ext>
            </a:extLst>
          </p:cNvPr>
          <p:cNvSpPr txBox="1"/>
          <p:nvPr userDrawn="1"/>
        </p:nvSpPr>
        <p:spPr>
          <a:xfrm>
            <a:off x="473308" y="4224144"/>
            <a:ext cx="498566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0" b="0" i="0">
                <a:solidFill>
                  <a:schemeClr val="accent2"/>
                </a:solidFill>
                <a:latin typeface="Flecha S Medium" panose="02050703060505060204" pitchFamily="18" charset="77"/>
              </a:rPr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5F04A9-7FB4-206D-6D50-251EE16E2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1394" r="19041"/>
          <a:stretch/>
        </p:blipFill>
        <p:spPr>
          <a:xfrm>
            <a:off x="6111018" y="0"/>
            <a:ext cx="6097064" cy="587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21305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63FB08-913E-A540-03AA-E526F6B296D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6405279" cy="500719"/>
          </a:xfr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8548A8-495E-F717-2EC6-8E21593DA2C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986930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18604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121408"/>
            <a:ext cx="6405279" cy="3660827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BB9A353-2E47-AA6F-BFD6-AE895167D4B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463273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6D797A-F7E6-B4A1-BF93-DE389A1911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87563" y="6198594"/>
            <a:ext cx="2743200" cy="187170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5665DFC-E6E1-AC46-8C75-398C3AC7E5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260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18DB4BA-E89C-6392-5D80-F7E6685FD7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01D6FD71-29EC-A242-8FE3-44E2AD6A7C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788751"/>
            <a:ext cx="4678732" cy="14478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resentation Title Goes Here with room for three lines of text if necessary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9E09F07C-E952-544F-A73F-CD9563FB1D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643502"/>
            <a:ext cx="3581400" cy="11370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en-US"/>
              <a:t>Presenter’s Name</a:t>
            </a:r>
          </a:p>
          <a:p>
            <a:r>
              <a:rPr lang="en-US"/>
              <a:t>Presenter’s Title</a:t>
            </a:r>
          </a:p>
          <a:p>
            <a:r>
              <a:rPr lang="en-US"/>
              <a:t>DD Month YYYY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7125F840-7932-CD41-995B-3D81FAF15A7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457200" y="6308555"/>
            <a:ext cx="2574470" cy="36512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>
                <a:solidFill>
                  <a:srgbClr val="FFFFFF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© 2024 CFA Institute. All rights reserved.</a:t>
            </a: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A49827-5586-9B4A-A1D5-06255B8A0A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457200" y="425288"/>
            <a:ext cx="2235200" cy="48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86209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36763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pic>
        <p:nvPicPr>
          <p:cNvPr id="6" name="Picture 5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DFB4BEA2-1B52-A7CF-9977-948D59186C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32088" y="117088"/>
            <a:ext cx="6623824" cy="66238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FAE43A8-7D69-D8E8-8803-71173C89262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0AD87C-005A-684E-789F-DC17C92D41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56692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- 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DD6B9-BF2F-9449-A2AD-2B935F97E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1760"/>
            <a:ext cx="10091269" cy="1238867"/>
          </a:xfrm>
          <a:prstGeom prst="rect">
            <a:avLst/>
          </a:prstGeo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8B24E56-6F8C-C64D-80C6-F3FC77187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1" y="6162850"/>
            <a:ext cx="1288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83E1B75E-26AB-E548-8C40-3F57B5694E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868498-A73D-3B4C-AFE9-FBBDB7C4197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038601" y="6162850"/>
            <a:ext cx="4114800" cy="365125"/>
          </a:xfrm>
        </p:spPr>
        <p:txBody>
          <a:bodyPr lIns="0" tIns="0" rIns="0" bIns="0"/>
          <a:lstStyle>
            <a:lvl1pPr algn="ctr">
              <a:defRPr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© 2021 CFA Institute. All rights reserved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25BAEC-C16F-AC44-AEC7-17EAFD4C5F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40025" y="6184114"/>
            <a:ext cx="1490423" cy="321796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A3BD6082-F2F2-9747-8FDA-2004A1495D47}"/>
              </a:ext>
            </a:extLst>
          </p:cNvPr>
          <p:cNvGrpSpPr/>
          <p:nvPr userDrawn="1"/>
        </p:nvGrpSpPr>
        <p:grpSpPr>
          <a:xfrm>
            <a:off x="10994066" y="464289"/>
            <a:ext cx="747823" cy="747020"/>
            <a:chOff x="10761036" y="677843"/>
            <a:chExt cx="694870" cy="694124"/>
          </a:xfrm>
        </p:grpSpPr>
        <p:sp>
          <p:nvSpPr>
            <p:cNvPr id="17" name="Right Triangle 16">
              <a:extLst>
                <a:ext uri="{FF2B5EF4-FFF2-40B4-BE49-F238E27FC236}">
                  <a16:creationId xmlns:a16="http://schemas.microsoft.com/office/drawing/2014/main" id="{F5F5FE76-8F9A-214C-A50B-3EBE96A110CE}"/>
                </a:ext>
              </a:extLst>
            </p:cNvPr>
            <p:cNvSpPr>
              <a:spLocks noChangeAspect="1"/>
            </p:cNvSpPr>
            <p:nvPr userDrawn="1"/>
          </p:nvSpPr>
          <p:spPr>
            <a:xfrm rot="10800000">
              <a:off x="10761036" y="677843"/>
              <a:ext cx="317506" cy="317506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2" name="Right Triangle 21">
              <a:extLst>
                <a:ext uri="{FF2B5EF4-FFF2-40B4-BE49-F238E27FC236}">
                  <a16:creationId xmlns:a16="http://schemas.microsoft.com/office/drawing/2014/main" id="{BB5587F8-1B98-B14C-95B0-54735E3A58CA}"/>
                </a:ext>
              </a:extLst>
            </p:cNvPr>
            <p:cNvSpPr>
              <a:spLocks noChangeAspect="1"/>
            </p:cNvSpPr>
            <p:nvPr userDrawn="1"/>
          </p:nvSpPr>
          <p:spPr>
            <a:xfrm rot="10800000">
              <a:off x="11297153" y="677843"/>
              <a:ext cx="158753" cy="158753"/>
            </a:xfrm>
            <a:prstGeom prst="rtTriangle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3" name="Right Triangle 22">
              <a:extLst>
                <a:ext uri="{FF2B5EF4-FFF2-40B4-BE49-F238E27FC236}">
                  <a16:creationId xmlns:a16="http://schemas.microsoft.com/office/drawing/2014/main" id="{E3E450BC-E470-2E44-BD8E-1F1F2B3076C5}"/>
                </a:ext>
              </a:extLst>
            </p:cNvPr>
            <p:cNvSpPr>
              <a:spLocks noChangeAspect="1"/>
            </p:cNvSpPr>
            <p:nvPr userDrawn="1"/>
          </p:nvSpPr>
          <p:spPr>
            <a:xfrm rot="10800000">
              <a:off x="11138399" y="1054461"/>
              <a:ext cx="317506" cy="317506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4" name="Right Triangle 23">
              <a:extLst>
                <a:ext uri="{FF2B5EF4-FFF2-40B4-BE49-F238E27FC236}">
                  <a16:creationId xmlns:a16="http://schemas.microsoft.com/office/drawing/2014/main" id="{BA64C222-2668-3D43-B6F0-FF46465A96FE}"/>
                </a:ext>
              </a:extLst>
            </p:cNvPr>
            <p:cNvSpPr>
              <a:spLocks noChangeAspect="1"/>
            </p:cNvSpPr>
            <p:nvPr userDrawn="1"/>
          </p:nvSpPr>
          <p:spPr>
            <a:xfrm rot="10800000">
              <a:off x="10919788" y="1054461"/>
              <a:ext cx="158753" cy="158753"/>
            </a:xfrm>
            <a:prstGeom prst="rtTriangle">
              <a:avLst/>
            </a:prstGeom>
            <a:solidFill>
              <a:schemeClr val="bg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40219D55-7112-6347-BCE4-9A68E39C7B76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457201" y="1764243"/>
            <a:ext cx="11273247" cy="3503971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69245417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DFA0F-7CE1-4947-B7C2-F51E73584B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AA8F15-038B-4C77-9A22-D08372EFEF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45AD76-BFA6-481D-821D-B610CB5E0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4B8E7-51E1-4F9B-8856-5F8E7A08BA66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24A2D9-38DA-4FB0-94C8-60B966015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515E7C-E2F9-4EA5-860F-31FCEB2A3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AC2283-10B1-4ECC-B029-7A12270EA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4316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DDA19-43EB-A347-BC5C-B88CB45D48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861074"/>
            <a:ext cx="11217349" cy="4301776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2ADC9E1-8450-0949-9803-00AC99919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0091269" cy="1233488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83E43B-1AF1-EB40-B568-FC06D0F16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162849"/>
            <a:ext cx="1288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B3ECDF6A-FFC4-4EDE-BD10-2DB01E96DBE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09DE4795-C278-3641-88A1-7112281489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038601" y="6162849"/>
            <a:ext cx="4114800" cy="36512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1EA89F-C74D-F04E-B29E-78993601988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240023" y="6184113"/>
            <a:ext cx="1490423" cy="32179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7BB2C145-F7EA-5E4E-9400-3385BD62FDA8}"/>
              </a:ext>
            </a:extLst>
          </p:cNvPr>
          <p:cNvGrpSpPr/>
          <p:nvPr/>
        </p:nvGrpSpPr>
        <p:grpSpPr>
          <a:xfrm>
            <a:off x="10678256" y="457200"/>
            <a:ext cx="1053340" cy="1074001"/>
            <a:chOff x="10691107" y="360338"/>
            <a:chExt cx="1053340" cy="1074001"/>
          </a:xfrm>
        </p:grpSpPr>
        <p:sp>
          <p:nvSpPr>
            <p:cNvPr id="18" name="Right Triangle 17">
              <a:extLst>
                <a:ext uri="{FF2B5EF4-FFF2-40B4-BE49-F238E27FC236}">
                  <a16:creationId xmlns:a16="http://schemas.microsoft.com/office/drawing/2014/main" id="{0E8AA5D7-82CD-B841-BADA-9B36B400E2D0}"/>
                </a:ext>
              </a:extLst>
            </p:cNvPr>
            <p:cNvSpPr/>
            <p:nvPr/>
          </p:nvSpPr>
          <p:spPr>
            <a:xfrm rot="10800000">
              <a:off x="11109436" y="360338"/>
              <a:ext cx="635011" cy="635011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>
              <a:extLst>
                <a:ext uri="{FF2B5EF4-FFF2-40B4-BE49-F238E27FC236}">
                  <a16:creationId xmlns:a16="http://schemas.microsoft.com/office/drawing/2014/main" id="{5EADF773-D0D3-F44A-B238-245F17343A4D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10691107" y="677843"/>
              <a:ext cx="317506" cy="317506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>
              <a:extLst>
                <a:ext uri="{FF2B5EF4-FFF2-40B4-BE49-F238E27FC236}">
                  <a16:creationId xmlns:a16="http://schemas.microsoft.com/office/drawing/2014/main" id="{D9686562-EE40-5649-8970-E62AB5766160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11217775" y="725485"/>
              <a:ext cx="158753" cy="158753"/>
            </a:xfrm>
            <a:prstGeom prst="rtTriangle">
              <a:avLst/>
            </a:prstGeom>
            <a:solidFill>
              <a:schemeClr val="tx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7AB4941C-2ADD-1240-B442-C2C2320492E9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10849860" y="360338"/>
              <a:ext cx="158753" cy="158753"/>
            </a:xfrm>
            <a:prstGeom prst="rtTriangle">
              <a:avLst/>
            </a:prstGeom>
            <a:solidFill>
              <a:schemeClr val="tx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ight Triangle 21">
              <a:extLst>
                <a:ext uri="{FF2B5EF4-FFF2-40B4-BE49-F238E27FC236}">
                  <a16:creationId xmlns:a16="http://schemas.microsoft.com/office/drawing/2014/main" id="{CD180ACC-B3BC-F04A-AB65-A601C4D0C665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11138399" y="1116833"/>
              <a:ext cx="317506" cy="317506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ight Triangle 22">
              <a:extLst>
                <a:ext uri="{FF2B5EF4-FFF2-40B4-BE49-F238E27FC236}">
                  <a16:creationId xmlns:a16="http://schemas.microsoft.com/office/drawing/2014/main" id="{BAF384E0-9588-7A44-B63D-4C0B51C02335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10849859" y="1115368"/>
              <a:ext cx="158753" cy="158753"/>
            </a:xfrm>
            <a:prstGeom prst="rtTriangle">
              <a:avLst/>
            </a:prstGeom>
            <a:solidFill>
              <a:schemeClr val="tx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ight Triangle 23">
              <a:extLst>
                <a:ext uri="{FF2B5EF4-FFF2-40B4-BE49-F238E27FC236}">
                  <a16:creationId xmlns:a16="http://schemas.microsoft.com/office/drawing/2014/main" id="{041343DF-7066-1B4A-B1F5-2414547038CF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11585692" y="1119604"/>
              <a:ext cx="158753" cy="158753"/>
            </a:xfrm>
            <a:prstGeom prst="rtTriangl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29804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BF6542-248F-41A1-9901-6E9AAE647E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35066" y="6199061"/>
            <a:ext cx="2743200" cy="187170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accent2">
                    <a:lumMod val="65000"/>
                  </a:schemeClr>
                </a:solidFill>
                <a:latin typeface="Azo Sans" panose="02000000000000000000" pitchFamily="2" charset="0"/>
                <a:cs typeface="Arial" panose="020B0604020202020204" pitchFamily="34" charset="0"/>
              </a:defRPr>
            </a:lvl1pPr>
          </a:lstStyle>
          <a:p>
            <a:fld id="{25665DFC-E6E1-AC46-8C75-398C3AC7E5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67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pic>
        <p:nvPicPr>
          <p:cNvPr id="6" name="Picture 5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DFB4BEA2-1B52-A7CF-9977-948D59186C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84088" y="117088"/>
            <a:ext cx="6623824" cy="6623824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4672" y="2651760"/>
            <a:ext cx="2962656" cy="1554480"/>
          </a:xfrm>
        </p:spPr>
        <p:txBody>
          <a:bodyPr anchor="ctr"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56368DA-6188-6BE1-B9CE-CEB140471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1440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F990B34-DCCC-0637-3A39-B888C31D72D7}"/>
              </a:ext>
            </a:extLst>
          </p:cNvPr>
          <p:cNvGrpSpPr/>
          <p:nvPr userDrawn="1"/>
        </p:nvGrpSpPr>
        <p:grpSpPr>
          <a:xfrm>
            <a:off x="5780124" y="351481"/>
            <a:ext cx="6127625" cy="6157860"/>
            <a:chOff x="5780124" y="351481"/>
            <a:chExt cx="6127625" cy="6157860"/>
          </a:xfrm>
        </p:grpSpPr>
        <p:pic>
          <p:nvPicPr>
            <p:cNvPr id="8" name="Picture 7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3A71B57-2416-0EE6-F643-5A3457CEBD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351481"/>
              <a:ext cx="1720011" cy="1739972"/>
            </a:xfrm>
            <a:prstGeom prst="rect">
              <a:avLst/>
            </a:prstGeom>
          </p:spPr>
        </p:pic>
        <p:pic>
          <p:nvPicPr>
            <p:cNvPr id="10" name="Picture 9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F078736-AFAA-AC3C-51E0-43894B5E6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2560425"/>
              <a:ext cx="1720011" cy="1739972"/>
            </a:xfrm>
            <a:prstGeom prst="rect">
              <a:avLst/>
            </a:prstGeom>
          </p:spPr>
        </p:pic>
        <p:pic>
          <p:nvPicPr>
            <p:cNvPr id="11" name="Picture 10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33D5C7F0-BD5F-6743-C95C-A1DAE9FC9B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4769369"/>
              <a:ext cx="1720011" cy="1739972"/>
            </a:xfrm>
            <a:prstGeom prst="rect">
              <a:avLst/>
            </a:prstGeom>
          </p:spPr>
        </p:pic>
        <p:pic>
          <p:nvPicPr>
            <p:cNvPr id="12" name="Picture 11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D462BB83-2009-8BC4-28EC-B5F96452B5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351481"/>
              <a:ext cx="1720011" cy="1739972"/>
            </a:xfrm>
            <a:prstGeom prst="rect">
              <a:avLst/>
            </a:prstGeom>
          </p:spPr>
        </p:pic>
        <p:pic>
          <p:nvPicPr>
            <p:cNvPr id="13" name="Picture 12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05A66E2-8E5D-11DC-089C-507161ED8F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2560425"/>
              <a:ext cx="1720011" cy="1739972"/>
            </a:xfrm>
            <a:prstGeom prst="rect">
              <a:avLst/>
            </a:prstGeom>
          </p:spPr>
        </p:pic>
        <p:pic>
          <p:nvPicPr>
            <p:cNvPr id="14" name="Picture 13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08A401AD-93D0-49A9-EE74-376EB8517C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4769369"/>
              <a:ext cx="1720011" cy="1739972"/>
            </a:xfrm>
            <a:prstGeom prst="rect">
              <a:avLst/>
            </a:prstGeom>
          </p:spPr>
        </p:pic>
        <p:pic>
          <p:nvPicPr>
            <p:cNvPr id="15" name="Picture 14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A1743CA-DFC0-C251-C271-BF787C74C3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351481"/>
              <a:ext cx="1720011" cy="1739972"/>
            </a:xfrm>
            <a:prstGeom prst="rect">
              <a:avLst/>
            </a:prstGeom>
          </p:spPr>
        </p:pic>
        <p:pic>
          <p:nvPicPr>
            <p:cNvPr id="16" name="Picture 15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26703AE7-3432-430B-8F0B-013571ECEB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2560425"/>
              <a:ext cx="1720011" cy="1739972"/>
            </a:xfrm>
            <a:prstGeom prst="rect">
              <a:avLst/>
            </a:prstGeom>
          </p:spPr>
        </p:pic>
        <p:pic>
          <p:nvPicPr>
            <p:cNvPr id="17" name="Picture 16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C2BE9E68-6658-7AB7-D401-28BF51195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4769369"/>
              <a:ext cx="1720011" cy="173997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1C741-2459-B0EB-B696-D51B2770FDD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974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D75616-E1FA-6274-A4E4-AAB485146407}"/>
              </a:ext>
            </a:extLst>
          </p:cNvPr>
          <p:cNvGrpSpPr/>
          <p:nvPr userDrawn="1"/>
        </p:nvGrpSpPr>
        <p:grpSpPr>
          <a:xfrm>
            <a:off x="5758846" y="355955"/>
            <a:ext cx="6174573" cy="6153385"/>
            <a:chOff x="5758846" y="355955"/>
            <a:chExt cx="6174573" cy="6153385"/>
          </a:xfrm>
        </p:grpSpPr>
        <p:pic>
          <p:nvPicPr>
            <p:cNvPr id="6" name="Picture 5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D0DD864-94A9-9EF5-1089-07D04E4C2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355955"/>
              <a:ext cx="1715588" cy="1735497"/>
            </a:xfrm>
            <a:prstGeom prst="rect">
              <a:avLst/>
            </a:prstGeom>
          </p:spPr>
        </p:pic>
        <p:pic>
          <p:nvPicPr>
            <p:cNvPr id="18" name="Picture 17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42CBF60-482E-E42E-2502-459131822D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2564899"/>
              <a:ext cx="1715588" cy="1735497"/>
            </a:xfrm>
            <a:prstGeom prst="rect">
              <a:avLst/>
            </a:prstGeom>
          </p:spPr>
        </p:pic>
        <p:pic>
          <p:nvPicPr>
            <p:cNvPr id="19" name="Picture 18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42CB3768-444C-34F4-DAAA-C239D3BB14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4773843"/>
              <a:ext cx="1715588" cy="1735497"/>
            </a:xfrm>
            <a:prstGeom prst="rect">
              <a:avLst/>
            </a:prstGeom>
          </p:spPr>
        </p:pic>
        <p:pic>
          <p:nvPicPr>
            <p:cNvPr id="20" name="Picture 19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8AC1CE0B-C2CB-5E36-5A4E-C28212D909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355955"/>
              <a:ext cx="1715588" cy="1735497"/>
            </a:xfrm>
            <a:prstGeom prst="rect">
              <a:avLst/>
            </a:prstGeom>
          </p:spPr>
        </p:pic>
        <p:pic>
          <p:nvPicPr>
            <p:cNvPr id="21" name="Picture 20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66262E94-9A7F-D643-B3F9-A1FB24DB49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2564899"/>
              <a:ext cx="1715588" cy="1735497"/>
            </a:xfrm>
            <a:prstGeom prst="rect">
              <a:avLst/>
            </a:prstGeom>
          </p:spPr>
        </p:pic>
        <p:pic>
          <p:nvPicPr>
            <p:cNvPr id="22" name="Picture 21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2FBF6FA8-5D82-9460-508A-9AA3EB7E59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4773843"/>
              <a:ext cx="1715588" cy="1735497"/>
            </a:xfrm>
            <a:prstGeom prst="rect">
              <a:avLst/>
            </a:prstGeom>
          </p:spPr>
        </p:pic>
        <p:pic>
          <p:nvPicPr>
            <p:cNvPr id="23" name="Picture 22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4D8ADEC-3BB6-D09B-E946-126C1A462D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355955"/>
              <a:ext cx="1715588" cy="1735497"/>
            </a:xfrm>
            <a:prstGeom prst="rect">
              <a:avLst/>
            </a:prstGeom>
          </p:spPr>
        </p:pic>
        <p:pic>
          <p:nvPicPr>
            <p:cNvPr id="24" name="Picture 23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91554CB-ABB3-337E-B0B6-843EBE228F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2564899"/>
              <a:ext cx="1715588" cy="1735497"/>
            </a:xfrm>
            <a:prstGeom prst="rect">
              <a:avLst/>
            </a:prstGeom>
          </p:spPr>
        </p:pic>
        <p:pic>
          <p:nvPicPr>
            <p:cNvPr id="25" name="Picture 24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FDA5056B-4BB4-96C9-5431-A9BEE9D0D1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4773843"/>
              <a:ext cx="1715588" cy="173549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D28366-4C6B-15F1-2EC8-23DEC891C15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32105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4612463-897C-3480-2C0B-54B482310469}"/>
              </a:ext>
            </a:extLst>
          </p:cNvPr>
          <p:cNvGrpSpPr/>
          <p:nvPr userDrawn="1"/>
        </p:nvGrpSpPr>
        <p:grpSpPr>
          <a:xfrm>
            <a:off x="5763852" y="335015"/>
            <a:ext cx="6172051" cy="6190563"/>
            <a:chOff x="5763852" y="335015"/>
            <a:chExt cx="6172051" cy="6190563"/>
          </a:xfrm>
        </p:grpSpPr>
        <p:pic>
          <p:nvPicPr>
            <p:cNvPr id="6" name="Picture 5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9C9C109-2747-22A3-A27D-44D4E6B66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335015"/>
              <a:ext cx="1733615" cy="1752127"/>
            </a:xfrm>
            <a:prstGeom prst="rect">
              <a:avLst/>
            </a:prstGeom>
          </p:spPr>
        </p:pic>
        <p:pic>
          <p:nvPicPr>
            <p:cNvPr id="18" name="Picture 17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E0128AE-700F-0194-7F7B-0D1708E084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2554233"/>
              <a:ext cx="1733615" cy="1752127"/>
            </a:xfrm>
            <a:prstGeom prst="rect">
              <a:avLst/>
            </a:prstGeom>
          </p:spPr>
        </p:pic>
        <p:pic>
          <p:nvPicPr>
            <p:cNvPr id="19" name="Picture 18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323343E7-ACC5-9B5B-DCC4-D62B19AD66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4773451"/>
              <a:ext cx="1733615" cy="1752127"/>
            </a:xfrm>
            <a:prstGeom prst="rect">
              <a:avLst/>
            </a:prstGeom>
          </p:spPr>
        </p:pic>
        <p:pic>
          <p:nvPicPr>
            <p:cNvPr id="20" name="Picture 19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CF17C9E-40C9-A1B2-921B-A117E1445B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335015"/>
              <a:ext cx="1733615" cy="1752127"/>
            </a:xfrm>
            <a:prstGeom prst="rect">
              <a:avLst/>
            </a:prstGeom>
          </p:spPr>
        </p:pic>
        <p:pic>
          <p:nvPicPr>
            <p:cNvPr id="21" name="Picture 20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62D3AD15-40FB-E0AE-E3FD-E92E188E96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2554233"/>
              <a:ext cx="1733615" cy="1752127"/>
            </a:xfrm>
            <a:prstGeom prst="rect">
              <a:avLst/>
            </a:prstGeom>
          </p:spPr>
        </p:pic>
        <p:pic>
          <p:nvPicPr>
            <p:cNvPr id="22" name="Picture 21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B7CF3F1F-9F91-CF4A-FF07-FA15A22A9A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4773451"/>
              <a:ext cx="1733615" cy="1752127"/>
            </a:xfrm>
            <a:prstGeom prst="rect">
              <a:avLst/>
            </a:prstGeom>
          </p:spPr>
        </p:pic>
        <p:pic>
          <p:nvPicPr>
            <p:cNvPr id="23" name="Picture 22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D010AA3-929E-77D1-8103-2E11D2AEDB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335015"/>
              <a:ext cx="1733615" cy="1752127"/>
            </a:xfrm>
            <a:prstGeom prst="rect">
              <a:avLst/>
            </a:prstGeom>
          </p:spPr>
        </p:pic>
        <p:pic>
          <p:nvPicPr>
            <p:cNvPr id="24" name="Picture 23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281E6B5-D294-8C31-06F4-403B03B0CF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2554233"/>
              <a:ext cx="1733615" cy="1752127"/>
            </a:xfrm>
            <a:prstGeom prst="rect">
              <a:avLst/>
            </a:prstGeom>
          </p:spPr>
        </p:pic>
        <p:pic>
          <p:nvPicPr>
            <p:cNvPr id="25" name="Picture 24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DA0AFAAB-A69C-360D-13B4-236DA86E41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4773451"/>
              <a:ext cx="1733615" cy="175212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F652F3F-B68F-070A-0393-A10B967801F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81189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F717E2-4C55-360C-9F54-BFC432B482D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990B34-DCCC-0637-3A39-B888C31D72D7}"/>
              </a:ext>
            </a:extLst>
          </p:cNvPr>
          <p:cNvGrpSpPr/>
          <p:nvPr userDrawn="1"/>
        </p:nvGrpSpPr>
        <p:grpSpPr>
          <a:xfrm>
            <a:off x="5780124" y="351481"/>
            <a:ext cx="6127625" cy="6157860"/>
            <a:chOff x="5780124" y="351481"/>
            <a:chExt cx="6127625" cy="6157860"/>
          </a:xfrm>
        </p:grpSpPr>
        <p:pic>
          <p:nvPicPr>
            <p:cNvPr id="8" name="Picture 7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3A71B57-2416-0EE6-F643-5A3457CEBD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351481"/>
              <a:ext cx="1720011" cy="1739972"/>
            </a:xfrm>
            <a:prstGeom prst="rect">
              <a:avLst/>
            </a:prstGeom>
          </p:spPr>
        </p:pic>
        <p:pic>
          <p:nvPicPr>
            <p:cNvPr id="10" name="Picture 9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7F078736-AFAA-AC3C-51E0-43894B5E6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2560425"/>
              <a:ext cx="1720011" cy="1739972"/>
            </a:xfrm>
            <a:prstGeom prst="rect">
              <a:avLst/>
            </a:prstGeom>
          </p:spPr>
        </p:pic>
        <p:pic>
          <p:nvPicPr>
            <p:cNvPr id="11" name="Picture 10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33D5C7F0-BD5F-6743-C95C-A1DAE9FC9B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5780124" y="4769369"/>
              <a:ext cx="1720011" cy="1739972"/>
            </a:xfrm>
            <a:prstGeom prst="rect">
              <a:avLst/>
            </a:prstGeom>
          </p:spPr>
        </p:pic>
        <p:pic>
          <p:nvPicPr>
            <p:cNvPr id="12" name="Picture 11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D462BB83-2009-8BC4-28EC-B5F96452B5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351481"/>
              <a:ext cx="1720011" cy="1739972"/>
            </a:xfrm>
            <a:prstGeom prst="rect">
              <a:avLst/>
            </a:prstGeom>
          </p:spPr>
        </p:pic>
        <p:pic>
          <p:nvPicPr>
            <p:cNvPr id="13" name="Picture 12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05A66E2-8E5D-11DC-089C-507161ED8F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2560425"/>
              <a:ext cx="1720011" cy="1739972"/>
            </a:xfrm>
            <a:prstGeom prst="rect">
              <a:avLst/>
            </a:prstGeom>
          </p:spPr>
        </p:pic>
        <p:pic>
          <p:nvPicPr>
            <p:cNvPr id="14" name="Picture 13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08A401AD-93D0-49A9-EE74-376EB8517C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7989068" y="4769369"/>
              <a:ext cx="1720011" cy="1739972"/>
            </a:xfrm>
            <a:prstGeom prst="rect">
              <a:avLst/>
            </a:prstGeom>
          </p:spPr>
        </p:pic>
        <p:pic>
          <p:nvPicPr>
            <p:cNvPr id="15" name="Picture 14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5A1743CA-DFC0-C251-C271-BF787C74C3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351481"/>
              <a:ext cx="1720011" cy="1739972"/>
            </a:xfrm>
            <a:prstGeom prst="rect">
              <a:avLst/>
            </a:prstGeom>
          </p:spPr>
        </p:pic>
        <p:pic>
          <p:nvPicPr>
            <p:cNvPr id="16" name="Picture 15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26703AE7-3432-430B-8F0B-013571ECEB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2560425"/>
              <a:ext cx="1720011" cy="1739972"/>
            </a:xfrm>
            <a:prstGeom prst="rect">
              <a:avLst/>
            </a:prstGeom>
          </p:spPr>
        </p:pic>
        <p:pic>
          <p:nvPicPr>
            <p:cNvPr id="17" name="Picture 16" descr="A circular blue and black background&#10;&#10;Description automatically generated">
              <a:extLst>
                <a:ext uri="{FF2B5EF4-FFF2-40B4-BE49-F238E27FC236}">
                  <a16:creationId xmlns:a16="http://schemas.microsoft.com/office/drawing/2014/main" id="{C2BE9E68-6658-7AB7-D401-28BF51195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032" r="10953" b="11209"/>
            <a:stretch/>
          </p:blipFill>
          <p:spPr>
            <a:xfrm>
              <a:off x="10187738" y="4769369"/>
              <a:ext cx="1720011" cy="173997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13190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D75616-E1FA-6274-A4E4-AAB485146407}"/>
              </a:ext>
            </a:extLst>
          </p:cNvPr>
          <p:cNvGrpSpPr/>
          <p:nvPr userDrawn="1"/>
        </p:nvGrpSpPr>
        <p:grpSpPr>
          <a:xfrm>
            <a:off x="5758846" y="355955"/>
            <a:ext cx="6174573" cy="6153385"/>
            <a:chOff x="5758846" y="355955"/>
            <a:chExt cx="6174573" cy="6153385"/>
          </a:xfrm>
        </p:grpSpPr>
        <p:pic>
          <p:nvPicPr>
            <p:cNvPr id="6" name="Picture 5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D0DD864-94A9-9EF5-1089-07D04E4C2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355955"/>
              <a:ext cx="1715588" cy="1735497"/>
            </a:xfrm>
            <a:prstGeom prst="rect">
              <a:avLst/>
            </a:prstGeom>
          </p:spPr>
        </p:pic>
        <p:pic>
          <p:nvPicPr>
            <p:cNvPr id="18" name="Picture 17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42CBF60-482E-E42E-2502-459131822D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2564899"/>
              <a:ext cx="1715588" cy="1735497"/>
            </a:xfrm>
            <a:prstGeom prst="rect">
              <a:avLst/>
            </a:prstGeom>
          </p:spPr>
        </p:pic>
        <p:pic>
          <p:nvPicPr>
            <p:cNvPr id="19" name="Picture 18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42CB3768-444C-34F4-DAAA-C239D3BB14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5758846" y="4773843"/>
              <a:ext cx="1715588" cy="1735497"/>
            </a:xfrm>
            <a:prstGeom prst="rect">
              <a:avLst/>
            </a:prstGeom>
          </p:spPr>
        </p:pic>
        <p:pic>
          <p:nvPicPr>
            <p:cNvPr id="20" name="Picture 19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8AC1CE0B-C2CB-5E36-5A4E-C28212D909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355955"/>
              <a:ext cx="1715588" cy="1735497"/>
            </a:xfrm>
            <a:prstGeom prst="rect">
              <a:avLst/>
            </a:prstGeom>
          </p:spPr>
        </p:pic>
        <p:pic>
          <p:nvPicPr>
            <p:cNvPr id="21" name="Picture 20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66262E94-9A7F-D643-B3F9-A1FB24DB49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2564899"/>
              <a:ext cx="1715588" cy="1735497"/>
            </a:xfrm>
            <a:prstGeom prst="rect">
              <a:avLst/>
            </a:prstGeom>
          </p:spPr>
        </p:pic>
        <p:pic>
          <p:nvPicPr>
            <p:cNvPr id="22" name="Picture 21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2FBF6FA8-5D82-9460-508A-9AA3EB7E59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7998613" y="4773843"/>
              <a:ext cx="1715588" cy="1735497"/>
            </a:xfrm>
            <a:prstGeom prst="rect">
              <a:avLst/>
            </a:prstGeom>
          </p:spPr>
        </p:pic>
        <p:pic>
          <p:nvPicPr>
            <p:cNvPr id="23" name="Picture 22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A4D8ADEC-3BB6-D09B-E946-126C1A462D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355955"/>
              <a:ext cx="1715588" cy="1735497"/>
            </a:xfrm>
            <a:prstGeom prst="rect">
              <a:avLst/>
            </a:prstGeom>
          </p:spPr>
        </p:pic>
        <p:pic>
          <p:nvPicPr>
            <p:cNvPr id="24" name="Picture 23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C91554CB-ABB3-337E-B0B6-843EBE228F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2564899"/>
              <a:ext cx="1715588" cy="1735497"/>
            </a:xfrm>
            <a:prstGeom prst="rect">
              <a:avLst/>
            </a:prstGeom>
          </p:spPr>
        </p:pic>
        <p:pic>
          <p:nvPicPr>
            <p:cNvPr id="25" name="Picture 24" descr="A blue circular pattern with lines in the center&#10;&#10;Description automatically generated">
              <a:extLst>
                <a:ext uri="{FF2B5EF4-FFF2-40B4-BE49-F238E27FC236}">
                  <a16:creationId xmlns:a16="http://schemas.microsoft.com/office/drawing/2014/main" id="{FDA5056B-4BB4-96C9-5431-A9BEE9D0D1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191" t="10246" r="10953" b="10996"/>
            <a:stretch/>
          </p:blipFill>
          <p:spPr>
            <a:xfrm>
              <a:off x="10217831" y="4773843"/>
              <a:ext cx="1715588" cy="173549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DE6DA1B-09AD-6211-A6CB-0278735C7A7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971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561D86-26BE-0782-B9C1-337F57D821BC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B525631-172F-1503-6D51-B6A8940318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022" t="8592" r="29897" b="35341"/>
          <a:stretch/>
        </p:blipFill>
        <p:spPr>
          <a:xfrm>
            <a:off x="6396780" y="1449970"/>
            <a:ext cx="5795219" cy="54080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50292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389032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4612463-897C-3480-2C0B-54B482310469}"/>
              </a:ext>
            </a:extLst>
          </p:cNvPr>
          <p:cNvGrpSpPr/>
          <p:nvPr userDrawn="1"/>
        </p:nvGrpSpPr>
        <p:grpSpPr>
          <a:xfrm>
            <a:off x="5763852" y="335015"/>
            <a:ext cx="6172051" cy="6190563"/>
            <a:chOff x="5763852" y="335015"/>
            <a:chExt cx="6172051" cy="6190563"/>
          </a:xfrm>
        </p:grpSpPr>
        <p:pic>
          <p:nvPicPr>
            <p:cNvPr id="6" name="Picture 5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9C9C109-2747-22A3-A27D-44D4E6B66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335015"/>
              <a:ext cx="1733615" cy="1752127"/>
            </a:xfrm>
            <a:prstGeom prst="rect">
              <a:avLst/>
            </a:prstGeom>
          </p:spPr>
        </p:pic>
        <p:pic>
          <p:nvPicPr>
            <p:cNvPr id="18" name="Picture 17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E0128AE-700F-0194-7F7B-0D1708E084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2554233"/>
              <a:ext cx="1733615" cy="1752127"/>
            </a:xfrm>
            <a:prstGeom prst="rect">
              <a:avLst/>
            </a:prstGeom>
          </p:spPr>
        </p:pic>
        <p:pic>
          <p:nvPicPr>
            <p:cNvPr id="19" name="Picture 18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323343E7-ACC5-9B5B-DCC4-D62B19AD66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5763852" y="4773451"/>
              <a:ext cx="1733615" cy="1752127"/>
            </a:xfrm>
            <a:prstGeom prst="rect">
              <a:avLst/>
            </a:prstGeom>
          </p:spPr>
        </p:pic>
        <p:pic>
          <p:nvPicPr>
            <p:cNvPr id="20" name="Picture 19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ECF17C9E-40C9-A1B2-921B-A117E1445B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335015"/>
              <a:ext cx="1733615" cy="1752127"/>
            </a:xfrm>
            <a:prstGeom prst="rect">
              <a:avLst/>
            </a:prstGeom>
          </p:spPr>
        </p:pic>
        <p:pic>
          <p:nvPicPr>
            <p:cNvPr id="21" name="Picture 20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62D3AD15-40FB-E0AE-E3FD-E92E188E96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2554233"/>
              <a:ext cx="1733615" cy="1752127"/>
            </a:xfrm>
            <a:prstGeom prst="rect">
              <a:avLst/>
            </a:prstGeom>
          </p:spPr>
        </p:pic>
        <p:pic>
          <p:nvPicPr>
            <p:cNvPr id="22" name="Picture 21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B7CF3F1F-9F91-CF4A-FF07-FA15A22A9A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7983070" y="4773451"/>
              <a:ext cx="1733615" cy="1752127"/>
            </a:xfrm>
            <a:prstGeom prst="rect">
              <a:avLst/>
            </a:prstGeom>
          </p:spPr>
        </p:pic>
        <p:pic>
          <p:nvPicPr>
            <p:cNvPr id="23" name="Picture 22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D010AA3-929E-77D1-8103-2E11D2AEDB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335015"/>
              <a:ext cx="1733615" cy="1752127"/>
            </a:xfrm>
            <a:prstGeom prst="rect">
              <a:avLst/>
            </a:prstGeom>
          </p:spPr>
        </p:pic>
        <p:pic>
          <p:nvPicPr>
            <p:cNvPr id="24" name="Picture 23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C281E6B5-D294-8C31-06F4-403B03B0CF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2554233"/>
              <a:ext cx="1733615" cy="1752127"/>
            </a:xfrm>
            <a:prstGeom prst="rect">
              <a:avLst/>
            </a:prstGeom>
          </p:spPr>
        </p:pic>
        <p:pic>
          <p:nvPicPr>
            <p:cNvPr id="25" name="Picture 24" descr="A blue and black circular logo&#10;&#10;Description automatically generated">
              <a:extLst>
                <a:ext uri="{FF2B5EF4-FFF2-40B4-BE49-F238E27FC236}">
                  <a16:creationId xmlns:a16="http://schemas.microsoft.com/office/drawing/2014/main" id="{DA0AFAAB-A69C-360D-13B4-236DA86E41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953" t="10246" r="11120" b="10996"/>
            <a:stretch/>
          </p:blipFill>
          <p:spPr>
            <a:xfrm>
              <a:off x="10202288" y="4773451"/>
              <a:ext cx="1733615" cy="1752127"/>
            </a:xfrm>
            <a:prstGeom prst="rect">
              <a:avLst/>
            </a:prstGeom>
          </p:spPr>
        </p:pic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0E2453-DB81-82A4-3405-D5E14BB626E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6740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121408"/>
            <a:ext cx="5026134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3429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739128" y="4315969"/>
            <a:ext cx="2423160" cy="185623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spcBef>
                <a:spcPts val="700"/>
              </a:spcBef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573768" y="4315969"/>
            <a:ext cx="2008632" cy="185623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spcBef>
                <a:spcPts val="700"/>
              </a:spcBef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B1228E4-8377-6E68-3D10-D550A75C2B2F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0810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490878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084832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pic>
        <p:nvPicPr>
          <p:cNvPr id="4" name="Picture 3" descr="A pattern of blue circles&#10;&#10;Description automatically generated">
            <a:extLst>
              <a:ext uri="{FF2B5EF4-FFF2-40B4-BE49-F238E27FC236}">
                <a16:creationId xmlns:a16="http://schemas.microsoft.com/office/drawing/2014/main" id="{399FE45F-0BCA-FC9E-A383-FEE0CCF44A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r="48001"/>
          <a:stretch/>
        </p:blipFill>
        <p:spPr>
          <a:xfrm>
            <a:off x="8969249" y="0"/>
            <a:ext cx="3222751" cy="685800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DF3524F-ADB9-5EB7-841A-A2297D3830C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05122" y="3941064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643888B-3D0A-A12B-2C3F-3CD26A3FFAA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15968" y="2084832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C859D8D-0525-93EA-1323-6E608B1CE62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15968" y="3941064"/>
            <a:ext cx="3127248" cy="1753475"/>
          </a:xfrm>
        </p:spPr>
        <p:txBody>
          <a:bodyPr/>
          <a:lstStyle>
            <a:lvl1pPr>
              <a:defRPr sz="3600" b="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7C246B3-A122-2C67-A52A-6FFA2D84FCC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4726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490878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084832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pic>
        <p:nvPicPr>
          <p:cNvPr id="4" name="Picture 3" descr="A pattern of blue circles&#10;&#10;Description automatically generated">
            <a:extLst>
              <a:ext uri="{FF2B5EF4-FFF2-40B4-BE49-F238E27FC236}">
                <a16:creationId xmlns:a16="http://schemas.microsoft.com/office/drawing/2014/main" id="{399FE45F-0BCA-FC9E-A383-FEE0CCF44A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r="48001"/>
          <a:stretch/>
        </p:blipFill>
        <p:spPr>
          <a:xfrm>
            <a:off x="8969249" y="0"/>
            <a:ext cx="3222751" cy="685800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0A2C275-350A-2BF9-CB81-7E8AB07E777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5122" y="4407408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4C163C0-0F5B-5F76-E6E9-DA947DA50F6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15968" y="2084832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7F454EB-969E-695D-5173-002A800FC68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315968" y="4407408"/>
            <a:ext cx="3127248" cy="1753475"/>
          </a:xfrm>
        </p:spPr>
        <p:txBody>
          <a:bodyPr/>
          <a:lstStyle>
            <a:lvl1pPr>
              <a:spcBef>
                <a:spcPts val="1000"/>
              </a:spcBef>
              <a:defRPr sz="3600" b="0">
                <a:solidFill>
                  <a:schemeClr val="accent3"/>
                </a:solidFill>
              </a:defRPr>
            </a:lvl1pPr>
            <a:lvl2pPr>
              <a:spcBef>
                <a:spcPts val="1000"/>
              </a:spcBef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233363" indent="-225425">
              <a:tabLst/>
              <a:defRPr sz="1200">
                <a:solidFill>
                  <a:schemeClr val="accent1"/>
                </a:solidFill>
              </a:defRPr>
            </a:lvl4pPr>
            <a:lvl5pPr marL="233363" indent="0">
              <a:tabLst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B6D5804-1B6C-EBCD-B26D-AE39D7A1283D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4038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0" y="0"/>
            <a:ext cx="8501204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9"/>
            <a:ext cx="3383280" cy="3192758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 marL="233363" indent="0">
              <a:tabLst/>
              <a:defRPr sz="1800" b="0">
                <a:solidFill>
                  <a:schemeClr val="accent2"/>
                </a:solidFill>
              </a:defRPr>
            </a:lvl2pPr>
            <a:lvl3pPr marL="458788" indent="-225425">
              <a:tabLst/>
              <a:defRPr sz="1800" b="0">
                <a:solidFill>
                  <a:schemeClr val="accent2"/>
                </a:solidFill>
              </a:defRPr>
            </a:lvl3pPr>
            <a:lvl4pPr>
              <a:defRPr sz="1800" b="0">
                <a:solidFill>
                  <a:schemeClr val="accent2"/>
                </a:solidFill>
              </a:defRPr>
            </a:lvl4pPr>
            <a:lvl5pPr>
              <a:defRPr sz="18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10256" y="2534971"/>
            <a:ext cx="3681743" cy="432303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51960" y="2578608"/>
            <a:ext cx="3383280" cy="31975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>
                <a:solidFill>
                  <a:schemeClr val="accent2"/>
                </a:solidFill>
              </a:defRPr>
            </a:lvl1pPr>
            <a:lvl2pPr marL="179388" indent="0">
              <a:tabLst/>
              <a:defRPr lang="en-US" sz="1800" b="0" dirty="0">
                <a:solidFill>
                  <a:schemeClr val="accent2"/>
                </a:solidFill>
              </a:defRPr>
            </a:lvl2pPr>
            <a:lvl3pPr marL="350838" indent="-225425">
              <a:tabLst/>
              <a:defRPr lang="en-US" sz="1800" b="0" dirty="0">
                <a:solidFill>
                  <a:schemeClr val="accent2"/>
                </a:solidFill>
              </a:defRPr>
            </a:lvl3pPr>
            <a:lvl4pPr>
              <a:defRPr lang="en-US" sz="1800" b="0" dirty="0">
                <a:solidFill>
                  <a:schemeClr val="accent2"/>
                </a:solidFill>
              </a:defRPr>
            </a:lvl4pPr>
            <a:lvl5pPr>
              <a:defRPr lang="en-US" sz="1800" b="0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6840" y="1289304"/>
            <a:ext cx="2916574" cy="1091757"/>
          </a:xfrm>
        </p:spPr>
        <p:txBody>
          <a:bodyPr/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703600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F76D2A-5A5E-8755-0879-B729A3A7E693}"/>
              </a:ext>
            </a:extLst>
          </p:cNvPr>
          <p:cNvSpPr txBox="1"/>
          <p:nvPr userDrawn="1"/>
        </p:nvSpPr>
        <p:spPr>
          <a:xfrm>
            <a:off x="8894253" y="716770"/>
            <a:ext cx="5309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endParaRPr lang="en-US" sz="5400" dirty="0">
              <a:solidFill>
                <a:schemeClr val="accent3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E7F670-5779-2D85-ABED-6B3627E548E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51344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C2EA1BC-C3E9-D292-42C8-6CAE7C52E5A9}"/>
              </a:ext>
            </a:extLst>
          </p:cNvPr>
          <p:cNvSpPr/>
          <p:nvPr userDrawn="1"/>
        </p:nvSpPr>
        <p:spPr>
          <a:xfrm>
            <a:off x="8506968" y="0"/>
            <a:ext cx="368503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9"/>
            <a:ext cx="3383280" cy="3192758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F604C80-71EC-3473-950A-1A6AE22E15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10257" y="2534971"/>
            <a:ext cx="3681743" cy="432303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AC415D-AFB5-FB32-4D7B-F7DB70BC80A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51960" y="2578608"/>
            <a:ext cx="3383280" cy="31975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1" dirty="0">
                <a:solidFill>
                  <a:schemeClr val="accent1"/>
                </a:solidFill>
              </a:defRPr>
            </a:lvl1pPr>
            <a:lvl2pPr>
              <a:defRPr lang="en-US" sz="1400" dirty="0">
                <a:solidFill>
                  <a:schemeClr val="accent1"/>
                </a:solidFill>
              </a:defRPr>
            </a:lvl2pPr>
            <a:lvl3pPr>
              <a:defRPr lang="en-US" sz="1400" dirty="0">
                <a:solidFill>
                  <a:schemeClr val="accent1"/>
                </a:solidFill>
              </a:defRPr>
            </a:lvl3pPr>
            <a:lvl4pPr>
              <a:defRPr lang="en-US" sz="1400" dirty="0">
                <a:solidFill>
                  <a:schemeClr val="accent1"/>
                </a:solidFill>
              </a:defRPr>
            </a:lvl4pPr>
            <a:lvl5pPr>
              <a:defRPr lang="en-US" sz="1400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F172E9-66E9-2F98-1B98-6976F7AC77D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6840" y="1289304"/>
            <a:ext cx="2916574" cy="1091757"/>
          </a:xfr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2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703600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F76D2A-5A5E-8755-0879-B729A3A7E693}"/>
              </a:ext>
            </a:extLst>
          </p:cNvPr>
          <p:cNvSpPr txBox="1"/>
          <p:nvPr userDrawn="1"/>
        </p:nvSpPr>
        <p:spPr>
          <a:xfrm>
            <a:off x="8894253" y="716770"/>
            <a:ext cx="5309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endParaRPr lang="en-US" sz="5400" dirty="0">
              <a:solidFill>
                <a:schemeClr val="accent3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014DBAA-69D2-AFA3-2DF4-C93601325569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23182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578609"/>
            <a:ext cx="5026133" cy="3192758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 marL="233363" indent="0">
              <a:tabLst/>
              <a:defRPr sz="1800" b="0">
                <a:solidFill>
                  <a:schemeClr val="accent2"/>
                </a:solidFill>
              </a:defRPr>
            </a:lvl2pPr>
            <a:lvl3pPr marL="458788" indent="-225425">
              <a:tabLst/>
              <a:defRPr sz="1800" b="0">
                <a:solidFill>
                  <a:schemeClr val="accent2"/>
                </a:solidFill>
              </a:defRPr>
            </a:lvl3pPr>
            <a:lvl4pPr>
              <a:defRPr sz="1800" b="0">
                <a:solidFill>
                  <a:schemeClr val="accent2"/>
                </a:solidFill>
              </a:defRPr>
            </a:lvl4pPr>
            <a:lvl5pPr>
              <a:defRPr sz="18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502613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D77116FA-59E4-9678-35EA-2DD825686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1768" b="18271"/>
          <a:stretch/>
        </p:blipFill>
        <p:spPr>
          <a:xfrm>
            <a:off x="6096000" y="1253066"/>
            <a:ext cx="6096000" cy="560493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F514533-C94F-8609-93A6-A19790A94DC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7690634-037A-6A64-D161-5D5869497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44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C23E17BE-2E48-0935-4279-C10DB90E51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1768" b="18271"/>
          <a:stretch/>
        </p:blipFill>
        <p:spPr>
          <a:xfrm>
            <a:off x="6096000" y="1253066"/>
            <a:ext cx="6096000" cy="560493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2" y="860613"/>
            <a:ext cx="5025786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578609"/>
            <a:ext cx="5026133" cy="3192758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39585E-3C26-5EB5-A41A-DEECE694EE1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5026134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9468717-5522-4DB6-361A-E875ABE8CCB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BBEADF4-725C-3FBB-E8F0-DD9218B3C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2374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0792" y="3720973"/>
            <a:ext cx="2981608" cy="2451227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4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D3DD303-98F8-790E-26F4-58B3AE82A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45B6BEB5-1754-B310-CBB5-DBEE19995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135"/>
          <a:stretch/>
        </p:blipFill>
        <p:spPr>
          <a:xfrm>
            <a:off x="719233" y="0"/>
            <a:ext cx="6909070" cy="609432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5ED32F-D900-C4C9-650D-3C1B3105E559}"/>
              </a:ext>
            </a:extLst>
          </p:cNvPr>
          <p:cNvSpPr txBox="1"/>
          <p:nvPr userDrawn="1"/>
        </p:nvSpPr>
        <p:spPr>
          <a:xfrm>
            <a:off x="7916163" y="3408680"/>
            <a:ext cx="6896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b="0" i="0" dirty="0">
                <a:solidFill>
                  <a:schemeClr val="accent3"/>
                </a:solidFill>
                <a:latin typeface="Flecha S Medium" panose="02050703060505060204" pitchFamily="18" charset="77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1218577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0792" y="3720973"/>
            <a:ext cx="2981608" cy="2451227"/>
          </a:xfrm>
        </p:spPr>
        <p:txBody>
          <a:bodyPr/>
          <a:lstStyle>
            <a:lvl1pPr>
              <a:defRPr sz="1800" b="0">
                <a:solidFill>
                  <a:schemeClr val="accent1"/>
                </a:solidFill>
              </a:defRPr>
            </a:lvl1pPr>
            <a:lvl2pPr>
              <a:defRPr sz="14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D3DD303-98F8-790E-26F4-58B3AE82A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blue and black circular pattern&#10;&#10;Description automatically generated">
            <a:extLst>
              <a:ext uri="{FF2B5EF4-FFF2-40B4-BE49-F238E27FC236}">
                <a16:creationId xmlns:a16="http://schemas.microsoft.com/office/drawing/2014/main" id="{45B6BEB5-1754-B310-CBB5-DBEE19995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135"/>
          <a:stretch/>
        </p:blipFill>
        <p:spPr>
          <a:xfrm>
            <a:off x="719233" y="0"/>
            <a:ext cx="6909070" cy="609432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9F404EE-B6C7-1493-016D-2B689B90D1B8}"/>
              </a:ext>
            </a:extLst>
          </p:cNvPr>
          <p:cNvSpPr txBox="1"/>
          <p:nvPr userDrawn="1"/>
        </p:nvSpPr>
        <p:spPr>
          <a:xfrm>
            <a:off x="7916163" y="3408680"/>
            <a:ext cx="6896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b="0" i="0" dirty="0">
                <a:solidFill>
                  <a:schemeClr val="accent3"/>
                </a:solidFill>
                <a:latin typeface="Flecha S Medium" panose="02050703060505060204" pitchFamily="18" charset="77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0962137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FB0112-5FB7-06C8-73F4-9770574E19B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B525631-172F-1503-6D51-B6A8940318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022" t="8592" r="29897" b="35341"/>
          <a:stretch/>
        </p:blipFill>
        <p:spPr>
          <a:xfrm>
            <a:off x="6396780" y="1449970"/>
            <a:ext cx="5795219" cy="54080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50292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975535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66183C46-1769-9A50-E51B-3A8FD115FD5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7868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813E447B-791E-6268-100D-AF8B7E6854E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46136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277868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6136" y="4032504"/>
            <a:ext cx="2743200" cy="1707393"/>
          </a:xfrm>
        </p:spPr>
        <p:txBody>
          <a:bodyPr/>
          <a:lstStyle>
            <a:lvl1pPr marL="115888" indent="-11588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1042EB-F58E-FE11-9161-A504845C6B95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18858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905029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00457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179B86-FFB8-1DFC-5BBB-9FDCEE68427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495885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94B261-6A5E-C0F6-88A5-A53999340F7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791314" y="4032504"/>
            <a:ext cx="1874519" cy="1707393"/>
          </a:xfrm>
        </p:spPr>
        <p:txBody>
          <a:bodyPr/>
          <a:lstStyle>
            <a:lvl1pPr marL="7938" indent="-7938">
              <a:tabLst/>
              <a:defRPr sz="1800" b="0">
                <a:solidFill>
                  <a:schemeClr val="accent2"/>
                </a:solidFill>
              </a:defRPr>
            </a:lvl1pPr>
            <a:lvl2pPr>
              <a:defRPr sz="12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668AE1-3651-4DA2-66EE-C51F911F74C0}"/>
              </a:ext>
            </a:extLst>
          </p:cNvPr>
          <p:cNvSpPr txBox="1"/>
          <p:nvPr userDrawn="1"/>
        </p:nvSpPr>
        <p:spPr>
          <a:xfrm>
            <a:off x="609600" y="3159245"/>
            <a:ext cx="732893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ES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46DC47-A240-C2CA-8385-580BE4F48031}"/>
              </a:ext>
            </a:extLst>
          </p:cNvPr>
          <p:cNvSpPr txBox="1"/>
          <p:nvPr userDrawn="1"/>
        </p:nvSpPr>
        <p:spPr>
          <a:xfrm>
            <a:off x="2905028" y="3159245"/>
            <a:ext cx="1122423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Data</a:t>
            </a:r>
          </a:p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sc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8B1383-3526-5203-3D8A-1F931ACCB4D1}"/>
              </a:ext>
            </a:extLst>
          </p:cNvPr>
          <p:cNvSpPr txBox="1"/>
          <p:nvPr userDrawn="1"/>
        </p:nvSpPr>
        <p:spPr>
          <a:xfrm>
            <a:off x="5200456" y="3159245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isk</a:t>
            </a:r>
          </a:p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896AE5-095A-8745-1BAC-D9F71BCE188E}"/>
              </a:ext>
            </a:extLst>
          </p:cNvPr>
          <p:cNvSpPr txBox="1"/>
          <p:nvPr userDrawn="1"/>
        </p:nvSpPr>
        <p:spPr>
          <a:xfrm>
            <a:off x="7495884" y="3159245"/>
            <a:ext cx="1326004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esear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439CDA-DC34-EA39-3B6A-F7CCDABF2378}"/>
              </a:ext>
            </a:extLst>
          </p:cNvPr>
          <p:cNvSpPr txBox="1"/>
          <p:nvPr userDrawn="1"/>
        </p:nvSpPr>
        <p:spPr>
          <a:xfrm>
            <a:off x="9765637" y="3159245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Performance</a:t>
            </a:r>
          </a:p>
          <a:p>
            <a:r>
              <a:rPr lang="en-US" sz="2200" b="0" i="0" dirty="0">
                <a:solidFill>
                  <a:schemeClr val="accent2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FF4D5CE-BBE2-5CA8-D232-F9E5EF28D8E7}"/>
              </a:ext>
            </a:extLst>
          </p:cNvPr>
          <p:cNvCxnSpPr>
            <a:cxnSpLocks/>
          </p:cNvCxnSpPr>
          <p:nvPr userDrawn="1"/>
        </p:nvCxnSpPr>
        <p:spPr>
          <a:xfrm>
            <a:off x="609600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7FB574-7D8F-BDBD-8EBC-50ADF9908533}"/>
              </a:ext>
            </a:extLst>
          </p:cNvPr>
          <p:cNvCxnSpPr>
            <a:cxnSpLocks/>
          </p:cNvCxnSpPr>
          <p:nvPr userDrawn="1"/>
        </p:nvCxnSpPr>
        <p:spPr>
          <a:xfrm>
            <a:off x="2905028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CD60AC4-0EDA-37B8-61A8-9DFA179959E3}"/>
              </a:ext>
            </a:extLst>
          </p:cNvPr>
          <p:cNvCxnSpPr>
            <a:cxnSpLocks/>
          </p:cNvCxnSpPr>
          <p:nvPr userDrawn="1"/>
        </p:nvCxnSpPr>
        <p:spPr>
          <a:xfrm>
            <a:off x="5200456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B2F06F-EC57-9192-83A9-FEA40616824A}"/>
              </a:ext>
            </a:extLst>
          </p:cNvPr>
          <p:cNvCxnSpPr>
            <a:cxnSpLocks/>
          </p:cNvCxnSpPr>
          <p:nvPr userDrawn="1"/>
        </p:nvCxnSpPr>
        <p:spPr>
          <a:xfrm>
            <a:off x="7495884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37196BA3-C288-8086-E479-4FBF9E497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1888832"/>
            <a:ext cx="810693" cy="810693"/>
          </a:xfrm>
          <a:prstGeom prst="rect">
            <a:avLst/>
          </a:prstGeom>
        </p:spPr>
      </p:pic>
      <p:pic>
        <p:nvPicPr>
          <p:cNvPr id="24" name="Picture 23" descr="A blue and black rectangles&#10;&#10;Description automatically generated">
            <a:extLst>
              <a:ext uri="{FF2B5EF4-FFF2-40B4-BE49-F238E27FC236}">
                <a16:creationId xmlns:a16="http://schemas.microsoft.com/office/drawing/2014/main" id="{29FB279F-F0E8-2F9A-6703-86F6DA49F3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05028" y="1923088"/>
            <a:ext cx="736474" cy="742183"/>
          </a:xfrm>
          <a:prstGeom prst="rect">
            <a:avLst/>
          </a:prstGeom>
        </p:spPr>
      </p:pic>
      <p:pic>
        <p:nvPicPr>
          <p:cNvPr id="25" name="Picture 24" descr="A blue gear with a black background&#10;&#10;Description automatically generated">
            <a:extLst>
              <a:ext uri="{FF2B5EF4-FFF2-40B4-BE49-F238E27FC236}">
                <a16:creationId xmlns:a16="http://schemas.microsoft.com/office/drawing/2014/main" id="{37265398-1D05-C3C7-10E3-5965EAD042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200456" y="1860287"/>
            <a:ext cx="650838" cy="804984"/>
          </a:xfrm>
          <a:prstGeom prst="rect">
            <a:avLst/>
          </a:prstGeom>
        </p:spPr>
      </p:pic>
      <p:pic>
        <p:nvPicPr>
          <p:cNvPr id="26" name="Picture 25" descr="A blue magnifying glass and a blue circle&#10;&#10;Description automatically generated">
            <a:extLst>
              <a:ext uri="{FF2B5EF4-FFF2-40B4-BE49-F238E27FC236}">
                <a16:creationId xmlns:a16="http://schemas.microsoft.com/office/drawing/2014/main" id="{F223D8AD-ACC1-7E26-22C9-7AAE2C025D3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95884" y="1836757"/>
            <a:ext cx="890620" cy="890620"/>
          </a:xfrm>
          <a:prstGeom prst="rect">
            <a:avLst/>
          </a:prstGeom>
        </p:spPr>
      </p:pic>
      <p:pic>
        <p:nvPicPr>
          <p:cNvPr id="27" name="Picture 26" descr="A blue and white clock&#10;&#10;Description automatically generated">
            <a:extLst>
              <a:ext uri="{FF2B5EF4-FFF2-40B4-BE49-F238E27FC236}">
                <a16:creationId xmlns:a16="http://schemas.microsoft.com/office/drawing/2014/main" id="{320E5A69-5809-42DD-3D6B-05F1B13E247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791313" y="2007613"/>
            <a:ext cx="844947" cy="616583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BBEC30-FCB4-DF6F-BEC0-45322FF2808C}"/>
              </a:ext>
            </a:extLst>
          </p:cNvPr>
          <p:cNvCxnSpPr>
            <a:cxnSpLocks/>
          </p:cNvCxnSpPr>
          <p:nvPr userDrawn="1"/>
        </p:nvCxnSpPr>
        <p:spPr>
          <a:xfrm>
            <a:off x="9791313" y="2989967"/>
            <a:ext cx="17793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CCA62-5A2A-6719-2FF5-D957D797812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63864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01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61373F8-D90C-9857-9851-06558C5511A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8417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9C2173-97CE-5168-796D-2CB1B223F30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5874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179B86-FFB8-1DFC-5BBB-9FDCEE68427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43331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94B261-6A5E-C0F6-88A5-A53999340F7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707881" y="4398264"/>
            <a:ext cx="1874519" cy="1707393"/>
          </a:xfrm>
        </p:spPr>
        <p:txBody>
          <a:bodyPr/>
          <a:lstStyle>
            <a:lvl1pPr marL="7938" indent="-7938">
              <a:tabLst/>
              <a:defRPr sz="1200" b="0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668AE1-3651-4DA2-66EE-C51F911F74C0}"/>
              </a:ext>
            </a:extLst>
          </p:cNvPr>
          <p:cNvSpPr txBox="1"/>
          <p:nvPr userDrawn="1"/>
        </p:nvSpPr>
        <p:spPr>
          <a:xfrm>
            <a:off x="609600" y="3602736"/>
            <a:ext cx="732893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ES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46DC47-A240-C2CA-8385-580BE4F48031}"/>
              </a:ext>
            </a:extLst>
          </p:cNvPr>
          <p:cNvSpPr txBox="1"/>
          <p:nvPr userDrawn="1"/>
        </p:nvSpPr>
        <p:spPr>
          <a:xfrm>
            <a:off x="2884171" y="3602736"/>
            <a:ext cx="1122423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Data</a:t>
            </a:r>
          </a:p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sc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8B1383-3526-5203-3D8A-1F931ACCB4D1}"/>
              </a:ext>
            </a:extLst>
          </p:cNvPr>
          <p:cNvSpPr txBox="1"/>
          <p:nvPr userDrawn="1"/>
        </p:nvSpPr>
        <p:spPr>
          <a:xfrm>
            <a:off x="5158741" y="3602736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isk</a:t>
            </a:r>
          </a:p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896AE5-095A-8745-1BAC-D9F71BCE188E}"/>
              </a:ext>
            </a:extLst>
          </p:cNvPr>
          <p:cNvSpPr txBox="1"/>
          <p:nvPr userDrawn="1"/>
        </p:nvSpPr>
        <p:spPr>
          <a:xfrm>
            <a:off x="7433311" y="3602736"/>
            <a:ext cx="1326004" cy="4308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Resear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439CDA-DC34-EA39-3B6A-F7CCDABF2378}"/>
              </a:ext>
            </a:extLst>
          </p:cNvPr>
          <p:cNvSpPr txBox="1"/>
          <p:nvPr userDrawn="1"/>
        </p:nvSpPr>
        <p:spPr>
          <a:xfrm>
            <a:off x="9707881" y="3602736"/>
            <a:ext cx="1827744" cy="7694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Performance</a:t>
            </a:r>
          </a:p>
          <a:p>
            <a:r>
              <a:rPr lang="en-US" sz="1800" b="0" i="0" dirty="0">
                <a:solidFill>
                  <a:schemeClr val="accent1"/>
                </a:solidFill>
                <a:latin typeface="Flecha S Medium" panose="02050703060505060204" pitchFamily="18" charset="77"/>
                <a:cs typeface="Arial" panose="020B0604020202020204" pitchFamily="34" charset="0"/>
              </a:rPr>
              <a:t>managemen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FF4D5CE-BBE2-5CA8-D232-F9E5EF28D8E7}"/>
              </a:ext>
            </a:extLst>
          </p:cNvPr>
          <p:cNvCxnSpPr>
            <a:cxnSpLocks/>
          </p:cNvCxnSpPr>
          <p:nvPr userDrawn="1"/>
        </p:nvCxnSpPr>
        <p:spPr>
          <a:xfrm>
            <a:off x="60960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7FB574-7D8F-BDBD-8EBC-50ADF9908533}"/>
              </a:ext>
            </a:extLst>
          </p:cNvPr>
          <p:cNvCxnSpPr>
            <a:cxnSpLocks/>
          </p:cNvCxnSpPr>
          <p:nvPr userDrawn="1"/>
        </p:nvCxnSpPr>
        <p:spPr>
          <a:xfrm>
            <a:off x="288417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CD60AC4-0EDA-37B8-61A8-9DFA179959E3}"/>
              </a:ext>
            </a:extLst>
          </p:cNvPr>
          <p:cNvCxnSpPr>
            <a:cxnSpLocks/>
          </p:cNvCxnSpPr>
          <p:nvPr userDrawn="1"/>
        </p:nvCxnSpPr>
        <p:spPr>
          <a:xfrm>
            <a:off x="515874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B2F06F-EC57-9192-83A9-FEA40616824A}"/>
              </a:ext>
            </a:extLst>
          </p:cNvPr>
          <p:cNvCxnSpPr>
            <a:cxnSpLocks/>
          </p:cNvCxnSpPr>
          <p:nvPr userDrawn="1"/>
        </p:nvCxnSpPr>
        <p:spPr>
          <a:xfrm>
            <a:off x="743331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BBEC30-FCB4-DF6F-BEC0-45322FF2808C}"/>
              </a:ext>
            </a:extLst>
          </p:cNvPr>
          <p:cNvCxnSpPr>
            <a:cxnSpLocks/>
          </p:cNvCxnSpPr>
          <p:nvPr userDrawn="1"/>
        </p:nvCxnSpPr>
        <p:spPr>
          <a:xfrm>
            <a:off x="9707880" y="3438144"/>
            <a:ext cx="187451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ue and black rectangles&#10;&#10;Description automatically generated">
            <a:extLst>
              <a:ext uri="{FF2B5EF4-FFF2-40B4-BE49-F238E27FC236}">
                <a16:creationId xmlns:a16="http://schemas.microsoft.com/office/drawing/2014/main" id="{A5C11F12-075B-CCED-5251-252E655EC6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813" y="2066403"/>
            <a:ext cx="1047233" cy="1055351"/>
          </a:xfrm>
          <a:prstGeom prst="rect">
            <a:avLst/>
          </a:prstGeom>
        </p:spPr>
      </p:pic>
      <p:pic>
        <p:nvPicPr>
          <p:cNvPr id="10" name="Picture 9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C4F01B50-B84D-E3F7-F532-B7BDD34E7D9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0475" y="2021962"/>
            <a:ext cx="1152768" cy="1152768"/>
          </a:xfrm>
          <a:prstGeom prst="rect">
            <a:avLst/>
          </a:prstGeom>
        </p:spPr>
      </p:pic>
      <p:pic>
        <p:nvPicPr>
          <p:cNvPr id="11" name="Picture 10" descr="A blue and white clock&#10;&#10;Description automatically generated">
            <a:extLst>
              <a:ext uri="{FF2B5EF4-FFF2-40B4-BE49-F238E27FC236}">
                <a16:creationId xmlns:a16="http://schemas.microsoft.com/office/drawing/2014/main" id="{B6223589-A946-B8F9-23DB-3CB298CB08A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44401" y="2155701"/>
            <a:ext cx="1201477" cy="876753"/>
          </a:xfrm>
          <a:prstGeom prst="rect">
            <a:avLst/>
          </a:prstGeom>
        </p:spPr>
      </p:pic>
      <p:pic>
        <p:nvPicPr>
          <p:cNvPr id="29" name="Picture 28" descr="A blue magnifying glass and a blue circle&#10;&#10;Description automatically generated">
            <a:extLst>
              <a:ext uri="{FF2B5EF4-FFF2-40B4-BE49-F238E27FC236}">
                <a16:creationId xmlns:a16="http://schemas.microsoft.com/office/drawing/2014/main" id="{5BF9C195-907E-A813-87A2-783B0C9432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37359" y="1977104"/>
            <a:ext cx="1266421" cy="1266421"/>
          </a:xfrm>
          <a:prstGeom prst="rect">
            <a:avLst/>
          </a:prstGeom>
        </p:spPr>
      </p:pic>
      <p:pic>
        <p:nvPicPr>
          <p:cNvPr id="30" name="Picture 29" descr="A blue gear with a black background&#10;&#10;Description automatically generated">
            <a:extLst>
              <a:ext uri="{FF2B5EF4-FFF2-40B4-BE49-F238E27FC236}">
                <a16:creationId xmlns:a16="http://schemas.microsoft.com/office/drawing/2014/main" id="{D188576F-F6D8-E7B1-C1FA-C0F82357D89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633268" y="1977104"/>
            <a:ext cx="925462" cy="1144651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88E93F6-68CD-29D8-FD48-BE252C6D1CB9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5742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521" y="1276539"/>
            <a:ext cx="4068025" cy="57036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459736"/>
            <a:ext cx="4953707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blue circle with black background&#10;&#10;Description automatically generated">
            <a:extLst>
              <a:ext uri="{FF2B5EF4-FFF2-40B4-BE49-F238E27FC236}">
                <a16:creationId xmlns:a16="http://schemas.microsoft.com/office/drawing/2014/main" id="{266DC31C-6F0B-47FA-6872-96690E81BF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1568" y="511033"/>
            <a:ext cx="1101849" cy="1101849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84D9861-A635-D728-8C5A-C5A03E8551B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53328" y="2459736"/>
            <a:ext cx="4953707" cy="333487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3F5CF95-46EC-A5AA-8BA2-26E8B0B1B5C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2027521" y="94483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73458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286000"/>
            <a:ext cx="10977279" cy="3334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603371D-95A1-CE04-CB51-17193AB3C4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51907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2729" y="860613"/>
            <a:ext cx="3669671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60382B-A8FB-9E60-A6B8-2CA3707784C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912729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33106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88E2E2C-E1D8-3600-1F6D-487C3A0617EA}"/>
              </a:ext>
            </a:extLst>
          </p:cNvPr>
          <p:cNvSpPr/>
          <p:nvPr userDrawn="1"/>
        </p:nvSpPr>
        <p:spPr>
          <a:xfrm>
            <a:off x="5169529" y="0"/>
            <a:ext cx="70224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4111734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578608"/>
            <a:ext cx="4111734" cy="3197503"/>
          </a:xfrm>
        </p:spPr>
        <p:txBody>
          <a:bodyPr>
            <a:no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699A093-C444-B416-3E2D-72058A615DD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4102681" cy="50071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BD6302A-207F-4F17-1921-4825B0CF07F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96000" y="4434840"/>
            <a:ext cx="5486400" cy="1737360"/>
          </a:xfrm>
        </p:spPr>
        <p:txBody>
          <a:bodyPr numCol="2"/>
          <a:lstStyle>
            <a:lvl1pPr>
              <a:defRPr sz="1200" b="1">
                <a:solidFill>
                  <a:schemeClr val="accent1"/>
                </a:solidFill>
              </a:defRPr>
            </a:lvl1pPr>
            <a:lvl2pPr>
              <a:defRPr sz="1200" b="0">
                <a:solidFill>
                  <a:schemeClr val="accent1"/>
                </a:solidFill>
              </a:defRPr>
            </a:lvl2pPr>
            <a:lvl3pPr>
              <a:defRPr sz="18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A26EB27-5C47-E5B7-0D16-CBAAF9935A4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96000" y="687388"/>
            <a:ext cx="5486400" cy="276999"/>
          </a:xfr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0D8C723B-6EE2-FE37-A79E-37DAD9824EE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096000" y="1168400"/>
            <a:ext cx="5486400" cy="2914650"/>
          </a:xfrm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 dirty="0"/>
              <a:t>Insert Char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2022A4A-39DB-30EE-2119-7D09252705AC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14050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342900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2" y="2121408"/>
            <a:ext cx="3429000" cy="3660827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BFF57EF-97E3-11A4-1100-F38E0C6315BC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79555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0DC3361-9B01-BF52-793E-777D7F6293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853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20FC08E-7489-D139-3331-DB3981897D3A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6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C45C1BA-960D-125F-2C6F-A1E06878F1D7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096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F8094E2-804D-3F0D-FE87-4E4FAEC33F7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6096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2912979A-3C2A-AAD9-2B4C-184A98317901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4577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811D3531-3E96-0C28-F17B-05B39C43768C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44577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50CB65E5-4F19-9839-AB0D-BEC289F2A14C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4577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45D58218-D6D5-C2FC-BF9C-B24A0CCB028A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305800" y="16079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0106B269-D456-8C25-9ABE-23476151D9EB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8305800" y="32271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A260AE45-3B28-335B-BD74-2819BC10A7CF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8305800" y="4846320"/>
            <a:ext cx="1170432" cy="1170432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FA8399-0448-E39F-9EC1-11FD493244E3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20853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7C4CDCA-94F9-00DC-51EF-E7F4F84BC57D}"/>
              </a:ext>
            </a:extLst>
          </p:cNvPr>
          <p:cNvSpPr>
            <a:spLocks noGrp="1"/>
          </p:cNvSpPr>
          <p:nvPr>
            <p:ph idx="31"/>
          </p:nvPr>
        </p:nvSpPr>
        <p:spPr>
          <a:xfrm>
            <a:off x="20853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576AAE9-01C7-0C9D-92FA-D90724C371DD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59334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55807-A98D-DABA-0A32-DFBA17F3DF67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59334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82C269D3-7ACC-997D-C150-365315A2422B}"/>
              </a:ext>
            </a:extLst>
          </p:cNvPr>
          <p:cNvSpPr>
            <a:spLocks noGrp="1"/>
          </p:cNvSpPr>
          <p:nvPr>
            <p:ph idx="34"/>
          </p:nvPr>
        </p:nvSpPr>
        <p:spPr>
          <a:xfrm>
            <a:off x="59334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FAB9A17-A3DF-E1E8-217B-6F4A8FF54198}"/>
              </a:ext>
            </a:extLst>
          </p:cNvPr>
          <p:cNvSpPr>
            <a:spLocks noGrp="1"/>
          </p:cNvSpPr>
          <p:nvPr>
            <p:ph idx="35"/>
          </p:nvPr>
        </p:nvSpPr>
        <p:spPr>
          <a:xfrm>
            <a:off x="9781515" y="16079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BB46A8A3-D9DE-81A1-D910-4450032D5812}"/>
              </a:ext>
            </a:extLst>
          </p:cNvPr>
          <p:cNvSpPr>
            <a:spLocks noGrp="1"/>
          </p:cNvSpPr>
          <p:nvPr>
            <p:ph idx="36"/>
          </p:nvPr>
        </p:nvSpPr>
        <p:spPr>
          <a:xfrm>
            <a:off x="9781515" y="3227119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71A69FD0-1F85-3AFC-222B-2A689BA17EE7}"/>
              </a:ext>
            </a:extLst>
          </p:cNvPr>
          <p:cNvSpPr>
            <a:spLocks noGrp="1"/>
          </p:cNvSpPr>
          <p:nvPr>
            <p:ph idx="37"/>
          </p:nvPr>
        </p:nvSpPr>
        <p:spPr>
          <a:xfrm>
            <a:off x="9781515" y="4846320"/>
            <a:ext cx="1789568" cy="1170432"/>
          </a:xfrm>
        </p:spPr>
        <p:txBody>
          <a:bodyPr>
            <a:noAutofit/>
          </a:bodyPr>
          <a:lstStyle>
            <a:lvl1pPr marL="9525" indent="-9525">
              <a:spcBef>
                <a:spcPts val="0"/>
              </a:spcBef>
              <a:spcAft>
                <a:spcPts val="0"/>
              </a:spcAft>
              <a:tabLst/>
              <a:defRPr sz="16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defRPr sz="1000" b="0">
                <a:solidFill>
                  <a:schemeClr val="accent1"/>
                </a:solidFill>
              </a:defRPr>
            </a:lvl2pPr>
            <a:lvl3pPr marL="7937" indent="0">
              <a:spcBef>
                <a:spcPts val="1000"/>
              </a:spcBef>
              <a:buNone/>
              <a:defRPr sz="1100" b="0">
                <a:solidFill>
                  <a:schemeClr val="accent1"/>
                </a:solidFill>
              </a:defRPr>
            </a:lvl3pPr>
            <a:lvl4pPr>
              <a:defRPr sz="1800" b="0">
                <a:solidFill>
                  <a:schemeClr val="accent1"/>
                </a:solidFill>
              </a:defRPr>
            </a:lvl4pPr>
            <a:lvl5pPr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8D29BAD-2050-638E-B0CB-6FAC30A2E75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37248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66183C46-1769-9A50-E51B-3A8FD115FD5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7868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813E447B-791E-6268-100D-AF8B7E6854E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46136" y="1828800"/>
            <a:ext cx="1828800" cy="18288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A88A16-66AC-9CAC-3917-DA287ECE0B7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7868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88227DF-7FC1-0AFC-418A-D46220D35C8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946136" y="4032504"/>
            <a:ext cx="2743200" cy="170739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8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6EEB533-E99D-D8DB-B98C-3784DC7621F5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9221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2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attern of blue circles&#10;&#10;Description automatically generated">
            <a:extLst>
              <a:ext uri="{FF2B5EF4-FFF2-40B4-BE49-F238E27FC236}">
                <a16:creationId xmlns:a16="http://schemas.microsoft.com/office/drawing/2014/main" id="{A0EA0990-A2F4-1BF9-7E2E-0F928BF438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4400" y="0"/>
            <a:ext cx="61976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E3DA334-BD67-3270-BB6B-1974F72537E2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30469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2A254D-1767-5ABC-4643-2F665C76E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361688"/>
            <a:ext cx="2743200" cy="14868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i="0" dirty="0">
                <a:solidFill>
                  <a:schemeClr val="accent2"/>
                </a:solidFill>
                <a:latin typeface="Flecha S Medium" panose="02050703060505060204" pitchFamily="18" charset="77"/>
              </a:defRPr>
            </a:lvl1pPr>
            <a:lvl2pPr>
              <a:spcBef>
                <a:spcPts val="0"/>
              </a:spcBef>
              <a:spcAft>
                <a:spcPts val="1400"/>
              </a:spcAft>
              <a:defRPr lang="en-US" sz="1800" dirty="0">
                <a:solidFill>
                  <a:schemeClr val="accent2"/>
                </a:solidFill>
              </a:defRPr>
            </a:lvl2pPr>
            <a:lvl3pPr marL="7937" indent="0">
              <a:buNone/>
              <a:defRPr sz="1400">
                <a:solidFill>
                  <a:schemeClr val="accent2"/>
                </a:solidFill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199BCA-2F76-CCC9-F782-282B914EE0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664208"/>
            <a:ext cx="2286000" cy="228600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A88A16-66AC-9CAC-3917-DA287ECE0B7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9392" y="1664208"/>
            <a:ext cx="3474720" cy="401973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1500"/>
              </a:spcBef>
              <a:defRPr lang="en-US" sz="1800" b="0" dirty="0">
                <a:solidFill>
                  <a:schemeClr val="accent2"/>
                </a:solidFill>
                <a:latin typeface="+mn-lt"/>
              </a:defRPr>
            </a:lvl1pPr>
            <a:lvl2pPr marL="233363" indent="-225425">
              <a:spcAft>
                <a:spcPts val="500"/>
              </a:spcAft>
              <a:buFont typeface="Arial" panose="020B0604020202020204" pitchFamily="34" charset="0"/>
              <a:buChar char="•"/>
              <a:tabLst/>
              <a:defRPr lang="en-US" sz="1800" dirty="0">
                <a:solidFill>
                  <a:schemeClr val="accent2"/>
                </a:solidFill>
                <a:latin typeface="+mn-lt"/>
              </a:defRPr>
            </a:lvl2pPr>
            <a:lvl3pPr marL="233363" indent="0">
              <a:spcBef>
                <a:spcPts val="0"/>
              </a:spcBef>
              <a:buNone/>
              <a:tabLst/>
              <a:defRPr sz="1800">
                <a:solidFill>
                  <a:schemeClr val="accent2"/>
                </a:solidFill>
                <a:latin typeface="+mn-lt"/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88227DF-7FC1-0AFC-418A-D46220D35C8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936992" y="1664208"/>
            <a:ext cx="3474720" cy="401973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1500"/>
              </a:spcBef>
              <a:defRPr lang="en-US" sz="1800" b="0" dirty="0">
                <a:solidFill>
                  <a:schemeClr val="accent2"/>
                </a:solidFill>
                <a:latin typeface="+mn-lt"/>
              </a:defRPr>
            </a:lvl1pPr>
            <a:lvl2pPr marL="233363" indent="-225425">
              <a:spcAft>
                <a:spcPts val="500"/>
              </a:spcAft>
              <a:buFont typeface="Arial" panose="020B0604020202020204" pitchFamily="34" charset="0"/>
              <a:buChar char="•"/>
              <a:tabLst/>
              <a:defRPr lang="en-US" sz="1800" dirty="0">
                <a:solidFill>
                  <a:schemeClr val="accent2"/>
                </a:solidFill>
                <a:latin typeface="+mn-lt"/>
              </a:defRPr>
            </a:lvl2pPr>
            <a:lvl3pPr marL="233363" indent="0">
              <a:spcBef>
                <a:spcPts val="0"/>
              </a:spcBef>
              <a:buNone/>
              <a:tabLst/>
              <a:defRPr sz="1800">
                <a:solidFill>
                  <a:schemeClr val="accent2"/>
                </a:solidFill>
                <a:latin typeface="+mn-lt"/>
              </a:defRPr>
            </a:lvl3pPr>
          </a:lstStyle>
          <a:p>
            <a:pPr marL="115888" lvl="0" indent="-115888">
              <a:spcAft>
                <a:spcPts val="0"/>
              </a:spcAft>
              <a:tabLst/>
            </a:pPr>
            <a:r>
              <a:rPr lang="en-US"/>
              <a:t>Click to edit Master text styles</a:t>
            </a:r>
          </a:p>
          <a:p>
            <a:pPr marL="115888" lvl="1" indent="-115888">
              <a:spcAft>
                <a:spcPts val="0"/>
              </a:spcAft>
              <a:tabLst/>
            </a:pPr>
            <a:r>
              <a:rPr lang="en-US"/>
              <a:t>Second level</a:t>
            </a:r>
          </a:p>
          <a:p>
            <a:pPr marL="115888" lvl="2" indent="-115888">
              <a:spcAft>
                <a:spcPts val="0"/>
              </a:spcAft>
              <a:tabLst/>
            </a:pPr>
            <a:r>
              <a:rPr lang="en-US"/>
              <a:t>Thir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A93A3B2-0AB2-C90D-501D-D2452C06A7C1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04636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squares on a black background&#10;&#10;Description automatically generated">
            <a:extLst>
              <a:ext uri="{FF2B5EF4-FFF2-40B4-BE49-F238E27FC236}">
                <a16:creationId xmlns:a16="http://schemas.microsoft.com/office/drawing/2014/main" id="{60825B88-96B2-9387-961C-9017F09ECF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74229" y="740229"/>
            <a:ext cx="6117771" cy="61177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38488"/>
            <a:ext cx="45720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solidFill>
                  <a:schemeClr val="accent2"/>
                </a:solidFill>
              </a:rPr>
              <a:t>Section title goes her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9877448-ED28-7E48-23E9-7E77F3D4C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36208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C458318-B554-9EFD-B994-7340E4C37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F67FB2-BC35-3F89-183A-082341696DF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45001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5D0B882-7E2D-3A5C-E1AE-9A2AB120430D}"/>
              </a:ext>
            </a:extLst>
          </p:cNvPr>
          <p:cNvGrpSpPr/>
          <p:nvPr userDrawn="1"/>
        </p:nvGrpSpPr>
        <p:grpSpPr>
          <a:xfrm>
            <a:off x="5154334" y="684914"/>
            <a:ext cx="7053164" cy="5173810"/>
            <a:chOff x="6378853" y="2598509"/>
            <a:chExt cx="5813147" cy="4264203"/>
          </a:xfrm>
        </p:grpSpPr>
        <p:pic>
          <p:nvPicPr>
            <p:cNvPr id="5" name="Picture 4" descr="A blue rectangle with black border&#10;&#10;Description automatically generated">
              <a:extLst>
                <a:ext uri="{FF2B5EF4-FFF2-40B4-BE49-F238E27FC236}">
                  <a16:creationId xmlns:a16="http://schemas.microsoft.com/office/drawing/2014/main" id="{5E6FE1D3-52BD-8A3E-4ECB-BBB0BD4D82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78363" y="3148888"/>
              <a:ext cx="5213637" cy="3713824"/>
            </a:xfrm>
            <a:prstGeom prst="rect">
              <a:avLst/>
            </a:prstGeom>
          </p:spPr>
        </p:pic>
        <p:pic>
          <p:nvPicPr>
            <p:cNvPr id="6" name="Picture 5" descr="A screen shot of numbers and symbols&#10;&#10;Description automatically generated">
              <a:extLst>
                <a:ext uri="{FF2B5EF4-FFF2-40B4-BE49-F238E27FC236}">
                  <a16:creationId xmlns:a16="http://schemas.microsoft.com/office/drawing/2014/main" id="{9317EB54-6219-B6DD-7939-CDB6007B9E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929" t="8347" r="2" b="8"/>
            <a:stretch/>
          </p:blipFill>
          <p:spPr>
            <a:xfrm>
              <a:off x="6378853" y="2598509"/>
              <a:ext cx="4967788" cy="3381468"/>
            </a:xfrm>
            <a:prstGeom prst="rect">
              <a:avLst/>
            </a:prstGeom>
          </p:spPr>
        </p:pic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BD1111D-006B-AC28-884B-A419711E06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55917" y="684913"/>
            <a:ext cx="6025896" cy="4105656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38488"/>
            <a:ext cx="45720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solidFill>
                  <a:schemeClr val="accent2"/>
                </a:solidFill>
              </a:rPr>
              <a:t>Section title</a:t>
            </a:r>
            <a:br>
              <a:rPr lang="en-US" dirty="0">
                <a:solidFill>
                  <a:schemeClr val="accent2"/>
                </a:solidFill>
              </a:rPr>
            </a:br>
            <a:r>
              <a:rPr lang="en-US" dirty="0">
                <a:solidFill>
                  <a:schemeClr val="accent2"/>
                </a:solidFill>
              </a:rPr>
              <a:t>goes her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9877448-ED28-7E48-23E9-7E77F3D4C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36208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C458318-B554-9EFD-B994-7340E4C37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9D0DD24-4288-5627-4EFC-6A48B7B7594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2875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47BE3F58-CAAB-5707-08D5-68AEE1A17A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79628" y="1862868"/>
            <a:ext cx="5012372" cy="4995132"/>
          </a:xfrm>
          <a:prstGeom prst="rect">
            <a:avLst/>
          </a:prstGeom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687388"/>
            <a:ext cx="4572000" cy="4572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20EBA34-B0FF-DBC0-045B-B5B66EFA3EB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89360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ue squares on a black background&#10;&#10;Description automatically generated">
            <a:extLst>
              <a:ext uri="{FF2B5EF4-FFF2-40B4-BE49-F238E27FC236}">
                <a16:creationId xmlns:a16="http://schemas.microsoft.com/office/drawing/2014/main" id="{82EC82EF-3E6E-E271-E522-D403457BDB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74229" y="740229"/>
            <a:ext cx="6117771" cy="61177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1C54A4-7120-3603-B48A-3C23C424AA8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92309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rectangle with black border&#10;&#10;Description automatically generated">
            <a:extLst>
              <a:ext uri="{FF2B5EF4-FFF2-40B4-BE49-F238E27FC236}">
                <a16:creationId xmlns:a16="http://schemas.microsoft.com/office/drawing/2014/main" id="{8EF0AD21-194F-3CFE-20A0-FC3F89D15F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5822"/>
          <a:stretch/>
        </p:blipFill>
        <p:spPr>
          <a:xfrm>
            <a:off x="6089229" y="1261546"/>
            <a:ext cx="6102770" cy="5164297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480CAE2C-65D2-72C5-0D74-825ABBD21C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19106" y="861569"/>
            <a:ext cx="6473952" cy="4306824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5B326-1C84-D77B-065E-AA7C7E34FDA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76578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47BE3F58-CAAB-5707-08D5-68AEE1A17A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79628" y="1862868"/>
            <a:ext cx="5012372" cy="4995132"/>
          </a:xfrm>
          <a:prstGeom prst="rect">
            <a:avLst/>
          </a:prstGeom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46520" y="1124712"/>
            <a:ext cx="4087368" cy="4087368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D7C9A64-1433-09DB-3598-B26FBD63920B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75946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87FAD20-C231-D0C9-1404-B5C84F7032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5602" r="28360"/>
          <a:stretch/>
        </p:blipFill>
        <p:spPr>
          <a:xfrm>
            <a:off x="4649551" y="247439"/>
            <a:ext cx="7542449" cy="63631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A1C71EE-6D02-2C69-FCD6-00D6A254C5C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03907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29AC916-8EE2-F611-6DC5-5ABC767786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2" r="21347"/>
          <a:stretch/>
        </p:blipFill>
        <p:spPr>
          <a:xfrm>
            <a:off x="5953961" y="441313"/>
            <a:ext cx="6238039" cy="5975374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65487F1-C21A-94A8-1632-58F818A2E1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4712" y="441313"/>
            <a:ext cx="5970270" cy="5970270"/>
          </a:xfrm>
          <a:prstGeom prst="diamond">
            <a:avLst/>
          </a:prstGeo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071D2F-74BD-7611-B1AB-F968A8BE23D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55425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25FAC0F-D95A-58F0-6CC0-6EB4B98A9F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2" r="21347"/>
          <a:stretch/>
        </p:blipFill>
        <p:spPr>
          <a:xfrm>
            <a:off x="5953961" y="441313"/>
            <a:ext cx="6238039" cy="5975374"/>
          </a:xfrm>
          <a:prstGeom prst="rect">
            <a:avLst/>
          </a:prstGeom>
        </p:spPr>
      </p:pic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F32BC729-F69F-41DF-21E9-706F0EA9AE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4712" y="441313"/>
            <a:ext cx="5970270" cy="5970270"/>
          </a:xfrm>
          <a:prstGeom prst="diamond">
            <a:avLst/>
          </a:prstGeo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200" b="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DB9BB4-07BC-0859-6039-0BBA35F9A11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96923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attern of blue circles&#10;&#10;Description automatically generated">
            <a:extLst>
              <a:ext uri="{FF2B5EF4-FFF2-40B4-BE49-F238E27FC236}">
                <a16:creationId xmlns:a16="http://schemas.microsoft.com/office/drawing/2014/main" id="{48FC7204-5736-4986-257C-8B009A7B61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4400" y="0"/>
            <a:ext cx="61976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1DFE6FA-E4B1-90C8-AD9A-BAC2391E3C4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25289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and black background&#10;&#10;Description automatically generated">
            <a:extLst>
              <a:ext uri="{FF2B5EF4-FFF2-40B4-BE49-F238E27FC236}">
                <a16:creationId xmlns:a16="http://schemas.microsoft.com/office/drawing/2014/main" id="{F0FD70F6-C90D-F610-3F1E-0731264A12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8B8578-8536-95E2-05DB-327FD1D512A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26320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black background&#10;&#10;Description automatically generated">
            <a:extLst>
              <a:ext uri="{FF2B5EF4-FFF2-40B4-BE49-F238E27FC236}">
                <a16:creationId xmlns:a16="http://schemas.microsoft.com/office/drawing/2014/main" id="{3A7C5441-32E0-4544-E941-82FA49B250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2340864"/>
            <a:ext cx="6096000" cy="4517136"/>
          </a:xfrm>
          <a:prstGeom prst="rect">
            <a:avLst/>
          </a:prstGeom>
        </p:spPr>
      </p:pic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17F08B4-6B39-CF48-5659-86BE4E75B2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2953" y="-904"/>
            <a:ext cx="6099048" cy="4169663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581DAB-032B-E5BD-8987-56002ABB5F4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34765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square with black border&#10;&#10;Description automatically generated">
            <a:extLst>
              <a:ext uri="{FF2B5EF4-FFF2-40B4-BE49-F238E27FC236}">
                <a16:creationId xmlns:a16="http://schemas.microsoft.com/office/drawing/2014/main" id="{A746F025-622C-F9C4-F01F-8E059EE432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3927" y="1601258"/>
            <a:ext cx="5708073" cy="5256742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2AE0D8B-6181-B3E9-637E-BC0FD1A039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86144" y="0"/>
            <a:ext cx="5705856" cy="4498848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E42C435-236B-6B1A-CB9A-786200853C6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1035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urple square with a black background&#10;&#10;Description automatically generated">
            <a:extLst>
              <a:ext uri="{FF2B5EF4-FFF2-40B4-BE49-F238E27FC236}">
                <a16:creationId xmlns:a16="http://schemas.microsoft.com/office/drawing/2014/main" id="{AFA87D52-7641-5C67-D0A0-357D54896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6626" y="0"/>
            <a:ext cx="686537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41A7A37-C1DB-45A9-BBB2-A84ACE394FA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82374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square with black border&#10;&#10;Description automatically generated">
            <a:extLst>
              <a:ext uri="{FF2B5EF4-FFF2-40B4-BE49-F238E27FC236}">
                <a16:creationId xmlns:a16="http://schemas.microsoft.com/office/drawing/2014/main" id="{00345FF7-0213-C5E9-C74B-74C47815E5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6626" y="0"/>
            <a:ext cx="6865374" cy="6858000"/>
          </a:xfrm>
          <a:prstGeom prst="rect">
            <a:avLst/>
          </a:prstGeom>
        </p:spPr>
      </p:pic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D9D04C40-7BA3-33A2-73DB-7EEC68C372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7889" y="946880"/>
            <a:ext cx="4965192" cy="493776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42232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188CD0-E652-51D2-3CA5-2DC1387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0B8DA0-78D9-FF55-A7E3-8EBF5D6B70F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374899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90784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square with a black border&#10;&#10;Description automatically generated">
            <a:extLst>
              <a:ext uri="{FF2B5EF4-FFF2-40B4-BE49-F238E27FC236}">
                <a16:creationId xmlns:a16="http://schemas.microsoft.com/office/drawing/2014/main" id="{0DE8F8A1-FFC0-5D5D-34C4-0DE35D7B68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V="1">
            <a:off x="6020520" y="682170"/>
            <a:ext cx="6171479" cy="6175829"/>
          </a:xfrm>
          <a:prstGeom prst="rect">
            <a:avLst/>
          </a:prstGeom>
        </p:spPr>
      </p:pic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2AE0D8B-6181-B3E9-637E-BC0FD1A039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37960" y="1234440"/>
            <a:ext cx="3566160" cy="3566160"/>
          </a:xfrm>
          <a:solidFill>
            <a:schemeClr val="accent2">
              <a:lumMod val="65000"/>
            </a:schemeClr>
          </a:solidFill>
        </p:spPr>
        <p:txBody>
          <a:bodyPr anchor="ctr"/>
          <a:lstStyle>
            <a:lvl1pPr algn="ctr">
              <a:defRPr sz="1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12446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3496" y="390515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3B6BE-BD04-6717-A2F4-93B90D2F8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236208"/>
            <a:ext cx="457200" cy="1538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19B1D3-3CB1-4569-86DA-F998D2D47E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3571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05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4532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5491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3FF5C02B-D6A8-F290-2E29-F96B58D53A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4259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5264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3 Photo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8ABD6A7-97DC-0F94-73C1-05E5826CC6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630863" y="0"/>
            <a:ext cx="6561137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32EED-DAB1-2FA3-9475-434B19BD843B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826140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86F1FEC-FC9B-5A24-ADFD-E96F5845B44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0" y="0"/>
            <a:ext cx="3810000" cy="6858000"/>
          </a:xfrm>
          <a:solidFill>
            <a:schemeClr val="accent2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646540-98CB-5408-4AF4-6AAE56CA6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8BAFA-0B4A-0B1A-194A-7F5D5DD1B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3C1B1-9C22-69B6-EDDC-2FEAE4713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6254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AC5CC-1AFC-7515-DE7F-E3415E6E5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5A85F-F296-CFA1-2111-33C968E5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1317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1B6915-BF75-E111-D330-1DD70CBAEC65}"/>
              </a:ext>
            </a:extLst>
          </p:cNvPr>
          <p:cNvSpPr txBox="1"/>
          <p:nvPr userDrawn="1"/>
        </p:nvSpPr>
        <p:spPr>
          <a:xfrm>
            <a:off x="473308" y="4224144"/>
            <a:ext cx="498566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0" b="0" i="0" dirty="0">
                <a:solidFill>
                  <a:schemeClr val="accent2"/>
                </a:solidFill>
                <a:latin typeface="Flecha S Medium" panose="02050703060505060204" pitchFamily="18" charset="77"/>
              </a:rPr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5F04A9-7FB4-206D-6D50-251EE16E2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1394" r="19041"/>
          <a:stretch/>
        </p:blipFill>
        <p:spPr>
          <a:xfrm>
            <a:off x="6111018" y="0"/>
            <a:ext cx="6097064" cy="587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4043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4835" cy="6364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63FB08-913E-A540-03AA-E526F6B296D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5121" y="1626845"/>
            <a:ext cx="6405279" cy="500719"/>
          </a:xfr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8548A8-495E-F717-2EC6-8E21593DA2C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9439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47913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121" y="2121408"/>
            <a:ext cx="6405279" cy="3660827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BB9A353-2E47-AA6F-BFD6-AE895167D4B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700443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1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3725272F-C41F-221F-0AA3-A7AF0DF462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899" y="270942"/>
            <a:ext cx="3209159" cy="1080187"/>
          </a:xfrm>
          <a:prstGeom prst="rect">
            <a:avLst/>
          </a:prstGeom>
        </p:spPr>
      </p:pic>
      <p:pic>
        <p:nvPicPr>
          <p:cNvPr id="11" name="Picture 10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395C89A0-B92F-C0E7-2D2B-86475F9106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0585" t="36257" r="9098" b="16089"/>
          <a:stretch/>
        </p:blipFill>
        <p:spPr>
          <a:xfrm>
            <a:off x="0" y="0"/>
            <a:ext cx="867997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210100"/>
            <a:ext cx="59436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D6FA52-BDDD-A4CC-2EB6-7315D0FFCA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3504" y="4198555"/>
            <a:ext cx="3657600" cy="215444"/>
          </a:xfrm>
        </p:spPr>
        <p:txBody>
          <a:bodyPr>
            <a:no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irst Las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3A9D68-8F74-784C-88FA-EDC9BEE775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504" y="4443984"/>
            <a:ext cx="3657600" cy="215444"/>
          </a:xfrm>
        </p:spPr>
        <p:txBody>
          <a:bodyPr>
            <a:noAutofit/>
          </a:bodyPr>
          <a:lstStyle>
            <a:lvl1pPr>
              <a:defRPr cap="all" spc="150" baseline="0"/>
            </a:lvl1pPr>
          </a:lstStyle>
          <a:p>
            <a:pPr lvl="0"/>
            <a:r>
              <a:rPr lang="en-US" dirty="0"/>
              <a:t>Month xx, </a:t>
            </a:r>
            <a:r>
              <a:rPr lang="en-US" dirty="0" err="1"/>
              <a:t>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41013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BE351D0F-548B-C8B5-E4F5-27C0BA3FE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0585" t="36257" r="9098" b="16089"/>
          <a:stretch/>
        </p:blipFill>
        <p:spPr>
          <a:xfrm>
            <a:off x="0" y="0"/>
            <a:ext cx="8679977" cy="6858000"/>
          </a:xfrm>
          <a:prstGeom prst="rect">
            <a:avLst/>
          </a:prstGeom>
        </p:spPr>
      </p:pic>
      <p:pic>
        <p:nvPicPr>
          <p:cNvPr id="6" name="Picture 5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EDED7CF9-F191-CABB-B8EC-BAFEE23BFDE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1350" y="510266"/>
            <a:ext cx="2741522" cy="59297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210100"/>
            <a:ext cx="5943600" cy="1661993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solidFill>
                  <a:schemeClr val="accent2"/>
                </a:solidFill>
              </a:rPr>
              <a:t>Presentation</a:t>
            </a:r>
            <a:br>
              <a:rPr lang="en-US" dirty="0">
                <a:solidFill>
                  <a:schemeClr val="accent2"/>
                </a:solidFill>
              </a:rPr>
            </a:br>
            <a:r>
              <a:rPr lang="en-US" dirty="0">
                <a:solidFill>
                  <a:schemeClr val="accent2"/>
                </a:solidFill>
              </a:rPr>
              <a:t>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D6FA52-BDDD-A4CC-2EB6-7315D0FFCA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3504" y="4198555"/>
            <a:ext cx="3657600" cy="215444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irst Last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21F297B-0637-9ABD-12E3-5428E0F0B6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504" y="4443984"/>
            <a:ext cx="3657600" cy="215444"/>
          </a:xfrm>
        </p:spPr>
        <p:txBody>
          <a:bodyPr>
            <a:noAutofit/>
          </a:bodyPr>
          <a:lstStyle>
            <a:lvl1pPr>
              <a:defRPr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Month xx, </a:t>
            </a:r>
            <a:r>
              <a:rPr lang="en-US" dirty="0" err="1"/>
              <a:t>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2310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1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561D86-26BE-0782-B9C1-337F57D821BC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B525631-172F-1503-6D51-B6A8940318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022" t="8592" r="29897" b="35341"/>
          <a:stretch/>
        </p:blipFill>
        <p:spPr>
          <a:xfrm>
            <a:off x="6396780" y="1449970"/>
            <a:ext cx="5795219" cy="54080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50292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26662396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FB0112-5FB7-06C8-73F4-9770574E19B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B525631-172F-1503-6D51-B6A8940318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022" t="8592" r="29897" b="35341"/>
          <a:stretch/>
        </p:blipFill>
        <p:spPr>
          <a:xfrm>
            <a:off x="6396780" y="1449970"/>
            <a:ext cx="5795219" cy="54080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50292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8940222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3 Photo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3E0DBAF3-315B-0F99-2AB9-2CCA70A0593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630863" y="0"/>
            <a:ext cx="6561137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EDE136-7733-53B9-929D-67A8295584A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846425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2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attern of blue circles&#10;&#10;Description automatically generated">
            <a:extLst>
              <a:ext uri="{FF2B5EF4-FFF2-40B4-BE49-F238E27FC236}">
                <a16:creationId xmlns:a16="http://schemas.microsoft.com/office/drawing/2014/main" id="{A0EA0990-A2F4-1BF9-7E2E-0F928BF438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4400" y="0"/>
            <a:ext cx="61976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E3DA334-BD67-3270-BB6B-1974F72537E2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10491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attern of blue circles&#10;&#10;Description automatically generated">
            <a:extLst>
              <a:ext uri="{FF2B5EF4-FFF2-40B4-BE49-F238E27FC236}">
                <a16:creationId xmlns:a16="http://schemas.microsoft.com/office/drawing/2014/main" id="{48FC7204-5736-4986-257C-8B009A7B61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4400" y="0"/>
            <a:ext cx="61976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1DFE6FA-E4B1-90C8-AD9A-BAC2391E3C4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30566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3 Photo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8ABD6A7-97DC-0F94-73C1-05E5826CC6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630863" y="0"/>
            <a:ext cx="6561137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32EED-DAB1-2FA3-9475-434B19BD843B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69058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3 Photo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3E0DBAF3-315B-0F99-2AB9-2CCA70A0593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630863" y="0"/>
            <a:ext cx="6561137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2852564"/>
            <a:ext cx="4572000" cy="1661993"/>
          </a:xfrm>
        </p:spPr>
        <p:txBody>
          <a:bodyPr anchor="t">
            <a:noAutofit/>
          </a:bodyPr>
          <a:lstStyle>
            <a:lvl1pPr algn="l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EDE136-7733-53B9-929D-67A8295584A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3764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97667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4 Text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51376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D43F2-EAA3-73BE-D020-2B63AB088F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4151376"/>
            <a:ext cx="4708525" cy="1874838"/>
          </a:xfrm>
        </p:spPr>
        <p:txBody>
          <a:bodyPr>
            <a:noAutofit/>
          </a:bodyPr>
          <a:lstStyle>
            <a:lvl1pPr>
              <a:spcAft>
                <a:spcPts val="1400"/>
              </a:spcAft>
              <a:defRPr sz="1400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8B6CF07-364E-4D1B-66F0-CD310581E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51021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3B3F0A-DA00-A216-2B2E-B115DBA31CB1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37480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857286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4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2699-6D86-4659-D799-4912355B6CE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37480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51376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D43F2-EAA3-73BE-D020-2B63AB088F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4151376"/>
            <a:ext cx="4708525" cy="1874838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 sz="1800">
                <a:solidFill>
                  <a:schemeClr val="accent2"/>
                </a:solidFill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8B6CF07-364E-4D1B-66F0-CD310581E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51021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1126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01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860613"/>
            <a:ext cx="6405280" cy="636494"/>
          </a:xfrm>
        </p:spPr>
        <p:txBody>
          <a:bodyPr/>
          <a:lstStyle/>
          <a:p>
            <a:r>
              <a:rPr lang="en-US" dirty="0"/>
              <a:t>Headlin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121408"/>
            <a:ext cx="6405279" cy="3651863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6D2811B-4F7D-1E70-1DDB-293FBB480BF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63458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0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7A8DA75-FB00-D9E8-94BB-23E6EDE3D2C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5587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860613"/>
            <a:ext cx="6405280" cy="6364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A5327-52FE-0931-4502-EC5F5FFE49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121408"/>
            <a:ext cx="6405279" cy="3651863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45393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AAC23BB0-ECCE-A8BF-59DE-1AC543592B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569465"/>
            <a:ext cx="6405279" cy="338328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Insert table chart</a:t>
            </a:r>
          </a:p>
        </p:txBody>
      </p:sp>
    </p:spTree>
    <p:extLst>
      <p:ext uri="{BB962C8B-B14F-4D97-AF65-F5344CB8AC3E}">
        <p14:creationId xmlns:p14="http://schemas.microsoft.com/office/powerpoint/2010/main" val="382125763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F73C4CF6-3813-0C7F-6995-9DFCC05C2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569465"/>
            <a:ext cx="6405279" cy="338328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Insert table chart</a:t>
            </a:r>
          </a:p>
        </p:txBody>
      </p:sp>
    </p:spTree>
    <p:extLst>
      <p:ext uri="{BB962C8B-B14F-4D97-AF65-F5344CB8AC3E}">
        <p14:creationId xmlns:p14="http://schemas.microsoft.com/office/powerpoint/2010/main" val="36544097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04 Text Light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FFF02-3F57-1F78-BB68-591118CE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04" y="4151376"/>
            <a:ext cx="4572000" cy="1661993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BCD8A8-64A4-5C20-F77D-D01819C58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121" y="6251021"/>
            <a:ext cx="4114800" cy="12311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D43F2-EAA3-73BE-D020-2B63AB088F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4151376"/>
            <a:ext cx="4708525" cy="1874838"/>
          </a:xfrm>
        </p:spPr>
        <p:txBody>
          <a:bodyPr>
            <a:noAutofit/>
          </a:bodyPr>
          <a:lstStyle>
            <a:lvl1pPr>
              <a:spcAft>
                <a:spcPts val="1400"/>
              </a:spcAft>
              <a:defRPr sz="1400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8B6CF07-364E-4D1B-66F0-CD310581E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51021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3B3F0A-DA00-A216-2B2E-B115DBA31CB1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3748024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366657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AAC23BB0-ECCE-A8BF-59DE-1AC543592B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295144"/>
            <a:ext cx="6405279" cy="3383280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870059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1060704"/>
            <a:ext cx="6414244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F73C4CF6-3813-0C7F-6995-9DFCC05C2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7" t="33493" r="32527" b="570"/>
          <a:stretch/>
        </p:blipFill>
        <p:spPr>
          <a:xfrm>
            <a:off x="6857905" y="0"/>
            <a:ext cx="5334096" cy="543469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295144"/>
            <a:ext cx="6405279" cy="3383280"/>
          </a:xfrm>
        </p:spPr>
        <p:txBody>
          <a:bodyPr>
            <a:noAutofit/>
          </a:bodyPr>
          <a:lstStyle>
            <a:lvl1pPr marL="285750" indent="-28575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968127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6405280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958B4A9-FF0E-5E01-939D-8B8963B5E1F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5121" y="2136775"/>
            <a:ext cx="2369433" cy="3679825"/>
          </a:xfrm>
        </p:spPr>
        <p:txBody>
          <a:bodyPr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574EBD5-A878-C2F7-1B98-414683D3EA3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528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Add tab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9485D06-7DBB-D860-135D-3968C2AE3B3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960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tab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7816DC8-948A-4D9A-86B8-AA36E000F30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839200" y="2590800"/>
            <a:ext cx="2286000" cy="3200400"/>
          </a:xfrm>
        </p:spPr>
        <p:txBody>
          <a:bodyPr/>
          <a:lstStyle>
            <a:lvl1pPr>
              <a:defRPr sz="12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tab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F0BA6F-6DE8-E572-EE40-3F4DD00FCE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3528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 dirty="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48B2648-EFDC-4E85-ADA6-3BF0253AB32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0960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 dirty="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82951DA-E01F-A040-D2B9-A2E4C8F21F3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839200" y="1938528"/>
            <a:ext cx="22860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2400" dirty="0">
                <a:solidFill>
                  <a:schemeClr val="accent1"/>
                </a:solidFill>
                <a:latin typeface="Georgia" panose="02040502050405020303" pitchFamily="18" charset="0"/>
              </a:rPr>
              <a:t>Topic title here</a:t>
            </a:r>
          </a:p>
        </p:txBody>
      </p:sp>
    </p:spTree>
    <p:extLst>
      <p:ext uri="{BB962C8B-B14F-4D97-AF65-F5344CB8AC3E}">
        <p14:creationId xmlns:p14="http://schemas.microsoft.com/office/powerpoint/2010/main" val="3236183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3B4BA7AB-7730-19B3-538E-1FC93465E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291" t="28824" r="29453" b="1033"/>
          <a:stretch/>
        </p:blipFill>
        <p:spPr>
          <a:xfrm>
            <a:off x="5355170" y="-1"/>
            <a:ext cx="6836830" cy="66754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614236"/>
            <a:ext cx="4561239" cy="636494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574EBD5-A878-C2F7-1B98-414683D3EA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9599" y="2590800"/>
            <a:ext cx="4556761" cy="3200400"/>
          </a:xfrm>
        </p:spPr>
        <p:txBody>
          <a:bodyPr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F0BA6F-6DE8-E572-EE40-3F4DD00FCE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09599" y="1938528"/>
            <a:ext cx="4556761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opic Title</a:t>
            </a:r>
          </a:p>
        </p:txBody>
      </p:sp>
    </p:spTree>
    <p:extLst>
      <p:ext uri="{BB962C8B-B14F-4D97-AF65-F5344CB8AC3E}">
        <p14:creationId xmlns:p14="http://schemas.microsoft.com/office/powerpoint/2010/main" val="153266217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 02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and white circular logo&#10;&#10;Description automatically generated">
            <a:extLst>
              <a:ext uri="{FF2B5EF4-FFF2-40B4-BE49-F238E27FC236}">
                <a16:creationId xmlns:a16="http://schemas.microsoft.com/office/drawing/2014/main" id="{53427B2F-6A21-192B-1B7F-345925033D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291" t="28824" r="29453" b="1033"/>
          <a:stretch/>
        </p:blipFill>
        <p:spPr>
          <a:xfrm>
            <a:off x="5355170" y="-1"/>
            <a:ext cx="6836830" cy="66754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642123"/>
            <a:ext cx="5490879" cy="6364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F096F-CA26-FECA-AE37-2A8098FC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37C41-61FD-5349-A192-9970B0AFE4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FB91-635F-A1DD-2023-B4E4F9D515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1" y="2642616"/>
            <a:ext cx="5490879" cy="3187816"/>
          </a:xfrm>
        </p:spPr>
        <p:txBody>
          <a:bodyPr>
            <a:noAutofit/>
          </a:bodyPr>
          <a:lstStyle>
            <a:lvl1pPr marL="285750" indent="-28575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/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/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62FEE6E-D91A-AAEF-3DBE-92C78473E8F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09600" y="1938528"/>
            <a:ext cx="5486400" cy="500719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Flecha S Medium" panose="02050703060505060204" pitchFamily="18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opic Title</a:t>
            </a:r>
          </a:p>
        </p:txBody>
      </p:sp>
    </p:spTree>
    <p:extLst>
      <p:ext uri="{BB962C8B-B14F-4D97-AF65-F5344CB8AC3E}">
        <p14:creationId xmlns:p14="http://schemas.microsoft.com/office/powerpoint/2010/main" val="92569964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4806516" cy="636494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ontent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2121408"/>
            <a:ext cx="4799798" cy="3651863"/>
          </a:xfrm>
        </p:spPr>
        <p:txBody>
          <a:bodyPr>
            <a:noAutofit/>
          </a:bodyPr>
          <a:lstStyle>
            <a:lvl1pPr marL="285750" indent="-28575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2"/>
                </a:solidFill>
              </a:defRPr>
            </a:lvl1pPr>
            <a:lvl2pPr marL="687388" indent="-2238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800">
                <a:solidFill>
                  <a:schemeClr val="accent2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800">
                <a:solidFill>
                  <a:schemeClr val="accent2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6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Topic goes here</a:t>
            </a:r>
          </a:p>
          <a:p>
            <a:pPr lvl="1"/>
            <a:r>
              <a:rPr lang="en-US" dirty="0"/>
              <a:t>Sub-topic goes her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993473E-2B47-0C6F-19ED-AA2C3FFC4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63276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121" y="1060704"/>
            <a:ext cx="4806516" cy="636494"/>
          </a:xfrm>
        </p:spPr>
        <p:txBody>
          <a:bodyPr/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ontent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108A92-B4AA-DC22-DDB0-4A72F0B9A8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122" y="3063241"/>
            <a:ext cx="4799798" cy="27614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1pPr>
            <a:lvl2pPr marL="261938" indent="-2619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100">
                <a:solidFill>
                  <a:schemeClr val="accent1"/>
                </a:solidFill>
              </a:defRPr>
            </a:lvl2pPr>
            <a:lvl3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100">
                <a:solidFill>
                  <a:schemeClr val="accent1"/>
                </a:solidFill>
              </a:defRPr>
            </a:lvl3pPr>
            <a:lvl4pPr marL="687388" indent="0">
              <a:spcBef>
                <a:spcPts val="0"/>
              </a:spcBef>
              <a:spcAft>
                <a:spcPts val="0"/>
              </a:spcAft>
              <a:buNone/>
              <a:tabLst/>
              <a:defRPr sz="11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Add tab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3F17D64-9D3B-C833-73E0-0D513B6C323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5121" y="2020824"/>
            <a:ext cx="3637695" cy="500719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131D0A-A6D5-5B51-BEC3-B6297761E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9484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 0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88AD24B-4065-AB58-EB41-A2259242AB9C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012538" y="195067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2538" y="2423342"/>
            <a:ext cx="4485358" cy="1554480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88895-8C8E-BCF3-07B9-E9B2994361A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7016434" y="4225190"/>
            <a:ext cx="4490519" cy="1947010"/>
          </a:xfrm>
        </p:spPr>
        <p:txBody>
          <a:bodyPr anchor="t"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B548721-0354-3DFF-6E2E-F7DC118950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93116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pic>
        <p:nvPicPr>
          <p:cNvPr id="6" name="Picture 5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DFB4BEA2-1B52-A7CF-9977-948D59186C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32088" y="117088"/>
            <a:ext cx="6623824" cy="66238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106380"/>
            <a:ext cx="4270248" cy="1554480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42CFD4F-6261-E51E-95BC-E71E177F732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3922776"/>
            <a:ext cx="4270248" cy="1947010"/>
          </a:xfrm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FAE43A8-7D69-D8E8-8803-71173C89262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05121" y="1625551"/>
            <a:ext cx="3270126" cy="169277"/>
          </a:xfrm>
          <a:noFill/>
        </p:spPr>
        <p:txBody>
          <a:bodyPr wrap="none" rtlCol="0">
            <a:spAutoFit/>
          </a:bodyPr>
          <a:lstStyle>
            <a:lvl1pPr>
              <a:defRPr lang="en-US" sz="1100" cap="all" spc="150" baseline="0" dirty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0AD87C-005A-684E-789F-DC17C92D41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61223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ble of Content 02 Dark"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4E639E5-9D72-94C9-7493-C3537F7C41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2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Insert Photo</a:t>
            </a:r>
          </a:p>
        </p:txBody>
      </p:sp>
      <p:pic>
        <p:nvPicPr>
          <p:cNvPr id="6" name="Picture 5" descr="A blue circular pattern with lines in the center&#10;&#10;Description automatically generated">
            <a:extLst>
              <a:ext uri="{FF2B5EF4-FFF2-40B4-BE49-F238E27FC236}">
                <a16:creationId xmlns:a16="http://schemas.microsoft.com/office/drawing/2014/main" id="{DFB4BEA2-1B52-A7CF-9977-948D59186C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84088" y="117088"/>
            <a:ext cx="6623824" cy="6623824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2679-E090-8FB7-1816-F022F6CC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3 CFA Institute. All Rights Reserv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6283E1-72AC-E4ED-97F4-173582728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4672" y="2651760"/>
            <a:ext cx="2962656" cy="1554480"/>
          </a:xfrm>
        </p:spPr>
        <p:txBody>
          <a:bodyPr anchor="ctr"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title goes her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56368DA-6188-6BE1-B9CE-CEB140471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37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96.xml"/><Relationship Id="rId42" Type="http://schemas.openxmlformats.org/officeDocument/2006/relationships/slideLayout" Target="../slideLayouts/slideLayout117.xml"/><Relationship Id="rId47" Type="http://schemas.openxmlformats.org/officeDocument/2006/relationships/slideLayout" Target="../slideLayouts/slideLayout122.xml"/><Relationship Id="rId63" Type="http://schemas.openxmlformats.org/officeDocument/2006/relationships/slideLayout" Target="../slideLayouts/slideLayout138.xml"/><Relationship Id="rId68" Type="http://schemas.openxmlformats.org/officeDocument/2006/relationships/slideLayout" Target="../slideLayouts/slideLayout143.xml"/><Relationship Id="rId1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slideLayout" Target="../slideLayouts/slideLayout107.xml"/><Relationship Id="rId37" Type="http://schemas.openxmlformats.org/officeDocument/2006/relationships/slideLayout" Target="../slideLayouts/slideLayout112.xml"/><Relationship Id="rId40" Type="http://schemas.openxmlformats.org/officeDocument/2006/relationships/slideLayout" Target="../slideLayouts/slideLayout115.xml"/><Relationship Id="rId45" Type="http://schemas.openxmlformats.org/officeDocument/2006/relationships/slideLayout" Target="../slideLayouts/slideLayout120.xml"/><Relationship Id="rId53" Type="http://schemas.openxmlformats.org/officeDocument/2006/relationships/slideLayout" Target="../slideLayouts/slideLayout128.xml"/><Relationship Id="rId58" Type="http://schemas.openxmlformats.org/officeDocument/2006/relationships/slideLayout" Target="../slideLayouts/slideLayout133.xml"/><Relationship Id="rId66" Type="http://schemas.openxmlformats.org/officeDocument/2006/relationships/slideLayout" Target="../slideLayouts/slideLayout141.xml"/><Relationship Id="rId74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80.xml"/><Relationship Id="rId61" Type="http://schemas.openxmlformats.org/officeDocument/2006/relationships/slideLayout" Target="../slideLayouts/slideLayout136.xml"/><Relationship Id="rId1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Relationship Id="rId35" Type="http://schemas.openxmlformats.org/officeDocument/2006/relationships/slideLayout" Target="../slideLayouts/slideLayout110.xml"/><Relationship Id="rId43" Type="http://schemas.openxmlformats.org/officeDocument/2006/relationships/slideLayout" Target="../slideLayouts/slideLayout118.xml"/><Relationship Id="rId48" Type="http://schemas.openxmlformats.org/officeDocument/2006/relationships/slideLayout" Target="../slideLayouts/slideLayout123.xml"/><Relationship Id="rId56" Type="http://schemas.openxmlformats.org/officeDocument/2006/relationships/slideLayout" Target="../slideLayouts/slideLayout131.xml"/><Relationship Id="rId64" Type="http://schemas.openxmlformats.org/officeDocument/2006/relationships/slideLayout" Target="../slideLayouts/slideLayout139.xml"/><Relationship Id="rId69" Type="http://schemas.openxmlformats.org/officeDocument/2006/relationships/slideLayout" Target="../slideLayouts/slideLayout144.xml"/><Relationship Id="rId77" Type="http://schemas.openxmlformats.org/officeDocument/2006/relationships/theme" Target="../theme/theme2.xml"/><Relationship Id="rId8" Type="http://schemas.openxmlformats.org/officeDocument/2006/relationships/slideLayout" Target="../slideLayouts/slideLayout83.xml"/><Relationship Id="rId51" Type="http://schemas.openxmlformats.org/officeDocument/2006/relationships/slideLayout" Target="../slideLayouts/slideLayout126.xml"/><Relationship Id="rId72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slideLayout" Target="../slideLayouts/slideLayout108.xml"/><Relationship Id="rId38" Type="http://schemas.openxmlformats.org/officeDocument/2006/relationships/slideLayout" Target="../slideLayouts/slideLayout113.xml"/><Relationship Id="rId46" Type="http://schemas.openxmlformats.org/officeDocument/2006/relationships/slideLayout" Target="../slideLayouts/slideLayout121.xml"/><Relationship Id="rId59" Type="http://schemas.openxmlformats.org/officeDocument/2006/relationships/slideLayout" Target="../slideLayouts/slideLayout134.xml"/><Relationship Id="rId67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95.xml"/><Relationship Id="rId41" Type="http://schemas.openxmlformats.org/officeDocument/2006/relationships/slideLayout" Target="../slideLayouts/slideLayout116.xml"/><Relationship Id="rId54" Type="http://schemas.openxmlformats.org/officeDocument/2006/relationships/slideLayout" Target="../slideLayouts/slideLayout129.xml"/><Relationship Id="rId62" Type="http://schemas.openxmlformats.org/officeDocument/2006/relationships/slideLayout" Target="../slideLayouts/slideLayout137.xml"/><Relationship Id="rId70" Type="http://schemas.openxmlformats.org/officeDocument/2006/relationships/slideLayout" Target="../slideLayouts/slideLayout145.xml"/><Relationship Id="rId75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36" Type="http://schemas.openxmlformats.org/officeDocument/2006/relationships/slideLayout" Target="../slideLayouts/slideLayout111.xml"/><Relationship Id="rId49" Type="http://schemas.openxmlformats.org/officeDocument/2006/relationships/slideLayout" Target="../slideLayouts/slideLayout124.xml"/><Relationship Id="rId57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106.xml"/><Relationship Id="rId44" Type="http://schemas.openxmlformats.org/officeDocument/2006/relationships/slideLayout" Target="../slideLayouts/slideLayout119.xml"/><Relationship Id="rId52" Type="http://schemas.openxmlformats.org/officeDocument/2006/relationships/slideLayout" Target="../slideLayouts/slideLayout127.xml"/><Relationship Id="rId60" Type="http://schemas.openxmlformats.org/officeDocument/2006/relationships/slideLayout" Target="../slideLayouts/slideLayout135.xml"/><Relationship Id="rId65" Type="http://schemas.openxmlformats.org/officeDocument/2006/relationships/slideLayout" Target="../slideLayouts/slideLayout140.xml"/><Relationship Id="rId73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39" Type="http://schemas.openxmlformats.org/officeDocument/2006/relationships/slideLayout" Target="../slideLayouts/slideLayout114.xml"/><Relationship Id="rId34" Type="http://schemas.openxmlformats.org/officeDocument/2006/relationships/slideLayout" Target="../slideLayouts/slideLayout109.xml"/><Relationship Id="rId50" Type="http://schemas.openxmlformats.org/officeDocument/2006/relationships/slideLayout" Target="../slideLayouts/slideLayout125.xml"/><Relationship Id="rId55" Type="http://schemas.openxmlformats.org/officeDocument/2006/relationships/slideLayout" Target="../slideLayouts/slideLayout130.xml"/><Relationship Id="rId76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82.xml"/><Relationship Id="rId71" Type="http://schemas.openxmlformats.org/officeDocument/2006/relationships/slideLayout" Target="../slideLayouts/slideLayout146.xml"/><Relationship Id="rId2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104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77.xml"/><Relationship Id="rId21" Type="http://schemas.openxmlformats.org/officeDocument/2006/relationships/slideLayout" Target="../slideLayouts/slideLayout172.xml"/><Relationship Id="rId42" Type="http://schemas.openxmlformats.org/officeDocument/2006/relationships/slideLayout" Target="../slideLayouts/slideLayout193.xml"/><Relationship Id="rId47" Type="http://schemas.openxmlformats.org/officeDocument/2006/relationships/slideLayout" Target="../slideLayouts/slideLayout198.xml"/><Relationship Id="rId63" Type="http://schemas.openxmlformats.org/officeDocument/2006/relationships/slideLayout" Target="../slideLayouts/slideLayout214.xml"/><Relationship Id="rId68" Type="http://schemas.openxmlformats.org/officeDocument/2006/relationships/slideLayout" Target="../slideLayouts/slideLayout219.xml"/><Relationship Id="rId1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62.xml"/><Relationship Id="rId32" Type="http://schemas.openxmlformats.org/officeDocument/2006/relationships/slideLayout" Target="../slideLayouts/slideLayout183.xml"/><Relationship Id="rId37" Type="http://schemas.openxmlformats.org/officeDocument/2006/relationships/slideLayout" Target="../slideLayouts/slideLayout188.xml"/><Relationship Id="rId53" Type="http://schemas.openxmlformats.org/officeDocument/2006/relationships/slideLayout" Target="../slideLayouts/slideLayout204.xml"/><Relationship Id="rId58" Type="http://schemas.openxmlformats.org/officeDocument/2006/relationships/slideLayout" Target="../slideLayouts/slideLayout209.xml"/><Relationship Id="rId74" Type="http://schemas.openxmlformats.org/officeDocument/2006/relationships/slideLayout" Target="../slideLayouts/slideLayout225.xml"/><Relationship Id="rId79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156.xml"/><Relationship Id="rId61" Type="http://schemas.openxmlformats.org/officeDocument/2006/relationships/slideLayout" Target="../slideLayouts/slideLayout212.xml"/><Relationship Id="rId82" Type="http://schemas.openxmlformats.org/officeDocument/2006/relationships/theme" Target="../theme/theme3.xml"/><Relationship Id="rId1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173.xml"/><Relationship Id="rId27" Type="http://schemas.openxmlformats.org/officeDocument/2006/relationships/slideLayout" Target="../slideLayouts/slideLayout178.xml"/><Relationship Id="rId30" Type="http://schemas.openxmlformats.org/officeDocument/2006/relationships/slideLayout" Target="../slideLayouts/slideLayout181.xml"/><Relationship Id="rId35" Type="http://schemas.openxmlformats.org/officeDocument/2006/relationships/slideLayout" Target="../slideLayouts/slideLayout186.xml"/><Relationship Id="rId43" Type="http://schemas.openxmlformats.org/officeDocument/2006/relationships/slideLayout" Target="../slideLayouts/slideLayout194.xml"/><Relationship Id="rId48" Type="http://schemas.openxmlformats.org/officeDocument/2006/relationships/slideLayout" Target="../slideLayouts/slideLayout199.xml"/><Relationship Id="rId56" Type="http://schemas.openxmlformats.org/officeDocument/2006/relationships/slideLayout" Target="../slideLayouts/slideLayout207.xml"/><Relationship Id="rId64" Type="http://schemas.openxmlformats.org/officeDocument/2006/relationships/slideLayout" Target="../slideLayouts/slideLayout215.xml"/><Relationship Id="rId69" Type="http://schemas.openxmlformats.org/officeDocument/2006/relationships/slideLayout" Target="../slideLayouts/slideLayout220.xml"/><Relationship Id="rId77" Type="http://schemas.openxmlformats.org/officeDocument/2006/relationships/slideLayout" Target="../slideLayouts/slideLayout228.xml"/><Relationship Id="rId8" Type="http://schemas.openxmlformats.org/officeDocument/2006/relationships/slideLayout" Target="../slideLayouts/slideLayout159.xml"/><Relationship Id="rId51" Type="http://schemas.openxmlformats.org/officeDocument/2006/relationships/slideLayout" Target="../slideLayouts/slideLayout202.xml"/><Relationship Id="rId72" Type="http://schemas.openxmlformats.org/officeDocument/2006/relationships/slideLayout" Target="../slideLayouts/slideLayout223.xml"/><Relationship Id="rId80" Type="http://schemas.openxmlformats.org/officeDocument/2006/relationships/slideLayout" Target="../slideLayouts/slideLayout231.xml"/><Relationship Id="rId3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slideLayout" Target="../slideLayouts/slideLayout176.xml"/><Relationship Id="rId33" Type="http://schemas.openxmlformats.org/officeDocument/2006/relationships/slideLayout" Target="../slideLayouts/slideLayout184.xml"/><Relationship Id="rId38" Type="http://schemas.openxmlformats.org/officeDocument/2006/relationships/slideLayout" Target="../slideLayouts/slideLayout189.xml"/><Relationship Id="rId46" Type="http://schemas.openxmlformats.org/officeDocument/2006/relationships/slideLayout" Target="../slideLayouts/slideLayout197.xml"/><Relationship Id="rId59" Type="http://schemas.openxmlformats.org/officeDocument/2006/relationships/slideLayout" Target="../slideLayouts/slideLayout210.xml"/><Relationship Id="rId67" Type="http://schemas.openxmlformats.org/officeDocument/2006/relationships/slideLayout" Target="../slideLayouts/slideLayout218.xml"/><Relationship Id="rId20" Type="http://schemas.openxmlformats.org/officeDocument/2006/relationships/slideLayout" Target="../slideLayouts/slideLayout171.xml"/><Relationship Id="rId41" Type="http://schemas.openxmlformats.org/officeDocument/2006/relationships/slideLayout" Target="../slideLayouts/slideLayout192.xml"/><Relationship Id="rId54" Type="http://schemas.openxmlformats.org/officeDocument/2006/relationships/slideLayout" Target="../slideLayouts/slideLayout205.xml"/><Relationship Id="rId62" Type="http://schemas.openxmlformats.org/officeDocument/2006/relationships/slideLayout" Target="../slideLayouts/slideLayout213.xml"/><Relationship Id="rId70" Type="http://schemas.openxmlformats.org/officeDocument/2006/relationships/slideLayout" Target="../slideLayouts/slideLayout221.xml"/><Relationship Id="rId75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6.xml"/><Relationship Id="rId23" Type="http://schemas.openxmlformats.org/officeDocument/2006/relationships/slideLayout" Target="../slideLayouts/slideLayout174.xml"/><Relationship Id="rId28" Type="http://schemas.openxmlformats.org/officeDocument/2006/relationships/slideLayout" Target="../slideLayouts/slideLayout179.xml"/><Relationship Id="rId36" Type="http://schemas.openxmlformats.org/officeDocument/2006/relationships/slideLayout" Target="../slideLayouts/slideLayout187.xml"/><Relationship Id="rId49" Type="http://schemas.openxmlformats.org/officeDocument/2006/relationships/slideLayout" Target="../slideLayouts/slideLayout200.xml"/><Relationship Id="rId57" Type="http://schemas.openxmlformats.org/officeDocument/2006/relationships/slideLayout" Target="../slideLayouts/slideLayout208.xml"/><Relationship Id="rId10" Type="http://schemas.openxmlformats.org/officeDocument/2006/relationships/slideLayout" Target="../slideLayouts/slideLayout161.xml"/><Relationship Id="rId31" Type="http://schemas.openxmlformats.org/officeDocument/2006/relationships/slideLayout" Target="../slideLayouts/slideLayout182.xml"/><Relationship Id="rId44" Type="http://schemas.openxmlformats.org/officeDocument/2006/relationships/slideLayout" Target="../slideLayouts/slideLayout195.xml"/><Relationship Id="rId52" Type="http://schemas.openxmlformats.org/officeDocument/2006/relationships/slideLayout" Target="../slideLayouts/slideLayout203.xml"/><Relationship Id="rId60" Type="http://schemas.openxmlformats.org/officeDocument/2006/relationships/slideLayout" Target="../slideLayouts/slideLayout211.xml"/><Relationship Id="rId65" Type="http://schemas.openxmlformats.org/officeDocument/2006/relationships/slideLayout" Target="../slideLayouts/slideLayout216.xml"/><Relationship Id="rId73" Type="http://schemas.openxmlformats.org/officeDocument/2006/relationships/slideLayout" Target="../slideLayouts/slideLayout224.xml"/><Relationship Id="rId78" Type="http://schemas.openxmlformats.org/officeDocument/2006/relationships/slideLayout" Target="../slideLayouts/slideLayout229.xml"/><Relationship Id="rId81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39" Type="http://schemas.openxmlformats.org/officeDocument/2006/relationships/slideLayout" Target="../slideLayouts/slideLayout190.xml"/><Relationship Id="rId34" Type="http://schemas.openxmlformats.org/officeDocument/2006/relationships/slideLayout" Target="../slideLayouts/slideLayout185.xml"/><Relationship Id="rId50" Type="http://schemas.openxmlformats.org/officeDocument/2006/relationships/slideLayout" Target="../slideLayouts/slideLayout201.xml"/><Relationship Id="rId55" Type="http://schemas.openxmlformats.org/officeDocument/2006/relationships/slideLayout" Target="../slideLayouts/slideLayout206.xml"/><Relationship Id="rId76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158.xml"/><Relationship Id="rId71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153.xml"/><Relationship Id="rId29" Type="http://schemas.openxmlformats.org/officeDocument/2006/relationships/slideLayout" Target="../slideLayouts/slideLayout180.xml"/><Relationship Id="rId24" Type="http://schemas.openxmlformats.org/officeDocument/2006/relationships/slideLayout" Target="../slideLayouts/slideLayout175.xml"/><Relationship Id="rId40" Type="http://schemas.openxmlformats.org/officeDocument/2006/relationships/slideLayout" Target="../slideLayouts/slideLayout191.xml"/><Relationship Id="rId45" Type="http://schemas.openxmlformats.org/officeDocument/2006/relationships/slideLayout" Target="../slideLayouts/slideLayout196.xml"/><Relationship Id="rId66" Type="http://schemas.openxmlformats.org/officeDocument/2006/relationships/slideLayout" Target="../slideLayouts/slideLayout217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3E34A6-3F36-88C1-F6E7-AC05F1838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170FD3-69C5-60E5-F1C1-4B0A90FD61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5121" y="2590799"/>
            <a:ext cx="6405279" cy="33348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091380-E843-CE48-D303-FC3D4517C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5121" y="6236208"/>
            <a:ext cx="41148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6B6635-50D3-3569-BBA4-4C5D8A471F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02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accent1"/>
          </a:solidFill>
          <a:latin typeface="Flecha S Medium" panose="02050703060505060204" pitchFamily="18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spcAft>
          <a:spcPts val="0"/>
        </a:spcAft>
        <a:buFont typeface="Arial" panose="020B0604020202020204" pitchFamily="34" charset="0"/>
        <a:buNone/>
        <a:defRPr sz="1400" b="1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1pPr>
      <a:lvl2pPr marL="7938" indent="0" algn="l" defTabSz="914400" rtl="0" eaLnBrk="1" latinLnBrk="0" hangingPunct="1">
        <a:lnSpc>
          <a:spcPct val="100000"/>
        </a:lnSpc>
        <a:spcBef>
          <a:spcPts val="1400"/>
        </a:spcBef>
        <a:spcAft>
          <a:spcPts val="0"/>
        </a:spcAft>
        <a:buFont typeface="Arial" panose="020B0604020202020204" pitchFamily="34" charset="0"/>
        <a:buNone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2pPr>
      <a:lvl3pPr marL="231775" indent="-223838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3pPr>
      <a:lvl4pPr marL="687388" indent="-22383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4pPr>
      <a:lvl5pPr marL="687388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2112">
          <p15:clr>
            <a:srgbClr val="F26B43"/>
          </p15:clr>
        </p15:guide>
        <p15:guide id="5" pos="5568">
          <p15:clr>
            <a:srgbClr val="F26B43"/>
          </p15:clr>
        </p15:guide>
        <p15:guide id="6" pos="7296">
          <p15:clr>
            <a:srgbClr val="F26B43"/>
          </p15:clr>
        </p15:guide>
        <p15:guide id="7" orient="horz" pos="3888">
          <p15:clr>
            <a:srgbClr val="F26B43"/>
          </p15:clr>
        </p15:guide>
        <p15:guide id="8" orient="horz" pos="43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3E34A6-3F36-88C1-F6E7-AC05F1838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170FD3-69C5-60E5-F1C1-4B0A90FD61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5121" y="2590799"/>
            <a:ext cx="6405279" cy="33348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091380-E843-CE48-D303-FC3D4517C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5121" y="6236208"/>
            <a:ext cx="41148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2023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6B6635-50D3-3569-BBA4-4C5D8A471F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309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  <p:sldLayoutId id="2147483757" r:id="rId21"/>
    <p:sldLayoutId id="2147483758" r:id="rId22"/>
    <p:sldLayoutId id="2147483759" r:id="rId23"/>
    <p:sldLayoutId id="2147483760" r:id="rId24"/>
    <p:sldLayoutId id="2147483761" r:id="rId25"/>
    <p:sldLayoutId id="2147483762" r:id="rId26"/>
    <p:sldLayoutId id="2147483763" r:id="rId27"/>
    <p:sldLayoutId id="2147483764" r:id="rId28"/>
    <p:sldLayoutId id="2147483765" r:id="rId29"/>
    <p:sldLayoutId id="2147483766" r:id="rId30"/>
    <p:sldLayoutId id="2147483767" r:id="rId31"/>
    <p:sldLayoutId id="2147483768" r:id="rId32"/>
    <p:sldLayoutId id="2147483769" r:id="rId33"/>
    <p:sldLayoutId id="2147483770" r:id="rId34"/>
    <p:sldLayoutId id="2147483771" r:id="rId35"/>
    <p:sldLayoutId id="2147483772" r:id="rId36"/>
    <p:sldLayoutId id="2147483773" r:id="rId37"/>
    <p:sldLayoutId id="2147483774" r:id="rId38"/>
    <p:sldLayoutId id="2147483775" r:id="rId39"/>
    <p:sldLayoutId id="2147483776" r:id="rId40"/>
    <p:sldLayoutId id="2147483777" r:id="rId41"/>
    <p:sldLayoutId id="2147483778" r:id="rId42"/>
    <p:sldLayoutId id="2147483779" r:id="rId43"/>
    <p:sldLayoutId id="2147483780" r:id="rId44"/>
    <p:sldLayoutId id="2147483781" r:id="rId45"/>
    <p:sldLayoutId id="2147483782" r:id="rId46"/>
    <p:sldLayoutId id="2147483783" r:id="rId47"/>
    <p:sldLayoutId id="2147483784" r:id="rId48"/>
    <p:sldLayoutId id="2147483785" r:id="rId49"/>
    <p:sldLayoutId id="2147483786" r:id="rId50"/>
    <p:sldLayoutId id="2147483787" r:id="rId51"/>
    <p:sldLayoutId id="2147483788" r:id="rId52"/>
    <p:sldLayoutId id="2147483789" r:id="rId53"/>
    <p:sldLayoutId id="2147483790" r:id="rId54"/>
    <p:sldLayoutId id="2147483791" r:id="rId55"/>
    <p:sldLayoutId id="2147483792" r:id="rId56"/>
    <p:sldLayoutId id="2147483793" r:id="rId57"/>
    <p:sldLayoutId id="2147483794" r:id="rId58"/>
    <p:sldLayoutId id="2147483795" r:id="rId59"/>
    <p:sldLayoutId id="2147483796" r:id="rId60"/>
    <p:sldLayoutId id="2147483797" r:id="rId61"/>
    <p:sldLayoutId id="2147483798" r:id="rId62"/>
    <p:sldLayoutId id="2147483799" r:id="rId63"/>
    <p:sldLayoutId id="2147483800" r:id="rId64"/>
    <p:sldLayoutId id="2147483801" r:id="rId65"/>
    <p:sldLayoutId id="2147483802" r:id="rId66"/>
    <p:sldLayoutId id="2147483803" r:id="rId67"/>
    <p:sldLayoutId id="2147483804" r:id="rId68"/>
    <p:sldLayoutId id="2147483805" r:id="rId69"/>
    <p:sldLayoutId id="2147483806" r:id="rId70"/>
    <p:sldLayoutId id="2147483807" r:id="rId71"/>
    <p:sldLayoutId id="2147483808" r:id="rId72"/>
    <p:sldLayoutId id="2147483809" r:id="rId73"/>
    <p:sldLayoutId id="2147483810" r:id="rId74"/>
    <p:sldLayoutId id="2147483811" r:id="rId75"/>
    <p:sldLayoutId id="2147483812" r:id="rId7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accent1"/>
          </a:solidFill>
          <a:latin typeface="Flecha S Medium" panose="02050703060505060204" pitchFamily="18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spcAft>
          <a:spcPts val="0"/>
        </a:spcAft>
        <a:buFont typeface="Arial" panose="020B0604020202020204" pitchFamily="34" charset="0"/>
        <a:buNone/>
        <a:defRPr sz="1400" b="1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1pPr>
      <a:lvl2pPr marL="7938" indent="0" algn="l" defTabSz="914400" rtl="0" eaLnBrk="1" latinLnBrk="0" hangingPunct="1">
        <a:lnSpc>
          <a:spcPct val="100000"/>
        </a:lnSpc>
        <a:spcBef>
          <a:spcPts val="1400"/>
        </a:spcBef>
        <a:spcAft>
          <a:spcPts val="0"/>
        </a:spcAft>
        <a:buFont typeface="Arial" panose="020B0604020202020204" pitchFamily="34" charset="0"/>
        <a:buNone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2pPr>
      <a:lvl3pPr marL="231775" indent="-223838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3pPr>
      <a:lvl4pPr marL="687388" indent="-22383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4pPr>
      <a:lvl5pPr marL="687388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2112">
          <p15:clr>
            <a:srgbClr val="F26B43"/>
          </p15:clr>
        </p15:guide>
        <p15:guide id="5" pos="5568">
          <p15:clr>
            <a:srgbClr val="F26B43"/>
          </p15:clr>
        </p15:guide>
        <p15:guide id="6" pos="7296">
          <p15:clr>
            <a:srgbClr val="F26B43"/>
          </p15:clr>
        </p15:guide>
        <p15:guide id="7" orient="horz" pos="3888">
          <p15:clr>
            <a:srgbClr val="F26B43"/>
          </p15:clr>
        </p15:guide>
        <p15:guide id="8" orient="horz" pos="43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3E34A6-3F36-88C1-F6E7-AC05F1838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860613"/>
            <a:ext cx="6405280" cy="636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170FD3-69C5-60E5-F1C1-4B0A90FD61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5121" y="2590799"/>
            <a:ext cx="6405279" cy="33348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091380-E843-CE48-D303-FC3D4517C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5121" y="6236208"/>
            <a:ext cx="41148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/>
              <a:t>© 2024 CFA Institute. 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6B6635-50D3-3569-BBA4-4C5D8A471F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236208"/>
            <a:ext cx="457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FC37C41-61FD-5349-A192-9970B0AFE4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849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  <p:sldLayoutId id="2147483838" r:id="rId25"/>
    <p:sldLayoutId id="2147483839" r:id="rId26"/>
    <p:sldLayoutId id="2147483840" r:id="rId27"/>
    <p:sldLayoutId id="2147483841" r:id="rId28"/>
    <p:sldLayoutId id="2147483842" r:id="rId29"/>
    <p:sldLayoutId id="2147483843" r:id="rId30"/>
    <p:sldLayoutId id="2147483844" r:id="rId31"/>
    <p:sldLayoutId id="2147483845" r:id="rId32"/>
    <p:sldLayoutId id="2147483846" r:id="rId33"/>
    <p:sldLayoutId id="2147483847" r:id="rId34"/>
    <p:sldLayoutId id="2147483848" r:id="rId35"/>
    <p:sldLayoutId id="2147483849" r:id="rId36"/>
    <p:sldLayoutId id="2147483850" r:id="rId37"/>
    <p:sldLayoutId id="2147483851" r:id="rId38"/>
    <p:sldLayoutId id="2147483852" r:id="rId39"/>
    <p:sldLayoutId id="2147483853" r:id="rId40"/>
    <p:sldLayoutId id="2147483854" r:id="rId41"/>
    <p:sldLayoutId id="2147483855" r:id="rId42"/>
    <p:sldLayoutId id="2147483856" r:id="rId43"/>
    <p:sldLayoutId id="2147483857" r:id="rId44"/>
    <p:sldLayoutId id="2147483858" r:id="rId45"/>
    <p:sldLayoutId id="2147483859" r:id="rId46"/>
    <p:sldLayoutId id="2147483860" r:id="rId47"/>
    <p:sldLayoutId id="2147483861" r:id="rId48"/>
    <p:sldLayoutId id="2147483862" r:id="rId49"/>
    <p:sldLayoutId id="2147483863" r:id="rId50"/>
    <p:sldLayoutId id="2147483864" r:id="rId51"/>
    <p:sldLayoutId id="2147483865" r:id="rId52"/>
    <p:sldLayoutId id="2147483866" r:id="rId53"/>
    <p:sldLayoutId id="2147483867" r:id="rId54"/>
    <p:sldLayoutId id="2147483868" r:id="rId55"/>
    <p:sldLayoutId id="2147483869" r:id="rId56"/>
    <p:sldLayoutId id="2147483870" r:id="rId57"/>
    <p:sldLayoutId id="2147483871" r:id="rId58"/>
    <p:sldLayoutId id="2147483872" r:id="rId59"/>
    <p:sldLayoutId id="2147483873" r:id="rId60"/>
    <p:sldLayoutId id="2147483874" r:id="rId61"/>
    <p:sldLayoutId id="2147483875" r:id="rId62"/>
    <p:sldLayoutId id="2147483876" r:id="rId63"/>
    <p:sldLayoutId id="2147483877" r:id="rId64"/>
    <p:sldLayoutId id="2147483878" r:id="rId65"/>
    <p:sldLayoutId id="2147483879" r:id="rId66"/>
    <p:sldLayoutId id="2147483880" r:id="rId67"/>
    <p:sldLayoutId id="2147483881" r:id="rId68"/>
    <p:sldLayoutId id="2147483882" r:id="rId69"/>
    <p:sldLayoutId id="2147483883" r:id="rId70"/>
    <p:sldLayoutId id="2147483884" r:id="rId71"/>
    <p:sldLayoutId id="2147483885" r:id="rId72"/>
    <p:sldLayoutId id="2147483886" r:id="rId73"/>
    <p:sldLayoutId id="2147483887" r:id="rId74"/>
    <p:sldLayoutId id="2147483888" r:id="rId75"/>
    <p:sldLayoutId id="2147483889" r:id="rId76"/>
    <p:sldLayoutId id="2147483890" r:id="rId77"/>
    <p:sldLayoutId id="2147483891" r:id="rId78"/>
    <p:sldLayoutId id="2147483892" r:id="rId79"/>
    <p:sldLayoutId id="2147483893" r:id="rId80"/>
    <p:sldLayoutId id="2147483894" r:id="rId8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accent1"/>
          </a:solidFill>
          <a:latin typeface="Flecha S Medium" panose="02050703060505060204" pitchFamily="18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spcAft>
          <a:spcPts val="0"/>
        </a:spcAft>
        <a:buFont typeface="Arial" panose="020B0604020202020204" pitchFamily="34" charset="0"/>
        <a:buNone/>
        <a:defRPr sz="1400" b="1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1pPr>
      <a:lvl2pPr marL="7938" indent="0" algn="l" defTabSz="914400" rtl="0" eaLnBrk="1" latinLnBrk="0" hangingPunct="1">
        <a:lnSpc>
          <a:spcPct val="100000"/>
        </a:lnSpc>
        <a:spcBef>
          <a:spcPts val="1400"/>
        </a:spcBef>
        <a:spcAft>
          <a:spcPts val="0"/>
        </a:spcAft>
        <a:buFont typeface="Arial" panose="020B0604020202020204" pitchFamily="34" charset="0"/>
        <a:buNone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2pPr>
      <a:lvl3pPr marL="231775" indent="-223838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3pPr>
      <a:lvl4pPr marL="687388" indent="-22383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4pPr>
      <a:lvl5pPr marL="687388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tabLst/>
        <a:defRPr sz="1400" b="0" i="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2112">
          <p15:clr>
            <a:srgbClr val="F26B43"/>
          </p15:clr>
        </p15:guide>
        <p15:guide id="5" pos="5568">
          <p15:clr>
            <a:srgbClr val="F26B43"/>
          </p15:clr>
        </p15:guide>
        <p15:guide id="6" pos="7296">
          <p15:clr>
            <a:srgbClr val="F26B43"/>
          </p15:clr>
        </p15:guide>
        <p15:guide id="7" orient="horz" pos="3888">
          <p15:clr>
            <a:srgbClr val="F26B43"/>
          </p15:clr>
        </p15:guide>
        <p15:guide id="8" orient="horz" pos="43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0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C2292477-E836-71F4-2DEB-F7258D261F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35066" y="6199061"/>
            <a:ext cx="2743200" cy="187170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accent2">
                    <a:lumMod val="65000"/>
                  </a:schemeClr>
                </a:solidFill>
                <a:latin typeface="Azo Sans" panose="02000000000000000000" pitchFamily="2" charset="0"/>
                <a:cs typeface="Arial" panose="020B0604020202020204" pitchFamily="34" charset="0"/>
              </a:defRPr>
            </a:lvl1pPr>
          </a:lstStyle>
          <a:p>
            <a:fld id="{25665DFC-E6E1-AC46-8C75-398C3AC7E5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180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22.xml"/><Relationship Id="rId1" Type="http://schemas.openxmlformats.org/officeDocument/2006/relationships/tags" Target="../tags/tag22.x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27.xml"/><Relationship Id="rId1" Type="http://schemas.openxmlformats.org/officeDocument/2006/relationships/tags" Target="../tags/tag23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3.xml"/><Relationship Id="rId1" Type="http://schemas.openxmlformats.org/officeDocument/2006/relationships/tags" Target="../tags/tag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51.xml"/><Relationship Id="rId1" Type="http://schemas.openxmlformats.org/officeDocument/2006/relationships/tags" Target="../tags/tag27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46.xml"/><Relationship Id="rId1" Type="http://schemas.openxmlformats.org/officeDocument/2006/relationships/tags" Target="../tags/tag28.xml"/><Relationship Id="rId5" Type="http://schemas.openxmlformats.org/officeDocument/2006/relationships/image" Target="../media/image43.png"/><Relationship Id="rId4" Type="http://schemas.openxmlformats.org/officeDocument/2006/relationships/image" Target="../media/image33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gif"/><Relationship Id="rId1" Type="http://schemas.openxmlformats.org/officeDocument/2006/relationships/slideLayout" Target="../slideLayouts/slideLayout14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2.xml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1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22.xml"/><Relationship Id="rId1" Type="http://schemas.openxmlformats.org/officeDocument/2006/relationships/tags" Target="../tags/tag4.x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notesSlide" Target="../notesSlides/notesSlide2.xml"/><Relationship Id="rId3" Type="http://schemas.openxmlformats.org/officeDocument/2006/relationships/tags" Target="../tags/tag8.xml"/><Relationship Id="rId21" Type="http://schemas.openxmlformats.org/officeDocument/2006/relationships/chart" Target="../charts/chart1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Layout" Target="../slideLayouts/slideLayout22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image" Target="../media/image32.emf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19" Type="http://schemas.openxmlformats.org/officeDocument/2006/relationships/oleObject" Target="../embeddings/oleObject2.bin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0D11D-86E7-130B-373B-0205484574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3503" y="2210101"/>
            <a:ext cx="5943600" cy="1369862"/>
          </a:xfrm>
        </p:spPr>
        <p:txBody>
          <a:bodyPr/>
          <a:lstStyle/>
          <a:p>
            <a:r>
              <a:rPr lang="en-US" sz="4800" dirty="0">
                <a:latin typeface="Flecha S Medium"/>
              </a:rPr>
              <a:t>CFA® Institute</a:t>
            </a:r>
            <a:endParaRPr lang="en-US" sz="4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26551B-CA32-94C8-7DF8-DEDF41CC4996}"/>
              </a:ext>
            </a:extLst>
          </p:cNvPr>
          <p:cNvSpPr txBox="1"/>
          <p:nvPr/>
        </p:nvSpPr>
        <p:spPr>
          <a:xfrm>
            <a:off x="514490" y="2525700"/>
            <a:ext cx="44429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welcome</a:t>
            </a:r>
          </a:p>
        </p:txBody>
      </p:sp>
    </p:spTree>
    <p:extLst>
      <p:ext uri="{BB962C8B-B14F-4D97-AF65-F5344CB8AC3E}">
        <p14:creationId xmlns:p14="http://schemas.microsoft.com/office/powerpoint/2010/main" val="118832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EF1D671-A743-4CBF-9D04-4850D35D77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EF1D671-A743-4CBF-9D04-4850D35D77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itle 4">
            <a:extLst>
              <a:ext uri="{FF2B5EF4-FFF2-40B4-BE49-F238E27FC236}">
                <a16:creationId xmlns:a16="http://schemas.microsoft.com/office/drawing/2014/main" id="{61835140-501F-4F9D-BC64-11E3DEF879D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47990" y="466674"/>
            <a:ext cx="10091738" cy="585749"/>
          </a:xfrm>
        </p:spPr>
        <p:txBody>
          <a:bodyPr vert="horz"/>
          <a:lstStyle/>
          <a:p>
            <a:r>
              <a:rPr lang="en-US" sz="3600" dirty="0">
                <a:solidFill>
                  <a:schemeClr val="accent2"/>
                </a:solidFill>
              </a:rPr>
              <a:t>Curriculum topic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738D36B-DFE8-E40F-B7AF-C1FA7261BF80}"/>
              </a:ext>
            </a:extLst>
          </p:cNvPr>
          <p:cNvGraphicFramePr>
            <a:graphicFrameLocks noGrp="1"/>
          </p:cNvGraphicFramePr>
          <p:nvPr/>
        </p:nvGraphicFramePr>
        <p:xfrm>
          <a:off x="646770" y="892167"/>
          <a:ext cx="10294177" cy="5606311"/>
        </p:xfrm>
        <a:graphic>
          <a:graphicData uri="http://schemas.openxmlformats.org/drawingml/2006/table">
            <a:tbl>
              <a:tblPr/>
              <a:tblGrid>
                <a:gridCol w="1223070">
                  <a:extLst>
                    <a:ext uri="{9D8B030D-6E8A-4147-A177-3AD203B41FA5}">
                      <a16:colId xmlns:a16="http://schemas.microsoft.com/office/drawing/2014/main" val="2753117923"/>
                    </a:ext>
                  </a:extLst>
                </a:gridCol>
                <a:gridCol w="4725074">
                  <a:extLst>
                    <a:ext uri="{9D8B030D-6E8A-4147-A177-3AD203B41FA5}">
                      <a16:colId xmlns:a16="http://schemas.microsoft.com/office/drawing/2014/main" val="3892723031"/>
                    </a:ext>
                  </a:extLst>
                </a:gridCol>
                <a:gridCol w="1497106">
                  <a:extLst>
                    <a:ext uri="{9D8B030D-6E8A-4147-A177-3AD203B41FA5}">
                      <a16:colId xmlns:a16="http://schemas.microsoft.com/office/drawing/2014/main" val="1633995169"/>
                    </a:ext>
                  </a:extLst>
                </a:gridCol>
                <a:gridCol w="1272988">
                  <a:extLst>
                    <a:ext uri="{9D8B030D-6E8A-4147-A177-3AD203B41FA5}">
                      <a16:colId xmlns:a16="http://schemas.microsoft.com/office/drawing/2014/main" val="1323778794"/>
                    </a:ext>
                  </a:extLst>
                </a:gridCol>
                <a:gridCol w="1575939">
                  <a:extLst>
                    <a:ext uri="{9D8B030D-6E8A-4147-A177-3AD203B41FA5}">
                      <a16:colId xmlns:a16="http://schemas.microsoft.com/office/drawing/2014/main" val="908344107"/>
                    </a:ext>
                  </a:extLst>
                </a:gridCol>
              </a:tblGrid>
              <a:tr h="371611">
                <a:tc>
                  <a:txBody>
                    <a:bodyPr/>
                    <a:lstStyle/>
                    <a:p>
                      <a:pPr algn="ctr" fontAlgn="b"/>
                      <a:endParaRPr lang="en-HK" sz="1200" b="0" i="0" u="sng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HK" sz="1200" b="1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HK" sz="12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HK" sz="12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HK" sz="1200" b="1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3144104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endParaRPr lang="en-HK" sz="12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Topic Emphasis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CFA Level I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HK" sz="1200" b="1" i="0" u="none" strike="noStrike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CFA Level II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HK" sz="1200" b="1" i="0" u="none" strike="noStrike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CFA Level  III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0757608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Ethical and Professional Standards​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5-20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0-15​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0-15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283017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Quantitative Methods​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6-9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5-10​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5252367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Economics​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6-9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5-10​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228081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Financial Statement Analysis​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1-14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0-15​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563906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Corporate Issuers​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6-9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5-10​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0860519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Equity Investments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1-14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0-15​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5232986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Fixed Income​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1-14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0-15​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294018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Derivatives​ (Level I and II) Derivatives and Risk Management (Level III)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5-8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5-10​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0-15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0946511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Alternative Investments​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7-10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5-10​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695312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Portfolio Management (Levels I and II) Portfolio Construction​ (Level III)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8-12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0-15​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5-20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6699154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1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Asset Allocation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15-20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9901384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Performance Measurement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0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5-10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018180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Pathway 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Portfolio Management Pathway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30-35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050242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Pathway B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1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Private Wealth Pathway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1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1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1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30-35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847516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zo Sans" panose="02000000000000000000" pitchFamily="2" charset="0"/>
                        </a:rPr>
                        <a:t>Pathway C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HK" sz="1200" b="0" i="1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Private Markets Pathway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1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1" u="none" strike="noStrike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--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HK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zo Sans" panose="02000000000000000000" pitchFamily="2" charset="0"/>
                        </a:rPr>
                        <a:t>30-35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0223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93078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6B742E-BE17-534B-A45D-3D1792BAC2F7}"/>
              </a:ext>
            </a:extLst>
          </p:cNvPr>
          <p:cNvSpPr txBox="1">
            <a:spLocks/>
          </p:cNvSpPr>
          <p:nvPr/>
        </p:nvSpPr>
        <p:spPr>
          <a:xfrm>
            <a:off x="749949" y="640729"/>
            <a:ext cx="10515599" cy="7009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lecha S Medium" panose="02050703060505060204" pitchFamily="18" charset="0"/>
                <a:ea typeface="+mj-ea"/>
                <a:cs typeface="+mj-cs"/>
              </a:rPr>
              <a:t>The Path to Becoming a CFA Charterholder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E111BAB-57BD-CA4C-A207-4E1BA271E785}"/>
              </a:ext>
            </a:extLst>
          </p:cNvPr>
          <p:cNvCxnSpPr>
            <a:cxnSpLocks/>
          </p:cNvCxnSpPr>
          <p:nvPr/>
        </p:nvCxnSpPr>
        <p:spPr>
          <a:xfrm>
            <a:off x="2243684" y="2770542"/>
            <a:ext cx="630231" cy="2489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3474887-E09D-2847-A3B7-D4C52146880A}"/>
              </a:ext>
            </a:extLst>
          </p:cNvPr>
          <p:cNvCxnSpPr>
            <a:cxnSpLocks/>
          </p:cNvCxnSpPr>
          <p:nvPr/>
        </p:nvCxnSpPr>
        <p:spPr>
          <a:xfrm>
            <a:off x="2252384" y="5292827"/>
            <a:ext cx="63023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1D189F9-CB41-F344-875E-F2F1FAE78A6F}"/>
              </a:ext>
            </a:extLst>
          </p:cNvPr>
          <p:cNvCxnSpPr>
            <a:cxnSpLocks/>
          </p:cNvCxnSpPr>
          <p:nvPr/>
        </p:nvCxnSpPr>
        <p:spPr>
          <a:xfrm flipV="1">
            <a:off x="4764451" y="2773030"/>
            <a:ext cx="428908" cy="1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8AE2CF-9128-5742-A372-55B3895F1DED}"/>
              </a:ext>
            </a:extLst>
          </p:cNvPr>
          <p:cNvCxnSpPr>
            <a:cxnSpLocks/>
          </p:cNvCxnSpPr>
          <p:nvPr/>
        </p:nvCxnSpPr>
        <p:spPr>
          <a:xfrm>
            <a:off x="7075194" y="2773031"/>
            <a:ext cx="428909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75F2675-0FFE-E541-B490-CE211A42D8D8}"/>
              </a:ext>
            </a:extLst>
          </p:cNvPr>
          <p:cNvCxnSpPr>
            <a:cxnSpLocks/>
          </p:cNvCxnSpPr>
          <p:nvPr/>
        </p:nvCxnSpPr>
        <p:spPr>
          <a:xfrm>
            <a:off x="9385935" y="2773031"/>
            <a:ext cx="545984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E3C45B-EF4D-BB42-9DFD-85B1EDA229CC}"/>
              </a:ext>
            </a:extLst>
          </p:cNvPr>
          <p:cNvCxnSpPr>
            <a:cxnSpLocks/>
          </p:cNvCxnSpPr>
          <p:nvPr/>
        </p:nvCxnSpPr>
        <p:spPr>
          <a:xfrm>
            <a:off x="9383397" y="5292827"/>
            <a:ext cx="548522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FE4F1D3-9482-9349-89DC-D2F511749C2B}"/>
              </a:ext>
            </a:extLst>
          </p:cNvPr>
          <p:cNvCxnSpPr>
            <a:cxnSpLocks/>
          </p:cNvCxnSpPr>
          <p:nvPr/>
        </p:nvCxnSpPr>
        <p:spPr>
          <a:xfrm>
            <a:off x="2243684" y="4333549"/>
            <a:ext cx="630231" cy="2489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7249E76-6659-4140-B8EF-5F0CE8FCCD2B}"/>
              </a:ext>
            </a:extLst>
          </p:cNvPr>
          <p:cNvCxnSpPr>
            <a:cxnSpLocks/>
            <a:stCxn id="22" idx="3"/>
            <a:endCxn id="21" idx="1"/>
          </p:cNvCxnSpPr>
          <p:nvPr/>
        </p:nvCxnSpPr>
        <p:spPr>
          <a:xfrm flipV="1">
            <a:off x="6007750" y="4327013"/>
            <a:ext cx="483493" cy="6261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6734DCA-61BF-C64B-B9F4-358F7216CF84}"/>
              </a:ext>
            </a:extLst>
          </p:cNvPr>
          <p:cNvCxnSpPr>
            <a:cxnSpLocks/>
          </p:cNvCxnSpPr>
          <p:nvPr/>
        </p:nvCxnSpPr>
        <p:spPr>
          <a:xfrm>
            <a:off x="9384155" y="4333549"/>
            <a:ext cx="545984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839F52D-1610-4C4C-9090-6C440FE1B240}"/>
              </a:ext>
            </a:extLst>
          </p:cNvPr>
          <p:cNvSpPr/>
          <p:nvPr/>
        </p:nvSpPr>
        <p:spPr>
          <a:xfrm>
            <a:off x="838198" y="2031094"/>
            <a:ext cx="1416083" cy="1299842"/>
          </a:xfrm>
          <a:prstGeom prst="rect">
            <a:avLst/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576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445DD6-0C15-FA45-9689-7293B57052A3}"/>
              </a:ext>
            </a:extLst>
          </p:cNvPr>
          <p:cNvSpPr/>
          <p:nvPr/>
        </p:nvSpPr>
        <p:spPr>
          <a:xfrm>
            <a:off x="9931918" y="2031094"/>
            <a:ext cx="1580377" cy="3752810"/>
          </a:xfrm>
          <a:prstGeom prst="rect">
            <a:avLst/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8016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FA Breuer Text" panose="02000506040000020004" pitchFamily="2" charset="77"/>
                <a:ea typeface="+mn-ea"/>
                <a:cs typeface="+mn-cs"/>
              </a:rPr>
              <a:t>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011964A-5000-3445-8412-BA4E1868A471}"/>
              </a:ext>
            </a:extLst>
          </p:cNvPr>
          <p:cNvSpPr/>
          <p:nvPr/>
        </p:nvSpPr>
        <p:spPr>
          <a:xfrm>
            <a:off x="838198" y="3976388"/>
            <a:ext cx="1416083" cy="1787123"/>
          </a:xfrm>
          <a:prstGeom prst="rect">
            <a:avLst/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76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7" name="Pentagon 16">
            <a:extLst>
              <a:ext uri="{FF2B5EF4-FFF2-40B4-BE49-F238E27FC236}">
                <a16:creationId xmlns:a16="http://schemas.microsoft.com/office/drawing/2014/main" id="{15AB926B-5DED-9243-BA03-4377E057FAA5}"/>
              </a:ext>
            </a:extLst>
          </p:cNvPr>
          <p:cNvSpPr/>
          <p:nvPr/>
        </p:nvSpPr>
        <p:spPr>
          <a:xfrm>
            <a:off x="2882614" y="5013357"/>
            <a:ext cx="6503320" cy="558938"/>
          </a:xfrm>
          <a:prstGeom prst="homePlate">
            <a:avLst/>
          </a:prstGeom>
          <a:solidFill>
            <a:schemeClr val="accent4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Meet Regular Membership Requirements</a:t>
            </a: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ADAC1972-A69A-8641-A670-AF62D7395F4E}"/>
              </a:ext>
            </a:extLst>
          </p:cNvPr>
          <p:cNvSpPr/>
          <p:nvPr/>
        </p:nvSpPr>
        <p:spPr>
          <a:xfrm>
            <a:off x="2882615" y="2493560"/>
            <a:ext cx="1881835" cy="558941"/>
          </a:xfrm>
          <a:prstGeom prst="homePlate">
            <a:avLst/>
          </a:prstGeom>
          <a:solidFill>
            <a:schemeClr val="accent5">
              <a:alpha val="29804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ass Level I</a:t>
            </a: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BBE0AA02-09DA-F74C-8098-F5E56E0921BB}"/>
              </a:ext>
            </a:extLst>
          </p:cNvPr>
          <p:cNvSpPr/>
          <p:nvPr/>
        </p:nvSpPr>
        <p:spPr>
          <a:xfrm>
            <a:off x="5193358" y="2493560"/>
            <a:ext cx="1881835" cy="558938"/>
          </a:xfrm>
          <a:prstGeom prst="homePlate">
            <a:avLst/>
          </a:prstGeom>
          <a:solidFill>
            <a:schemeClr val="accent5">
              <a:alpha val="6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ass Level II</a:t>
            </a:r>
          </a:p>
        </p:txBody>
      </p:sp>
      <p:sp>
        <p:nvSpPr>
          <p:cNvPr id="20" name="Pentagon 19">
            <a:extLst>
              <a:ext uri="{FF2B5EF4-FFF2-40B4-BE49-F238E27FC236}">
                <a16:creationId xmlns:a16="http://schemas.microsoft.com/office/drawing/2014/main" id="{BC03308D-2F55-6743-82AF-61CB3932FD09}"/>
              </a:ext>
            </a:extLst>
          </p:cNvPr>
          <p:cNvSpPr/>
          <p:nvPr/>
        </p:nvSpPr>
        <p:spPr>
          <a:xfrm>
            <a:off x="7504101" y="2493560"/>
            <a:ext cx="1881833" cy="558938"/>
          </a:xfrm>
          <a:prstGeom prst="homePlate">
            <a:avLst/>
          </a:prstGeom>
          <a:solidFill>
            <a:schemeClr val="accent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ass Level III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B987ECA-97EA-FC41-9E67-13531F10D230}"/>
              </a:ext>
            </a:extLst>
          </p:cNvPr>
          <p:cNvSpPr/>
          <p:nvPr/>
        </p:nvSpPr>
        <p:spPr>
          <a:xfrm>
            <a:off x="6491242" y="3970202"/>
            <a:ext cx="2894693" cy="713622"/>
          </a:xfrm>
          <a:prstGeom prst="rect">
            <a:avLst/>
          </a:prstGeom>
          <a:solidFill>
            <a:srgbClr val="4476FF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Obtain 2 to 3 references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who attest to your work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59072C5-2D19-2B48-B580-7C82307D8F47}"/>
              </a:ext>
            </a:extLst>
          </p:cNvPr>
          <p:cNvSpPr/>
          <p:nvPr/>
        </p:nvSpPr>
        <p:spPr>
          <a:xfrm>
            <a:off x="2885833" y="3976388"/>
            <a:ext cx="3121916" cy="713773"/>
          </a:xfrm>
          <a:prstGeom prst="rect">
            <a:avLst/>
          </a:prstGeom>
          <a:solidFill>
            <a:schemeClr val="accent3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Acquire 4,000 hours qualified 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rofessional work experienc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47F536F-9DC9-4F45-B19F-039696C431B0}"/>
              </a:ext>
            </a:extLst>
          </p:cNvPr>
          <p:cNvSpPr txBox="1"/>
          <p:nvPr/>
        </p:nvSpPr>
        <p:spPr>
          <a:xfrm>
            <a:off x="877985" y="4991493"/>
            <a:ext cx="1342075" cy="60266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Apply f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Membership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54EE507-6BF9-254A-AA06-C89FD52F43B4}"/>
              </a:ext>
            </a:extLst>
          </p:cNvPr>
          <p:cNvSpPr txBox="1"/>
          <p:nvPr/>
        </p:nvSpPr>
        <p:spPr>
          <a:xfrm>
            <a:off x="877984" y="2681015"/>
            <a:ext cx="1342075" cy="57530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ass CF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Exam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704192D-4A79-A34F-86F6-6D6BD6CFA265}"/>
              </a:ext>
            </a:extLst>
          </p:cNvPr>
          <p:cNvSpPr txBox="1"/>
          <p:nvPr/>
        </p:nvSpPr>
        <p:spPr>
          <a:xfrm>
            <a:off x="9948316" y="3859805"/>
            <a:ext cx="15639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Ne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harterholder</a:t>
            </a:r>
          </a:p>
        </p:txBody>
      </p:sp>
      <p:pic>
        <p:nvPicPr>
          <p:cNvPr id="30" name="Picture 29" descr="A white outline of a graduation cap and diploma&#10;&#10;Description automatically generated">
            <a:extLst>
              <a:ext uri="{FF2B5EF4-FFF2-40B4-BE49-F238E27FC236}">
                <a16:creationId xmlns:a16="http://schemas.microsoft.com/office/drawing/2014/main" id="{0FED69C5-2036-E859-DCB2-993E46CD19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580" y="2042707"/>
            <a:ext cx="747937" cy="747937"/>
          </a:xfrm>
          <a:prstGeom prst="rect">
            <a:avLst/>
          </a:prstGeom>
        </p:spPr>
      </p:pic>
      <p:pic>
        <p:nvPicPr>
          <p:cNvPr id="32" name="Picture 31" descr="A white line drawing of a paper with a pencil&#10;&#10;Description automatically generated">
            <a:extLst>
              <a:ext uri="{FF2B5EF4-FFF2-40B4-BE49-F238E27FC236}">
                <a16:creationId xmlns:a16="http://schemas.microsoft.com/office/drawing/2014/main" id="{678D2A8F-478B-E0A8-D538-E5BAC137A7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4311" y="4127140"/>
            <a:ext cx="822474" cy="822474"/>
          </a:xfrm>
          <a:prstGeom prst="rect">
            <a:avLst/>
          </a:prstGeom>
        </p:spPr>
      </p:pic>
      <p:pic>
        <p:nvPicPr>
          <p:cNvPr id="38" name="Picture 37" descr="A white line drawing of a person on top of a mountain with a flag&#10;&#10;Description automatically generated">
            <a:extLst>
              <a:ext uri="{FF2B5EF4-FFF2-40B4-BE49-F238E27FC236}">
                <a16:creationId xmlns:a16="http://schemas.microsoft.com/office/drawing/2014/main" id="{6284870A-CCC9-B14F-2535-F82F7D8F39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06289" y="2684647"/>
            <a:ext cx="1147510" cy="11475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568830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638EA74-FC92-4517-8FBD-DC68D2C15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638EA74-FC92-4517-8FBD-DC68D2C15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FD0B74-C383-401A-B474-AC08A7FA08D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63400" y="581025"/>
            <a:ext cx="6405563" cy="636588"/>
          </a:xfrm>
        </p:spPr>
        <p:txBody>
          <a:bodyPr vert="horz"/>
          <a:lstStyle/>
          <a:p>
            <a:r>
              <a:rPr lang="en-US">
                <a:solidFill>
                  <a:schemeClr val="accent2"/>
                </a:solidFill>
                <a:cs typeface="Arial"/>
              </a:rPr>
              <a:t>Computer-based testing OVERVIEW</a:t>
            </a:r>
            <a:endParaRPr lang="en-US">
              <a:solidFill>
                <a:schemeClr val="accent2"/>
              </a:solidFill>
            </a:endParaRP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A1CCA965-3782-49B8-9680-0EDA1315BCBD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813500" y="1786318"/>
          <a:ext cx="10565000" cy="4074972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3124516">
                  <a:extLst>
                    <a:ext uri="{9D8B030D-6E8A-4147-A177-3AD203B41FA5}">
                      <a16:colId xmlns:a16="http://schemas.microsoft.com/office/drawing/2014/main" val="1569184778"/>
                    </a:ext>
                  </a:extLst>
                </a:gridCol>
                <a:gridCol w="7440484">
                  <a:extLst>
                    <a:ext uri="{9D8B030D-6E8A-4147-A177-3AD203B41FA5}">
                      <a16:colId xmlns:a16="http://schemas.microsoft.com/office/drawing/2014/main" val="2110156536"/>
                    </a:ext>
                  </a:extLst>
                </a:gridCol>
              </a:tblGrid>
              <a:tr h="1026972"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accent1"/>
                          </a:solidFill>
                          <a:latin typeface="Azo Sans" panose="02000000000000000000" pitchFamily="2" charset="0"/>
                        </a:rPr>
                        <a:t>Scheduling</a:t>
                      </a:r>
                    </a:p>
                  </a:txBody>
                  <a:tcPr marL="121920" marR="121920" marT="60960" marB="6096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>
                          <a:solidFill>
                            <a:schemeClr val="accent1"/>
                          </a:solidFill>
                          <a:latin typeface="Azo Sans" panose="02000000000000000000" pitchFamily="2" charset="0"/>
                        </a:rPr>
                        <a:t>Self-schedule in the exam window. Rescheduling of exam appointment within the same exam window is available for a fee.</a:t>
                      </a:r>
                    </a:p>
                  </a:txBody>
                  <a:tcPr marL="121920" marR="121920" marT="60960" marB="6096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9423834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accent1"/>
                          </a:solidFill>
                          <a:latin typeface="Azo Sans" panose="02000000000000000000" pitchFamily="2" charset="0"/>
                        </a:rPr>
                        <a:t>Location</a:t>
                      </a:r>
                    </a:p>
                  </a:txBody>
                  <a:tcPr marL="121920" marR="121920" marT="60960" marB="6096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accent1"/>
                          </a:solidFill>
                          <a:latin typeface="Azo Sans" panose="02000000000000000000" pitchFamily="2" charset="0"/>
                        </a:rPr>
                        <a:t>Proctored exams in 400+ locations globally, to include all locations that were offered in June paper-based testing.</a:t>
                      </a:r>
                    </a:p>
                  </a:txBody>
                  <a:tcPr marL="121920" marR="121920" marT="60960" marB="6096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664349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accent1"/>
                          </a:solidFill>
                          <a:latin typeface="Azo Sans" panose="02000000000000000000" pitchFamily="2" charset="0"/>
                        </a:rPr>
                        <a:t>Exam Length</a:t>
                      </a:r>
                    </a:p>
                  </a:txBody>
                  <a:tcPr marL="121920" marR="121920" marT="60960" marB="6096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accent1"/>
                          </a:solidFill>
                          <a:latin typeface="Azo Sans" panose="02000000000000000000" pitchFamily="2" charset="0"/>
                        </a:rPr>
                        <a:t>Two 2¼ hour sessions with an optional break in between</a:t>
                      </a:r>
                    </a:p>
                  </a:txBody>
                  <a:tcPr marL="121920" marR="121920" marT="60960" marB="6096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928475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accent1"/>
                          </a:solidFill>
                          <a:latin typeface="Azo Sans" panose="02000000000000000000" pitchFamily="2" charset="0"/>
                        </a:rPr>
                        <a:t>Exam Format</a:t>
                      </a:r>
                    </a:p>
                  </a:txBody>
                  <a:tcPr marL="121920" marR="121920" marT="60960" marB="6096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accent1"/>
                          </a:solidFill>
                          <a:latin typeface="Azo Sans" panose="02000000000000000000" pitchFamily="2" charset="0"/>
                        </a:rPr>
                        <a:t>Level I – 180 multiple choice questions</a:t>
                      </a:r>
                    </a:p>
                    <a:p>
                      <a:r>
                        <a:rPr lang="en-US" sz="1600">
                          <a:solidFill>
                            <a:schemeClr val="accent1"/>
                          </a:solidFill>
                          <a:latin typeface="Azo Sans" panose="02000000000000000000" pitchFamily="2" charset="0"/>
                        </a:rPr>
                        <a:t>Level II – 88 item set questions</a:t>
                      </a:r>
                    </a:p>
                    <a:p>
                      <a:r>
                        <a:rPr lang="en-US" sz="1600">
                          <a:solidFill>
                            <a:schemeClr val="accent1"/>
                          </a:solidFill>
                          <a:latin typeface="Azo Sans" panose="02000000000000000000" pitchFamily="2" charset="0"/>
                        </a:rPr>
                        <a:t>Level III – half constructive response and half item set</a:t>
                      </a:r>
                    </a:p>
                  </a:txBody>
                  <a:tcPr marL="121920" marR="121920" marT="60960" marB="6096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5586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20806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5">
            <a:extLst>
              <a:ext uri="{FF2B5EF4-FFF2-40B4-BE49-F238E27FC236}">
                <a16:creationId xmlns:a16="http://schemas.microsoft.com/office/drawing/2014/main" id="{13EF35E9-9111-C74D-BFDA-3EE38363E4B8}"/>
              </a:ext>
            </a:extLst>
          </p:cNvPr>
          <p:cNvSpPr txBox="1">
            <a:spLocks/>
          </p:cNvSpPr>
          <p:nvPr/>
        </p:nvSpPr>
        <p:spPr>
          <a:xfrm>
            <a:off x="975764" y="1732838"/>
            <a:ext cx="10409001" cy="267176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60000"/>
              </a:lnSpc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chemeClr val="accent2"/>
                </a:solidFill>
                <a:latin typeface="Azo Sans" panose="02000000000000000000" pitchFamily="2" charset="0"/>
                <a:cs typeface="Arial" panose="020B0604020202020204" pitchFamily="34" charset="0"/>
              </a:rPr>
              <a:t>Expanded program eligibility rul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6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ractical Skills Modules at each level </a:t>
            </a:r>
          </a:p>
          <a:p>
            <a:pPr marL="228600" marR="0" lvl="0" indent="-228600" algn="l" defTabSz="914400" rtl="0" eaLnBrk="1" fontAlgn="auto" latinLnBrk="0" hangingPunct="1">
              <a:lnSpc>
                <a:spcPct val="16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 Focused curriculum</a:t>
            </a:r>
          </a:p>
          <a:p>
            <a:pPr marL="228600" marR="0" lvl="0" indent="-228600" algn="l" defTabSz="914400" rtl="0" eaLnBrk="1" fontAlgn="auto" latinLnBrk="0" hangingPunct="1">
              <a:lnSpc>
                <a:spcPct val="16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 Optional extra practice questions and mock exams</a:t>
            </a:r>
          </a:p>
          <a:p>
            <a:pPr marL="228600" marR="0" lvl="0" indent="-228600" algn="l" defTabSz="914400" rtl="0" eaLnBrk="1" fontAlgn="auto" latinLnBrk="0" hangingPunct="1">
              <a:lnSpc>
                <a:spcPct val="16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 Specialized Pathways for Level III</a:t>
            </a:r>
          </a:p>
          <a:p>
            <a:pPr marL="228600" marR="0" lvl="0" indent="-228600" algn="l" defTabSz="914400" rtl="0" eaLnBrk="1" fontAlgn="auto" latinLnBrk="0" hangingPunct="1">
              <a:lnSpc>
                <a:spcPct val="16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 Digital Badges for Level I and Level II</a:t>
            </a: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itle 24">
            <a:extLst>
              <a:ext uri="{FF2B5EF4-FFF2-40B4-BE49-F238E27FC236}">
                <a16:creationId xmlns:a16="http://schemas.microsoft.com/office/drawing/2014/main" id="{56CC17FD-27F9-E649-82D4-E8354AD91F7C}"/>
              </a:ext>
            </a:extLst>
          </p:cNvPr>
          <p:cNvSpPr txBox="1">
            <a:spLocks/>
          </p:cNvSpPr>
          <p:nvPr/>
        </p:nvSpPr>
        <p:spPr>
          <a:xfrm>
            <a:off x="700636" y="595073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 panose="02050703060505060204" pitchFamily="18" charset="0"/>
                <a:ea typeface="+mj-ea"/>
                <a:cs typeface="+mj-cs"/>
              </a:rPr>
              <a:t>CFA</a:t>
            </a:r>
            <a:r>
              <a:rPr kumimoji="0" lang="en-IN" sz="4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 panose="02050703060505060204" pitchFamily="18" charset="0"/>
                <a:ea typeface="+mj-ea"/>
                <a:cs typeface="+mj-cs"/>
              </a:rPr>
              <a:t>®</a:t>
            </a:r>
            <a:r>
              <a:rPr kumimoji="0" lang="en-IN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 panose="02050703060505060204" pitchFamily="18" charset="0"/>
                <a:ea typeface="+mj-ea"/>
                <a:cs typeface="+mj-cs"/>
              </a:rPr>
              <a:t> Program | Enhancem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E5AD1B-A7DF-A040-AFD7-2D1C5963C73D}"/>
              </a:ext>
            </a:extLst>
          </p:cNvPr>
          <p:cNvSpPr txBox="1"/>
          <p:nvPr/>
        </p:nvSpPr>
        <p:spPr>
          <a:xfrm>
            <a:off x="226099" y="6435410"/>
            <a:ext cx="609706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© 2025 CFA Institute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43277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CBE8926-E59E-425D-9881-4334AAECC3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8331244"/>
              </p:ext>
            </p:extLst>
          </p:nvPr>
        </p:nvGraphicFramePr>
        <p:xfrm>
          <a:off x="543464" y="2039284"/>
          <a:ext cx="11050440" cy="3383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2610">
                  <a:extLst>
                    <a:ext uri="{9D8B030D-6E8A-4147-A177-3AD203B41FA5}">
                      <a16:colId xmlns:a16="http://schemas.microsoft.com/office/drawing/2014/main" val="2052157618"/>
                    </a:ext>
                  </a:extLst>
                </a:gridCol>
                <a:gridCol w="2762610">
                  <a:extLst>
                    <a:ext uri="{9D8B030D-6E8A-4147-A177-3AD203B41FA5}">
                      <a16:colId xmlns:a16="http://schemas.microsoft.com/office/drawing/2014/main" val="1822817550"/>
                    </a:ext>
                  </a:extLst>
                </a:gridCol>
                <a:gridCol w="2762610">
                  <a:extLst>
                    <a:ext uri="{9D8B030D-6E8A-4147-A177-3AD203B41FA5}">
                      <a16:colId xmlns:a16="http://schemas.microsoft.com/office/drawing/2014/main" val="691043966"/>
                    </a:ext>
                  </a:extLst>
                </a:gridCol>
                <a:gridCol w="2762610">
                  <a:extLst>
                    <a:ext uri="{9D8B030D-6E8A-4147-A177-3AD203B41FA5}">
                      <a16:colId xmlns:a16="http://schemas.microsoft.com/office/drawing/2014/main" val="3498290220"/>
                    </a:ext>
                  </a:extLst>
                </a:gridCol>
              </a:tblGrid>
              <a:tr h="607204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accent4"/>
                          </a:solidFill>
                          <a:latin typeface="Azo Sans" panose="02000000000000000000" pitchFamily="2" charset="0"/>
                        </a:rPr>
                        <a:t>3+ YEARS away </a:t>
                      </a:r>
                      <a:br>
                        <a:rPr lang="en-US">
                          <a:solidFill>
                            <a:schemeClr val="accent4"/>
                          </a:solidFill>
                          <a:latin typeface="Azo Sans" panose="02000000000000000000" pitchFamily="2" charset="0"/>
                        </a:rPr>
                      </a:br>
                      <a:r>
                        <a:rPr lang="en-US">
                          <a:solidFill>
                            <a:schemeClr val="accent4"/>
                          </a:solidFill>
                          <a:latin typeface="Azo Sans" panose="02000000000000000000" pitchFamily="2" charset="0"/>
                        </a:rPr>
                        <a:t>from Gradu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accent4"/>
                          </a:solidFill>
                          <a:latin typeface="Azo Sans" panose="02000000000000000000" pitchFamily="2" charset="0"/>
                        </a:rPr>
                        <a:t>2 YEARS away </a:t>
                      </a:r>
                      <a:br>
                        <a:rPr lang="en-US">
                          <a:solidFill>
                            <a:schemeClr val="accent4"/>
                          </a:solidFill>
                          <a:latin typeface="Azo Sans" panose="02000000000000000000" pitchFamily="2" charset="0"/>
                        </a:rPr>
                      </a:br>
                      <a:r>
                        <a:rPr lang="en-US">
                          <a:solidFill>
                            <a:schemeClr val="accent4"/>
                          </a:solidFill>
                          <a:latin typeface="Azo Sans" panose="02000000000000000000" pitchFamily="2" charset="0"/>
                        </a:rPr>
                        <a:t>from Graduation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accent4"/>
                          </a:solidFill>
                          <a:latin typeface="Azo Sans" panose="02000000000000000000" pitchFamily="2" charset="0"/>
                        </a:rPr>
                        <a:t>1 YEAR away </a:t>
                      </a:r>
                      <a:br>
                        <a:rPr lang="en-US">
                          <a:solidFill>
                            <a:schemeClr val="accent4"/>
                          </a:solidFill>
                          <a:latin typeface="Azo Sans" panose="02000000000000000000" pitchFamily="2" charset="0"/>
                        </a:rPr>
                      </a:br>
                      <a:r>
                        <a:rPr lang="en-US">
                          <a:solidFill>
                            <a:schemeClr val="accent4"/>
                          </a:solidFill>
                          <a:latin typeface="Azo Sans" panose="02000000000000000000" pitchFamily="2" charset="0"/>
                        </a:rPr>
                        <a:t>from Graduation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accent4"/>
                          </a:solidFill>
                          <a:latin typeface="Azo Sans" panose="02000000000000000000" pitchFamily="2" charset="0"/>
                        </a:rPr>
                        <a:t>Post-Graduate 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62447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  <a:t>You’re just getting started on your academic journey, </a:t>
                      </a:r>
                      <a:br>
                        <a:rPr lang="en-US" dirty="0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</a:br>
                      <a:r>
                        <a:rPr lang="en-US" dirty="0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  <a:t>so now is the time </a:t>
                      </a:r>
                      <a:br>
                        <a:rPr lang="en-US" dirty="0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</a:br>
                      <a:r>
                        <a:rPr lang="en-US" dirty="0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  <a:t>to explore and set </a:t>
                      </a:r>
                      <a:br>
                        <a:rPr lang="en-US" dirty="0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</a:br>
                      <a:r>
                        <a:rPr lang="en-US" dirty="0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  <a:t>the direction for your university career</a:t>
                      </a:r>
                    </a:p>
                    <a:p>
                      <a:pPr algn="ctr"/>
                      <a:endParaRPr lang="en-US" dirty="0">
                        <a:solidFill>
                          <a:schemeClr val="accent2"/>
                        </a:solidFill>
                        <a:latin typeface="Azo Sans" panose="02000000000000000000" pitchFamily="2" charset="0"/>
                      </a:endParaRPr>
                    </a:p>
                  </a:txBody>
                  <a:tcPr marL="137160" marR="137160" marT="137160" marB="1371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  <a:t>At this stage, you </a:t>
                      </a:r>
                      <a:br>
                        <a:rPr lang="en-US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</a:br>
                      <a:r>
                        <a:rPr lang="en-US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  <a:t>are getting closer to clarifying your finance career goals.</a:t>
                      </a:r>
                    </a:p>
                    <a:p>
                      <a:pPr algn="ctr"/>
                      <a:endParaRPr lang="en-US">
                        <a:solidFill>
                          <a:schemeClr val="accent2"/>
                        </a:solidFill>
                        <a:latin typeface="Azo Sans" panose="02000000000000000000" pitchFamily="2" charset="0"/>
                      </a:endParaRPr>
                    </a:p>
                  </a:txBody>
                  <a:tcPr marL="137160" marR="137160" marT="137160" marB="137160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  <a:t>With one year left in school, there are more specific actions you can take — from courses to networking — that will jumpstart your finance career</a:t>
                      </a:r>
                    </a:p>
                    <a:p>
                      <a:pPr algn="ctr"/>
                      <a:endParaRPr lang="en-US">
                        <a:solidFill>
                          <a:schemeClr val="accent2"/>
                        </a:solidFill>
                        <a:latin typeface="Azo Sans" panose="02000000000000000000" pitchFamily="2" charset="0"/>
                      </a:endParaRPr>
                    </a:p>
                  </a:txBody>
                  <a:tcPr marL="137160" marR="137160" marT="137160" marB="137160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accent2"/>
                          </a:solidFill>
                          <a:latin typeface="Azo Sans" panose="02000000000000000000" pitchFamily="2" charset="0"/>
                        </a:rPr>
                        <a:t>Now that you’ve graduated, you can dive even deeper into advanced courses and more. Explore common finance roles even further by visiting our website</a:t>
                      </a:r>
                    </a:p>
                    <a:p>
                      <a:pPr algn="ctr"/>
                      <a:endParaRPr lang="en-US" dirty="0">
                        <a:solidFill>
                          <a:schemeClr val="accent2"/>
                        </a:solidFill>
                        <a:latin typeface="Azo Sans" panose="02000000000000000000" pitchFamily="2" charset="0"/>
                      </a:endParaRPr>
                    </a:p>
                  </a:txBody>
                  <a:tcPr marL="137160" marR="137160" marT="137160" marB="137160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821201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69D84754-3352-AB41-8D7B-47C0EE7D631B}"/>
              </a:ext>
            </a:extLst>
          </p:cNvPr>
          <p:cNvSpPr txBox="1"/>
          <p:nvPr/>
        </p:nvSpPr>
        <p:spPr>
          <a:xfrm>
            <a:off x="681486" y="789105"/>
            <a:ext cx="82274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 panose="02050703060505060204" pitchFamily="18" charset="0"/>
                <a:ea typeface="+mn-ea"/>
                <a:cs typeface="+mn-cs"/>
              </a:rPr>
              <a:t>Start your journey early</a:t>
            </a:r>
          </a:p>
        </p:txBody>
      </p:sp>
    </p:spTree>
    <p:extLst>
      <p:ext uri="{BB962C8B-B14F-4D97-AF65-F5344CB8AC3E}">
        <p14:creationId xmlns:p14="http://schemas.microsoft.com/office/powerpoint/2010/main" val="38869694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56D6A87-0CB2-1644-A573-2E1F23EF20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353" y="1690688"/>
            <a:ext cx="2149219" cy="148180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A6DDFF-DE96-824E-B1CE-C4A9063BE0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3008" y="1673714"/>
            <a:ext cx="2041255" cy="154946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A8FD917-40B4-F34E-94D7-410C46E40C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9918" y="1690688"/>
            <a:ext cx="2100232" cy="153248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F86A67-CC2D-AE4D-87ED-228339C3CB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11172" y="1673714"/>
            <a:ext cx="2245625" cy="15063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E0F2BFDA-F12E-BE4F-88DB-7957BFCB5798}"/>
              </a:ext>
            </a:extLst>
          </p:cNvPr>
          <p:cNvSpPr txBox="1">
            <a:spLocks/>
          </p:cNvSpPr>
          <p:nvPr/>
        </p:nvSpPr>
        <p:spPr>
          <a:xfrm>
            <a:off x="533596" y="508147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lecha S Medium" panose="02050703060505060204" pitchFamily="18" charset="0"/>
                <a:ea typeface="+mj-ea"/>
                <a:cs typeface="+mj-cs"/>
              </a:rPr>
              <a:t>Practical Skills Modules - Topics Cover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C33701-AB7E-E34D-8ACF-0AD1602855A3}"/>
              </a:ext>
            </a:extLst>
          </p:cNvPr>
          <p:cNvSpPr txBox="1"/>
          <p:nvPr/>
        </p:nvSpPr>
        <p:spPr>
          <a:xfrm>
            <a:off x="7211969" y="3330353"/>
            <a:ext cx="2416162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b="1"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376FE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ython, Data Science &amp; AI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Financial Data Scraping, Wrangling, Cleaning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Dividend Payout Predication Using Machine Learning Regression &amp; Artificial Neural Network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Edgar Data Ingestion &amp; Sentiment Analysis Using AWS Comprehend and LSTM Neural Network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ABE08E-C095-744F-A452-B639A169C56F}"/>
              </a:ext>
            </a:extLst>
          </p:cNvPr>
          <p:cNvSpPr txBox="1"/>
          <p:nvPr/>
        </p:nvSpPr>
        <p:spPr>
          <a:xfrm>
            <a:off x="290277" y="3330353"/>
            <a:ext cx="2108269" cy="23006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b="1"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376FE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Financial Modeling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Revenues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osts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Depreciation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Income Tax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Working Capital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apital Structure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Financial Statements</a:t>
            </a:r>
          </a:p>
          <a:p>
            <a:pPr marL="177750" marR="0" lvl="1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Outpu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75ED11-8FAB-074D-B47B-DAF93F095839}"/>
              </a:ext>
            </a:extLst>
          </p:cNvPr>
          <p:cNvSpPr txBox="1"/>
          <p:nvPr/>
        </p:nvSpPr>
        <p:spPr>
          <a:xfrm>
            <a:off x="2562953" y="3362905"/>
            <a:ext cx="2427082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b="1"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376FE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ython Programming Fundamental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Environmental Setup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Variabl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Data Typ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omparison Operator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onditional Statement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Loop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Function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anda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ortfolio Optimiz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48C53D-BC23-A94D-8594-BDB78322FF05}"/>
              </a:ext>
            </a:extLst>
          </p:cNvPr>
          <p:cNvSpPr txBox="1"/>
          <p:nvPr/>
        </p:nvSpPr>
        <p:spPr>
          <a:xfrm>
            <a:off x="4963970" y="3362905"/>
            <a:ext cx="2331384" cy="2654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b="1"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376FE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Analyst Skill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ritical Factors of a Stock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Generating Insight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hoosing Valuation Methodology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Target Prices 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ommunicating Stock Call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Time and Information Manage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E9E6E65-02B4-9E41-81D5-A98063DD02DB}"/>
              </a:ext>
            </a:extLst>
          </p:cNvPr>
          <p:cNvSpPr txBox="1"/>
          <p:nvPr/>
        </p:nvSpPr>
        <p:spPr>
          <a:xfrm>
            <a:off x="533596" y="6199061"/>
            <a:ext cx="609706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© 2025 CFA Institute. All Rights Reserved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54024D-C0EF-0800-12A8-06FE398DC80B}"/>
              </a:ext>
            </a:extLst>
          </p:cNvPr>
          <p:cNvSpPr txBox="1"/>
          <p:nvPr/>
        </p:nvSpPr>
        <p:spPr>
          <a:xfrm>
            <a:off x="9790276" y="3346995"/>
            <a:ext cx="2085854" cy="3085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b="1"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376FE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ortfolio Development and Construction 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Investment Policy Statement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Data Analysi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Strategic Asset Allocation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apital Markets Expectation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Sensitivity analysis 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Performance Evalua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BAF417-C33A-6FCA-53CC-7074151C75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2277" y="1667239"/>
            <a:ext cx="2259167" cy="151277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B51CB89-6BBB-C5D3-9E28-49F003DC6D2B}"/>
              </a:ext>
            </a:extLst>
          </p:cNvPr>
          <p:cNvCxnSpPr/>
          <p:nvPr/>
        </p:nvCxnSpPr>
        <p:spPr>
          <a:xfrm>
            <a:off x="4903773" y="1391830"/>
            <a:ext cx="0" cy="4965211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0D1F6C88-F3BA-CBBA-1736-CE46B91BE4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94225" y="1415462"/>
            <a:ext cx="6097" cy="497476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EF66853-C4F3-5394-F9E8-6F4B4A3F9739}"/>
              </a:ext>
            </a:extLst>
          </p:cNvPr>
          <p:cNvSpPr txBox="1"/>
          <p:nvPr/>
        </p:nvSpPr>
        <p:spPr>
          <a:xfrm>
            <a:off x="2214830" y="1176247"/>
            <a:ext cx="2314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Level 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9DFCDAA-FDAE-03CD-153B-CF5CC2991749}"/>
              </a:ext>
            </a:extLst>
          </p:cNvPr>
          <p:cNvSpPr txBox="1"/>
          <p:nvPr/>
        </p:nvSpPr>
        <p:spPr>
          <a:xfrm>
            <a:off x="6734794" y="1207164"/>
            <a:ext cx="2314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Level I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660B6F5-B28B-3D63-1E15-DBA02E85BB11}"/>
              </a:ext>
            </a:extLst>
          </p:cNvPr>
          <p:cNvSpPr txBox="1"/>
          <p:nvPr/>
        </p:nvSpPr>
        <p:spPr>
          <a:xfrm>
            <a:off x="10401834" y="1207164"/>
            <a:ext cx="2314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Level II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2924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E56319D-CB07-499E-8893-E595D03075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E56319D-CB07-499E-8893-E595D0307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308B155-6E41-4949-9C00-E22C0B523B0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1961" t="27060" r="26930" b="18311"/>
          <a:stretch/>
        </p:blipFill>
        <p:spPr>
          <a:xfrm>
            <a:off x="1378395" y="0"/>
            <a:ext cx="9329559" cy="6871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0390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E4EF8D-3FAE-15D5-5115-B13833807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1000" y="6390096"/>
            <a:ext cx="41148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5 CFA Institute. All Rights Reserved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17B7996-8052-A4AC-FC2C-AEF9079E1E6E}"/>
              </a:ext>
            </a:extLst>
          </p:cNvPr>
          <p:cNvGraphicFramePr>
            <a:graphicFrameLocks noGrp="1"/>
          </p:cNvGraphicFramePr>
          <p:nvPr/>
        </p:nvGraphicFramePr>
        <p:xfrm>
          <a:off x="448574" y="1388853"/>
          <a:ext cx="10905225" cy="44408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5075">
                  <a:extLst>
                    <a:ext uri="{9D8B030D-6E8A-4147-A177-3AD203B41FA5}">
                      <a16:colId xmlns:a16="http://schemas.microsoft.com/office/drawing/2014/main" val="3761782002"/>
                    </a:ext>
                  </a:extLst>
                </a:gridCol>
                <a:gridCol w="3635075">
                  <a:extLst>
                    <a:ext uri="{9D8B030D-6E8A-4147-A177-3AD203B41FA5}">
                      <a16:colId xmlns:a16="http://schemas.microsoft.com/office/drawing/2014/main" val="3982479776"/>
                    </a:ext>
                  </a:extLst>
                </a:gridCol>
                <a:gridCol w="3635075">
                  <a:extLst>
                    <a:ext uri="{9D8B030D-6E8A-4147-A177-3AD203B41FA5}">
                      <a16:colId xmlns:a16="http://schemas.microsoft.com/office/drawing/2014/main" val="3766627398"/>
                    </a:ext>
                  </a:extLst>
                </a:gridCol>
              </a:tblGrid>
              <a:tr h="44408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kern="1200">
                          <a:solidFill>
                            <a:schemeClr val="accent4"/>
                          </a:solidFill>
                          <a:effectLst/>
                          <a:latin typeface="Azo Sans" panose="02000000000000000000" pitchFamily="2" charset="0"/>
                          <a:ea typeface="+mn-ea"/>
                          <a:cs typeface="+mn-cs"/>
                        </a:rPr>
                        <a:t>Additional Mock Exam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0" kern="1200">
                        <a:solidFill>
                          <a:schemeClr val="accent4"/>
                        </a:solidFill>
                        <a:effectLst/>
                        <a:latin typeface="Azo Sans" panose="020000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>
                          <a:latin typeface="Azo Sans" panose="02000000000000000000" pitchFamily="2" charset="0"/>
                        </a:rPr>
                        <a:t>Includes mock exams replicating the difficulty, length, and topics of the actual exam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>
                          <a:latin typeface="Azo Sans" panose="02000000000000000000" pitchFamily="2" charset="0"/>
                        </a:rPr>
                        <a:t>Written by the same teams who create the real exam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>
                          <a:latin typeface="Azo Sans" panose="02000000000000000000" pitchFamily="2" charset="0"/>
                        </a:rPr>
                        <a:t>Level I: 5 additional mock exam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>
                          <a:latin typeface="Azo Sans" panose="02000000000000000000" pitchFamily="2" charset="0"/>
                        </a:rPr>
                        <a:t>Level II: 3 additional mock exams</a:t>
                      </a:r>
                      <a:endParaRPr lang="en-US" sz="1800" b="0" i="0" kern="1200">
                        <a:solidFill>
                          <a:schemeClr val="lt1"/>
                        </a:solidFill>
                        <a:effectLst/>
                        <a:latin typeface="Azo Sans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182880" marR="182880" marT="182880" marB="1828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kern="1200">
                          <a:solidFill>
                            <a:schemeClr val="accent4"/>
                          </a:solidFill>
                          <a:effectLst/>
                          <a:latin typeface="Azo Sans" panose="02000000000000000000" pitchFamily="2" charset="0"/>
                          <a:ea typeface="+mn-ea"/>
                          <a:cs typeface="+mn-cs"/>
                        </a:rPr>
                        <a:t>Exam Day Simulation: </a:t>
                      </a:r>
                      <a:br>
                        <a:rPr lang="en-US" sz="1800" b="1" i="0" kern="1200">
                          <a:solidFill>
                            <a:schemeClr val="accent4"/>
                          </a:solidFill>
                          <a:effectLst/>
                          <a:latin typeface="Azo Sans" panose="02000000000000000000" pitchFamily="2" charset="0"/>
                          <a:ea typeface="+mn-ea"/>
                          <a:cs typeface="+mn-cs"/>
                        </a:rPr>
                      </a:br>
                      <a:r>
                        <a:rPr lang="en-US" sz="1800" b="1" i="0" kern="1200">
                          <a:solidFill>
                            <a:schemeClr val="accent4"/>
                          </a:solidFill>
                          <a:effectLst/>
                          <a:latin typeface="Azo Sans" panose="02000000000000000000" pitchFamily="2" charset="0"/>
                          <a:ea typeface="+mn-ea"/>
                          <a:cs typeface="+mn-cs"/>
                        </a:rPr>
                        <a:t>Mock Ex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0" kern="1200">
                        <a:solidFill>
                          <a:schemeClr val="accent4"/>
                        </a:solidFill>
                        <a:effectLst/>
                        <a:latin typeface="Azo Sans" panose="02000000000000000000" pitchFamily="2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>
                          <a:latin typeface="Azo Sans" panose="02000000000000000000" pitchFamily="2" charset="0"/>
                        </a:rPr>
                        <a:t>Build confidence with an extra mock exam using the same Prometric software and time constraints as exam day</a:t>
                      </a:r>
                    </a:p>
                  </a:txBody>
                  <a:tcPr marL="182880" marR="182880" marT="182880" marB="182880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kern="1200">
                          <a:solidFill>
                            <a:schemeClr val="accent4"/>
                          </a:solidFill>
                          <a:effectLst/>
                          <a:latin typeface="Azo Sans" panose="02000000000000000000" pitchFamily="2" charset="0"/>
                          <a:ea typeface="+mn-ea"/>
                          <a:cs typeface="+mn-cs"/>
                        </a:rPr>
                        <a:t>Extra Practice Question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/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>
                          <a:latin typeface="Azo Sans" panose="02000000000000000000" pitchFamily="2" charset="0"/>
                        </a:rPr>
                        <a:t>Test your knowledge with exam-quality questions sorted by curriculum topic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>
                          <a:latin typeface="Azo Sans" panose="02000000000000000000" pitchFamily="2" charset="0"/>
                        </a:rPr>
                        <a:t>Written by CFA Program exam writer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>
                          <a:latin typeface="Azo Sans" panose="02000000000000000000" pitchFamily="2" charset="0"/>
                        </a:rPr>
                        <a:t>Level I: 1,000 question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>
                          <a:latin typeface="Azo Sans" panose="02000000000000000000" pitchFamily="2" charset="0"/>
                        </a:rPr>
                        <a:t>Level II: 750 questions</a:t>
                      </a:r>
                    </a:p>
                  </a:txBody>
                  <a:tcPr marL="182880" marR="182880" marT="182880" marB="182880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6546263"/>
                  </a:ext>
                </a:extLst>
              </a:tr>
            </a:tbl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A0503FBE-56CB-F437-8B1B-C96A2AE2FCE0}"/>
              </a:ext>
            </a:extLst>
          </p:cNvPr>
          <p:cNvSpPr txBox="1">
            <a:spLocks/>
          </p:cNvSpPr>
          <p:nvPr/>
        </p:nvSpPr>
        <p:spPr>
          <a:xfrm>
            <a:off x="549147" y="650877"/>
            <a:ext cx="11297011" cy="73797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chemeClr val="tx1"/>
                </a:solidFill>
                <a:latin typeface="CFA Breuer Text" panose="02000506040000020004" pitchFamily="50" charset="0"/>
                <a:ea typeface="CFA Breuer Text" panose="02000506040000020004" pitchFamily="50" charset="0"/>
                <a:cs typeface="CFA Breuer Text" panose="02000506040000020004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 panose="02050703060505060204" pitchFamily="18" charset="0"/>
                <a:ea typeface="Lato" panose="020F0502020204030203" pitchFamily="34" charset="0"/>
                <a:cs typeface="Lato" panose="020F0502020204030203" pitchFamily="34" charset="0"/>
              </a:rPr>
              <a:t>Practice Packs for Level I &amp; II</a:t>
            </a:r>
            <a:endParaRPr kumimoji="0" lang="en-GB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lecha S Medium" panose="02050703060505060204" pitchFamily="18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3729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828CAE-A503-A9A1-7CE5-C20C50ABF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C581BEB-64B0-A2C5-2FCF-34FC723F7883}"/>
              </a:ext>
            </a:extLst>
          </p:cNvPr>
          <p:cNvSpPr txBox="1"/>
          <p:nvPr/>
        </p:nvSpPr>
        <p:spPr>
          <a:xfrm>
            <a:off x="533596" y="1515994"/>
            <a:ext cx="11321592" cy="75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LIII Core curriculum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provides knowledge and skills which are key across all three Pathway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:  Portfolio Management, Private Markets, and Private Wealth.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itle 6">
            <a:extLst>
              <a:ext uri="{FF2B5EF4-FFF2-40B4-BE49-F238E27FC236}">
                <a16:creationId xmlns:a16="http://schemas.microsoft.com/office/drawing/2014/main" id="{E3182C75-158F-30AA-7B7D-4876B95BE59E}"/>
              </a:ext>
            </a:extLst>
          </p:cNvPr>
          <p:cNvSpPr txBox="1">
            <a:spLocks/>
          </p:cNvSpPr>
          <p:nvPr/>
        </p:nvSpPr>
        <p:spPr>
          <a:xfrm>
            <a:off x="533596" y="318433"/>
            <a:ext cx="10733411" cy="1325563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D00C2"/>
                </a:solidFill>
                <a:effectLst/>
                <a:uLnTx/>
                <a:uFillTx/>
                <a:latin typeface="Flecha S Medium" panose="02050703060505060204" pitchFamily="18" charset="0"/>
                <a:ea typeface="+mj-ea"/>
                <a:cs typeface="+mj-cs"/>
              </a:rPr>
              <a:t>CFA® Level III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lecha S Medium" panose="02050703060505060204" pitchFamily="18" charset="0"/>
                <a:ea typeface="+mj-ea"/>
                <a:cs typeface="+mj-cs"/>
              </a:rPr>
              <a:t>—from 2025: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lecha S Medium" panose="02050703060505060204" pitchFamily="18" charset="0"/>
                <a:ea typeface="+mj-ea"/>
                <a:cs typeface="+mj-cs"/>
              </a:rPr>
              <a:t>Core Curriculum + Specialized Pathways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lecha S Medium" panose="02050703060505060204" pitchFamily="18" charset="0"/>
              <a:ea typeface="+mj-ea"/>
              <a:cs typeface="+mj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B62A386-A8C9-0C36-19AE-33DB1C4280F1}"/>
              </a:ext>
            </a:extLst>
          </p:cNvPr>
          <p:cNvSpPr txBox="1"/>
          <p:nvPr/>
        </p:nvSpPr>
        <p:spPr>
          <a:xfrm>
            <a:off x="533596" y="6199061"/>
            <a:ext cx="609706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© 2025 CFA Institute. All Rights Reserved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6B87D8C-FF2B-EA0A-F4F2-A597619AC4F1}"/>
              </a:ext>
            </a:extLst>
          </p:cNvPr>
          <p:cNvGrpSpPr/>
          <p:nvPr/>
        </p:nvGrpSpPr>
        <p:grpSpPr>
          <a:xfrm>
            <a:off x="1623990" y="3064702"/>
            <a:ext cx="8814924" cy="2912330"/>
            <a:chOff x="1623993" y="2040923"/>
            <a:chExt cx="8814924" cy="2946877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CC045BE-25BD-C34D-B098-8E4CAB9961B1}"/>
                </a:ext>
              </a:extLst>
            </p:cNvPr>
            <p:cNvSpPr/>
            <p:nvPr/>
          </p:nvSpPr>
          <p:spPr>
            <a:xfrm>
              <a:off x="1623993" y="2040923"/>
              <a:ext cx="8814919" cy="990924"/>
            </a:xfrm>
            <a:prstGeom prst="rect">
              <a:avLst/>
            </a:prstGeom>
            <a:solidFill>
              <a:srgbClr val="06005A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6576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DE136A9-54A1-839B-7136-BAED99D994AE}"/>
                </a:ext>
              </a:extLst>
            </p:cNvPr>
            <p:cNvSpPr txBox="1"/>
            <p:nvPr/>
          </p:nvSpPr>
          <p:spPr>
            <a:xfrm>
              <a:off x="1968989" y="2260012"/>
              <a:ext cx="7637468" cy="5917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Arial" panose="020B0604020202020204" pitchFamily="34" charset="0"/>
                </a:rPr>
                <a:t>LIII Core Curriculum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Arial" panose="020B0604020202020204" pitchFamily="34" charset="0"/>
                </a:rPr>
                <a:t>(65%-70% of LIII exam)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73E4794-4F82-535E-478A-53227A9D6B10}"/>
                </a:ext>
              </a:extLst>
            </p:cNvPr>
            <p:cNvGrpSpPr/>
            <p:nvPr/>
          </p:nvGrpSpPr>
          <p:grpSpPr>
            <a:xfrm>
              <a:off x="1623993" y="3782918"/>
              <a:ext cx="2285302" cy="1204881"/>
              <a:chOff x="522635" y="4448542"/>
              <a:chExt cx="2285302" cy="1749778"/>
            </a:xfrm>
            <a:solidFill>
              <a:schemeClr val="accent5"/>
            </a:solidFill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F77EA4D0-2F0A-001B-BE0D-8B19A1EA0355}"/>
                  </a:ext>
                </a:extLst>
              </p:cNvPr>
              <p:cNvSpPr/>
              <p:nvPr/>
            </p:nvSpPr>
            <p:spPr>
              <a:xfrm>
                <a:off x="522635" y="4448542"/>
                <a:ext cx="2285302" cy="1749778"/>
              </a:xfrm>
              <a:prstGeom prst="rect">
                <a:avLst/>
              </a:prstGeom>
              <a:solidFill>
                <a:srgbClr val="92D050"/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36576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D1CCF490-D092-DF13-92CD-8848B7ABBB3F}"/>
                  </a:ext>
                </a:extLst>
              </p:cNvPr>
              <p:cNvSpPr txBox="1"/>
              <p:nvPr/>
            </p:nvSpPr>
            <p:spPr>
              <a:xfrm>
                <a:off x="753819" y="4645030"/>
                <a:ext cx="1822935" cy="149248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zo Sans" panose="02000000000000000000" pitchFamily="2" charset="0"/>
                    <a:ea typeface="+mn-ea"/>
                    <a:cs typeface="Arial" panose="020B0604020202020204" pitchFamily="34" charset="0"/>
                  </a:rPr>
                  <a:t>Portfolio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zo Sans" panose="02000000000000000000" pitchFamily="2" charset="0"/>
                    <a:ea typeface="+mn-ea"/>
                    <a:cs typeface="Arial" panose="020B0604020202020204" pitchFamily="34" charset="0"/>
                  </a:rPr>
                  <a:t>Management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zo Sans" panose="02000000000000000000" pitchFamily="2" charset="0"/>
                    <a:ea typeface="+mn-ea"/>
                    <a:cs typeface="Arial" panose="020B0604020202020204" pitchFamily="34" charset="0"/>
                  </a:rPr>
                  <a:t>Pathway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4430AB8E-E2AF-CC05-A2E0-88D03C10413C}"/>
                </a:ext>
              </a:extLst>
            </p:cNvPr>
            <p:cNvGrpSpPr/>
            <p:nvPr/>
          </p:nvGrpSpPr>
          <p:grpSpPr>
            <a:xfrm>
              <a:off x="4888804" y="3782920"/>
              <a:ext cx="2285302" cy="1204880"/>
              <a:chOff x="3144454" y="4448542"/>
              <a:chExt cx="2285302" cy="1749775"/>
            </a:xfrm>
            <a:solidFill>
              <a:schemeClr val="accent5"/>
            </a:solidFill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E52EE359-C1BD-71AA-4899-690743F8B6A4}"/>
                  </a:ext>
                </a:extLst>
              </p:cNvPr>
              <p:cNvSpPr/>
              <p:nvPr/>
            </p:nvSpPr>
            <p:spPr>
              <a:xfrm>
                <a:off x="3144454" y="4448542"/>
                <a:ext cx="2285302" cy="1749775"/>
              </a:xfrm>
              <a:prstGeom prst="rect">
                <a:avLst/>
              </a:prstGeom>
              <a:solidFill>
                <a:srgbClr val="00B0F0"/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36576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B7CE0AA2-FE91-B028-0095-F273F47A0B8A}"/>
                  </a:ext>
                </a:extLst>
              </p:cNvPr>
              <p:cNvSpPr txBox="1"/>
              <p:nvPr/>
            </p:nvSpPr>
            <p:spPr>
              <a:xfrm>
                <a:off x="3668185" y="4591215"/>
                <a:ext cx="1237839" cy="149248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zo Sans" panose="02000000000000000000" pitchFamily="2" charset="0"/>
                    <a:ea typeface="+mn-ea"/>
                    <a:cs typeface="Arial" panose="020B0604020202020204" pitchFamily="34" charset="0"/>
                  </a:rPr>
                  <a:t>Privat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zo Sans" panose="02000000000000000000" pitchFamily="2" charset="0"/>
                    <a:ea typeface="+mn-ea"/>
                    <a:cs typeface="Arial" panose="020B0604020202020204" pitchFamily="34" charset="0"/>
                  </a:rPr>
                  <a:t>Markets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zo Sans" panose="02000000000000000000" pitchFamily="2" charset="0"/>
                    <a:ea typeface="+mn-ea"/>
                    <a:cs typeface="Arial" panose="020B0604020202020204" pitchFamily="34" charset="0"/>
                  </a:rPr>
                  <a:t>Pathway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661512A4-8686-F52F-9411-EEF18609BADE}"/>
                </a:ext>
              </a:extLst>
            </p:cNvPr>
            <p:cNvGrpSpPr/>
            <p:nvPr/>
          </p:nvGrpSpPr>
          <p:grpSpPr>
            <a:xfrm>
              <a:off x="8153615" y="3782918"/>
              <a:ext cx="2285302" cy="1204878"/>
              <a:chOff x="6300348" y="4448541"/>
              <a:chExt cx="2285302" cy="1749773"/>
            </a:xfrm>
            <a:solidFill>
              <a:schemeClr val="accent5"/>
            </a:solidFill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2415E8E0-2827-C647-8C2D-A6A5F18C83F8}"/>
                  </a:ext>
                </a:extLst>
              </p:cNvPr>
              <p:cNvSpPr/>
              <p:nvPr/>
            </p:nvSpPr>
            <p:spPr>
              <a:xfrm>
                <a:off x="6300348" y="4448541"/>
                <a:ext cx="2285302" cy="1749773"/>
              </a:xfrm>
              <a:prstGeom prst="rect">
                <a:avLst/>
              </a:prstGeom>
              <a:solidFill>
                <a:srgbClr val="FFC000">
                  <a:alpha val="80000"/>
                </a:srgbClr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36576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3FEA1FAE-5077-E491-035C-8483818225DE}"/>
                  </a:ext>
                </a:extLst>
              </p:cNvPr>
              <p:cNvSpPr txBox="1"/>
              <p:nvPr/>
            </p:nvSpPr>
            <p:spPr>
              <a:xfrm>
                <a:off x="6824080" y="4645029"/>
                <a:ext cx="1237839" cy="149248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zo Sans" panose="02000000000000000000" pitchFamily="2" charset="0"/>
                    <a:ea typeface="+mn-ea"/>
                    <a:cs typeface="Arial" panose="020B0604020202020204" pitchFamily="34" charset="0"/>
                  </a:rPr>
                  <a:t>Privat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zo Sans" panose="02000000000000000000" pitchFamily="2" charset="0"/>
                    <a:ea typeface="+mn-ea"/>
                    <a:cs typeface="Arial" panose="020B0604020202020204" pitchFamily="34" charset="0"/>
                  </a:rPr>
                  <a:t>Wealth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zo Sans" panose="02000000000000000000" pitchFamily="2" charset="0"/>
                    <a:ea typeface="+mn-ea"/>
                    <a:cs typeface="Arial" panose="020B0604020202020204" pitchFamily="34" charset="0"/>
                  </a:rPr>
                  <a:t>Pathway</a:t>
                </a:r>
              </a:p>
            </p:txBody>
          </p:sp>
        </p:grp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38D49428-E10A-A55A-E7BD-6D78B2366240}"/>
                </a:ext>
              </a:extLst>
            </p:cNvPr>
            <p:cNvCxnSpPr>
              <a:cxnSpLocks/>
              <a:endCxn id="33" idx="0"/>
            </p:cNvCxnSpPr>
            <p:nvPr/>
          </p:nvCxnSpPr>
          <p:spPr>
            <a:xfrm>
              <a:off x="6031454" y="3016251"/>
              <a:ext cx="1" cy="766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54D2DDE-6C2C-F1AC-3825-4B5D827B36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66643" y="3399584"/>
              <a:ext cx="652962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5C5F93F-070E-C43B-3F4A-B29CAEEC119E}"/>
                </a:ext>
              </a:extLst>
            </p:cNvPr>
            <p:cNvCxnSpPr>
              <a:cxnSpLocks/>
            </p:cNvCxnSpPr>
            <p:nvPr/>
          </p:nvCxnSpPr>
          <p:spPr>
            <a:xfrm>
              <a:off x="2769340" y="3399584"/>
              <a:ext cx="0" cy="38333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DB3F555-EEE9-0140-6212-17252A550C13}"/>
                </a:ext>
              </a:extLst>
            </p:cNvPr>
            <p:cNvCxnSpPr>
              <a:cxnSpLocks/>
            </p:cNvCxnSpPr>
            <p:nvPr/>
          </p:nvCxnSpPr>
          <p:spPr>
            <a:xfrm>
              <a:off x="9291521" y="3399584"/>
              <a:ext cx="0" cy="38333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B40D137-AA83-BC92-5E14-BC386CDD0BF4}"/>
              </a:ext>
            </a:extLst>
          </p:cNvPr>
          <p:cNvSpPr txBox="1"/>
          <p:nvPr/>
        </p:nvSpPr>
        <p:spPr>
          <a:xfrm>
            <a:off x="4167679" y="5144979"/>
            <a:ext cx="4892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2000" b="1" i="0" u="none" strike="noStrike" kern="1200" cap="none" spc="0" normalizeH="0" baseline="0" noProof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Flecha S Medium" panose="02050703060505060204" pitchFamily="18" charset="0"/>
                <a:ea typeface="+mn-ea"/>
                <a:cs typeface="+mn-cs"/>
              </a:rPr>
              <a:t>O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CA2CDB-DC7F-A58A-CC6D-F7C0CC2A9B45}"/>
              </a:ext>
            </a:extLst>
          </p:cNvPr>
          <p:cNvSpPr txBox="1"/>
          <p:nvPr/>
        </p:nvSpPr>
        <p:spPr>
          <a:xfrm>
            <a:off x="7400003" y="5144979"/>
            <a:ext cx="4892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2000" b="1" i="0" u="none" strike="noStrike" kern="1200" cap="none" spc="0" normalizeH="0" baseline="0" noProof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Flecha S Medium" panose="02050703060505060204" pitchFamily="18" charset="0"/>
                <a:ea typeface="+mn-ea"/>
                <a:cs typeface="+mn-cs"/>
              </a:rPr>
              <a:t>Or</a:t>
            </a:r>
          </a:p>
        </p:txBody>
      </p:sp>
    </p:spTree>
    <p:extLst>
      <p:ext uri="{BB962C8B-B14F-4D97-AF65-F5344CB8AC3E}">
        <p14:creationId xmlns:p14="http://schemas.microsoft.com/office/powerpoint/2010/main" val="3827986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363-C08D-2FCE-8710-3E3520EC00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5 CFA Institute. All Rights Reserved</a:t>
            </a:r>
          </a:p>
        </p:txBody>
      </p:sp>
      <p:pic>
        <p:nvPicPr>
          <p:cNvPr id="5" name="Picture 4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F5C2F7ED-90B1-9F79-D4B8-D4F6D4BB7B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0868" y="1741753"/>
            <a:ext cx="3315419" cy="414427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1365B1B-4B60-2633-A256-4B98E0582278}"/>
              </a:ext>
            </a:extLst>
          </p:cNvPr>
          <p:cNvSpPr/>
          <p:nvPr/>
        </p:nvSpPr>
        <p:spPr>
          <a:xfrm>
            <a:off x="7859021" y="5386932"/>
            <a:ext cx="1289877" cy="231950"/>
          </a:xfrm>
          <a:prstGeom prst="rect">
            <a:avLst/>
          </a:prstGeom>
          <a:solidFill>
            <a:srgbClr val="FAF6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6EBD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1DC9CCC-49B6-B8EA-A3A7-57DD2C3FEE45}"/>
              </a:ext>
            </a:extLst>
          </p:cNvPr>
          <p:cNvGrpSpPr/>
          <p:nvPr/>
        </p:nvGrpSpPr>
        <p:grpSpPr>
          <a:xfrm>
            <a:off x="7522025" y="3938351"/>
            <a:ext cx="1963868" cy="2087545"/>
            <a:chOff x="9124951" y="2408255"/>
            <a:chExt cx="1725742" cy="1714499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A81C23F-4BF8-CCC2-22C8-03F0A702C9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24951" y="2408255"/>
              <a:ext cx="1725742" cy="1714499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41B689-DEDD-86E3-DB2F-B4BEA6E6B2DF}"/>
                </a:ext>
              </a:extLst>
            </p:cNvPr>
            <p:cNvSpPr/>
            <p:nvPr/>
          </p:nvSpPr>
          <p:spPr>
            <a:xfrm>
              <a:off x="9429750" y="3609975"/>
              <a:ext cx="1133475" cy="190500"/>
            </a:xfrm>
            <a:prstGeom prst="rect">
              <a:avLst/>
            </a:prstGeom>
            <a:solidFill>
              <a:srgbClr val="FAF6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6EBD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EE9857D0-9CB9-0D09-52C8-8B6FF2759AD5}"/>
              </a:ext>
            </a:extLst>
          </p:cNvPr>
          <p:cNvSpPr txBox="1"/>
          <p:nvPr/>
        </p:nvSpPr>
        <p:spPr>
          <a:xfrm>
            <a:off x="798083" y="508520"/>
            <a:ext cx="7705876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lecha S Medium"/>
                <a:ea typeface="+mn-ea"/>
                <a:cs typeface="+mn-cs"/>
              </a:rPr>
              <a:t>Share your success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6A6FB3-6C49-F435-D7B6-73E352F31A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6257" y="1286637"/>
            <a:ext cx="2343150" cy="23526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A6AFA7F-BBE3-5122-01F0-AF05FD91A8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28913" y="1286637"/>
            <a:ext cx="2343150" cy="235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16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FC715CD-6531-0D6F-75A8-6192833C2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067" y="763508"/>
            <a:ext cx="5490878" cy="636494"/>
          </a:xfrm>
        </p:spPr>
        <p:txBody>
          <a:bodyPr/>
          <a:lstStyle/>
          <a:p>
            <a:r>
              <a:rPr lang="en-US" sz="4400" dirty="0"/>
              <a:t>Today’s 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2B972E1-2522-9A66-858A-F53D653E3DA2}"/>
              </a:ext>
            </a:extLst>
          </p:cNvPr>
          <p:cNvSpPr txBox="1"/>
          <p:nvPr/>
        </p:nvSpPr>
        <p:spPr>
          <a:xfrm>
            <a:off x="864067" y="1959764"/>
            <a:ext cx="7608294" cy="19774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CFA Institu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/>
                <a:ea typeface="+mn-ea"/>
                <a:cs typeface="+mn-cs"/>
              </a:rPr>
              <a:t>CFA Program </a:t>
            </a:r>
            <a:r>
              <a:rPr lang="en-US" sz="2800" dirty="0">
                <a:solidFill>
                  <a:srgbClr val="FFFFFF"/>
                </a:solidFill>
                <a:latin typeface="Azo Sans"/>
              </a:rPr>
              <a:t>Overview &amp;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/>
                <a:ea typeface="+mn-ea"/>
                <a:cs typeface="+mn-cs"/>
              </a:rPr>
              <a:t>Enhancements</a:t>
            </a:r>
          </a:p>
          <a:p>
            <a:pPr marL="514350" marR="0" lvl="0" indent="-5143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523524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110708A-C97D-BA2A-7FDD-50E793D5586C}"/>
              </a:ext>
            </a:extLst>
          </p:cNvPr>
          <p:cNvSpPr txBox="1"/>
          <p:nvPr/>
        </p:nvSpPr>
        <p:spPr>
          <a:xfrm>
            <a:off x="695865" y="2883628"/>
            <a:ext cx="540013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 panose="02050703060505060204" pitchFamily="18" charset="0"/>
                <a:ea typeface="+mn-ea"/>
                <a:cs typeface="+mn-cs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571981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6981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E1479DFF-91E1-FF5F-0177-26EFA7561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21" y="2919275"/>
            <a:ext cx="4270248" cy="1554480"/>
          </a:xfrm>
        </p:spPr>
        <p:txBody>
          <a:bodyPr/>
          <a:lstStyle/>
          <a:p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/>
                <a:ea typeface="+mj-ea"/>
                <a:cs typeface="+mj-cs"/>
              </a:rPr>
              <a:t>CFA®</a:t>
            </a:r>
            <a:r>
              <a:rPr lang="en-US" dirty="0"/>
              <a:t> Institut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7E00B34-D6C0-C29B-CF63-16F991DA96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71382" y="2729948"/>
            <a:ext cx="973023" cy="83310"/>
          </a:xfrm>
        </p:spPr>
        <p:txBody>
          <a:bodyPr/>
          <a:lstStyle/>
          <a:p>
            <a:r>
              <a:rPr lang="en-US" dirty="0">
                <a:solidFill>
                  <a:schemeClr val="accent4"/>
                </a:solidFill>
                <a:latin typeface="Azo Sans" panose="02000000000000000000" pitchFamily="2" charset="0"/>
              </a:rPr>
              <a:t>Overview</a:t>
            </a:r>
            <a:r>
              <a:rPr lang="en-US" dirty="0">
                <a:latin typeface="Azo Sans" panose="02000000000000000000" pitchFamily="2" charset="0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3064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erson holding her hand up&#10;&#10;Description automatically generated">
            <a:extLst>
              <a:ext uri="{FF2B5EF4-FFF2-40B4-BE49-F238E27FC236}">
                <a16:creationId xmlns:a16="http://schemas.microsoft.com/office/drawing/2014/main" id="{896844D0-B106-9500-6E65-D3D568CE131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328" r="22245" b="16508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E82E2DC-7E11-BD90-D20E-B17E593DA7C2}"/>
              </a:ext>
            </a:extLst>
          </p:cNvPr>
          <p:cNvSpPr txBox="1"/>
          <p:nvPr/>
        </p:nvSpPr>
        <p:spPr>
          <a:xfrm>
            <a:off x="265175" y="878281"/>
            <a:ext cx="60339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 panose="02050703060505060204" pitchFamily="18" charset="0"/>
                <a:ea typeface="+mn-ea"/>
                <a:cs typeface="+mn-cs"/>
              </a:rPr>
              <a:t>A Unique Force Within the Investment Profess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3C93CD-924C-F7B0-EFE3-260B920454E0}"/>
              </a:ext>
            </a:extLst>
          </p:cNvPr>
          <p:cNvSpPr txBox="1"/>
          <p:nvPr/>
        </p:nvSpPr>
        <p:spPr>
          <a:xfrm>
            <a:off x="365759" y="2375708"/>
            <a:ext cx="5049817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A global not-for-profit organiz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The world’s largest association of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investment professional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Industry leaders promoting the highest standards of ethics, education, and professional excellen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A vast global network of members, societies, and relationships with key financial organizations around the worl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CCE0171-BCE2-51FB-85C4-64EB0B6709B2}"/>
              </a:ext>
            </a:extLst>
          </p:cNvPr>
          <p:cNvSpPr/>
          <p:nvPr/>
        </p:nvSpPr>
        <p:spPr>
          <a:xfrm>
            <a:off x="6094937" y="-217"/>
            <a:ext cx="6097064" cy="6858000"/>
          </a:xfrm>
          <a:prstGeom prst="rect">
            <a:avLst/>
          </a:prstGeom>
          <a:solidFill>
            <a:schemeClr val="accent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Picture 21" descr="A blue lines in a circle&#10;&#10;Description automatically generated">
            <a:extLst>
              <a:ext uri="{FF2B5EF4-FFF2-40B4-BE49-F238E27FC236}">
                <a16:creationId xmlns:a16="http://schemas.microsoft.com/office/drawing/2014/main" id="{8F1D3F3F-EA6F-B908-59E0-4B96151579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5579" y="1014767"/>
            <a:ext cx="4865718" cy="482803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06E06A-9FEC-5DB3-4D18-4ED787A18AD9}"/>
              </a:ext>
            </a:extLst>
          </p:cNvPr>
          <p:cNvSpPr txBox="1">
            <a:spLocks/>
          </p:cNvSpPr>
          <p:nvPr/>
        </p:nvSpPr>
        <p:spPr>
          <a:xfrm>
            <a:off x="9135066" y="6199061"/>
            <a:ext cx="2743200" cy="18717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accent2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665DFC-E6E1-AC46-8C75-398C3AC7E514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34B49ED-2051-974E-B025-6F5CB378EAD0}"/>
              </a:ext>
            </a:extLst>
          </p:cNvPr>
          <p:cNvSpPr/>
          <p:nvPr/>
        </p:nvSpPr>
        <p:spPr>
          <a:xfrm>
            <a:off x="7849233" y="2259232"/>
            <a:ext cx="2938409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 Md" panose="02000000000000000000" pitchFamily="2" charset="0"/>
                <a:ea typeface="+mn-ea"/>
                <a:cs typeface="Arial" panose="020B0604020202020204" pitchFamily="34" charset="0"/>
              </a:rPr>
              <a:t>CFA Institute Mis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To lead the investment profession globally by promoting the highest standards of ethics, education, and professional excellence for the ultimate benefit of society.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2714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913E91-52B8-3447-B551-9A2587E04032}"/>
              </a:ext>
            </a:extLst>
          </p:cNvPr>
          <p:cNvSpPr txBox="1">
            <a:spLocks/>
          </p:cNvSpPr>
          <p:nvPr/>
        </p:nvSpPr>
        <p:spPr>
          <a:xfrm>
            <a:off x="588290" y="636729"/>
            <a:ext cx="10515600" cy="11278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lecha S Medium" panose="02050703060505060204" pitchFamily="18" charset="0"/>
                <a:ea typeface="+mj-ea"/>
                <a:cs typeface="+mj-cs"/>
              </a:rPr>
              <a:t>Membership, Candidates, and Societi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D6FA2E9-31AE-844D-A118-073E80F40578}"/>
              </a:ext>
            </a:extLst>
          </p:cNvPr>
          <p:cNvGrpSpPr/>
          <p:nvPr/>
        </p:nvGrpSpPr>
        <p:grpSpPr>
          <a:xfrm>
            <a:off x="2682415" y="1940490"/>
            <a:ext cx="3902500" cy="3143026"/>
            <a:chOff x="2276453" y="1854609"/>
            <a:chExt cx="3352443" cy="2700017"/>
          </a:xfrm>
          <a:solidFill>
            <a:schemeClr val="tx1"/>
          </a:solidFill>
        </p:grpSpPr>
        <p:sp>
          <p:nvSpPr>
            <p:cNvPr id="4" name="Freeform 227">
              <a:extLst>
                <a:ext uri="{FF2B5EF4-FFF2-40B4-BE49-F238E27FC236}">
                  <a16:creationId xmlns:a16="http://schemas.microsoft.com/office/drawing/2014/main" id="{9FA0B1C0-AFA4-BA4A-8148-EA339722E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561" y="3259988"/>
              <a:ext cx="58231" cy="136665"/>
            </a:xfrm>
            <a:custGeom>
              <a:avLst/>
              <a:gdLst>
                <a:gd name="T0" fmla="*/ 49 w 49"/>
                <a:gd name="T1" fmla="*/ 29 h 115"/>
                <a:gd name="T2" fmla="*/ 47 w 49"/>
                <a:gd name="T3" fmla="*/ 24 h 115"/>
                <a:gd name="T4" fmla="*/ 45 w 49"/>
                <a:gd name="T5" fmla="*/ 18 h 115"/>
                <a:gd name="T6" fmla="*/ 47 w 49"/>
                <a:gd name="T7" fmla="*/ 14 h 115"/>
                <a:gd name="T8" fmla="*/ 43 w 49"/>
                <a:gd name="T9" fmla="*/ 10 h 115"/>
                <a:gd name="T10" fmla="*/ 39 w 49"/>
                <a:gd name="T11" fmla="*/ 6 h 115"/>
                <a:gd name="T12" fmla="*/ 35 w 49"/>
                <a:gd name="T13" fmla="*/ 0 h 115"/>
                <a:gd name="T14" fmla="*/ 31 w 49"/>
                <a:gd name="T15" fmla="*/ 2 h 115"/>
                <a:gd name="T16" fmla="*/ 27 w 49"/>
                <a:gd name="T17" fmla="*/ 4 h 115"/>
                <a:gd name="T18" fmla="*/ 27 w 49"/>
                <a:gd name="T19" fmla="*/ 10 h 115"/>
                <a:gd name="T20" fmla="*/ 25 w 49"/>
                <a:gd name="T21" fmla="*/ 14 h 115"/>
                <a:gd name="T22" fmla="*/ 14 w 49"/>
                <a:gd name="T23" fmla="*/ 18 h 115"/>
                <a:gd name="T24" fmla="*/ 12 w 49"/>
                <a:gd name="T25" fmla="*/ 18 h 115"/>
                <a:gd name="T26" fmla="*/ 10 w 49"/>
                <a:gd name="T27" fmla="*/ 18 h 115"/>
                <a:gd name="T28" fmla="*/ 8 w 49"/>
                <a:gd name="T29" fmla="*/ 20 h 115"/>
                <a:gd name="T30" fmla="*/ 6 w 49"/>
                <a:gd name="T31" fmla="*/ 22 h 115"/>
                <a:gd name="T32" fmla="*/ 6 w 49"/>
                <a:gd name="T33" fmla="*/ 24 h 115"/>
                <a:gd name="T34" fmla="*/ 4 w 49"/>
                <a:gd name="T35" fmla="*/ 24 h 115"/>
                <a:gd name="T36" fmla="*/ 4 w 49"/>
                <a:gd name="T37" fmla="*/ 27 h 115"/>
                <a:gd name="T38" fmla="*/ 2 w 49"/>
                <a:gd name="T39" fmla="*/ 31 h 115"/>
                <a:gd name="T40" fmla="*/ 0 w 49"/>
                <a:gd name="T41" fmla="*/ 39 h 115"/>
                <a:gd name="T42" fmla="*/ 8 w 49"/>
                <a:gd name="T43" fmla="*/ 43 h 115"/>
                <a:gd name="T44" fmla="*/ 10 w 49"/>
                <a:gd name="T45" fmla="*/ 49 h 115"/>
                <a:gd name="T46" fmla="*/ 10 w 49"/>
                <a:gd name="T47" fmla="*/ 55 h 115"/>
                <a:gd name="T48" fmla="*/ 14 w 49"/>
                <a:gd name="T49" fmla="*/ 61 h 115"/>
                <a:gd name="T50" fmla="*/ 14 w 49"/>
                <a:gd name="T51" fmla="*/ 76 h 115"/>
                <a:gd name="T52" fmla="*/ 14 w 49"/>
                <a:gd name="T53" fmla="*/ 92 h 115"/>
                <a:gd name="T54" fmla="*/ 14 w 49"/>
                <a:gd name="T55" fmla="*/ 103 h 115"/>
                <a:gd name="T56" fmla="*/ 14 w 49"/>
                <a:gd name="T57" fmla="*/ 105 h 115"/>
                <a:gd name="T58" fmla="*/ 16 w 49"/>
                <a:gd name="T59" fmla="*/ 111 h 115"/>
                <a:gd name="T60" fmla="*/ 14 w 49"/>
                <a:gd name="T61" fmla="*/ 115 h 115"/>
                <a:gd name="T62" fmla="*/ 31 w 49"/>
                <a:gd name="T63" fmla="*/ 111 h 115"/>
                <a:gd name="T64" fmla="*/ 33 w 49"/>
                <a:gd name="T65" fmla="*/ 107 h 115"/>
                <a:gd name="T66" fmla="*/ 33 w 49"/>
                <a:gd name="T67" fmla="*/ 103 h 115"/>
                <a:gd name="T68" fmla="*/ 33 w 49"/>
                <a:gd name="T69" fmla="*/ 99 h 115"/>
                <a:gd name="T70" fmla="*/ 33 w 49"/>
                <a:gd name="T71" fmla="*/ 92 h 115"/>
                <a:gd name="T72" fmla="*/ 33 w 49"/>
                <a:gd name="T73" fmla="*/ 90 h 115"/>
                <a:gd name="T74" fmla="*/ 31 w 49"/>
                <a:gd name="T75" fmla="*/ 84 h 115"/>
                <a:gd name="T76" fmla="*/ 33 w 49"/>
                <a:gd name="T77" fmla="*/ 76 h 115"/>
                <a:gd name="T78" fmla="*/ 33 w 49"/>
                <a:gd name="T79" fmla="*/ 70 h 115"/>
                <a:gd name="T80" fmla="*/ 35 w 49"/>
                <a:gd name="T81" fmla="*/ 61 h 115"/>
                <a:gd name="T82" fmla="*/ 39 w 49"/>
                <a:gd name="T83" fmla="*/ 57 h 115"/>
                <a:gd name="T84" fmla="*/ 41 w 49"/>
                <a:gd name="T85" fmla="*/ 53 h 115"/>
                <a:gd name="T86" fmla="*/ 43 w 49"/>
                <a:gd name="T87" fmla="*/ 47 h 115"/>
                <a:gd name="T88" fmla="*/ 45 w 49"/>
                <a:gd name="T89" fmla="*/ 47 h 115"/>
                <a:gd name="T90" fmla="*/ 45 w 49"/>
                <a:gd name="T91" fmla="*/ 39 h 115"/>
                <a:gd name="T92" fmla="*/ 47 w 49"/>
                <a:gd name="T93" fmla="*/ 37 h 115"/>
                <a:gd name="T94" fmla="*/ 49 w 49"/>
                <a:gd name="T95" fmla="*/ 37 h 115"/>
                <a:gd name="T96" fmla="*/ 49 w 49"/>
                <a:gd name="T97" fmla="*/ 3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9" h="115">
                  <a:moveTo>
                    <a:pt x="49" y="33"/>
                  </a:moveTo>
                  <a:lnTo>
                    <a:pt x="49" y="31"/>
                  </a:lnTo>
                  <a:lnTo>
                    <a:pt x="49" y="29"/>
                  </a:lnTo>
                  <a:lnTo>
                    <a:pt x="49" y="27"/>
                  </a:lnTo>
                  <a:lnTo>
                    <a:pt x="49" y="24"/>
                  </a:lnTo>
                  <a:lnTo>
                    <a:pt x="47" y="24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8"/>
                  </a:lnTo>
                  <a:lnTo>
                    <a:pt x="45" y="16"/>
                  </a:lnTo>
                  <a:lnTo>
                    <a:pt x="45" y="14"/>
                  </a:lnTo>
                  <a:lnTo>
                    <a:pt x="47" y="14"/>
                  </a:lnTo>
                  <a:lnTo>
                    <a:pt x="45" y="12"/>
                  </a:lnTo>
                  <a:lnTo>
                    <a:pt x="45" y="10"/>
                  </a:lnTo>
                  <a:lnTo>
                    <a:pt x="43" y="10"/>
                  </a:lnTo>
                  <a:lnTo>
                    <a:pt x="41" y="10"/>
                  </a:lnTo>
                  <a:lnTo>
                    <a:pt x="41" y="8"/>
                  </a:lnTo>
                  <a:lnTo>
                    <a:pt x="39" y="6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0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7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4" y="41"/>
                  </a:lnTo>
                  <a:lnTo>
                    <a:pt x="8" y="43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9"/>
                  </a:lnTo>
                  <a:lnTo>
                    <a:pt x="10" y="53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7"/>
                  </a:lnTo>
                  <a:lnTo>
                    <a:pt x="14" y="59"/>
                  </a:lnTo>
                  <a:lnTo>
                    <a:pt x="14" y="61"/>
                  </a:lnTo>
                  <a:lnTo>
                    <a:pt x="14" y="68"/>
                  </a:lnTo>
                  <a:lnTo>
                    <a:pt x="14" y="72"/>
                  </a:lnTo>
                  <a:lnTo>
                    <a:pt x="14" y="76"/>
                  </a:lnTo>
                  <a:lnTo>
                    <a:pt x="14" y="80"/>
                  </a:lnTo>
                  <a:lnTo>
                    <a:pt x="14" y="86"/>
                  </a:lnTo>
                  <a:lnTo>
                    <a:pt x="14" y="92"/>
                  </a:lnTo>
                  <a:lnTo>
                    <a:pt x="14" y="101"/>
                  </a:lnTo>
                  <a:lnTo>
                    <a:pt x="12" y="101"/>
                  </a:lnTo>
                  <a:lnTo>
                    <a:pt x="14" y="103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6" y="111"/>
                  </a:lnTo>
                  <a:lnTo>
                    <a:pt x="16" y="113"/>
                  </a:lnTo>
                  <a:lnTo>
                    <a:pt x="14" y="113"/>
                  </a:lnTo>
                  <a:lnTo>
                    <a:pt x="14" y="115"/>
                  </a:lnTo>
                  <a:lnTo>
                    <a:pt x="16" y="113"/>
                  </a:lnTo>
                  <a:lnTo>
                    <a:pt x="25" y="113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3" y="105"/>
                  </a:lnTo>
                  <a:lnTo>
                    <a:pt x="33" y="105"/>
                  </a:lnTo>
                  <a:lnTo>
                    <a:pt x="33" y="103"/>
                  </a:lnTo>
                  <a:lnTo>
                    <a:pt x="33" y="101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3" y="96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88"/>
                  </a:lnTo>
                  <a:lnTo>
                    <a:pt x="33" y="86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0"/>
                  </a:lnTo>
                  <a:lnTo>
                    <a:pt x="33" y="76"/>
                  </a:lnTo>
                  <a:lnTo>
                    <a:pt x="31" y="74"/>
                  </a:lnTo>
                  <a:lnTo>
                    <a:pt x="33" y="74"/>
                  </a:lnTo>
                  <a:lnTo>
                    <a:pt x="33" y="70"/>
                  </a:lnTo>
                  <a:lnTo>
                    <a:pt x="33" y="68"/>
                  </a:lnTo>
                  <a:lnTo>
                    <a:pt x="33" y="61"/>
                  </a:lnTo>
                  <a:lnTo>
                    <a:pt x="35" y="61"/>
                  </a:lnTo>
                  <a:lnTo>
                    <a:pt x="37" y="61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5"/>
                  </a:lnTo>
                  <a:lnTo>
                    <a:pt x="39" y="53"/>
                  </a:lnTo>
                  <a:lnTo>
                    <a:pt x="41" y="53"/>
                  </a:lnTo>
                  <a:lnTo>
                    <a:pt x="41" y="51"/>
                  </a:lnTo>
                  <a:lnTo>
                    <a:pt x="41" y="49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7" y="45"/>
                  </a:lnTo>
                  <a:lnTo>
                    <a:pt x="47" y="41"/>
                  </a:lnTo>
                  <a:lnTo>
                    <a:pt x="45" y="39"/>
                  </a:lnTo>
                  <a:lnTo>
                    <a:pt x="45" y="39"/>
                  </a:lnTo>
                  <a:lnTo>
                    <a:pt x="47" y="39"/>
                  </a:lnTo>
                  <a:lnTo>
                    <a:pt x="47" y="37"/>
                  </a:lnTo>
                  <a:lnTo>
                    <a:pt x="47" y="37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49" y="33"/>
                  </a:lnTo>
                  <a:lnTo>
                    <a:pt x="49" y="3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5" name="Freeform 229">
              <a:extLst>
                <a:ext uri="{FF2B5EF4-FFF2-40B4-BE49-F238E27FC236}">
                  <a16:creationId xmlns:a16="http://schemas.microsoft.com/office/drawing/2014/main" id="{EFFA9397-64A4-0C45-B24B-5C81A88C0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415" y="2411480"/>
              <a:ext cx="64173" cy="43970"/>
            </a:xfrm>
            <a:custGeom>
              <a:avLst/>
              <a:gdLst>
                <a:gd name="T0" fmla="*/ 54 w 54"/>
                <a:gd name="T1" fmla="*/ 19 h 37"/>
                <a:gd name="T2" fmla="*/ 52 w 54"/>
                <a:gd name="T3" fmla="*/ 19 h 37"/>
                <a:gd name="T4" fmla="*/ 50 w 54"/>
                <a:gd name="T5" fmla="*/ 15 h 37"/>
                <a:gd name="T6" fmla="*/ 47 w 54"/>
                <a:gd name="T7" fmla="*/ 15 h 37"/>
                <a:gd name="T8" fmla="*/ 45 w 54"/>
                <a:gd name="T9" fmla="*/ 15 h 37"/>
                <a:gd name="T10" fmla="*/ 43 w 54"/>
                <a:gd name="T11" fmla="*/ 13 h 37"/>
                <a:gd name="T12" fmla="*/ 45 w 54"/>
                <a:gd name="T13" fmla="*/ 11 h 37"/>
                <a:gd name="T14" fmla="*/ 47 w 54"/>
                <a:gd name="T15" fmla="*/ 9 h 37"/>
                <a:gd name="T16" fmla="*/ 43 w 54"/>
                <a:gd name="T17" fmla="*/ 7 h 37"/>
                <a:gd name="T18" fmla="*/ 41 w 54"/>
                <a:gd name="T19" fmla="*/ 4 h 37"/>
                <a:gd name="T20" fmla="*/ 37 w 54"/>
                <a:gd name="T21" fmla="*/ 4 h 37"/>
                <a:gd name="T22" fmla="*/ 35 w 54"/>
                <a:gd name="T23" fmla="*/ 2 h 37"/>
                <a:gd name="T24" fmla="*/ 35 w 54"/>
                <a:gd name="T25" fmla="*/ 2 h 37"/>
                <a:gd name="T26" fmla="*/ 33 w 54"/>
                <a:gd name="T27" fmla="*/ 2 h 37"/>
                <a:gd name="T28" fmla="*/ 31 w 54"/>
                <a:gd name="T29" fmla="*/ 0 h 37"/>
                <a:gd name="T30" fmla="*/ 29 w 54"/>
                <a:gd name="T31" fmla="*/ 2 h 37"/>
                <a:gd name="T32" fmla="*/ 27 w 54"/>
                <a:gd name="T33" fmla="*/ 2 h 37"/>
                <a:gd name="T34" fmla="*/ 25 w 54"/>
                <a:gd name="T35" fmla="*/ 4 h 37"/>
                <a:gd name="T36" fmla="*/ 23 w 54"/>
                <a:gd name="T37" fmla="*/ 4 h 37"/>
                <a:gd name="T38" fmla="*/ 19 w 54"/>
                <a:gd name="T39" fmla="*/ 7 h 37"/>
                <a:gd name="T40" fmla="*/ 17 w 54"/>
                <a:gd name="T41" fmla="*/ 4 h 37"/>
                <a:gd name="T42" fmla="*/ 15 w 54"/>
                <a:gd name="T43" fmla="*/ 7 h 37"/>
                <a:gd name="T44" fmla="*/ 13 w 54"/>
                <a:gd name="T45" fmla="*/ 4 h 37"/>
                <a:gd name="T46" fmla="*/ 6 w 54"/>
                <a:gd name="T47" fmla="*/ 4 h 37"/>
                <a:gd name="T48" fmla="*/ 0 w 54"/>
                <a:gd name="T49" fmla="*/ 11 h 37"/>
                <a:gd name="T50" fmla="*/ 2 w 54"/>
                <a:gd name="T51" fmla="*/ 13 h 37"/>
                <a:gd name="T52" fmla="*/ 4 w 54"/>
                <a:gd name="T53" fmla="*/ 15 h 37"/>
                <a:gd name="T54" fmla="*/ 6 w 54"/>
                <a:gd name="T55" fmla="*/ 15 h 37"/>
                <a:gd name="T56" fmla="*/ 8 w 54"/>
                <a:gd name="T57" fmla="*/ 15 h 37"/>
                <a:gd name="T58" fmla="*/ 11 w 54"/>
                <a:gd name="T59" fmla="*/ 19 h 37"/>
                <a:gd name="T60" fmla="*/ 15 w 54"/>
                <a:gd name="T61" fmla="*/ 19 h 37"/>
                <a:gd name="T62" fmla="*/ 17 w 54"/>
                <a:gd name="T63" fmla="*/ 23 h 37"/>
                <a:gd name="T64" fmla="*/ 17 w 54"/>
                <a:gd name="T65" fmla="*/ 21 h 37"/>
                <a:gd name="T66" fmla="*/ 21 w 54"/>
                <a:gd name="T67" fmla="*/ 23 h 37"/>
                <a:gd name="T68" fmla="*/ 23 w 54"/>
                <a:gd name="T69" fmla="*/ 25 h 37"/>
                <a:gd name="T70" fmla="*/ 23 w 54"/>
                <a:gd name="T71" fmla="*/ 27 h 37"/>
                <a:gd name="T72" fmla="*/ 23 w 54"/>
                <a:gd name="T73" fmla="*/ 27 h 37"/>
                <a:gd name="T74" fmla="*/ 23 w 54"/>
                <a:gd name="T75" fmla="*/ 29 h 37"/>
                <a:gd name="T76" fmla="*/ 29 w 54"/>
                <a:gd name="T77" fmla="*/ 27 h 37"/>
                <a:gd name="T78" fmla="*/ 31 w 54"/>
                <a:gd name="T79" fmla="*/ 25 h 37"/>
                <a:gd name="T80" fmla="*/ 31 w 54"/>
                <a:gd name="T81" fmla="*/ 29 h 37"/>
                <a:gd name="T82" fmla="*/ 33 w 54"/>
                <a:gd name="T83" fmla="*/ 31 h 37"/>
                <a:gd name="T84" fmla="*/ 35 w 54"/>
                <a:gd name="T85" fmla="*/ 31 h 37"/>
                <a:gd name="T86" fmla="*/ 37 w 54"/>
                <a:gd name="T87" fmla="*/ 33 h 37"/>
                <a:gd name="T88" fmla="*/ 39 w 54"/>
                <a:gd name="T89" fmla="*/ 35 h 37"/>
                <a:gd name="T90" fmla="*/ 43 w 54"/>
                <a:gd name="T91" fmla="*/ 35 h 37"/>
                <a:gd name="T92" fmla="*/ 45 w 54"/>
                <a:gd name="T93" fmla="*/ 35 h 37"/>
                <a:gd name="T94" fmla="*/ 47 w 54"/>
                <a:gd name="T95" fmla="*/ 33 h 37"/>
                <a:gd name="T96" fmla="*/ 45 w 54"/>
                <a:gd name="T97" fmla="*/ 31 h 37"/>
                <a:gd name="T98" fmla="*/ 45 w 54"/>
                <a:gd name="T99" fmla="*/ 29 h 37"/>
                <a:gd name="T100" fmla="*/ 45 w 54"/>
                <a:gd name="T101" fmla="*/ 27 h 37"/>
                <a:gd name="T102" fmla="*/ 50 w 54"/>
                <a:gd name="T103" fmla="*/ 25 h 37"/>
                <a:gd name="T104" fmla="*/ 50 w 54"/>
                <a:gd name="T105" fmla="*/ 25 h 37"/>
                <a:gd name="T106" fmla="*/ 54 w 54"/>
                <a:gd name="T10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" h="37">
                  <a:moveTo>
                    <a:pt x="54" y="21"/>
                  </a:moveTo>
                  <a:lnTo>
                    <a:pt x="54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7" y="15"/>
                  </a:lnTo>
                  <a:lnTo>
                    <a:pt x="47" y="13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5" y="4"/>
                  </a:lnTo>
                  <a:lnTo>
                    <a:pt x="23" y="4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1" y="4"/>
                  </a:lnTo>
                  <a:lnTo>
                    <a:pt x="6" y="4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9" y="21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9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9" y="33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7"/>
                  </a:lnTo>
                  <a:lnTo>
                    <a:pt x="47" y="27"/>
                  </a:lnTo>
                  <a:lnTo>
                    <a:pt x="47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2" y="23"/>
                  </a:lnTo>
                  <a:lnTo>
                    <a:pt x="54" y="23"/>
                  </a:lnTo>
                  <a:lnTo>
                    <a:pt x="54" y="21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6" name="Freeform 138">
              <a:extLst>
                <a:ext uri="{FF2B5EF4-FFF2-40B4-BE49-F238E27FC236}">
                  <a16:creationId xmlns:a16="http://schemas.microsoft.com/office/drawing/2014/main" id="{F23C9BEA-A0F7-5E44-9A98-27A8ABC17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972" y="2805319"/>
              <a:ext cx="76057" cy="90317"/>
            </a:xfrm>
            <a:custGeom>
              <a:avLst/>
              <a:gdLst>
                <a:gd name="T0" fmla="*/ 62 w 64"/>
                <a:gd name="T1" fmla="*/ 19 h 76"/>
                <a:gd name="T2" fmla="*/ 60 w 64"/>
                <a:gd name="T3" fmla="*/ 17 h 76"/>
                <a:gd name="T4" fmla="*/ 60 w 64"/>
                <a:gd name="T5" fmla="*/ 13 h 76"/>
                <a:gd name="T6" fmla="*/ 55 w 64"/>
                <a:gd name="T7" fmla="*/ 4 h 76"/>
                <a:gd name="T8" fmla="*/ 51 w 64"/>
                <a:gd name="T9" fmla="*/ 2 h 76"/>
                <a:gd name="T10" fmla="*/ 45 w 64"/>
                <a:gd name="T11" fmla="*/ 9 h 76"/>
                <a:gd name="T12" fmla="*/ 37 w 64"/>
                <a:gd name="T13" fmla="*/ 13 h 76"/>
                <a:gd name="T14" fmla="*/ 31 w 64"/>
                <a:gd name="T15" fmla="*/ 17 h 76"/>
                <a:gd name="T16" fmla="*/ 20 w 64"/>
                <a:gd name="T17" fmla="*/ 19 h 76"/>
                <a:gd name="T18" fmla="*/ 18 w 64"/>
                <a:gd name="T19" fmla="*/ 17 h 76"/>
                <a:gd name="T20" fmla="*/ 14 w 64"/>
                <a:gd name="T21" fmla="*/ 17 h 76"/>
                <a:gd name="T22" fmla="*/ 12 w 64"/>
                <a:gd name="T23" fmla="*/ 13 h 76"/>
                <a:gd name="T24" fmla="*/ 8 w 64"/>
                <a:gd name="T25" fmla="*/ 13 h 76"/>
                <a:gd name="T26" fmla="*/ 6 w 64"/>
                <a:gd name="T27" fmla="*/ 13 h 76"/>
                <a:gd name="T28" fmla="*/ 6 w 64"/>
                <a:gd name="T29" fmla="*/ 15 h 76"/>
                <a:gd name="T30" fmla="*/ 6 w 64"/>
                <a:gd name="T31" fmla="*/ 21 h 76"/>
                <a:gd name="T32" fmla="*/ 6 w 64"/>
                <a:gd name="T33" fmla="*/ 27 h 76"/>
                <a:gd name="T34" fmla="*/ 6 w 64"/>
                <a:gd name="T35" fmla="*/ 31 h 76"/>
                <a:gd name="T36" fmla="*/ 6 w 64"/>
                <a:gd name="T37" fmla="*/ 35 h 76"/>
                <a:gd name="T38" fmla="*/ 6 w 64"/>
                <a:gd name="T39" fmla="*/ 37 h 76"/>
                <a:gd name="T40" fmla="*/ 6 w 64"/>
                <a:gd name="T41" fmla="*/ 39 h 76"/>
                <a:gd name="T42" fmla="*/ 6 w 64"/>
                <a:gd name="T43" fmla="*/ 43 h 76"/>
                <a:gd name="T44" fmla="*/ 4 w 64"/>
                <a:gd name="T45" fmla="*/ 48 h 76"/>
                <a:gd name="T46" fmla="*/ 2 w 64"/>
                <a:gd name="T47" fmla="*/ 54 h 76"/>
                <a:gd name="T48" fmla="*/ 2 w 64"/>
                <a:gd name="T49" fmla="*/ 56 h 76"/>
                <a:gd name="T50" fmla="*/ 2 w 64"/>
                <a:gd name="T51" fmla="*/ 60 h 76"/>
                <a:gd name="T52" fmla="*/ 2 w 64"/>
                <a:gd name="T53" fmla="*/ 64 h 76"/>
                <a:gd name="T54" fmla="*/ 2 w 64"/>
                <a:gd name="T55" fmla="*/ 70 h 76"/>
                <a:gd name="T56" fmla="*/ 0 w 64"/>
                <a:gd name="T57" fmla="*/ 74 h 76"/>
                <a:gd name="T58" fmla="*/ 6 w 64"/>
                <a:gd name="T59" fmla="*/ 74 h 76"/>
                <a:gd name="T60" fmla="*/ 14 w 64"/>
                <a:gd name="T61" fmla="*/ 76 h 76"/>
                <a:gd name="T62" fmla="*/ 18 w 64"/>
                <a:gd name="T63" fmla="*/ 76 h 76"/>
                <a:gd name="T64" fmla="*/ 25 w 64"/>
                <a:gd name="T65" fmla="*/ 72 h 76"/>
                <a:gd name="T66" fmla="*/ 27 w 64"/>
                <a:gd name="T67" fmla="*/ 66 h 76"/>
                <a:gd name="T68" fmla="*/ 31 w 64"/>
                <a:gd name="T69" fmla="*/ 64 h 76"/>
                <a:gd name="T70" fmla="*/ 39 w 64"/>
                <a:gd name="T71" fmla="*/ 62 h 76"/>
                <a:gd name="T72" fmla="*/ 41 w 64"/>
                <a:gd name="T73" fmla="*/ 60 h 76"/>
                <a:gd name="T74" fmla="*/ 41 w 64"/>
                <a:gd name="T75" fmla="*/ 56 h 76"/>
                <a:gd name="T76" fmla="*/ 45 w 64"/>
                <a:gd name="T77" fmla="*/ 54 h 76"/>
                <a:gd name="T78" fmla="*/ 43 w 64"/>
                <a:gd name="T79" fmla="*/ 50 h 76"/>
                <a:gd name="T80" fmla="*/ 39 w 64"/>
                <a:gd name="T81" fmla="*/ 43 h 76"/>
                <a:gd name="T82" fmla="*/ 33 w 64"/>
                <a:gd name="T83" fmla="*/ 37 h 76"/>
                <a:gd name="T84" fmla="*/ 33 w 64"/>
                <a:gd name="T85" fmla="*/ 33 h 76"/>
                <a:gd name="T86" fmla="*/ 41 w 64"/>
                <a:gd name="T87" fmla="*/ 31 h 76"/>
                <a:gd name="T88" fmla="*/ 51 w 64"/>
                <a:gd name="T89" fmla="*/ 29 h 76"/>
                <a:gd name="T90" fmla="*/ 60 w 64"/>
                <a:gd name="T91" fmla="*/ 25 h 76"/>
                <a:gd name="T92" fmla="*/ 62 w 64"/>
                <a:gd name="T93" fmla="*/ 23 h 76"/>
                <a:gd name="T94" fmla="*/ 64 w 64"/>
                <a:gd name="T95" fmla="*/ 1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76">
                  <a:moveTo>
                    <a:pt x="64" y="19"/>
                  </a:moveTo>
                  <a:lnTo>
                    <a:pt x="62" y="19"/>
                  </a:lnTo>
                  <a:lnTo>
                    <a:pt x="60" y="21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0" y="13"/>
                  </a:lnTo>
                  <a:lnTo>
                    <a:pt x="57" y="9"/>
                  </a:lnTo>
                  <a:lnTo>
                    <a:pt x="55" y="4"/>
                  </a:lnTo>
                  <a:lnTo>
                    <a:pt x="55" y="0"/>
                  </a:lnTo>
                  <a:lnTo>
                    <a:pt x="51" y="2"/>
                  </a:lnTo>
                  <a:lnTo>
                    <a:pt x="47" y="6"/>
                  </a:lnTo>
                  <a:lnTo>
                    <a:pt x="45" y="9"/>
                  </a:lnTo>
                  <a:lnTo>
                    <a:pt x="39" y="11"/>
                  </a:lnTo>
                  <a:lnTo>
                    <a:pt x="37" y="13"/>
                  </a:lnTo>
                  <a:lnTo>
                    <a:pt x="33" y="15"/>
                  </a:lnTo>
                  <a:lnTo>
                    <a:pt x="31" y="17"/>
                  </a:lnTo>
                  <a:lnTo>
                    <a:pt x="27" y="21"/>
                  </a:lnTo>
                  <a:lnTo>
                    <a:pt x="20" y="19"/>
                  </a:lnTo>
                  <a:lnTo>
                    <a:pt x="18" y="19"/>
                  </a:lnTo>
                  <a:lnTo>
                    <a:pt x="18" y="17"/>
                  </a:lnTo>
                  <a:lnTo>
                    <a:pt x="16" y="17"/>
                  </a:lnTo>
                  <a:lnTo>
                    <a:pt x="14" y="17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6" y="23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6" y="31"/>
                  </a:lnTo>
                  <a:lnTo>
                    <a:pt x="6" y="33"/>
                  </a:lnTo>
                  <a:lnTo>
                    <a:pt x="6" y="35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41"/>
                  </a:lnTo>
                  <a:lnTo>
                    <a:pt x="6" y="43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50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2" y="70"/>
                  </a:lnTo>
                  <a:lnTo>
                    <a:pt x="2" y="72"/>
                  </a:lnTo>
                  <a:lnTo>
                    <a:pt x="0" y="74"/>
                  </a:lnTo>
                  <a:lnTo>
                    <a:pt x="4" y="74"/>
                  </a:lnTo>
                  <a:lnTo>
                    <a:pt x="6" y="74"/>
                  </a:lnTo>
                  <a:lnTo>
                    <a:pt x="10" y="76"/>
                  </a:lnTo>
                  <a:lnTo>
                    <a:pt x="14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23" y="74"/>
                  </a:lnTo>
                  <a:lnTo>
                    <a:pt x="25" y="72"/>
                  </a:lnTo>
                  <a:lnTo>
                    <a:pt x="27" y="68"/>
                  </a:lnTo>
                  <a:lnTo>
                    <a:pt x="27" y="66"/>
                  </a:lnTo>
                  <a:lnTo>
                    <a:pt x="29" y="64"/>
                  </a:lnTo>
                  <a:lnTo>
                    <a:pt x="31" y="64"/>
                  </a:lnTo>
                  <a:lnTo>
                    <a:pt x="35" y="64"/>
                  </a:lnTo>
                  <a:lnTo>
                    <a:pt x="39" y="62"/>
                  </a:lnTo>
                  <a:lnTo>
                    <a:pt x="39" y="62"/>
                  </a:lnTo>
                  <a:lnTo>
                    <a:pt x="41" y="60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5" y="54"/>
                  </a:lnTo>
                  <a:lnTo>
                    <a:pt x="47" y="54"/>
                  </a:lnTo>
                  <a:lnTo>
                    <a:pt x="43" y="50"/>
                  </a:lnTo>
                  <a:lnTo>
                    <a:pt x="41" y="48"/>
                  </a:lnTo>
                  <a:lnTo>
                    <a:pt x="39" y="43"/>
                  </a:lnTo>
                  <a:lnTo>
                    <a:pt x="35" y="41"/>
                  </a:lnTo>
                  <a:lnTo>
                    <a:pt x="33" y="37"/>
                  </a:lnTo>
                  <a:lnTo>
                    <a:pt x="29" y="35"/>
                  </a:lnTo>
                  <a:lnTo>
                    <a:pt x="33" y="33"/>
                  </a:lnTo>
                  <a:lnTo>
                    <a:pt x="37" y="33"/>
                  </a:lnTo>
                  <a:lnTo>
                    <a:pt x="41" y="31"/>
                  </a:lnTo>
                  <a:lnTo>
                    <a:pt x="47" y="29"/>
                  </a:lnTo>
                  <a:lnTo>
                    <a:pt x="51" y="29"/>
                  </a:lnTo>
                  <a:lnTo>
                    <a:pt x="57" y="27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2" y="23"/>
                  </a:lnTo>
                  <a:lnTo>
                    <a:pt x="64" y="21"/>
                  </a:lnTo>
                  <a:lnTo>
                    <a:pt x="64" y="1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7" name="Freeform 144">
              <a:extLst>
                <a:ext uri="{FF2B5EF4-FFF2-40B4-BE49-F238E27FC236}">
                  <a16:creationId xmlns:a16="http://schemas.microsoft.com/office/drawing/2014/main" id="{8CF18123-C3EF-454D-B2B1-F78FD9171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711" y="2805319"/>
              <a:ext cx="26145" cy="85564"/>
            </a:xfrm>
            <a:custGeom>
              <a:avLst/>
              <a:gdLst>
                <a:gd name="T0" fmla="*/ 22 w 22"/>
                <a:gd name="T1" fmla="*/ 6 h 72"/>
                <a:gd name="T2" fmla="*/ 22 w 22"/>
                <a:gd name="T3" fmla="*/ 4 h 72"/>
                <a:gd name="T4" fmla="*/ 22 w 22"/>
                <a:gd name="T5" fmla="*/ 2 h 72"/>
                <a:gd name="T6" fmla="*/ 22 w 22"/>
                <a:gd name="T7" fmla="*/ 2 h 72"/>
                <a:gd name="T8" fmla="*/ 22 w 22"/>
                <a:gd name="T9" fmla="*/ 0 h 72"/>
                <a:gd name="T10" fmla="*/ 20 w 22"/>
                <a:gd name="T11" fmla="*/ 0 h 72"/>
                <a:gd name="T12" fmla="*/ 18 w 22"/>
                <a:gd name="T13" fmla="*/ 2 h 72"/>
                <a:gd name="T14" fmla="*/ 18 w 22"/>
                <a:gd name="T15" fmla="*/ 2 h 72"/>
                <a:gd name="T16" fmla="*/ 16 w 22"/>
                <a:gd name="T17" fmla="*/ 4 h 72"/>
                <a:gd name="T18" fmla="*/ 14 w 22"/>
                <a:gd name="T19" fmla="*/ 6 h 72"/>
                <a:gd name="T20" fmla="*/ 10 w 22"/>
                <a:gd name="T21" fmla="*/ 6 h 72"/>
                <a:gd name="T22" fmla="*/ 10 w 22"/>
                <a:gd name="T23" fmla="*/ 11 h 72"/>
                <a:gd name="T24" fmla="*/ 8 w 22"/>
                <a:gd name="T25" fmla="*/ 23 h 72"/>
                <a:gd name="T26" fmla="*/ 4 w 22"/>
                <a:gd name="T27" fmla="*/ 33 h 72"/>
                <a:gd name="T28" fmla="*/ 4 w 22"/>
                <a:gd name="T29" fmla="*/ 33 h 72"/>
                <a:gd name="T30" fmla="*/ 2 w 22"/>
                <a:gd name="T31" fmla="*/ 37 h 72"/>
                <a:gd name="T32" fmla="*/ 0 w 22"/>
                <a:gd name="T33" fmla="*/ 39 h 72"/>
                <a:gd name="T34" fmla="*/ 2 w 22"/>
                <a:gd name="T35" fmla="*/ 48 h 72"/>
                <a:gd name="T36" fmla="*/ 6 w 22"/>
                <a:gd name="T37" fmla="*/ 54 h 72"/>
                <a:gd name="T38" fmla="*/ 8 w 22"/>
                <a:gd name="T39" fmla="*/ 58 h 72"/>
                <a:gd name="T40" fmla="*/ 10 w 22"/>
                <a:gd name="T41" fmla="*/ 66 h 72"/>
                <a:gd name="T42" fmla="*/ 12 w 22"/>
                <a:gd name="T43" fmla="*/ 72 h 72"/>
                <a:gd name="T44" fmla="*/ 14 w 22"/>
                <a:gd name="T45" fmla="*/ 66 h 72"/>
                <a:gd name="T46" fmla="*/ 14 w 22"/>
                <a:gd name="T47" fmla="*/ 62 h 72"/>
                <a:gd name="T48" fmla="*/ 14 w 22"/>
                <a:gd name="T49" fmla="*/ 58 h 72"/>
                <a:gd name="T50" fmla="*/ 14 w 22"/>
                <a:gd name="T51" fmla="*/ 54 h 72"/>
                <a:gd name="T52" fmla="*/ 16 w 22"/>
                <a:gd name="T53" fmla="*/ 50 h 72"/>
                <a:gd name="T54" fmla="*/ 16 w 22"/>
                <a:gd name="T55" fmla="*/ 48 h 72"/>
                <a:gd name="T56" fmla="*/ 18 w 22"/>
                <a:gd name="T57" fmla="*/ 41 h 72"/>
                <a:gd name="T58" fmla="*/ 18 w 22"/>
                <a:gd name="T59" fmla="*/ 39 h 72"/>
                <a:gd name="T60" fmla="*/ 18 w 22"/>
                <a:gd name="T61" fmla="*/ 37 h 72"/>
                <a:gd name="T62" fmla="*/ 18 w 22"/>
                <a:gd name="T63" fmla="*/ 35 h 72"/>
                <a:gd name="T64" fmla="*/ 12 w 22"/>
                <a:gd name="T65" fmla="*/ 37 h 72"/>
                <a:gd name="T66" fmla="*/ 10 w 22"/>
                <a:gd name="T67" fmla="*/ 37 h 72"/>
                <a:gd name="T68" fmla="*/ 10 w 22"/>
                <a:gd name="T69" fmla="*/ 35 h 72"/>
                <a:gd name="T70" fmla="*/ 12 w 22"/>
                <a:gd name="T71" fmla="*/ 31 h 72"/>
                <a:gd name="T72" fmla="*/ 14 w 22"/>
                <a:gd name="T73" fmla="*/ 31 h 72"/>
                <a:gd name="T74" fmla="*/ 12 w 22"/>
                <a:gd name="T75" fmla="*/ 29 h 72"/>
                <a:gd name="T76" fmla="*/ 10 w 22"/>
                <a:gd name="T77" fmla="*/ 29 h 72"/>
                <a:gd name="T78" fmla="*/ 10 w 22"/>
                <a:gd name="T79" fmla="*/ 29 h 72"/>
                <a:gd name="T80" fmla="*/ 10 w 22"/>
                <a:gd name="T81" fmla="*/ 27 h 72"/>
                <a:gd name="T82" fmla="*/ 10 w 22"/>
                <a:gd name="T83" fmla="*/ 25 h 72"/>
                <a:gd name="T84" fmla="*/ 10 w 22"/>
                <a:gd name="T85" fmla="*/ 21 h 72"/>
                <a:gd name="T86" fmla="*/ 10 w 22"/>
                <a:gd name="T87" fmla="*/ 17 h 72"/>
                <a:gd name="T88" fmla="*/ 14 w 22"/>
                <a:gd name="T89" fmla="*/ 17 h 72"/>
                <a:gd name="T90" fmla="*/ 16 w 22"/>
                <a:gd name="T91" fmla="*/ 17 h 72"/>
                <a:gd name="T92" fmla="*/ 18 w 22"/>
                <a:gd name="T93" fmla="*/ 19 h 72"/>
                <a:gd name="T94" fmla="*/ 18 w 22"/>
                <a:gd name="T95" fmla="*/ 15 h 72"/>
                <a:gd name="T96" fmla="*/ 18 w 22"/>
                <a:gd name="T97" fmla="*/ 13 h 72"/>
                <a:gd name="T98" fmla="*/ 20 w 22"/>
                <a:gd name="T99" fmla="*/ 13 h 72"/>
                <a:gd name="T100" fmla="*/ 22 w 22"/>
                <a:gd name="T101" fmla="*/ 11 h 72"/>
                <a:gd name="T102" fmla="*/ 22 w 22"/>
                <a:gd name="T103" fmla="*/ 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" h="72">
                  <a:moveTo>
                    <a:pt x="22" y="9"/>
                  </a:moveTo>
                  <a:lnTo>
                    <a:pt x="22" y="6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8" y="15"/>
                  </a:lnTo>
                  <a:lnTo>
                    <a:pt x="8" y="23"/>
                  </a:lnTo>
                  <a:lnTo>
                    <a:pt x="6" y="27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2" y="37"/>
                  </a:lnTo>
                  <a:lnTo>
                    <a:pt x="2" y="39"/>
                  </a:lnTo>
                  <a:lnTo>
                    <a:pt x="0" y="39"/>
                  </a:lnTo>
                  <a:lnTo>
                    <a:pt x="2" y="43"/>
                  </a:lnTo>
                  <a:lnTo>
                    <a:pt x="2" y="48"/>
                  </a:lnTo>
                  <a:lnTo>
                    <a:pt x="4" y="52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8" y="58"/>
                  </a:lnTo>
                  <a:lnTo>
                    <a:pt x="8" y="62"/>
                  </a:lnTo>
                  <a:lnTo>
                    <a:pt x="10" y="66"/>
                  </a:lnTo>
                  <a:lnTo>
                    <a:pt x="12" y="70"/>
                  </a:lnTo>
                  <a:lnTo>
                    <a:pt x="12" y="72"/>
                  </a:lnTo>
                  <a:lnTo>
                    <a:pt x="14" y="70"/>
                  </a:lnTo>
                  <a:lnTo>
                    <a:pt x="14" y="66"/>
                  </a:lnTo>
                  <a:lnTo>
                    <a:pt x="14" y="64"/>
                  </a:lnTo>
                  <a:lnTo>
                    <a:pt x="14" y="62"/>
                  </a:lnTo>
                  <a:lnTo>
                    <a:pt x="14" y="60"/>
                  </a:lnTo>
                  <a:lnTo>
                    <a:pt x="14" y="58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8" y="43"/>
                  </a:lnTo>
                  <a:lnTo>
                    <a:pt x="18" y="41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6" y="37"/>
                  </a:lnTo>
                  <a:lnTo>
                    <a:pt x="12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7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10" y="19"/>
                  </a:lnTo>
                  <a:lnTo>
                    <a:pt x="10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9"/>
                  </a:lnTo>
                  <a:lnTo>
                    <a:pt x="22" y="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8" name="Freeform 168">
              <a:extLst>
                <a:ext uri="{FF2B5EF4-FFF2-40B4-BE49-F238E27FC236}">
                  <a16:creationId xmlns:a16="http://schemas.microsoft.com/office/drawing/2014/main" id="{2D395270-6225-AF42-B7C0-DE042330ED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4327" y="2341848"/>
              <a:ext cx="152114" cy="162809"/>
            </a:xfrm>
            <a:custGeom>
              <a:avLst/>
              <a:gdLst>
                <a:gd name="T0" fmla="*/ 115 w 128"/>
                <a:gd name="T1" fmla="*/ 20 h 137"/>
                <a:gd name="T2" fmla="*/ 74 w 128"/>
                <a:gd name="T3" fmla="*/ 10 h 137"/>
                <a:gd name="T4" fmla="*/ 105 w 128"/>
                <a:gd name="T5" fmla="*/ 14 h 137"/>
                <a:gd name="T6" fmla="*/ 107 w 128"/>
                <a:gd name="T7" fmla="*/ 10 h 137"/>
                <a:gd name="T8" fmla="*/ 101 w 128"/>
                <a:gd name="T9" fmla="*/ 8 h 137"/>
                <a:gd name="T10" fmla="*/ 39 w 128"/>
                <a:gd name="T11" fmla="*/ 6 h 137"/>
                <a:gd name="T12" fmla="*/ 124 w 128"/>
                <a:gd name="T13" fmla="*/ 59 h 137"/>
                <a:gd name="T14" fmla="*/ 124 w 128"/>
                <a:gd name="T15" fmla="*/ 51 h 137"/>
                <a:gd name="T16" fmla="*/ 122 w 128"/>
                <a:gd name="T17" fmla="*/ 45 h 137"/>
                <a:gd name="T18" fmla="*/ 120 w 128"/>
                <a:gd name="T19" fmla="*/ 33 h 137"/>
                <a:gd name="T20" fmla="*/ 111 w 128"/>
                <a:gd name="T21" fmla="*/ 20 h 137"/>
                <a:gd name="T22" fmla="*/ 91 w 128"/>
                <a:gd name="T23" fmla="*/ 12 h 137"/>
                <a:gd name="T24" fmla="*/ 70 w 128"/>
                <a:gd name="T25" fmla="*/ 18 h 137"/>
                <a:gd name="T26" fmla="*/ 62 w 128"/>
                <a:gd name="T27" fmla="*/ 12 h 137"/>
                <a:gd name="T28" fmla="*/ 54 w 128"/>
                <a:gd name="T29" fmla="*/ 4 h 137"/>
                <a:gd name="T30" fmla="*/ 44 w 128"/>
                <a:gd name="T31" fmla="*/ 4 h 137"/>
                <a:gd name="T32" fmla="*/ 42 w 128"/>
                <a:gd name="T33" fmla="*/ 10 h 137"/>
                <a:gd name="T34" fmla="*/ 44 w 128"/>
                <a:gd name="T35" fmla="*/ 18 h 137"/>
                <a:gd name="T36" fmla="*/ 50 w 128"/>
                <a:gd name="T37" fmla="*/ 22 h 137"/>
                <a:gd name="T38" fmla="*/ 37 w 128"/>
                <a:gd name="T39" fmla="*/ 26 h 137"/>
                <a:gd name="T40" fmla="*/ 31 w 128"/>
                <a:gd name="T41" fmla="*/ 24 h 137"/>
                <a:gd name="T42" fmla="*/ 19 w 128"/>
                <a:gd name="T43" fmla="*/ 33 h 137"/>
                <a:gd name="T44" fmla="*/ 13 w 128"/>
                <a:gd name="T45" fmla="*/ 43 h 137"/>
                <a:gd name="T46" fmla="*/ 17 w 128"/>
                <a:gd name="T47" fmla="*/ 47 h 137"/>
                <a:gd name="T48" fmla="*/ 13 w 128"/>
                <a:gd name="T49" fmla="*/ 53 h 137"/>
                <a:gd name="T50" fmla="*/ 7 w 128"/>
                <a:gd name="T51" fmla="*/ 57 h 137"/>
                <a:gd name="T52" fmla="*/ 3 w 128"/>
                <a:gd name="T53" fmla="*/ 59 h 137"/>
                <a:gd name="T54" fmla="*/ 3 w 128"/>
                <a:gd name="T55" fmla="*/ 68 h 137"/>
                <a:gd name="T56" fmla="*/ 0 w 128"/>
                <a:gd name="T57" fmla="*/ 72 h 137"/>
                <a:gd name="T58" fmla="*/ 5 w 128"/>
                <a:gd name="T59" fmla="*/ 80 h 137"/>
                <a:gd name="T60" fmla="*/ 3 w 128"/>
                <a:gd name="T61" fmla="*/ 86 h 137"/>
                <a:gd name="T62" fmla="*/ 9 w 128"/>
                <a:gd name="T63" fmla="*/ 92 h 137"/>
                <a:gd name="T64" fmla="*/ 9 w 128"/>
                <a:gd name="T65" fmla="*/ 100 h 137"/>
                <a:gd name="T66" fmla="*/ 15 w 128"/>
                <a:gd name="T67" fmla="*/ 102 h 137"/>
                <a:gd name="T68" fmla="*/ 21 w 128"/>
                <a:gd name="T69" fmla="*/ 105 h 137"/>
                <a:gd name="T70" fmla="*/ 27 w 128"/>
                <a:gd name="T71" fmla="*/ 113 h 137"/>
                <a:gd name="T72" fmla="*/ 23 w 128"/>
                <a:gd name="T73" fmla="*/ 129 h 137"/>
                <a:gd name="T74" fmla="*/ 35 w 128"/>
                <a:gd name="T75" fmla="*/ 131 h 137"/>
                <a:gd name="T76" fmla="*/ 35 w 128"/>
                <a:gd name="T77" fmla="*/ 131 h 137"/>
                <a:gd name="T78" fmla="*/ 39 w 128"/>
                <a:gd name="T79" fmla="*/ 129 h 137"/>
                <a:gd name="T80" fmla="*/ 52 w 128"/>
                <a:gd name="T81" fmla="*/ 133 h 137"/>
                <a:gd name="T82" fmla="*/ 58 w 128"/>
                <a:gd name="T83" fmla="*/ 135 h 137"/>
                <a:gd name="T84" fmla="*/ 64 w 128"/>
                <a:gd name="T85" fmla="*/ 133 h 137"/>
                <a:gd name="T86" fmla="*/ 72 w 128"/>
                <a:gd name="T87" fmla="*/ 135 h 137"/>
                <a:gd name="T88" fmla="*/ 81 w 128"/>
                <a:gd name="T89" fmla="*/ 133 h 137"/>
                <a:gd name="T90" fmla="*/ 93 w 128"/>
                <a:gd name="T91" fmla="*/ 131 h 137"/>
                <a:gd name="T92" fmla="*/ 99 w 128"/>
                <a:gd name="T93" fmla="*/ 133 h 137"/>
                <a:gd name="T94" fmla="*/ 99 w 128"/>
                <a:gd name="T95" fmla="*/ 129 h 137"/>
                <a:gd name="T96" fmla="*/ 101 w 128"/>
                <a:gd name="T97" fmla="*/ 119 h 137"/>
                <a:gd name="T98" fmla="*/ 109 w 128"/>
                <a:gd name="T99" fmla="*/ 115 h 137"/>
                <a:gd name="T100" fmla="*/ 109 w 128"/>
                <a:gd name="T101" fmla="*/ 109 h 137"/>
                <a:gd name="T102" fmla="*/ 101 w 128"/>
                <a:gd name="T103" fmla="*/ 102 h 137"/>
                <a:gd name="T104" fmla="*/ 91 w 128"/>
                <a:gd name="T105" fmla="*/ 94 h 137"/>
                <a:gd name="T106" fmla="*/ 89 w 128"/>
                <a:gd name="T107" fmla="*/ 88 h 137"/>
                <a:gd name="T108" fmla="*/ 89 w 128"/>
                <a:gd name="T109" fmla="*/ 84 h 137"/>
                <a:gd name="T110" fmla="*/ 97 w 128"/>
                <a:gd name="T111" fmla="*/ 82 h 137"/>
                <a:gd name="T112" fmla="*/ 103 w 128"/>
                <a:gd name="T113" fmla="*/ 78 h 137"/>
                <a:gd name="T114" fmla="*/ 111 w 128"/>
                <a:gd name="T115" fmla="*/ 76 h 137"/>
                <a:gd name="T116" fmla="*/ 118 w 128"/>
                <a:gd name="T117" fmla="*/ 70 h 137"/>
                <a:gd name="T118" fmla="*/ 124 w 128"/>
                <a:gd name="T119" fmla="*/ 74 h 137"/>
                <a:gd name="T120" fmla="*/ 128 w 128"/>
                <a:gd name="T121" fmla="*/ 63 h 137"/>
                <a:gd name="T122" fmla="*/ 37 w 128"/>
                <a:gd name="T123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8" h="137">
                  <a:moveTo>
                    <a:pt x="111" y="18"/>
                  </a:moveTo>
                  <a:lnTo>
                    <a:pt x="111" y="18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3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3" y="18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8"/>
                  </a:lnTo>
                  <a:lnTo>
                    <a:pt x="111" y="18"/>
                  </a:lnTo>
                  <a:close/>
                  <a:moveTo>
                    <a:pt x="74" y="12"/>
                  </a:moveTo>
                  <a:lnTo>
                    <a:pt x="76" y="12"/>
                  </a:lnTo>
                  <a:lnTo>
                    <a:pt x="76" y="10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4" y="12"/>
                  </a:lnTo>
                  <a:close/>
                  <a:moveTo>
                    <a:pt x="101" y="12"/>
                  </a:moveTo>
                  <a:lnTo>
                    <a:pt x="101" y="12"/>
                  </a:lnTo>
                  <a:lnTo>
                    <a:pt x="103" y="14"/>
                  </a:lnTo>
                  <a:lnTo>
                    <a:pt x="105" y="14"/>
                  </a:lnTo>
                  <a:lnTo>
                    <a:pt x="105" y="12"/>
                  </a:lnTo>
                  <a:lnTo>
                    <a:pt x="107" y="12"/>
                  </a:lnTo>
                  <a:lnTo>
                    <a:pt x="109" y="14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07" y="10"/>
                  </a:lnTo>
                  <a:lnTo>
                    <a:pt x="107" y="10"/>
                  </a:lnTo>
                  <a:lnTo>
                    <a:pt x="107" y="10"/>
                  </a:lnTo>
                  <a:lnTo>
                    <a:pt x="107" y="10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6"/>
                  </a:lnTo>
                  <a:lnTo>
                    <a:pt x="103" y="6"/>
                  </a:lnTo>
                  <a:lnTo>
                    <a:pt x="103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10"/>
                  </a:lnTo>
                  <a:lnTo>
                    <a:pt x="101" y="12"/>
                  </a:lnTo>
                  <a:lnTo>
                    <a:pt x="101" y="12"/>
                  </a:lnTo>
                  <a:close/>
                  <a:moveTo>
                    <a:pt x="37" y="6"/>
                  </a:moveTo>
                  <a:lnTo>
                    <a:pt x="37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6"/>
                  </a:lnTo>
                  <a:lnTo>
                    <a:pt x="37" y="6"/>
                  </a:lnTo>
                  <a:close/>
                  <a:moveTo>
                    <a:pt x="128" y="63"/>
                  </a:moveTo>
                  <a:lnTo>
                    <a:pt x="126" y="63"/>
                  </a:lnTo>
                  <a:lnTo>
                    <a:pt x="126" y="63"/>
                  </a:lnTo>
                  <a:lnTo>
                    <a:pt x="124" y="61"/>
                  </a:lnTo>
                  <a:lnTo>
                    <a:pt x="124" y="61"/>
                  </a:lnTo>
                  <a:lnTo>
                    <a:pt x="124" y="59"/>
                  </a:lnTo>
                  <a:lnTo>
                    <a:pt x="124" y="59"/>
                  </a:lnTo>
                  <a:lnTo>
                    <a:pt x="124" y="59"/>
                  </a:lnTo>
                  <a:lnTo>
                    <a:pt x="122" y="57"/>
                  </a:lnTo>
                  <a:lnTo>
                    <a:pt x="122" y="57"/>
                  </a:lnTo>
                  <a:lnTo>
                    <a:pt x="124" y="55"/>
                  </a:lnTo>
                  <a:lnTo>
                    <a:pt x="124" y="53"/>
                  </a:lnTo>
                  <a:lnTo>
                    <a:pt x="124" y="53"/>
                  </a:lnTo>
                  <a:lnTo>
                    <a:pt x="124" y="53"/>
                  </a:lnTo>
                  <a:lnTo>
                    <a:pt x="124" y="51"/>
                  </a:lnTo>
                  <a:lnTo>
                    <a:pt x="124" y="51"/>
                  </a:lnTo>
                  <a:lnTo>
                    <a:pt x="124" y="51"/>
                  </a:lnTo>
                  <a:lnTo>
                    <a:pt x="124" y="49"/>
                  </a:lnTo>
                  <a:lnTo>
                    <a:pt x="122" y="49"/>
                  </a:lnTo>
                  <a:lnTo>
                    <a:pt x="122" y="49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0" y="43"/>
                  </a:lnTo>
                  <a:lnTo>
                    <a:pt x="118" y="39"/>
                  </a:lnTo>
                  <a:lnTo>
                    <a:pt x="115" y="39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20" y="33"/>
                  </a:lnTo>
                  <a:lnTo>
                    <a:pt x="120" y="33"/>
                  </a:lnTo>
                  <a:lnTo>
                    <a:pt x="120" y="30"/>
                  </a:lnTo>
                  <a:lnTo>
                    <a:pt x="118" y="26"/>
                  </a:lnTo>
                  <a:lnTo>
                    <a:pt x="118" y="24"/>
                  </a:lnTo>
                  <a:lnTo>
                    <a:pt x="115" y="24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3" y="22"/>
                  </a:lnTo>
                  <a:lnTo>
                    <a:pt x="111" y="22"/>
                  </a:lnTo>
                  <a:lnTo>
                    <a:pt x="111" y="20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5" y="16"/>
                  </a:lnTo>
                  <a:lnTo>
                    <a:pt x="101" y="14"/>
                  </a:lnTo>
                  <a:lnTo>
                    <a:pt x="99" y="12"/>
                  </a:lnTo>
                  <a:lnTo>
                    <a:pt x="97" y="12"/>
                  </a:lnTo>
                  <a:lnTo>
                    <a:pt x="95" y="10"/>
                  </a:lnTo>
                  <a:lnTo>
                    <a:pt x="93" y="10"/>
                  </a:lnTo>
                  <a:lnTo>
                    <a:pt x="91" y="12"/>
                  </a:lnTo>
                  <a:lnTo>
                    <a:pt x="89" y="14"/>
                  </a:lnTo>
                  <a:lnTo>
                    <a:pt x="87" y="14"/>
                  </a:lnTo>
                  <a:lnTo>
                    <a:pt x="87" y="16"/>
                  </a:lnTo>
                  <a:lnTo>
                    <a:pt x="83" y="16"/>
                  </a:lnTo>
                  <a:lnTo>
                    <a:pt x="81" y="16"/>
                  </a:lnTo>
                  <a:lnTo>
                    <a:pt x="79" y="18"/>
                  </a:lnTo>
                  <a:lnTo>
                    <a:pt x="76" y="20"/>
                  </a:lnTo>
                  <a:lnTo>
                    <a:pt x="72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8" y="12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4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4"/>
                  </a:lnTo>
                  <a:lnTo>
                    <a:pt x="42" y="6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10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4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14"/>
                  </a:lnTo>
                  <a:lnTo>
                    <a:pt x="44" y="14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4" y="24"/>
                  </a:lnTo>
                  <a:lnTo>
                    <a:pt x="56" y="26"/>
                  </a:lnTo>
                  <a:lnTo>
                    <a:pt x="54" y="26"/>
                  </a:lnTo>
                  <a:lnTo>
                    <a:pt x="52" y="24"/>
                  </a:lnTo>
                  <a:lnTo>
                    <a:pt x="50" y="22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7" y="22"/>
                  </a:lnTo>
                  <a:lnTo>
                    <a:pt x="37" y="24"/>
                  </a:lnTo>
                  <a:lnTo>
                    <a:pt x="37" y="26"/>
                  </a:lnTo>
                  <a:lnTo>
                    <a:pt x="37" y="28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5" y="24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1" y="28"/>
                  </a:lnTo>
                  <a:lnTo>
                    <a:pt x="33" y="26"/>
                  </a:lnTo>
                  <a:lnTo>
                    <a:pt x="31" y="24"/>
                  </a:lnTo>
                  <a:lnTo>
                    <a:pt x="25" y="24"/>
                  </a:lnTo>
                  <a:lnTo>
                    <a:pt x="21" y="24"/>
                  </a:lnTo>
                  <a:lnTo>
                    <a:pt x="19" y="24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17" y="28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3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7" y="45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5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7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3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5"/>
                  </a:lnTo>
                  <a:lnTo>
                    <a:pt x="3" y="68"/>
                  </a:lnTo>
                  <a:lnTo>
                    <a:pt x="3" y="68"/>
                  </a:lnTo>
                  <a:lnTo>
                    <a:pt x="3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3" y="72"/>
                  </a:lnTo>
                  <a:lnTo>
                    <a:pt x="3" y="74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4"/>
                  </a:lnTo>
                  <a:lnTo>
                    <a:pt x="5" y="84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9" y="92"/>
                  </a:lnTo>
                  <a:lnTo>
                    <a:pt x="9" y="92"/>
                  </a:lnTo>
                  <a:lnTo>
                    <a:pt x="9" y="94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7" y="96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9" y="102"/>
                  </a:lnTo>
                  <a:lnTo>
                    <a:pt x="11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5" y="102"/>
                  </a:lnTo>
                  <a:lnTo>
                    <a:pt x="15" y="102"/>
                  </a:lnTo>
                  <a:lnTo>
                    <a:pt x="15" y="105"/>
                  </a:lnTo>
                  <a:lnTo>
                    <a:pt x="15" y="105"/>
                  </a:lnTo>
                  <a:lnTo>
                    <a:pt x="17" y="105"/>
                  </a:lnTo>
                  <a:lnTo>
                    <a:pt x="17" y="105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3" y="105"/>
                  </a:lnTo>
                  <a:lnTo>
                    <a:pt x="23" y="105"/>
                  </a:lnTo>
                  <a:lnTo>
                    <a:pt x="27" y="107"/>
                  </a:lnTo>
                  <a:lnTo>
                    <a:pt x="29" y="107"/>
                  </a:lnTo>
                  <a:lnTo>
                    <a:pt x="31" y="107"/>
                  </a:lnTo>
                  <a:lnTo>
                    <a:pt x="31" y="107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5"/>
                  </a:lnTo>
                  <a:lnTo>
                    <a:pt x="25" y="117"/>
                  </a:lnTo>
                  <a:lnTo>
                    <a:pt x="25" y="119"/>
                  </a:lnTo>
                  <a:lnTo>
                    <a:pt x="23" y="121"/>
                  </a:lnTo>
                  <a:lnTo>
                    <a:pt x="23" y="123"/>
                  </a:lnTo>
                  <a:lnTo>
                    <a:pt x="23" y="125"/>
                  </a:lnTo>
                  <a:lnTo>
                    <a:pt x="23" y="127"/>
                  </a:lnTo>
                  <a:lnTo>
                    <a:pt x="23" y="129"/>
                  </a:lnTo>
                  <a:lnTo>
                    <a:pt x="23" y="131"/>
                  </a:lnTo>
                  <a:lnTo>
                    <a:pt x="23" y="131"/>
                  </a:lnTo>
                  <a:lnTo>
                    <a:pt x="23" y="131"/>
                  </a:lnTo>
                  <a:lnTo>
                    <a:pt x="25" y="133"/>
                  </a:lnTo>
                  <a:lnTo>
                    <a:pt x="27" y="133"/>
                  </a:lnTo>
                  <a:lnTo>
                    <a:pt x="29" y="131"/>
                  </a:lnTo>
                  <a:lnTo>
                    <a:pt x="31" y="131"/>
                  </a:lnTo>
                  <a:lnTo>
                    <a:pt x="33" y="131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7" y="131"/>
                  </a:lnTo>
                  <a:lnTo>
                    <a:pt x="37" y="131"/>
                  </a:lnTo>
                  <a:lnTo>
                    <a:pt x="37" y="131"/>
                  </a:lnTo>
                  <a:lnTo>
                    <a:pt x="37" y="131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5" y="129"/>
                  </a:lnTo>
                  <a:lnTo>
                    <a:pt x="35" y="129"/>
                  </a:lnTo>
                  <a:lnTo>
                    <a:pt x="35" y="129"/>
                  </a:lnTo>
                  <a:lnTo>
                    <a:pt x="37" y="129"/>
                  </a:lnTo>
                  <a:lnTo>
                    <a:pt x="37" y="129"/>
                  </a:lnTo>
                  <a:lnTo>
                    <a:pt x="39" y="129"/>
                  </a:lnTo>
                  <a:lnTo>
                    <a:pt x="39" y="129"/>
                  </a:lnTo>
                  <a:lnTo>
                    <a:pt x="39" y="129"/>
                  </a:lnTo>
                  <a:lnTo>
                    <a:pt x="39" y="129"/>
                  </a:lnTo>
                  <a:lnTo>
                    <a:pt x="42" y="129"/>
                  </a:lnTo>
                  <a:lnTo>
                    <a:pt x="42" y="131"/>
                  </a:lnTo>
                  <a:lnTo>
                    <a:pt x="42" y="131"/>
                  </a:lnTo>
                  <a:lnTo>
                    <a:pt x="46" y="131"/>
                  </a:lnTo>
                  <a:lnTo>
                    <a:pt x="46" y="131"/>
                  </a:lnTo>
                  <a:lnTo>
                    <a:pt x="48" y="131"/>
                  </a:lnTo>
                  <a:lnTo>
                    <a:pt x="50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4" y="133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8" y="135"/>
                  </a:lnTo>
                  <a:lnTo>
                    <a:pt x="58" y="135"/>
                  </a:lnTo>
                  <a:lnTo>
                    <a:pt x="58" y="135"/>
                  </a:lnTo>
                  <a:lnTo>
                    <a:pt x="58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7"/>
                  </a:lnTo>
                  <a:lnTo>
                    <a:pt x="60" y="137"/>
                  </a:lnTo>
                  <a:lnTo>
                    <a:pt x="60" y="137"/>
                  </a:lnTo>
                  <a:lnTo>
                    <a:pt x="62" y="137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6" y="133"/>
                  </a:lnTo>
                  <a:lnTo>
                    <a:pt x="68" y="133"/>
                  </a:lnTo>
                  <a:lnTo>
                    <a:pt x="70" y="133"/>
                  </a:lnTo>
                  <a:lnTo>
                    <a:pt x="70" y="133"/>
                  </a:lnTo>
                  <a:lnTo>
                    <a:pt x="70" y="133"/>
                  </a:lnTo>
                  <a:lnTo>
                    <a:pt x="70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4" y="135"/>
                  </a:lnTo>
                  <a:lnTo>
                    <a:pt x="74" y="135"/>
                  </a:lnTo>
                  <a:lnTo>
                    <a:pt x="74" y="135"/>
                  </a:lnTo>
                  <a:lnTo>
                    <a:pt x="76" y="135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9" y="133"/>
                  </a:lnTo>
                  <a:lnTo>
                    <a:pt x="81" y="133"/>
                  </a:lnTo>
                  <a:lnTo>
                    <a:pt x="83" y="131"/>
                  </a:lnTo>
                  <a:lnTo>
                    <a:pt x="89" y="131"/>
                  </a:lnTo>
                  <a:lnTo>
                    <a:pt x="89" y="131"/>
                  </a:lnTo>
                  <a:lnTo>
                    <a:pt x="89" y="129"/>
                  </a:lnTo>
                  <a:lnTo>
                    <a:pt x="89" y="129"/>
                  </a:lnTo>
                  <a:lnTo>
                    <a:pt x="91" y="129"/>
                  </a:lnTo>
                  <a:lnTo>
                    <a:pt x="91" y="129"/>
                  </a:lnTo>
                  <a:lnTo>
                    <a:pt x="93" y="131"/>
                  </a:lnTo>
                  <a:lnTo>
                    <a:pt x="93" y="131"/>
                  </a:lnTo>
                  <a:lnTo>
                    <a:pt x="93" y="131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7" y="131"/>
                  </a:lnTo>
                  <a:lnTo>
                    <a:pt x="97" y="131"/>
                  </a:lnTo>
                  <a:lnTo>
                    <a:pt x="97" y="131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1"/>
                  </a:lnTo>
                  <a:lnTo>
                    <a:pt x="101" y="131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99" y="129"/>
                  </a:lnTo>
                  <a:lnTo>
                    <a:pt x="99" y="129"/>
                  </a:lnTo>
                  <a:lnTo>
                    <a:pt x="99" y="129"/>
                  </a:lnTo>
                  <a:lnTo>
                    <a:pt x="99" y="127"/>
                  </a:lnTo>
                  <a:lnTo>
                    <a:pt x="99" y="127"/>
                  </a:lnTo>
                  <a:lnTo>
                    <a:pt x="99" y="125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7" y="121"/>
                  </a:lnTo>
                  <a:lnTo>
                    <a:pt x="99" y="121"/>
                  </a:lnTo>
                  <a:lnTo>
                    <a:pt x="101" y="119"/>
                  </a:lnTo>
                  <a:lnTo>
                    <a:pt x="103" y="119"/>
                  </a:lnTo>
                  <a:lnTo>
                    <a:pt x="103" y="119"/>
                  </a:lnTo>
                  <a:lnTo>
                    <a:pt x="105" y="119"/>
                  </a:lnTo>
                  <a:lnTo>
                    <a:pt x="105" y="119"/>
                  </a:lnTo>
                  <a:lnTo>
                    <a:pt x="105" y="117"/>
                  </a:lnTo>
                  <a:lnTo>
                    <a:pt x="107" y="115"/>
                  </a:lnTo>
                  <a:lnTo>
                    <a:pt x="107" y="115"/>
                  </a:lnTo>
                  <a:lnTo>
                    <a:pt x="107" y="115"/>
                  </a:lnTo>
                  <a:lnTo>
                    <a:pt x="109" y="115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11" y="115"/>
                  </a:lnTo>
                  <a:lnTo>
                    <a:pt x="111" y="113"/>
                  </a:lnTo>
                  <a:lnTo>
                    <a:pt x="111" y="113"/>
                  </a:lnTo>
                  <a:lnTo>
                    <a:pt x="111" y="111"/>
                  </a:lnTo>
                  <a:lnTo>
                    <a:pt x="111" y="111"/>
                  </a:lnTo>
                  <a:lnTo>
                    <a:pt x="111" y="111"/>
                  </a:lnTo>
                  <a:lnTo>
                    <a:pt x="109" y="109"/>
                  </a:lnTo>
                  <a:lnTo>
                    <a:pt x="107" y="107"/>
                  </a:lnTo>
                  <a:lnTo>
                    <a:pt x="107" y="107"/>
                  </a:lnTo>
                  <a:lnTo>
                    <a:pt x="105" y="107"/>
                  </a:lnTo>
                  <a:lnTo>
                    <a:pt x="105" y="107"/>
                  </a:lnTo>
                  <a:lnTo>
                    <a:pt x="105" y="107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1" y="105"/>
                  </a:lnTo>
                  <a:lnTo>
                    <a:pt x="101" y="102"/>
                  </a:lnTo>
                  <a:lnTo>
                    <a:pt x="99" y="100"/>
                  </a:lnTo>
                  <a:lnTo>
                    <a:pt x="97" y="100"/>
                  </a:lnTo>
                  <a:lnTo>
                    <a:pt x="97" y="100"/>
                  </a:lnTo>
                  <a:lnTo>
                    <a:pt x="95" y="98"/>
                  </a:lnTo>
                  <a:lnTo>
                    <a:pt x="95" y="98"/>
                  </a:lnTo>
                  <a:lnTo>
                    <a:pt x="93" y="96"/>
                  </a:lnTo>
                  <a:lnTo>
                    <a:pt x="93" y="94"/>
                  </a:lnTo>
                  <a:lnTo>
                    <a:pt x="93" y="94"/>
                  </a:lnTo>
                  <a:lnTo>
                    <a:pt x="91" y="94"/>
                  </a:lnTo>
                  <a:lnTo>
                    <a:pt x="91" y="94"/>
                  </a:lnTo>
                  <a:lnTo>
                    <a:pt x="93" y="92"/>
                  </a:lnTo>
                  <a:lnTo>
                    <a:pt x="93" y="92"/>
                  </a:lnTo>
                  <a:lnTo>
                    <a:pt x="93" y="92"/>
                  </a:lnTo>
                  <a:lnTo>
                    <a:pt x="93" y="90"/>
                  </a:lnTo>
                  <a:lnTo>
                    <a:pt x="93" y="90"/>
                  </a:lnTo>
                  <a:lnTo>
                    <a:pt x="93" y="90"/>
                  </a:lnTo>
                  <a:lnTo>
                    <a:pt x="91" y="88"/>
                  </a:lnTo>
                  <a:lnTo>
                    <a:pt x="89" y="88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9" y="86"/>
                  </a:lnTo>
                  <a:lnTo>
                    <a:pt x="91" y="86"/>
                  </a:lnTo>
                  <a:lnTo>
                    <a:pt x="91" y="84"/>
                  </a:lnTo>
                  <a:lnTo>
                    <a:pt x="93" y="82"/>
                  </a:lnTo>
                  <a:lnTo>
                    <a:pt x="93" y="82"/>
                  </a:lnTo>
                  <a:lnTo>
                    <a:pt x="95" y="82"/>
                  </a:lnTo>
                  <a:lnTo>
                    <a:pt x="95" y="82"/>
                  </a:lnTo>
                  <a:lnTo>
                    <a:pt x="97" y="82"/>
                  </a:lnTo>
                  <a:lnTo>
                    <a:pt x="97" y="82"/>
                  </a:lnTo>
                  <a:lnTo>
                    <a:pt x="99" y="82"/>
                  </a:lnTo>
                  <a:lnTo>
                    <a:pt x="99" y="82"/>
                  </a:lnTo>
                  <a:lnTo>
                    <a:pt x="99" y="80"/>
                  </a:lnTo>
                  <a:lnTo>
                    <a:pt x="99" y="80"/>
                  </a:lnTo>
                  <a:lnTo>
                    <a:pt x="103" y="80"/>
                  </a:lnTo>
                  <a:lnTo>
                    <a:pt x="103" y="78"/>
                  </a:lnTo>
                  <a:lnTo>
                    <a:pt x="103" y="78"/>
                  </a:lnTo>
                  <a:lnTo>
                    <a:pt x="103" y="78"/>
                  </a:lnTo>
                  <a:lnTo>
                    <a:pt x="105" y="78"/>
                  </a:lnTo>
                  <a:lnTo>
                    <a:pt x="105" y="78"/>
                  </a:lnTo>
                  <a:lnTo>
                    <a:pt x="105" y="78"/>
                  </a:lnTo>
                  <a:lnTo>
                    <a:pt x="105" y="78"/>
                  </a:lnTo>
                  <a:lnTo>
                    <a:pt x="107" y="78"/>
                  </a:lnTo>
                  <a:lnTo>
                    <a:pt x="107" y="76"/>
                  </a:lnTo>
                  <a:lnTo>
                    <a:pt x="107" y="76"/>
                  </a:lnTo>
                  <a:lnTo>
                    <a:pt x="109" y="76"/>
                  </a:lnTo>
                  <a:lnTo>
                    <a:pt x="111" y="76"/>
                  </a:lnTo>
                  <a:lnTo>
                    <a:pt x="113" y="74"/>
                  </a:lnTo>
                  <a:lnTo>
                    <a:pt x="115" y="74"/>
                  </a:lnTo>
                  <a:lnTo>
                    <a:pt x="118" y="74"/>
                  </a:lnTo>
                  <a:lnTo>
                    <a:pt x="120" y="74"/>
                  </a:lnTo>
                  <a:lnTo>
                    <a:pt x="120" y="72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0"/>
                  </a:lnTo>
                  <a:lnTo>
                    <a:pt x="118" y="70"/>
                  </a:lnTo>
                  <a:lnTo>
                    <a:pt x="120" y="70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4"/>
                  </a:lnTo>
                  <a:lnTo>
                    <a:pt x="124" y="74"/>
                  </a:lnTo>
                  <a:lnTo>
                    <a:pt x="124" y="74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6" y="74"/>
                  </a:lnTo>
                  <a:lnTo>
                    <a:pt x="126" y="74"/>
                  </a:lnTo>
                  <a:lnTo>
                    <a:pt x="126" y="72"/>
                  </a:lnTo>
                  <a:lnTo>
                    <a:pt x="128" y="70"/>
                  </a:lnTo>
                  <a:lnTo>
                    <a:pt x="128" y="68"/>
                  </a:lnTo>
                  <a:lnTo>
                    <a:pt x="128" y="63"/>
                  </a:lnTo>
                  <a:close/>
                  <a:moveTo>
                    <a:pt x="35" y="4"/>
                  </a:moveTo>
                  <a:lnTo>
                    <a:pt x="39" y="4"/>
                  </a:lnTo>
                  <a:lnTo>
                    <a:pt x="39" y="4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5" y="2"/>
                  </a:lnTo>
                  <a:lnTo>
                    <a:pt x="35" y="6"/>
                  </a:lnTo>
                  <a:lnTo>
                    <a:pt x="35" y="4"/>
                  </a:lnTo>
                  <a:lnTo>
                    <a:pt x="35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9" name="Freeform 174">
              <a:extLst>
                <a:ext uri="{FF2B5EF4-FFF2-40B4-BE49-F238E27FC236}">
                  <a16:creationId xmlns:a16="http://schemas.microsoft.com/office/drawing/2014/main" id="{87B8E504-4A0D-C246-8A1D-59A326D78B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4881" y="2425035"/>
              <a:ext cx="238866" cy="206779"/>
            </a:xfrm>
            <a:custGeom>
              <a:avLst/>
              <a:gdLst>
                <a:gd name="T0" fmla="*/ 180 w 201"/>
                <a:gd name="T1" fmla="*/ 37 h 174"/>
                <a:gd name="T2" fmla="*/ 166 w 201"/>
                <a:gd name="T3" fmla="*/ 35 h 174"/>
                <a:gd name="T4" fmla="*/ 160 w 201"/>
                <a:gd name="T5" fmla="*/ 30 h 174"/>
                <a:gd name="T6" fmla="*/ 154 w 201"/>
                <a:gd name="T7" fmla="*/ 28 h 174"/>
                <a:gd name="T8" fmla="*/ 145 w 201"/>
                <a:gd name="T9" fmla="*/ 28 h 174"/>
                <a:gd name="T10" fmla="*/ 137 w 201"/>
                <a:gd name="T11" fmla="*/ 22 h 174"/>
                <a:gd name="T12" fmla="*/ 133 w 201"/>
                <a:gd name="T13" fmla="*/ 20 h 174"/>
                <a:gd name="T14" fmla="*/ 127 w 201"/>
                <a:gd name="T15" fmla="*/ 16 h 174"/>
                <a:gd name="T16" fmla="*/ 121 w 201"/>
                <a:gd name="T17" fmla="*/ 14 h 174"/>
                <a:gd name="T18" fmla="*/ 112 w 201"/>
                <a:gd name="T19" fmla="*/ 6 h 174"/>
                <a:gd name="T20" fmla="*/ 106 w 201"/>
                <a:gd name="T21" fmla="*/ 2 h 174"/>
                <a:gd name="T22" fmla="*/ 90 w 201"/>
                <a:gd name="T23" fmla="*/ 14 h 174"/>
                <a:gd name="T24" fmla="*/ 69 w 201"/>
                <a:gd name="T25" fmla="*/ 26 h 174"/>
                <a:gd name="T26" fmla="*/ 53 w 201"/>
                <a:gd name="T27" fmla="*/ 30 h 174"/>
                <a:gd name="T28" fmla="*/ 41 w 201"/>
                <a:gd name="T29" fmla="*/ 26 h 174"/>
                <a:gd name="T30" fmla="*/ 41 w 201"/>
                <a:gd name="T31" fmla="*/ 43 h 174"/>
                <a:gd name="T32" fmla="*/ 18 w 201"/>
                <a:gd name="T33" fmla="*/ 41 h 174"/>
                <a:gd name="T34" fmla="*/ 2 w 201"/>
                <a:gd name="T35" fmla="*/ 49 h 174"/>
                <a:gd name="T36" fmla="*/ 2 w 201"/>
                <a:gd name="T37" fmla="*/ 51 h 174"/>
                <a:gd name="T38" fmla="*/ 4 w 201"/>
                <a:gd name="T39" fmla="*/ 57 h 174"/>
                <a:gd name="T40" fmla="*/ 20 w 201"/>
                <a:gd name="T41" fmla="*/ 59 h 174"/>
                <a:gd name="T42" fmla="*/ 30 w 201"/>
                <a:gd name="T43" fmla="*/ 63 h 174"/>
                <a:gd name="T44" fmla="*/ 39 w 201"/>
                <a:gd name="T45" fmla="*/ 67 h 174"/>
                <a:gd name="T46" fmla="*/ 34 w 201"/>
                <a:gd name="T47" fmla="*/ 76 h 174"/>
                <a:gd name="T48" fmla="*/ 49 w 201"/>
                <a:gd name="T49" fmla="*/ 94 h 174"/>
                <a:gd name="T50" fmla="*/ 53 w 201"/>
                <a:gd name="T51" fmla="*/ 106 h 174"/>
                <a:gd name="T52" fmla="*/ 47 w 201"/>
                <a:gd name="T53" fmla="*/ 106 h 174"/>
                <a:gd name="T54" fmla="*/ 39 w 201"/>
                <a:gd name="T55" fmla="*/ 137 h 174"/>
                <a:gd name="T56" fmla="*/ 41 w 201"/>
                <a:gd name="T57" fmla="*/ 143 h 174"/>
                <a:gd name="T58" fmla="*/ 43 w 201"/>
                <a:gd name="T59" fmla="*/ 143 h 174"/>
                <a:gd name="T60" fmla="*/ 55 w 201"/>
                <a:gd name="T61" fmla="*/ 150 h 174"/>
                <a:gd name="T62" fmla="*/ 65 w 201"/>
                <a:gd name="T63" fmla="*/ 152 h 174"/>
                <a:gd name="T64" fmla="*/ 78 w 201"/>
                <a:gd name="T65" fmla="*/ 150 h 174"/>
                <a:gd name="T66" fmla="*/ 86 w 201"/>
                <a:gd name="T67" fmla="*/ 154 h 174"/>
                <a:gd name="T68" fmla="*/ 96 w 201"/>
                <a:gd name="T69" fmla="*/ 156 h 174"/>
                <a:gd name="T70" fmla="*/ 106 w 201"/>
                <a:gd name="T71" fmla="*/ 156 h 174"/>
                <a:gd name="T72" fmla="*/ 119 w 201"/>
                <a:gd name="T73" fmla="*/ 135 h 174"/>
                <a:gd name="T74" fmla="*/ 131 w 201"/>
                <a:gd name="T75" fmla="*/ 139 h 174"/>
                <a:gd name="T76" fmla="*/ 135 w 201"/>
                <a:gd name="T77" fmla="*/ 139 h 174"/>
                <a:gd name="T78" fmla="*/ 158 w 201"/>
                <a:gd name="T79" fmla="*/ 141 h 174"/>
                <a:gd name="T80" fmla="*/ 170 w 201"/>
                <a:gd name="T81" fmla="*/ 131 h 174"/>
                <a:gd name="T82" fmla="*/ 174 w 201"/>
                <a:gd name="T83" fmla="*/ 127 h 174"/>
                <a:gd name="T84" fmla="*/ 164 w 201"/>
                <a:gd name="T85" fmla="*/ 121 h 174"/>
                <a:gd name="T86" fmla="*/ 164 w 201"/>
                <a:gd name="T87" fmla="*/ 113 h 174"/>
                <a:gd name="T88" fmla="*/ 162 w 201"/>
                <a:gd name="T89" fmla="*/ 106 h 174"/>
                <a:gd name="T90" fmla="*/ 164 w 201"/>
                <a:gd name="T91" fmla="*/ 96 h 174"/>
                <a:gd name="T92" fmla="*/ 164 w 201"/>
                <a:gd name="T93" fmla="*/ 88 h 174"/>
                <a:gd name="T94" fmla="*/ 156 w 201"/>
                <a:gd name="T95" fmla="*/ 84 h 174"/>
                <a:gd name="T96" fmla="*/ 151 w 201"/>
                <a:gd name="T97" fmla="*/ 86 h 174"/>
                <a:gd name="T98" fmla="*/ 158 w 201"/>
                <a:gd name="T99" fmla="*/ 78 h 174"/>
                <a:gd name="T100" fmla="*/ 166 w 201"/>
                <a:gd name="T101" fmla="*/ 67 h 174"/>
                <a:gd name="T102" fmla="*/ 168 w 201"/>
                <a:gd name="T103" fmla="*/ 65 h 174"/>
                <a:gd name="T104" fmla="*/ 174 w 201"/>
                <a:gd name="T105" fmla="*/ 57 h 174"/>
                <a:gd name="T106" fmla="*/ 182 w 201"/>
                <a:gd name="T107" fmla="*/ 39 h 174"/>
                <a:gd name="T108" fmla="*/ 201 w 201"/>
                <a:gd name="T109" fmla="*/ 146 h 174"/>
                <a:gd name="T110" fmla="*/ 195 w 201"/>
                <a:gd name="T111" fmla="*/ 150 h 174"/>
                <a:gd name="T112" fmla="*/ 188 w 201"/>
                <a:gd name="T113" fmla="*/ 158 h 174"/>
                <a:gd name="T114" fmla="*/ 188 w 201"/>
                <a:gd name="T115" fmla="*/ 164 h 174"/>
                <a:gd name="T116" fmla="*/ 190 w 201"/>
                <a:gd name="T117" fmla="*/ 170 h 174"/>
                <a:gd name="T118" fmla="*/ 199 w 201"/>
                <a:gd name="T119" fmla="*/ 16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1" h="174">
                  <a:moveTo>
                    <a:pt x="47" y="94"/>
                  </a:moveTo>
                  <a:lnTo>
                    <a:pt x="47" y="92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2"/>
                  </a:lnTo>
                  <a:lnTo>
                    <a:pt x="47" y="94"/>
                  </a:lnTo>
                  <a:close/>
                  <a:moveTo>
                    <a:pt x="182" y="37"/>
                  </a:moveTo>
                  <a:lnTo>
                    <a:pt x="180" y="37"/>
                  </a:lnTo>
                  <a:lnTo>
                    <a:pt x="178" y="37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2" y="35"/>
                  </a:lnTo>
                  <a:lnTo>
                    <a:pt x="172" y="35"/>
                  </a:lnTo>
                  <a:lnTo>
                    <a:pt x="170" y="35"/>
                  </a:lnTo>
                  <a:lnTo>
                    <a:pt x="170" y="35"/>
                  </a:lnTo>
                  <a:lnTo>
                    <a:pt x="168" y="35"/>
                  </a:lnTo>
                  <a:lnTo>
                    <a:pt x="168" y="35"/>
                  </a:lnTo>
                  <a:lnTo>
                    <a:pt x="166" y="35"/>
                  </a:lnTo>
                  <a:lnTo>
                    <a:pt x="166" y="35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2" y="35"/>
                  </a:lnTo>
                  <a:lnTo>
                    <a:pt x="160" y="32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58" y="28"/>
                  </a:lnTo>
                  <a:lnTo>
                    <a:pt x="158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8"/>
                  </a:lnTo>
                  <a:lnTo>
                    <a:pt x="156" y="28"/>
                  </a:lnTo>
                  <a:lnTo>
                    <a:pt x="154" y="28"/>
                  </a:lnTo>
                  <a:lnTo>
                    <a:pt x="154" y="28"/>
                  </a:lnTo>
                  <a:lnTo>
                    <a:pt x="151" y="28"/>
                  </a:lnTo>
                  <a:lnTo>
                    <a:pt x="151" y="28"/>
                  </a:lnTo>
                  <a:lnTo>
                    <a:pt x="151" y="28"/>
                  </a:lnTo>
                  <a:lnTo>
                    <a:pt x="151" y="28"/>
                  </a:lnTo>
                  <a:lnTo>
                    <a:pt x="149" y="28"/>
                  </a:lnTo>
                  <a:lnTo>
                    <a:pt x="149" y="26"/>
                  </a:lnTo>
                  <a:lnTo>
                    <a:pt x="147" y="26"/>
                  </a:lnTo>
                  <a:lnTo>
                    <a:pt x="147" y="26"/>
                  </a:lnTo>
                  <a:lnTo>
                    <a:pt x="145" y="28"/>
                  </a:lnTo>
                  <a:lnTo>
                    <a:pt x="145" y="28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41" y="24"/>
                  </a:lnTo>
                  <a:lnTo>
                    <a:pt x="139" y="24"/>
                  </a:lnTo>
                  <a:lnTo>
                    <a:pt x="139" y="22"/>
                  </a:lnTo>
                  <a:lnTo>
                    <a:pt x="139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0"/>
                  </a:lnTo>
                  <a:lnTo>
                    <a:pt x="135" y="20"/>
                  </a:lnTo>
                  <a:lnTo>
                    <a:pt x="137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8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20"/>
                  </a:lnTo>
                  <a:lnTo>
                    <a:pt x="129" y="20"/>
                  </a:lnTo>
                  <a:lnTo>
                    <a:pt x="127" y="20"/>
                  </a:lnTo>
                  <a:lnTo>
                    <a:pt x="127" y="20"/>
                  </a:lnTo>
                  <a:lnTo>
                    <a:pt x="127" y="18"/>
                  </a:lnTo>
                  <a:lnTo>
                    <a:pt x="127" y="18"/>
                  </a:lnTo>
                  <a:lnTo>
                    <a:pt x="127" y="18"/>
                  </a:lnTo>
                  <a:lnTo>
                    <a:pt x="127" y="18"/>
                  </a:lnTo>
                  <a:lnTo>
                    <a:pt x="127" y="18"/>
                  </a:lnTo>
                  <a:lnTo>
                    <a:pt x="127" y="16"/>
                  </a:lnTo>
                  <a:lnTo>
                    <a:pt x="127" y="16"/>
                  </a:lnTo>
                  <a:lnTo>
                    <a:pt x="127" y="16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4"/>
                  </a:lnTo>
                  <a:lnTo>
                    <a:pt x="125" y="12"/>
                  </a:lnTo>
                  <a:lnTo>
                    <a:pt x="123" y="12"/>
                  </a:lnTo>
                  <a:lnTo>
                    <a:pt x="121" y="12"/>
                  </a:lnTo>
                  <a:lnTo>
                    <a:pt x="121" y="12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17" y="10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5" y="8"/>
                  </a:lnTo>
                  <a:lnTo>
                    <a:pt x="115" y="8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4" y="2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6"/>
                  </a:lnTo>
                  <a:lnTo>
                    <a:pt x="88" y="18"/>
                  </a:lnTo>
                  <a:lnTo>
                    <a:pt x="86" y="18"/>
                  </a:lnTo>
                  <a:lnTo>
                    <a:pt x="82" y="20"/>
                  </a:lnTo>
                  <a:lnTo>
                    <a:pt x="78" y="22"/>
                  </a:lnTo>
                  <a:lnTo>
                    <a:pt x="71" y="24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8"/>
                  </a:lnTo>
                  <a:lnTo>
                    <a:pt x="71" y="28"/>
                  </a:lnTo>
                  <a:lnTo>
                    <a:pt x="73" y="28"/>
                  </a:lnTo>
                  <a:lnTo>
                    <a:pt x="73" y="28"/>
                  </a:lnTo>
                  <a:lnTo>
                    <a:pt x="69" y="30"/>
                  </a:lnTo>
                  <a:lnTo>
                    <a:pt x="67" y="30"/>
                  </a:lnTo>
                  <a:lnTo>
                    <a:pt x="65" y="30"/>
                  </a:lnTo>
                  <a:lnTo>
                    <a:pt x="59" y="30"/>
                  </a:lnTo>
                  <a:lnTo>
                    <a:pt x="57" y="30"/>
                  </a:lnTo>
                  <a:lnTo>
                    <a:pt x="53" y="30"/>
                  </a:lnTo>
                  <a:lnTo>
                    <a:pt x="51" y="30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1" y="26"/>
                  </a:lnTo>
                  <a:lnTo>
                    <a:pt x="51" y="24"/>
                  </a:lnTo>
                  <a:lnTo>
                    <a:pt x="49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1" y="24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3" y="28"/>
                  </a:lnTo>
                  <a:lnTo>
                    <a:pt x="43" y="30"/>
                  </a:lnTo>
                  <a:lnTo>
                    <a:pt x="45" y="32"/>
                  </a:lnTo>
                  <a:lnTo>
                    <a:pt x="45" y="41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39" y="43"/>
                  </a:lnTo>
                  <a:lnTo>
                    <a:pt x="39" y="45"/>
                  </a:lnTo>
                  <a:lnTo>
                    <a:pt x="37" y="43"/>
                  </a:lnTo>
                  <a:lnTo>
                    <a:pt x="32" y="43"/>
                  </a:lnTo>
                  <a:lnTo>
                    <a:pt x="28" y="45"/>
                  </a:lnTo>
                  <a:lnTo>
                    <a:pt x="26" y="45"/>
                  </a:lnTo>
                  <a:lnTo>
                    <a:pt x="24" y="41"/>
                  </a:lnTo>
                  <a:lnTo>
                    <a:pt x="22" y="39"/>
                  </a:lnTo>
                  <a:lnTo>
                    <a:pt x="18" y="41"/>
                  </a:lnTo>
                  <a:lnTo>
                    <a:pt x="16" y="41"/>
                  </a:lnTo>
                  <a:lnTo>
                    <a:pt x="14" y="43"/>
                  </a:lnTo>
                  <a:lnTo>
                    <a:pt x="12" y="43"/>
                  </a:lnTo>
                  <a:lnTo>
                    <a:pt x="10" y="43"/>
                  </a:lnTo>
                  <a:lnTo>
                    <a:pt x="2" y="43"/>
                  </a:lnTo>
                  <a:lnTo>
                    <a:pt x="0" y="45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3"/>
                  </a:lnTo>
                  <a:lnTo>
                    <a:pt x="2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4" y="55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8" y="57"/>
                  </a:lnTo>
                  <a:lnTo>
                    <a:pt x="10" y="57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20" y="61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2" y="61"/>
                  </a:lnTo>
                  <a:lnTo>
                    <a:pt x="24" y="61"/>
                  </a:lnTo>
                  <a:lnTo>
                    <a:pt x="24" y="61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5"/>
                  </a:lnTo>
                  <a:lnTo>
                    <a:pt x="28" y="65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2" y="67"/>
                  </a:lnTo>
                  <a:lnTo>
                    <a:pt x="37" y="67"/>
                  </a:lnTo>
                  <a:lnTo>
                    <a:pt x="41" y="69"/>
                  </a:lnTo>
                  <a:lnTo>
                    <a:pt x="39" y="69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4" y="67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34" y="72"/>
                  </a:lnTo>
                  <a:lnTo>
                    <a:pt x="37" y="72"/>
                  </a:lnTo>
                  <a:lnTo>
                    <a:pt x="34" y="74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7" y="78"/>
                  </a:lnTo>
                  <a:lnTo>
                    <a:pt x="39" y="82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7" y="84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9" y="92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7" y="96"/>
                  </a:lnTo>
                  <a:lnTo>
                    <a:pt x="47" y="96"/>
                  </a:lnTo>
                  <a:lnTo>
                    <a:pt x="51" y="98"/>
                  </a:lnTo>
                  <a:lnTo>
                    <a:pt x="53" y="100"/>
                  </a:lnTo>
                  <a:lnTo>
                    <a:pt x="53" y="102"/>
                  </a:lnTo>
                  <a:lnTo>
                    <a:pt x="53" y="106"/>
                  </a:lnTo>
                  <a:lnTo>
                    <a:pt x="55" y="106"/>
                  </a:lnTo>
                  <a:lnTo>
                    <a:pt x="55" y="109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2"/>
                  </a:lnTo>
                  <a:lnTo>
                    <a:pt x="51" y="102"/>
                  </a:lnTo>
                  <a:lnTo>
                    <a:pt x="51" y="100"/>
                  </a:lnTo>
                  <a:lnTo>
                    <a:pt x="49" y="98"/>
                  </a:lnTo>
                  <a:lnTo>
                    <a:pt x="47" y="102"/>
                  </a:lnTo>
                  <a:lnTo>
                    <a:pt x="47" y="106"/>
                  </a:lnTo>
                  <a:lnTo>
                    <a:pt x="45" y="117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3" y="127"/>
                  </a:lnTo>
                  <a:lnTo>
                    <a:pt x="41" y="135"/>
                  </a:lnTo>
                  <a:lnTo>
                    <a:pt x="39" y="137"/>
                  </a:lnTo>
                  <a:lnTo>
                    <a:pt x="34" y="137"/>
                  </a:lnTo>
                  <a:lnTo>
                    <a:pt x="34" y="139"/>
                  </a:lnTo>
                  <a:lnTo>
                    <a:pt x="37" y="139"/>
                  </a:lnTo>
                  <a:lnTo>
                    <a:pt x="37" y="139"/>
                  </a:lnTo>
                  <a:lnTo>
                    <a:pt x="39" y="139"/>
                  </a:lnTo>
                  <a:lnTo>
                    <a:pt x="39" y="139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3"/>
                  </a:lnTo>
                  <a:lnTo>
                    <a:pt x="41" y="143"/>
                  </a:lnTo>
                  <a:lnTo>
                    <a:pt x="39" y="143"/>
                  </a:lnTo>
                  <a:lnTo>
                    <a:pt x="41" y="143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1" y="143"/>
                  </a:lnTo>
                  <a:lnTo>
                    <a:pt x="43" y="143"/>
                  </a:lnTo>
                  <a:lnTo>
                    <a:pt x="43" y="143"/>
                  </a:lnTo>
                  <a:lnTo>
                    <a:pt x="43" y="143"/>
                  </a:lnTo>
                  <a:lnTo>
                    <a:pt x="43" y="143"/>
                  </a:lnTo>
                  <a:lnTo>
                    <a:pt x="45" y="146"/>
                  </a:lnTo>
                  <a:lnTo>
                    <a:pt x="47" y="146"/>
                  </a:lnTo>
                  <a:lnTo>
                    <a:pt x="49" y="146"/>
                  </a:lnTo>
                  <a:lnTo>
                    <a:pt x="51" y="146"/>
                  </a:lnTo>
                  <a:lnTo>
                    <a:pt x="51" y="148"/>
                  </a:lnTo>
                  <a:lnTo>
                    <a:pt x="53" y="150"/>
                  </a:lnTo>
                  <a:lnTo>
                    <a:pt x="53" y="150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7" y="148"/>
                  </a:lnTo>
                  <a:lnTo>
                    <a:pt x="57" y="148"/>
                  </a:lnTo>
                  <a:lnTo>
                    <a:pt x="57" y="150"/>
                  </a:lnTo>
                  <a:lnTo>
                    <a:pt x="57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61" y="152"/>
                  </a:lnTo>
                  <a:lnTo>
                    <a:pt x="63" y="150"/>
                  </a:lnTo>
                  <a:lnTo>
                    <a:pt x="65" y="152"/>
                  </a:lnTo>
                  <a:lnTo>
                    <a:pt x="65" y="152"/>
                  </a:lnTo>
                  <a:lnTo>
                    <a:pt x="67" y="150"/>
                  </a:lnTo>
                  <a:lnTo>
                    <a:pt x="69" y="152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71" y="150"/>
                  </a:lnTo>
                  <a:lnTo>
                    <a:pt x="71" y="148"/>
                  </a:lnTo>
                  <a:lnTo>
                    <a:pt x="71" y="148"/>
                  </a:lnTo>
                  <a:lnTo>
                    <a:pt x="71" y="148"/>
                  </a:lnTo>
                  <a:lnTo>
                    <a:pt x="76" y="150"/>
                  </a:lnTo>
                  <a:lnTo>
                    <a:pt x="78" y="150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82" y="152"/>
                  </a:lnTo>
                  <a:lnTo>
                    <a:pt x="82" y="152"/>
                  </a:lnTo>
                  <a:lnTo>
                    <a:pt x="82" y="152"/>
                  </a:lnTo>
                  <a:lnTo>
                    <a:pt x="84" y="152"/>
                  </a:lnTo>
                  <a:lnTo>
                    <a:pt x="84" y="152"/>
                  </a:lnTo>
                  <a:lnTo>
                    <a:pt x="86" y="152"/>
                  </a:lnTo>
                  <a:lnTo>
                    <a:pt x="86" y="154"/>
                  </a:lnTo>
                  <a:lnTo>
                    <a:pt x="86" y="154"/>
                  </a:lnTo>
                  <a:lnTo>
                    <a:pt x="86" y="154"/>
                  </a:lnTo>
                  <a:lnTo>
                    <a:pt x="86" y="154"/>
                  </a:lnTo>
                  <a:lnTo>
                    <a:pt x="88" y="156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2" y="156"/>
                  </a:lnTo>
                  <a:lnTo>
                    <a:pt x="94" y="156"/>
                  </a:lnTo>
                  <a:lnTo>
                    <a:pt x="96" y="156"/>
                  </a:lnTo>
                  <a:lnTo>
                    <a:pt x="98" y="158"/>
                  </a:lnTo>
                  <a:lnTo>
                    <a:pt x="100" y="158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102" y="156"/>
                  </a:lnTo>
                  <a:lnTo>
                    <a:pt x="102" y="156"/>
                  </a:lnTo>
                  <a:lnTo>
                    <a:pt x="104" y="156"/>
                  </a:lnTo>
                  <a:lnTo>
                    <a:pt x="104" y="154"/>
                  </a:lnTo>
                  <a:lnTo>
                    <a:pt x="106" y="156"/>
                  </a:lnTo>
                  <a:lnTo>
                    <a:pt x="106" y="156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6" y="152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8" y="143"/>
                  </a:lnTo>
                  <a:lnTo>
                    <a:pt x="108" y="141"/>
                  </a:lnTo>
                  <a:lnTo>
                    <a:pt x="117" y="137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21" y="135"/>
                  </a:lnTo>
                  <a:lnTo>
                    <a:pt x="121" y="135"/>
                  </a:lnTo>
                  <a:lnTo>
                    <a:pt x="123" y="135"/>
                  </a:lnTo>
                  <a:lnTo>
                    <a:pt x="123" y="137"/>
                  </a:lnTo>
                  <a:lnTo>
                    <a:pt x="123" y="137"/>
                  </a:lnTo>
                  <a:lnTo>
                    <a:pt x="125" y="137"/>
                  </a:lnTo>
                  <a:lnTo>
                    <a:pt x="127" y="137"/>
                  </a:lnTo>
                  <a:lnTo>
                    <a:pt x="129" y="139"/>
                  </a:lnTo>
                  <a:lnTo>
                    <a:pt x="131" y="139"/>
                  </a:lnTo>
                  <a:lnTo>
                    <a:pt x="131" y="139"/>
                  </a:lnTo>
                  <a:lnTo>
                    <a:pt x="131" y="137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9"/>
                  </a:lnTo>
                  <a:lnTo>
                    <a:pt x="137" y="139"/>
                  </a:lnTo>
                  <a:lnTo>
                    <a:pt x="137" y="139"/>
                  </a:lnTo>
                  <a:lnTo>
                    <a:pt x="139" y="139"/>
                  </a:lnTo>
                  <a:lnTo>
                    <a:pt x="141" y="141"/>
                  </a:lnTo>
                  <a:lnTo>
                    <a:pt x="145" y="141"/>
                  </a:lnTo>
                  <a:lnTo>
                    <a:pt x="147" y="143"/>
                  </a:lnTo>
                  <a:lnTo>
                    <a:pt x="149" y="143"/>
                  </a:lnTo>
                  <a:lnTo>
                    <a:pt x="151" y="143"/>
                  </a:lnTo>
                  <a:lnTo>
                    <a:pt x="154" y="143"/>
                  </a:lnTo>
                  <a:lnTo>
                    <a:pt x="158" y="141"/>
                  </a:lnTo>
                  <a:lnTo>
                    <a:pt x="158" y="141"/>
                  </a:lnTo>
                  <a:lnTo>
                    <a:pt x="160" y="141"/>
                  </a:lnTo>
                  <a:lnTo>
                    <a:pt x="160" y="139"/>
                  </a:lnTo>
                  <a:lnTo>
                    <a:pt x="160" y="139"/>
                  </a:lnTo>
                  <a:lnTo>
                    <a:pt x="162" y="137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70" y="133"/>
                  </a:lnTo>
                  <a:lnTo>
                    <a:pt x="170" y="131"/>
                  </a:lnTo>
                  <a:lnTo>
                    <a:pt x="170" y="131"/>
                  </a:lnTo>
                  <a:lnTo>
                    <a:pt x="170" y="131"/>
                  </a:lnTo>
                  <a:lnTo>
                    <a:pt x="170" y="131"/>
                  </a:lnTo>
                  <a:lnTo>
                    <a:pt x="170" y="131"/>
                  </a:lnTo>
                  <a:lnTo>
                    <a:pt x="172" y="131"/>
                  </a:lnTo>
                  <a:lnTo>
                    <a:pt x="172" y="131"/>
                  </a:lnTo>
                  <a:lnTo>
                    <a:pt x="172" y="129"/>
                  </a:lnTo>
                  <a:lnTo>
                    <a:pt x="172" y="129"/>
                  </a:lnTo>
                  <a:lnTo>
                    <a:pt x="172" y="129"/>
                  </a:lnTo>
                  <a:lnTo>
                    <a:pt x="174" y="127"/>
                  </a:lnTo>
                  <a:lnTo>
                    <a:pt x="174" y="127"/>
                  </a:lnTo>
                  <a:lnTo>
                    <a:pt x="174" y="125"/>
                  </a:lnTo>
                  <a:lnTo>
                    <a:pt x="174" y="125"/>
                  </a:lnTo>
                  <a:lnTo>
                    <a:pt x="174" y="125"/>
                  </a:lnTo>
                  <a:lnTo>
                    <a:pt x="170" y="125"/>
                  </a:lnTo>
                  <a:lnTo>
                    <a:pt x="170" y="125"/>
                  </a:lnTo>
                  <a:lnTo>
                    <a:pt x="166" y="125"/>
                  </a:lnTo>
                  <a:lnTo>
                    <a:pt x="164" y="123"/>
                  </a:lnTo>
                  <a:lnTo>
                    <a:pt x="164" y="121"/>
                  </a:lnTo>
                  <a:lnTo>
                    <a:pt x="162" y="121"/>
                  </a:lnTo>
                  <a:lnTo>
                    <a:pt x="164" y="121"/>
                  </a:lnTo>
                  <a:lnTo>
                    <a:pt x="162" y="119"/>
                  </a:lnTo>
                  <a:lnTo>
                    <a:pt x="162" y="119"/>
                  </a:lnTo>
                  <a:lnTo>
                    <a:pt x="162" y="117"/>
                  </a:lnTo>
                  <a:lnTo>
                    <a:pt x="164" y="117"/>
                  </a:lnTo>
                  <a:lnTo>
                    <a:pt x="164" y="115"/>
                  </a:lnTo>
                  <a:lnTo>
                    <a:pt x="164" y="115"/>
                  </a:lnTo>
                  <a:lnTo>
                    <a:pt x="166" y="115"/>
                  </a:lnTo>
                  <a:lnTo>
                    <a:pt x="164" y="113"/>
                  </a:lnTo>
                  <a:lnTo>
                    <a:pt x="164" y="113"/>
                  </a:lnTo>
                  <a:lnTo>
                    <a:pt x="164" y="113"/>
                  </a:lnTo>
                  <a:lnTo>
                    <a:pt x="164" y="113"/>
                  </a:lnTo>
                  <a:lnTo>
                    <a:pt x="162" y="113"/>
                  </a:lnTo>
                  <a:lnTo>
                    <a:pt x="162" y="111"/>
                  </a:lnTo>
                  <a:lnTo>
                    <a:pt x="160" y="111"/>
                  </a:lnTo>
                  <a:lnTo>
                    <a:pt x="160" y="109"/>
                  </a:lnTo>
                  <a:lnTo>
                    <a:pt x="160" y="106"/>
                  </a:lnTo>
                  <a:lnTo>
                    <a:pt x="160" y="106"/>
                  </a:lnTo>
                  <a:lnTo>
                    <a:pt x="160" y="106"/>
                  </a:lnTo>
                  <a:lnTo>
                    <a:pt x="162" y="106"/>
                  </a:lnTo>
                  <a:lnTo>
                    <a:pt x="162" y="106"/>
                  </a:lnTo>
                  <a:lnTo>
                    <a:pt x="164" y="104"/>
                  </a:lnTo>
                  <a:lnTo>
                    <a:pt x="166" y="104"/>
                  </a:lnTo>
                  <a:lnTo>
                    <a:pt x="166" y="104"/>
                  </a:lnTo>
                  <a:lnTo>
                    <a:pt x="166" y="102"/>
                  </a:lnTo>
                  <a:lnTo>
                    <a:pt x="168" y="102"/>
                  </a:lnTo>
                  <a:lnTo>
                    <a:pt x="168" y="100"/>
                  </a:lnTo>
                  <a:lnTo>
                    <a:pt x="166" y="100"/>
                  </a:lnTo>
                  <a:lnTo>
                    <a:pt x="166" y="100"/>
                  </a:lnTo>
                  <a:lnTo>
                    <a:pt x="164" y="98"/>
                  </a:lnTo>
                  <a:lnTo>
                    <a:pt x="164" y="96"/>
                  </a:lnTo>
                  <a:lnTo>
                    <a:pt x="162" y="96"/>
                  </a:lnTo>
                  <a:lnTo>
                    <a:pt x="162" y="94"/>
                  </a:lnTo>
                  <a:lnTo>
                    <a:pt x="162" y="94"/>
                  </a:lnTo>
                  <a:lnTo>
                    <a:pt x="162" y="94"/>
                  </a:lnTo>
                  <a:lnTo>
                    <a:pt x="164" y="92"/>
                  </a:lnTo>
                  <a:lnTo>
                    <a:pt x="166" y="92"/>
                  </a:lnTo>
                  <a:lnTo>
                    <a:pt x="166" y="92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88"/>
                  </a:lnTo>
                  <a:lnTo>
                    <a:pt x="162" y="88"/>
                  </a:lnTo>
                  <a:lnTo>
                    <a:pt x="162" y="88"/>
                  </a:lnTo>
                  <a:lnTo>
                    <a:pt x="162" y="86"/>
                  </a:lnTo>
                  <a:lnTo>
                    <a:pt x="162" y="84"/>
                  </a:lnTo>
                  <a:lnTo>
                    <a:pt x="162" y="84"/>
                  </a:lnTo>
                  <a:lnTo>
                    <a:pt x="162" y="84"/>
                  </a:lnTo>
                  <a:lnTo>
                    <a:pt x="162" y="84"/>
                  </a:lnTo>
                  <a:lnTo>
                    <a:pt x="160" y="82"/>
                  </a:lnTo>
                  <a:lnTo>
                    <a:pt x="158" y="82"/>
                  </a:lnTo>
                  <a:lnTo>
                    <a:pt x="156" y="84"/>
                  </a:lnTo>
                  <a:lnTo>
                    <a:pt x="154" y="84"/>
                  </a:lnTo>
                  <a:lnTo>
                    <a:pt x="154" y="84"/>
                  </a:lnTo>
                  <a:lnTo>
                    <a:pt x="154" y="86"/>
                  </a:lnTo>
                  <a:lnTo>
                    <a:pt x="156" y="86"/>
                  </a:lnTo>
                  <a:lnTo>
                    <a:pt x="154" y="88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49" y="88"/>
                  </a:lnTo>
                  <a:lnTo>
                    <a:pt x="149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4"/>
                  </a:lnTo>
                  <a:lnTo>
                    <a:pt x="154" y="84"/>
                  </a:lnTo>
                  <a:lnTo>
                    <a:pt x="151" y="82"/>
                  </a:lnTo>
                  <a:lnTo>
                    <a:pt x="151" y="82"/>
                  </a:lnTo>
                  <a:lnTo>
                    <a:pt x="151" y="82"/>
                  </a:lnTo>
                  <a:lnTo>
                    <a:pt x="154" y="80"/>
                  </a:lnTo>
                  <a:lnTo>
                    <a:pt x="154" y="80"/>
                  </a:lnTo>
                  <a:lnTo>
                    <a:pt x="156" y="78"/>
                  </a:lnTo>
                  <a:lnTo>
                    <a:pt x="158" y="78"/>
                  </a:lnTo>
                  <a:lnTo>
                    <a:pt x="158" y="76"/>
                  </a:lnTo>
                  <a:lnTo>
                    <a:pt x="158" y="74"/>
                  </a:lnTo>
                  <a:lnTo>
                    <a:pt x="158" y="74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2" y="72"/>
                  </a:lnTo>
                  <a:lnTo>
                    <a:pt x="164" y="69"/>
                  </a:lnTo>
                  <a:lnTo>
                    <a:pt x="164" y="67"/>
                  </a:lnTo>
                  <a:lnTo>
                    <a:pt x="166" y="67"/>
                  </a:lnTo>
                  <a:lnTo>
                    <a:pt x="166" y="67"/>
                  </a:lnTo>
                  <a:lnTo>
                    <a:pt x="166" y="67"/>
                  </a:lnTo>
                  <a:lnTo>
                    <a:pt x="166" y="65"/>
                  </a:lnTo>
                  <a:lnTo>
                    <a:pt x="164" y="65"/>
                  </a:lnTo>
                  <a:lnTo>
                    <a:pt x="164" y="65"/>
                  </a:lnTo>
                  <a:lnTo>
                    <a:pt x="166" y="65"/>
                  </a:lnTo>
                  <a:lnTo>
                    <a:pt x="166" y="63"/>
                  </a:lnTo>
                  <a:lnTo>
                    <a:pt x="168" y="63"/>
                  </a:lnTo>
                  <a:lnTo>
                    <a:pt x="168" y="63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2" y="65"/>
                  </a:lnTo>
                  <a:lnTo>
                    <a:pt x="172" y="63"/>
                  </a:lnTo>
                  <a:lnTo>
                    <a:pt x="172" y="63"/>
                  </a:lnTo>
                  <a:lnTo>
                    <a:pt x="174" y="61"/>
                  </a:lnTo>
                  <a:lnTo>
                    <a:pt x="174" y="61"/>
                  </a:lnTo>
                  <a:lnTo>
                    <a:pt x="174" y="61"/>
                  </a:lnTo>
                  <a:lnTo>
                    <a:pt x="174" y="59"/>
                  </a:lnTo>
                  <a:lnTo>
                    <a:pt x="174" y="57"/>
                  </a:lnTo>
                  <a:lnTo>
                    <a:pt x="174" y="55"/>
                  </a:lnTo>
                  <a:lnTo>
                    <a:pt x="174" y="53"/>
                  </a:lnTo>
                  <a:lnTo>
                    <a:pt x="174" y="51"/>
                  </a:lnTo>
                  <a:lnTo>
                    <a:pt x="176" y="49"/>
                  </a:lnTo>
                  <a:lnTo>
                    <a:pt x="176" y="47"/>
                  </a:lnTo>
                  <a:lnTo>
                    <a:pt x="178" y="45"/>
                  </a:lnTo>
                  <a:lnTo>
                    <a:pt x="178" y="43"/>
                  </a:lnTo>
                  <a:lnTo>
                    <a:pt x="178" y="43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7"/>
                  </a:lnTo>
                  <a:lnTo>
                    <a:pt x="182" y="37"/>
                  </a:lnTo>
                  <a:close/>
                  <a:moveTo>
                    <a:pt x="201" y="154"/>
                  </a:moveTo>
                  <a:lnTo>
                    <a:pt x="201" y="152"/>
                  </a:lnTo>
                  <a:lnTo>
                    <a:pt x="201" y="152"/>
                  </a:lnTo>
                  <a:lnTo>
                    <a:pt x="201" y="152"/>
                  </a:lnTo>
                  <a:lnTo>
                    <a:pt x="201" y="150"/>
                  </a:lnTo>
                  <a:lnTo>
                    <a:pt x="201" y="148"/>
                  </a:lnTo>
                  <a:lnTo>
                    <a:pt x="201" y="146"/>
                  </a:lnTo>
                  <a:lnTo>
                    <a:pt x="201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199" y="148"/>
                  </a:lnTo>
                  <a:lnTo>
                    <a:pt x="199" y="150"/>
                  </a:lnTo>
                  <a:lnTo>
                    <a:pt x="199" y="150"/>
                  </a:lnTo>
                  <a:lnTo>
                    <a:pt x="197" y="152"/>
                  </a:lnTo>
                  <a:lnTo>
                    <a:pt x="197" y="150"/>
                  </a:lnTo>
                  <a:lnTo>
                    <a:pt x="197" y="150"/>
                  </a:lnTo>
                  <a:lnTo>
                    <a:pt x="195" y="150"/>
                  </a:lnTo>
                  <a:lnTo>
                    <a:pt x="195" y="150"/>
                  </a:lnTo>
                  <a:lnTo>
                    <a:pt x="195" y="152"/>
                  </a:lnTo>
                  <a:lnTo>
                    <a:pt x="193" y="152"/>
                  </a:lnTo>
                  <a:lnTo>
                    <a:pt x="190" y="152"/>
                  </a:lnTo>
                  <a:lnTo>
                    <a:pt x="188" y="154"/>
                  </a:lnTo>
                  <a:lnTo>
                    <a:pt x="188" y="156"/>
                  </a:lnTo>
                  <a:lnTo>
                    <a:pt x="186" y="156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8" y="158"/>
                  </a:lnTo>
                  <a:lnTo>
                    <a:pt x="188" y="158"/>
                  </a:lnTo>
                  <a:lnTo>
                    <a:pt x="188" y="158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90" y="166"/>
                  </a:lnTo>
                  <a:lnTo>
                    <a:pt x="188" y="166"/>
                  </a:lnTo>
                  <a:lnTo>
                    <a:pt x="188" y="168"/>
                  </a:lnTo>
                  <a:lnTo>
                    <a:pt x="190" y="168"/>
                  </a:lnTo>
                  <a:lnTo>
                    <a:pt x="190" y="168"/>
                  </a:lnTo>
                  <a:lnTo>
                    <a:pt x="190" y="168"/>
                  </a:lnTo>
                  <a:lnTo>
                    <a:pt x="190" y="170"/>
                  </a:lnTo>
                  <a:lnTo>
                    <a:pt x="190" y="170"/>
                  </a:lnTo>
                  <a:lnTo>
                    <a:pt x="190" y="170"/>
                  </a:lnTo>
                  <a:lnTo>
                    <a:pt x="193" y="172"/>
                  </a:lnTo>
                  <a:lnTo>
                    <a:pt x="193" y="172"/>
                  </a:lnTo>
                  <a:lnTo>
                    <a:pt x="197" y="174"/>
                  </a:lnTo>
                  <a:lnTo>
                    <a:pt x="197" y="172"/>
                  </a:lnTo>
                  <a:lnTo>
                    <a:pt x="199" y="170"/>
                  </a:lnTo>
                  <a:lnTo>
                    <a:pt x="199" y="168"/>
                  </a:lnTo>
                  <a:lnTo>
                    <a:pt x="199" y="168"/>
                  </a:lnTo>
                  <a:lnTo>
                    <a:pt x="199" y="164"/>
                  </a:lnTo>
                  <a:lnTo>
                    <a:pt x="199" y="164"/>
                  </a:lnTo>
                  <a:lnTo>
                    <a:pt x="201" y="160"/>
                  </a:lnTo>
                  <a:lnTo>
                    <a:pt x="201" y="160"/>
                  </a:lnTo>
                  <a:lnTo>
                    <a:pt x="201" y="15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65A6740-F71C-3340-A18B-5CC12E41A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467" y="3876057"/>
              <a:ext cx="148548" cy="146172"/>
            </a:xfrm>
            <a:custGeom>
              <a:avLst/>
              <a:gdLst>
                <a:gd name="T0" fmla="*/ 123 w 125"/>
                <a:gd name="T1" fmla="*/ 39 h 123"/>
                <a:gd name="T2" fmla="*/ 123 w 125"/>
                <a:gd name="T3" fmla="*/ 25 h 123"/>
                <a:gd name="T4" fmla="*/ 125 w 125"/>
                <a:gd name="T5" fmla="*/ 18 h 123"/>
                <a:gd name="T6" fmla="*/ 121 w 125"/>
                <a:gd name="T7" fmla="*/ 18 h 123"/>
                <a:gd name="T8" fmla="*/ 113 w 125"/>
                <a:gd name="T9" fmla="*/ 14 h 123"/>
                <a:gd name="T10" fmla="*/ 101 w 125"/>
                <a:gd name="T11" fmla="*/ 8 h 123"/>
                <a:gd name="T12" fmla="*/ 93 w 125"/>
                <a:gd name="T13" fmla="*/ 6 h 123"/>
                <a:gd name="T14" fmla="*/ 84 w 125"/>
                <a:gd name="T15" fmla="*/ 6 h 123"/>
                <a:gd name="T16" fmla="*/ 82 w 125"/>
                <a:gd name="T17" fmla="*/ 0 h 123"/>
                <a:gd name="T18" fmla="*/ 70 w 125"/>
                <a:gd name="T19" fmla="*/ 0 h 123"/>
                <a:gd name="T20" fmla="*/ 62 w 125"/>
                <a:gd name="T21" fmla="*/ 4 h 123"/>
                <a:gd name="T22" fmla="*/ 60 w 125"/>
                <a:gd name="T23" fmla="*/ 8 h 123"/>
                <a:gd name="T24" fmla="*/ 58 w 125"/>
                <a:gd name="T25" fmla="*/ 16 h 123"/>
                <a:gd name="T26" fmla="*/ 47 w 125"/>
                <a:gd name="T27" fmla="*/ 20 h 123"/>
                <a:gd name="T28" fmla="*/ 39 w 125"/>
                <a:gd name="T29" fmla="*/ 29 h 123"/>
                <a:gd name="T30" fmla="*/ 29 w 125"/>
                <a:gd name="T31" fmla="*/ 41 h 123"/>
                <a:gd name="T32" fmla="*/ 19 w 125"/>
                <a:gd name="T33" fmla="*/ 41 h 123"/>
                <a:gd name="T34" fmla="*/ 10 w 125"/>
                <a:gd name="T35" fmla="*/ 41 h 123"/>
                <a:gd name="T36" fmla="*/ 6 w 125"/>
                <a:gd name="T37" fmla="*/ 39 h 123"/>
                <a:gd name="T38" fmla="*/ 0 w 125"/>
                <a:gd name="T39" fmla="*/ 39 h 123"/>
                <a:gd name="T40" fmla="*/ 2 w 125"/>
                <a:gd name="T41" fmla="*/ 43 h 123"/>
                <a:gd name="T42" fmla="*/ 4 w 125"/>
                <a:gd name="T43" fmla="*/ 47 h 123"/>
                <a:gd name="T44" fmla="*/ 8 w 125"/>
                <a:gd name="T45" fmla="*/ 55 h 123"/>
                <a:gd name="T46" fmla="*/ 13 w 125"/>
                <a:gd name="T47" fmla="*/ 60 h 123"/>
                <a:gd name="T48" fmla="*/ 15 w 125"/>
                <a:gd name="T49" fmla="*/ 68 h 123"/>
                <a:gd name="T50" fmla="*/ 21 w 125"/>
                <a:gd name="T51" fmla="*/ 74 h 123"/>
                <a:gd name="T52" fmla="*/ 29 w 125"/>
                <a:gd name="T53" fmla="*/ 80 h 123"/>
                <a:gd name="T54" fmla="*/ 33 w 125"/>
                <a:gd name="T55" fmla="*/ 84 h 123"/>
                <a:gd name="T56" fmla="*/ 35 w 125"/>
                <a:gd name="T57" fmla="*/ 88 h 123"/>
                <a:gd name="T58" fmla="*/ 39 w 125"/>
                <a:gd name="T59" fmla="*/ 88 h 123"/>
                <a:gd name="T60" fmla="*/ 39 w 125"/>
                <a:gd name="T61" fmla="*/ 92 h 123"/>
                <a:gd name="T62" fmla="*/ 39 w 125"/>
                <a:gd name="T63" fmla="*/ 99 h 123"/>
                <a:gd name="T64" fmla="*/ 41 w 125"/>
                <a:gd name="T65" fmla="*/ 105 h 123"/>
                <a:gd name="T66" fmla="*/ 43 w 125"/>
                <a:gd name="T67" fmla="*/ 109 h 123"/>
                <a:gd name="T68" fmla="*/ 56 w 125"/>
                <a:gd name="T69" fmla="*/ 111 h 123"/>
                <a:gd name="T70" fmla="*/ 60 w 125"/>
                <a:gd name="T71" fmla="*/ 113 h 123"/>
                <a:gd name="T72" fmla="*/ 60 w 125"/>
                <a:gd name="T73" fmla="*/ 115 h 123"/>
                <a:gd name="T74" fmla="*/ 62 w 125"/>
                <a:gd name="T75" fmla="*/ 117 h 123"/>
                <a:gd name="T76" fmla="*/ 64 w 125"/>
                <a:gd name="T77" fmla="*/ 119 h 123"/>
                <a:gd name="T78" fmla="*/ 74 w 125"/>
                <a:gd name="T79" fmla="*/ 119 h 123"/>
                <a:gd name="T80" fmla="*/ 86 w 125"/>
                <a:gd name="T81" fmla="*/ 121 h 123"/>
                <a:gd name="T82" fmla="*/ 95 w 125"/>
                <a:gd name="T83" fmla="*/ 123 h 123"/>
                <a:gd name="T84" fmla="*/ 101 w 125"/>
                <a:gd name="T85" fmla="*/ 119 h 123"/>
                <a:gd name="T86" fmla="*/ 107 w 125"/>
                <a:gd name="T87" fmla="*/ 111 h 123"/>
                <a:gd name="T88" fmla="*/ 113 w 125"/>
                <a:gd name="T89" fmla="*/ 103 h 123"/>
                <a:gd name="T90" fmla="*/ 115 w 125"/>
                <a:gd name="T91" fmla="*/ 97 h 123"/>
                <a:gd name="T92" fmla="*/ 115 w 125"/>
                <a:gd name="T93" fmla="*/ 90 h 123"/>
                <a:gd name="T94" fmla="*/ 119 w 125"/>
                <a:gd name="T95" fmla="*/ 86 h 123"/>
                <a:gd name="T96" fmla="*/ 123 w 125"/>
                <a:gd name="T97" fmla="*/ 78 h 123"/>
                <a:gd name="T98" fmla="*/ 121 w 125"/>
                <a:gd name="T99" fmla="*/ 74 h 123"/>
                <a:gd name="T100" fmla="*/ 121 w 125"/>
                <a:gd name="T101" fmla="*/ 66 h 123"/>
                <a:gd name="T102" fmla="*/ 121 w 125"/>
                <a:gd name="T103" fmla="*/ 62 h 123"/>
                <a:gd name="T104" fmla="*/ 119 w 125"/>
                <a:gd name="T105" fmla="*/ 60 h 123"/>
                <a:gd name="T106" fmla="*/ 121 w 125"/>
                <a:gd name="T107" fmla="*/ 57 h 123"/>
                <a:gd name="T108" fmla="*/ 123 w 125"/>
                <a:gd name="T109" fmla="*/ 53 h 123"/>
                <a:gd name="T110" fmla="*/ 125 w 125"/>
                <a:gd name="T111" fmla="*/ 4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5" h="123">
                  <a:moveTo>
                    <a:pt x="123" y="45"/>
                  </a:moveTo>
                  <a:lnTo>
                    <a:pt x="123" y="43"/>
                  </a:lnTo>
                  <a:lnTo>
                    <a:pt x="123" y="39"/>
                  </a:lnTo>
                  <a:lnTo>
                    <a:pt x="125" y="33"/>
                  </a:lnTo>
                  <a:lnTo>
                    <a:pt x="125" y="29"/>
                  </a:lnTo>
                  <a:lnTo>
                    <a:pt x="123" y="25"/>
                  </a:lnTo>
                  <a:lnTo>
                    <a:pt x="123" y="23"/>
                  </a:lnTo>
                  <a:lnTo>
                    <a:pt x="125" y="20"/>
                  </a:lnTo>
                  <a:lnTo>
                    <a:pt x="125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1" y="18"/>
                  </a:lnTo>
                  <a:lnTo>
                    <a:pt x="119" y="16"/>
                  </a:lnTo>
                  <a:lnTo>
                    <a:pt x="117" y="14"/>
                  </a:lnTo>
                  <a:lnTo>
                    <a:pt x="113" y="14"/>
                  </a:lnTo>
                  <a:lnTo>
                    <a:pt x="109" y="14"/>
                  </a:lnTo>
                  <a:lnTo>
                    <a:pt x="105" y="10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99" y="6"/>
                  </a:lnTo>
                  <a:lnTo>
                    <a:pt x="93" y="6"/>
                  </a:lnTo>
                  <a:lnTo>
                    <a:pt x="88" y="6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78" y="0"/>
                  </a:lnTo>
                  <a:lnTo>
                    <a:pt x="74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4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2" y="18"/>
                  </a:lnTo>
                  <a:lnTo>
                    <a:pt x="47" y="20"/>
                  </a:lnTo>
                  <a:lnTo>
                    <a:pt x="45" y="23"/>
                  </a:lnTo>
                  <a:lnTo>
                    <a:pt x="41" y="25"/>
                  </a:lnTo>
                  <a:lnTo>
                    <a:pt x="39" y="29"/>
                  </a:lnTo>
                  <a:lnTo>
                    <a:pt x="37" y="33"/>
                  </a:lnTo>
                  <a:lnTo>
                    <a:pt x="33" y="37"/>
                  </a:lnTo>
                  <a:lnTo>
                    <a:pt x="29" y="41"/>
                  </a:lnTo>
                  <a:lnTo>
                    <a:pt x="25" y="43"/>
                  </a:lnTo>
                  <a:lnTo>
                    <a:pt x="23" y="43"/>
                  </a:lnTo>
                  <a:lnTo>
                    <a:pt x="19" y="41"/>
                  </a:lnTo>
                  <a:lnTo>
                    <a:pt x="15" y="41"/>
                  </a:lnTo>
                  <a:lnTo>
                    <a:pt x="13" y="41"/>
                  </a:lnTo>
                  <a:lnTo>
                    <a:pt x="10" y="41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6" y="39"/>
                  </a:lnTo>
                  <a:lnTo>
                    <a:pt x="4" y="39"/>
                  </a:lnTo>
                  <a:lnTo>
                    <a:pt x="2" y="39"/>
                  </a:lnTo>
                  <a:lnTo>
                    <a:pt x="0" y="39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4" y="45"/>
                  </a:lnTo>
                  <a:lnTo>
                    <a:pt x="4" y="47"/>
                  </a:lnTo>
                  <a:lnTo>
                    <a:pt x="4" y="49"/>
                  </a:lnTo>
                  <a:lnTo>
                    <a:pt x="6" y="51"/>
                  </a:lnTo>
                  <a:lnTo>
                    <a:pt x="8" y="55"/>
                  </a:lnTo>
                  <a:lnTo>
                    <a:pt x="10" y="55"/>
                  </a:lnTo>
                  <a:lnTo>
                    <a:pt x="10" y="57"/>
                  </a:lnTo>
                  <a:lnTo>
                    <a:pt x="13" y="60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5" y="68"/>
                  </a:lnTo>
                  <a:lnTo>
                    <a:pt x="15" y="70"/>
                  </a:lnTo>
                  <a:lnTo>
                    <a:pt x="17" y="72"/>
                  </a:lnTo>
                  <a:lnTo>
                    <a:pt x="21" y="74"/>
                  </a:lnTo>
                  <a:lnTo>
                    <a:pt x="23" y="78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31" y="80"/>
                  </a:lnTo>
                  <a:lnTo>
                    <a:pt x="31" y="82"/>
                  </a:lnTo>
                  <a:lnTo>
                    <a:pt x="33" y="84"/>
                  </a:lnTo>
                  <a:lnTo>
                    <a:pt x="33" y="86"/>
                  </a:lnTo>
                  <a:lnTo>
                    <a:pt x="33" y="88"/>
                  </a:lnTo>
                  <a:lnTo>
                    <a:pt x="35" y="88"/>
                  </a:lnTo>
                  <a:lnTo>
                    <a:pt x="37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90"/>
                  </a:lnTo>
                  <a:lnTo>
                    <a:pt x="39" y="92"/>
                  </a:lnTo>
                  <a:lnTo>
                    <a:pt x="39" y="92"/>
                  </a:lnTo>
                  <a:lnTo>
                    <a:pt x="39" y="94"/>
                  </a:lnTo>
                  <a:lnTo>
                    <a:pt x="39" y="97"/>
                  </a:lnTo>
                  <a:lnTo>
                    <a:pt x="39" y="99"/>
                  </a:lnTo>
                  <a:lnTo>
                    <a:pt x="39" y="101"/>
                  </a:lnTo>
                  <a:lnTo>
                    <a:pt x="41" y="103"/>
                  </a:lnTo>
                  <a:lnTo>
                    <a:pt x="41" y="105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3" y="109"/>
                  </a:lnTo>
                  <a:lnTo>
                    <a:pt x="45" y="109"/>
                  </a:lnTo>
                  <a:lnTo>
                    <a:pt x="52" y="109"/>
                  </a:lnTo>
                  <a:lnTo>
                    <a:pt x="56" y="111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60" y="115"/>
                  </a:lnTo>
                  <a:lnTo>
                    <a:pt x="60" y="115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2" y="117"/>
                  </a:lnTo>
                  <a:lnTo>
                    <a:pt x="64" y="117"/>
                  </a:lnTo>
                  <a:lnTo>
                    <a:pt x="64" y="119"/>
                  </a:lnTo>
                  <a:lnTo>
                    <a:pt x="64" y="119"/>
                  </a:lnTo>
                  <a:lnTo>
                    <a:pt x="66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8" y="121"/>
                  </a:lnTo>
                  <a:lnTo>
                    <a:pt x="82" y="121"/>
                  </a:lnTo>
                  <a:lnTo>
                    <a:pt x="86" y="121"/>
                  </a:lnTo>
                  <a:lnTo>
                    <a:pt x="88" y="121"/>
                  </a:lnTo>
                  <a:lnTo>
                    <a:pt x="93" y="121"/>
                  </a:lnTo>
                  <a:lnTo>
                    <a:pt x="95" y="123"/>
                  </a:lnTo>
                  <a:lnTo>
                    <a:pt x="95" y="123"/>
                  </a:lnTo>
                  <a:lnTo>
                    <a:pt x="97" y="121"/>
                  </a:lnTo>
                  <a:lnTo>
                    <a:pt x="101" y="119"/>
                  </a:lnTo>
                  <a:lnTo>
                    <a:pt x="103" y="115"/>
                  </a:lnTo>
                  <a:lnTo>
                    <a:pt x="105" y="113"/>
                  </a:lnTo>
                  <a:lnTo>
                    <a:pt x="107" y="111"/>
                  </a:lnTo>
                  <a:lnTo>
                    <a:pt x="111" y="107"/>
                  </a:lnTo>
                  <a:lnTo>
                    <a:pt x="113" y="105"/>
                  </a:lnTo>
                  <a:lnTo>
                    <a:pt x="113" y="103"/>
                  </a:lnTo>
                  <a:lnTo>
                    <a:pt x="113" y="103"/>
                  </a:lnTo>
                  <a:lnTo>
                    <a:pt x="113" y="101"/>
                  </a:lnTo>
                  <a:lnTo>
                    <a:pt x="115" y="97"/>
                  </a:lnTo>
                  <a:lnTo>
                    <a:pt x="115" y="94"/>
                  </a:lnTo>
                  <a:lnTo>
                    <a:pt x="115" y="92"/>
                  </a:lnTo>
                  <a:lnTo>
                    <a:pt x="115" y="90"/>
                  </a:lnTo>
                  <a:lnTo>
                    <a:pt x="115" y="90"/>
                  </a:lnTo>
                  <a:lnTo>
                    <a:pt x="119" y="88"/>
                  </a:lnTo>
                  <a:lnTo>
                    <a:pt x="119" y="86"/>
                  </a:lnTo>
                  <a:lnTo>
                    <a:pt x="121" y="84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1" y="74"/>
                  </a:lnTo>
                  <a:lnTo>
                    <a:pt x="121" y="72"/>
                  </a:lnTo>
                  <a:lnTo>
                    <a:pt x="121" y="68"/>
                  </a:lnTo>
                  <a:lnTo>
                    <a:pt x="121" y="66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21" y="62"/>
                  </a:lnTo>
                  <a:lnTo>
                    <a:pt x="119" y="62"/>
                  </a:lnTo>
                  <a:lnTo>
                    <a:pt x="119" y="60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21" y="57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23" y="53"/>
                  </a:lnTo>
                  <a:lnTo>
                    <a:pt x="123" y="51"/>
                  </a:lnTo>
                  <a:lnTo>
                    <a:pt x="125" y="49"/>
                  </a:lnTo>
                  <a:lnTo>
                    <a:pt x="125" y="49"/>
                  </a:lnTo>
                  <a:lnTo>
                    <a:pt x="125" y="47"/>
                  </a:lnTo>
                  <a:lnTo>
                    <a:pt x="123" y="4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3E3EAB66-E0EF-6242-86A3-923387F0CB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7859" y="3712059"/>
              <a:ext cx="226982" cy="215098"/>
            </a:xfrm>
            <a:custGeom>
              <a:avLst/>
              <a:gdLst>
                <a:gd name="T0" fmla="*/ 189 w 191"/>
                <a:gd name="T1" fmla="*/ 43 h 181"/>
                <a:gd name="T2" fmla="*/ 185 w 191"/>
                <a:gd name="T3" fmla="*/ 35 h 181"/>
                <a:gd name="T4" fmla="*/ 183 w 191"/>
                <a:gd name="T5" fmla="*/ 27 h 181"/>
                <a:gd name="T6" fmla="*/ 178 w 191"/>
                <a:gd name="T7" fmla="*/ 27 h 181"/>
                <a:gd name="T8" fmla="*/ 176 w 191"/>
                <a:gd name="T9" fmla="*/ 21 h 181"/>
                <a:gd name="T10" fmla="*/ 166 w 191"/>
                <a:gd name="T11" fmla="*/ 17 h 181"/>
                <a:gd name="T12" fmla="*/ 160 w 191"/>
                <a:gd name="T13" fmla="*/ 15 h 181"/>
                <a:gd name="T14" fmla="*/ 156 w 191"/>
                <a:gd name="T15" fmla="*/ 10 h 181"/>
                <a:gd name="T16" fmla="*/ 146 w 191"/>
                <a:gd name="T17" fmla="*/ 6 h 181"/>
                <a:gd name="T18" fmla="*/ 133 w 191"/>
                <a:gd name="T19" fmla="*/ 2 h 181"/>
                <a:gd name="T20" fmla="*/ 115 w 191"/>
                <a:gd name="T21" fmla="*/ 8 h 181"/>
                <a:gd name="T22" fmla="*/ 109 w 191"/>
                <a:gd name="T23" fmla="*/ 17 h 181"/>
                <a:gd name="T24" fmla="*/ 109 w 191"/>
                <a:gd name="T25" fmla="*/ 31 h 181"/>
                <a:gd name="T26" fmla="*/ 109 w 191"/>
                <a:gd name="T27" fmla="*/ 45 h 181"/>
                <a:gd name="T28" fmla="*/ 105 w 191"/>
                <a:gd name="T29" fmla="*/ 62 h 181"/>
                <a:gd name="T30" fmla="*/ 111 w 191"/>
                <a:gd name="T31" fmla="*/ 72 h 181"/>
                <a:gd name="T32" fmla="*/ 121 w 191"/>
                <a:gd name="T33" fmla="*/ 78 h 181"/>
                <a:gd name="T34" fmla="*/ 123 w 191"/>
                <a:gd name="T35" fmla="*/ 74 h 181"/>
                <a:gd name="T36" fmla="*/ 127 w 191"/>
                <a:gd name="T37" fmla="*/ 82 h 181"/>
                <a:gd name="T38" fmla="*/ 127 w 191"/>
                <a:gd name="T39" fmla="*/ 97 h 181"/>
                <a:gd name="T40" fmla="*/ 123 w 191"/>
                <a:gd name="T41" fmla="*/ 93 h 181"/>
                <a:gd name="T42" fmla="*/ 115 w 191"/>
                <a:gd name="T43" fmla="*/ 95 h 181"/>
                <a:gd name="T44" fmla="*/ 109 w 191"/>
                <a:gd name="T45" fmla="*/ 86 h 181"/>
                <a:gd name="T46" fmla="*/ 105 w 191"/>
                <a:gd name="T47" fmla="*/ 80 h 181"/>
                <a:gd name="T48" fmla="*/ 92 w 191"/>
                <a:gd name="T49" fmla="*/ 76 h 181"/>
                <a:gd name="T50" fmla="*/ 86 w 191"/>
                <a:gd name="T51" fmla="*/ 64 h 181"/>
                <a:gd name="T52" fmla="*/ 82 w 191"/>
                <a:gd name="T53" fmla="*/ 68 h 181"/>
                <a:gd name="T54" fmla="*/ 74 w 191"/>
                <a:gd name="T55" fmla="*/ 70 h 181"/>
                <a:gd name="T56" fmla="*/ 59 w 191"/>
                <a:gd name="T57" fmla="*/ 66 h 181"/>
                <a:gd name="T58" fmla="*/ 55 w 191"/>
                <a:gd name="T59" fmla="*/ 60 h 181"/>
                <a:gd name="T60" fmla="*/ 51 w 191"/>
                <a:gd name="T61" fmla="*/ 58 h 181"/>
                <a:gd name="T62" fmla="*/ 41 w 191"/>
                <a:gd name="T63" fmla="*/ 60 h 181"/>
                <a:gd name="T64" fmla="*/ 39 w 191"/>
                <a:gd name="T65" fmla="*/ 54 h 181"/>
                <a:gd name="T66" fmla="*/ 33 w 191"/>
                <a:gd name="T67" fmla="*/ 49 h 181"/>
                <a:gd name="T68" fmla="*/ 35 w 191"/>
                <a:gd name="T69" fmla="*/ 60 h 181"/>
                <a:gd name="T70" fmla="*/ 33 w 191"/>
                <a:gd name="T71" fmla="*/ 70 h 181"/>
                <a:gd name="T72" fmla="*/ 33 w 191"/>
                <a:gd name="T73" fmla="*/ 84 h 181"/>
                <a:gd name="T74" fmla="*/ 2 w 191"/>
                <a:gd name="T75" fmla="*/ 89 h 181"/>
                <a:gd name="T76" fmla="*/ 0 w 191"/>
                <a:gd name="T77" fmla="*/ 121 h 181"/>
                <a:gd name="T78" fmla="*/ 4 w 191"/>
                <a:gd name="T79" fmla="*/ 154 h 181"/>
                <a:gd name="T80" fmla="*/ 16 w 191"/>
                <a:gd name="T81" fmla="*/ 167 h 181"/>
                <a:gd name="T82" fmla="*/ 37 w 191"/>
                <a:gd name="T83" fmla="*/ 171 h 181"/>
                <a:gd name="T84" fmla="*/ 53 w 191"/>
                <a:gd name="T85" fmla="*/ 177 h 181"/>
                <a:gd name="T86" fmla="*/ 64 w 191"/>
                <a:gd name="T87" fmla="*/ 179 h 181"/>
                <a:gd name="T88" fmla="*/ 84 w 191"/>
                <a:gd name="T89" fmla="*/ 175 h 181"/>
                <a:gd name="T90" fmla="*/ 103 w 191"/>
                <a:gd name="T91" fmla="*/ 156 h 181"/>
                <a:gd name="T92" fmla="*/ 111 w 191"/>
                <a:gd name="T93" fmla="*/ 144 h 181"/>
                <a:gd name="T94" fmla="*/ 125 w 191"/>
                <a:gd name="T95" fmla="*/ 138 h 181"/>
                <a:gd name="T96" fmla="*/ 133 w 191"/>
                <a:gd name="T97" fmla="*/ 132 h 181"/>
                <a:gd name="T98" fmla="*/ 137 w 191"/>
                <a:gd name="T99" fmla="*/ 123 h 181"/>
                <a:gd name="T100" fmla="*/ 156 w 191"/>
                <a:gd name="T101" fmla="*/ 117 h 181"/>
                <a:gd name="T102" fmla="*/ 170 w 191"/>
                <a:gd name="T103" fmla="*/ 111 h 181"/>
                <a:gd name="T104" fmla="*/ 178 w 191"/>
                <a:gd name="T105" fmla="*/ 107 h 181"/>
                <a:gd name="T106" fmla="*/ 176 w 191"/>
                <a:gd name="T107" fmla="*/ 103 h 181"/>
                <a:gd name="T108" fmla="*/ 174 w 191"/>
                <a:gd name="T109" fmla="*/ 101 h 181"/>
                <a:gd name="T110" fmla="*/ 176 w 191"/>
                <a:gd name="T111" fmla="*/ 95 h 181"/>
                <a:gd name="T112" fmla="*/ 178 w 191"/>
                <a:gd name="T113" fmla="*/ 86 h 181"/>
                <a:gd name="T114" fmla="*/ 185 w 191"/>
                <a:gd name="T115" fmla="*/ 80 h 181"/>
                <a:gd name="T116" fmla="*/ 185 w 191"/>
                <a:gd name="T117" fmla="*/ 76 h 181"/>
                <a:gd name="T118" fmla="*/ 183 w 191"/>
                <a:gd name="T119" fmla="*/ 62 h 181"/>
                <a:gd name="T120" fmla="*/ 185 w 191"/>
                <a:gd name="T121" fmla="*/ 5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1" h="181">
                  <a:moveTo>
                    <a:pt x="185" y="49"/>
                  </a:moveTo>
                  <a:lnTo>
                    <a:pt x="187" y="47"/>
                  </a:lnTo>
                  <a:lnTo>
                    <a:pt x="187" y="47"/>
                  </a:lnTo>
                  <a:lnTo>
                    <a:pt x="191" y="45"/>
                  </a:lnTo>
                  <a:lnTo>
                    <a:pt x="191" y="43"/>
                  </a:lnTo>
                  <a:lnTo>
                    <a:pt x="189" y="43"/>
                  </a:lnTo>
                  <a:lnTo>
                    <a:pt x="189" y="41"/>
                  </a:lnTo>
                  <a:lnTo>
                    <a:pt x="189" y="39"/>
                  </a:lnTo>
                  <a:lnTo>
                    <a:pt x="189" y="37"/>
                  </a:lnTo>
                  <a:lnTo>
                    <a:pt x="187" y="37"/>
                  </a:lnTo>
                  <a:lnTo>
                    <a:pt x="187" y="35"/>
                  </a:lnTo>
                  <a:lnTo>
                    <a:pt x="185" y="35"/>
                  </a:lnTo>
                  <a:lnTo>
                    <a:pt x="185" y="33"/>
                  </a:lnTo>
                  <a:lnTo>
                    <a:pt x="185" y="31"/>
                  </a:lnTo>
                  <a:lnTo>
                    <a:pt x="185" y="31"/>
                  </a:lnTo>
                  <a:lnTo>
                    <a:pt x="183" y="29"/>
                  </a:lnTo>
                  <a:lnTo>
                    <a:pt x="183" y="27"/>
                  </a:lnTo>
                  <a:lnTo>
                    <a:pt x="183" y="27"/>
                  </a:lnTo>
                  <a:lnTo>
                    <a:pt x="183" y="27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78" y="27"/>
                  </a:lnTo>
                  <a:lnTo>
                    <a:pt x="178" y="27"/>
                  </a:lnTo>
                  <a:lnTo>
                    <a:pt x="178" y="25"/>
                  </a:lnTo>
                  <a:lnTo>
                    <a:pt x="178" y="25"/>
                  </a:lnTo>
                  <a:lnTo>
                    <a:pt x="178" y="23"/>
                  </a:lnTo>
                  <a:lnTo>
                    <a:pt x="178" y="23"/>
                  </a:lnTo>
                  <a:lnTo>
                    <a:pt x="176" y="23"/>
                  </a:lnTo>
                  <a:lnTo>
                    <a:pt x="176" y="21"/>
                  </a:lnTo>
                  <a:lnTo>
                    <a:pt x="174" y="21"/>
                  </a:lnTo>
                  <a:lnTo>
                    <a:pt x="172" y="19"/>
                  </a:lnTo>
                  <a:lnTo>
                    <a:pt x="170" y="19"/>
                  </a:lnTo>
                  <a:lnTo>
                    <a:pt x="168" y="19"/>
                  </a:lnTo>
                  <a:lnTo>
                    <a:pt x="166" y="19"/>
                  </a:lnTo>
                  <a:lnTo>
                    <a:pt x="166" y="17"/>
                  </a:lnTo>
                  <a:lnTo>
                    <a:pt x="164" y="17"/>
                  </a:lnTo>
                  <a:lnTo>
                    <a:pt x="162" y="17"/>
                  </a:lnTo>
                  <a:lnTo>
                    <a:pt x="162" y="17"/>
                  </a:lnTo>
                  <a:lnTo>
                    <a:pt x="162" y="15"/>
                  </a:lnTo>
                  <a:lnTo>
                    <a:pt x="162" y="15"/>
                  </a:lnTo>
                  <a:lnTo>
                    <a:pt x="160" y="15"/>
                  </a:lnTo>
                  <a:lnTo>
                    <a:pt x="160" y="15"/>
                  </a:lnTo>
                  <a:lnTo>
                    <a:pt x="158" y="15"/>
                  </a:lnTo>
                  <a:lnTo>
                    <a:pt x="158" y="15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6" y="10"/>
                  </a:lnTo>
                  <a:lnTo>
                    <a:pt x="154" y="8"/>
                  </a:lnTo>
                  <a:lnTo>
                    <a:pt x="154" y="8"/>
                  </a:lnTo>
                  <a:lnTo>
                    <a:pt x="150" y="8"/>
                  </a:lnTo>
                  <a:lnTo>
                    <a:pt x="148" y="8"/>
                  </a:lnTo>
                  <a:lnTo>
                    <a:pt x="148" y="6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4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37" y="2"/>
                  </a:lnTo>
                  <a:lnTo>
                    <a:pt x="133" y="2"/>
                  </a:lnTo>
                  <a:lnTo>
                    <a:pt x="127" y="4"/>
                  </a:lnTo>
                  <a:lnTo>
                    <a:pt x="123" y="4"/>
                  </a:lnTo>
                  <a:lnTo>
                    <a:pt x="119" y="4"/>
                  </a:lnTo>
                  <a:lnTo>
                    <a:pt x="115" y="6"/>
                  </a:lnTo>
                  <a:lnTo>
                    <a:pt x="113" y="6"/>
                  </a:lnTo>
                  <a:lnTo>
                    <a:pt x="115" y="8"/>
                  </a:lnTo>
                  <a:lnTo>
                    <a:pt x="115" y="10"/>
                  </a:lnTo>
                  <a:lnTo>
                    <a:pt x="113" y="10"/>
                  </a:lnTo>
                  <a:lnTo>
                    <a:pt x="113" y="12"/>
                  </a:lnTo>
                  <a:lnTo>
                    <a:pt x="111" y="15"/>
                  </a:lnTo>
                  <a:lnTo>
                    <a:pt x="111" y="17"/>
                  </a:lnTo>
                  <a:lnTo>
                    <a:pt x="109" y="17"/>
                  </a:lnTo>
                  <a:lnTo>
                    <a:pt x="107" y="19"/>
                  </a:lnTo>
                  <a:lnTo>
                    <a:pt x="105" y="19"/>
                  </a:lnTo>
                  <a:lnTo>
                    <a:pt x="105" y="21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09" y="31"/>
                  </a:lnTo>
                  <a:lnTo>
                    <a:pt x="109" y="33"/>
                  </a:lnTo>
                  <a:lnTo>
                    <a:pt x="109" y="35"/>
                  </a:lnTo>
                  <a:lnTo>
                    <a:pt x="109" y="39"/>
                  </a:lnTo>
                  <a:lnTo>
                    <a:pt x="109" y="41"/>
                  </a:lnTo>
                  <a:lnTo>
                    <a:pt x="109" y="43"/>
                  </a:lnTo>
                  <a:lnTo>
                    <a:pt x="109" y="45"/>
                  </a:lnTo>
                  <a:lnTo>
                    <a:pt x="107" y="47"/>
                  </a:lnTo>
                  <a:lnTo>
                    <a:pt x="107" y="52"/>
                  </a:lnTo>
                  <a:lnTo>
                    <a:pt x="107" y="54"/>
                  </a:lnTo>
                  <a:lnTo>
                    <a:pt x="105" y="58"/>
                  </a:lnTo>
                  <a:lnTo>
                    <a:pt x="105" y="62"/>
                  </a:lnTo>
                  <a:lnTo>
                    <a:pt x="105" y="62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7" y="66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11" y="72"/>
                  </a:lnTo>
                  <a:lnTo>
                    <a:pt x="113" y="72"/>
                  </a:lnTo>
                  <a:lnTo>
                    <a:pt x="115" y="74"/>
                  </a:lnTo>
                  <a:lnTo>
                    <a:pt x="115" y="76"/>
                  </a:lnTo>
                  <a:lnTo>
                    <a:pt x="117" y="76"/>
                  </a:lnTo>
                  <a:lnTo>
                    <a:pt x="119" y="78"/>
                  </a:lnTo>
                  <a:lnTo>
                    <a:pt x="121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74"/>
                  </a:lnTo>
                  <a:lnTo>
                    <a:pt x="127" y="74"/>
                  </a:lnTo>
                  <a:lnTo>
                    <a:pt x="127" y="74"/>
                  </a:lnTo>
                  <a:lnTo>
                    <a:pt x="127" y="76"/>
                  </a:lnTo>
                  <a:lnTo>
                    <a:pt x="127" y="78"/>
                  </a:lnTo>
                  <a:lnTo>
                    <a:pt x="127" y="82"/>
                  </a:lnTo>
                  <a:lnTo>
                    <a:pt x="127" y="86"/>
                  </a:lnTo>
                  <a:lnTo>
                    <a:pt x="127" y="89"/>
                  </a:lnTo>
                  <a:lnTo>
                    <a:pt x="127" y="93"/>
                  </a:lnTo>
                  <a:lnTo>
                    <a:pt x="127" y="95"/>
                  </a:lnTo>
                  <a:lnTo>
                    <a:pt x="127" y="97"/>
                  </a:lnTo>
                  <a:lnTo>
                    <a:pt x="127" y="97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5" y="95"/>
                  </a:lnTo>
                  <a:lnTo>
                    <a:pt x="125" y="95"/>
                  </a:lnTo>
                  <a:lnTo>
                    <a:pt x="123" y="93"/>
                  </a:lnTo>
                  <a:lnTo>
                    <a:pt x="123" y="93"/>
                  </a:lnTo>
                  <a:lnTo>
                    <a:pt x="121" y="93"/>
                  </a:lnTo>
                  <a:lnTo>
                    <a:pt x="121" y="95"/>
                  </a:lnTo>
                  <a:lnTo>
                    <a:pt x="119" y="95"/>
                  </a:lnTo>
                  <a:lnTo>
                    <a:pt x="117" y="97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3" y="95"/>
                  </a:lnTo>
                  <a:lnTo>
                    <a:pt x="113" y="93"/>
                  </a:lnTo>
                  <a:lnTo>
                    <a:pt x="113" y="91"/>
                  </a:lnTo>
                  <a:lnTo>
                    <a:pt x="111" y="89"/>
                  </a:lnTo>
                  <a:lnTo>
                    <a:pt x="111" y="86"/>
                  </a:lnTo>
                  <a:lnTo>
                    <a:pt x="109" y="86"/>
                  </a:lnTo>
                  <a:lnTo>
                    <a:pt x="109" y="86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7" y="82"/>
                  </a:lnTo>
                  <a:lnTo>
                    <a:pt x="105" y="80"/>
                  </a:lnTo>
                  <a:lnTo>
                    <a:pt x="105" y="80"/>
                  </a:lnTo>
                  <a:lnTo>
                    <a:pt x="105" y="78"/>
                  </a:lnTo>
                  <a:lnTo>
                    <a:pt x="103" y="78"/>
                  </a:lnTo>
                  <a:lnTo>
                    <a:pt x="98" y="76"/>
                  </a:lnTo>
                  <a:lnTo>
                    <a:pt x="96" y="76"/>
                  </a:lnTo>
                  <a:lnTo>
                    <a:pt x="94" y="76"/>
                  </a:lnTo>
                  <a:lnTo>
                    <a:pt x="92" y="76"/>
                  </a:lnTo>
                  <a:lnTo>
                    <a:pt x="92" y="74"/>
                  </a:lnTo>
                  <a:lnTo>
                    <a:pt x="90" y="74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6" y="66"/>
                  </a:lnTo>
                  <a:lnTo>
                    <a:pt x="86" y="64"/>
                  </a:lnTo>
                  <a:lnTo>
                    <a:pt x="84" y="62"/>
                  </a:lnTo>
                  <a:lnTo>
                    <a:pt x="84" y="64"/>
                  </a:lnTo>
                  <a:lnTo>
                    <a:pt x="84" y="64"/>
                  </a:lnTo>
                  <a:lnTo>
                    <a:pt x="82" y="64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78" y="70"/>
                  </a:lnTo>
                  <a:lnTo>
                    <a:pt x="76" y="70"/>
                  </a:lnTo>
                  <a:lnTo>
                    <a:pt x="74" y="70"/>
                  </a:lnTo>
                  <a:lnTo>
                    <a:pt x="72" y="70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6" y="68"/>
                  </a:lnTo>
                  <a:lnTo>
                    <a:pt x="64" y="68"/>
                  </a:lnTo>
                  <a:lnTo>
                    <a:pt x="59" y="66"/>
                  </a:lnTo>
                  <a:lnTo>
                    <a:pt x="57" y="66"/>
                  </a:lnTo>
                  <a:lnTo>
                    <a:pt x="57" y="64"/>
                  </a:lnTo>
                  <a:lnTo>
                    <a:pt x="57" y="64"/>
                  </a:lnTo>
                  <a:lnTo>
                    <a:pt x="55" y="64"/>
                  </a:lnTo>
                  <a:lnTo>
                    <a:pt x="55" y="62"/>
                  </a:lnTo>
                  <a:lnTo>
                    <a:pt x="55" y="60"/>
                  </a:lnTo>
                  <a:lnTo>
                    <a:pt x="55" y="58"/>
                  </a:lnTo>
                  <a:lnTo>
                    <a:pt x="55" y="56"/>
                  </a:lnTo>
                  <a:lnTo>
                    <a:pt x="55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1" y="58"/>
                  </a:lnTo>
                  <a:lnTo>
                    <a:pt x="49" y="58"/>
                  </a:lnTo>
                  <a:lnTo>
                    <a:pt x="47" y="58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3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39" y="60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3" y="49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35" y="58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3" y="64"/>
                  </a:lnTo>
                  <a:lnTo>
                    <a:pt x="35" y="66"/>
                  </a:lnTo>
                  <a:lnTo>
                    <a:pt x="33" y="68"/>
                  </a:lnTo>
                  <a:lnTo>
                    <a:pt x="33" y="70"/>
                  </a:lnTo>
                  <a:lnTo>
                    <a:pt x="33" y="72"/>
                  </a:lnTo>
                  <a:lnTo>
                    <a:pt x="35" y="76"/>
                  </a:lnTo>
                  <a:lnTo>
                    <a:pt x="33" y="78"/>
                  </a:lnTo>
                  <a:lnTo>
                    <a:pt x="33" y="80"/>
                  </a:lnTo>
                  <a:lnTo>
                    <a:pt x="33" y="82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1" y="89"/>
                  </a:lnTo>
                  <a:lnTo>
                    <a:pt x="2" y="89"/>
                  </a:lnTo>
                  <a:lnTo>
                    <a:pt x="2" y="91"/>
                  </a:lnTo>
                  <a:lnTo>
                    <a:pt x="2" y="97"/>
                  </a:lnTo>
                  <a:lnTo>
                    <a:pt x="2" y="103"/>
                  </a:lnTo>
                  <a:lnTo>
                    <a:pt x="2" y="109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8"/>
                  </a:lnTo>
                  <a:lnTo>
                    <a:pt x="0" y="134"/>
                  </a:lnTo>
                  <a:lnTo>
                    <a:pt x="0" y="138"/>
                  </a:lnTo>
                  <a:lnTo>
                    <a:pt x="0" y="142"/>
                  </a:lnTo>
                  <a:lnTo>
                    <a:pt x="2" y="148"/>
                  </a:lnTo>
                  <a:lnTo>
                    <a:pt x="4" y="154"/>
                  </a:lnTo>
                  <a:lnTo>
                    <a:pt x="4" y="154"/>
                  </a:lnTo>
                  <a:lnTo>
                    <a:pt x="6" y="156"/>
                  </a:lnTo>
                  <a:lnTo>
                    <a:pt x="8" y="158"/>
                  </a:lnTo>
                  <a:lnTo>
                    <a:pt x="10" y="161"/>
                  </a:lnTo>
                  <a:lnTo>
                    <a:pt x="12" y="163"/>
                  </a:lnTo>
                  <a:lnTo>
                    <a:pt x="16" y="167"/>
                  </a:lnTo>
                  <a:lnTo>
                    <a:pt x="20" y="171"/>
                  </a:lnTo>
                  <a:lnTo>
                    <a:pt x="22" y="175"/>
                  </a:lnTo>
                  <a:lnTo>
                    <a:pt x="27" y="173"/>
                  </a:lnTo>
                  <a:lnTo>
                    <a:pt x="29" y="173"/>
                  </a:lnTo>
                  <a:lnTo>
                    <a:pt x="33" y="171"/>
                  </a:lnTo>
                  <a:lnTo>
                    <a:pt x="37" y="171"/>
                  </a:lnTo>
                  <a:lnTo>
                    <a:pt x="37" y="171"/>
                  </a:lnTo>
                  <a:lnTo>
                    <a:pt x="45" y="171"/>
                  </a:lnTo>
                  <a:lnTo>
                    <a:pt x="47" y="173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53" y="177"/>
                  </a:lnTo>
                  <a:lnTo>
                    <a:pt x="55" y="177"/>
                  </a:lnTo>
                  <a:lnTo>
                    <a:pt x="57" y="177"/>
                  </a:lnTo>
                  <a:lnTo>
                    <a:pt x="59" y="177"/>
                  </a:lnTo>
                  <a:lnTo>
                    <a:pt x="59" y="177"/>
                  </a:lnTo>
                  <a:lnTo>
                    <a:pt x="61" y="179"/>
                  </a:lnTo>
                  <a:lnTo>
                    <a:pt x="64" y="179"/>
                  </a:lnTo>
                  <a:lnTo>
                    <a:pt x="66" y="179"/>
                  </a:lnTo>
                  <a:lnTo>
                    <a:pt x="70" y="179"/>
                  </a:lnTo>
                  <a:lnTo>
                    <a:pt x="74" y="181"/>
                  </a:lnTo>
                  <a:lnTo>
                    <a:pt x="76" y="181"/>
                  </a:lnTo>
                  <a:lnTo>
                    <a:pt x="80" y="179"/>
                  </a:lnTo>
                  <a:lnTo>
                    <a:pt x="84" y="175"/>
                  </a:lnTo>
                  <a:lnTo>
                    <a:pt x="88" y="171"/>
                  </a:lnTo>
                  <a:lnTo>
                    <a:pt x="90" y="167"/>
                  </a:lnTo>
                  <a:lnTo>
                    <a:pt x="92" y="163"/>
                  </a:lnTo>
                  <a:lnTo>
                    <a:pt x="96" y="161"/>
                  </a:lnTo>
                  <a:lnTo>
                    <a:pt x="98" y="158"/>
                  </a:lnTo>
                  <a:lnTo>
                    <a:pt x="103" y="156"/>
                  </a:lnTo>
                  <a:lnTo>
                    <a:pt x="109" y="154"/>
                  </a:lnTo>
                  <a:lnTo>
                    <a:pt x="109" y="154"/>
                  </a:lnTo>
                  <a:lnTo>
                    <a:pt x="111" y="152"/>
                  </a:lnTo>
                  <a:lnTo>
                    <a:pt x="111" y="150"/>
                  </a:lnTo>
                  <a:lnTo>
                    <a:pt x="111" y="146"/>
                  </a:lnTo>
                  <a:lnTo>
                    <a:pt x="111" y="144"/>
                  </a:lnTo>
                  <a:lnTo>
                    <a:pt x="111" y="144"/>
                  </a:lnTo>
                  <a:lnTo>
                    <a:pt x="113" y="142"/>
                  </a:lnTo>
                  <a:lnTo>
                    <a:pt x="115" y="142"/>
                  </a:lnTo>
                  <a:lnTo>
                    <a:pt x="117" y="140"/>
                  </a:lnTo>
                  <a:lnTo>
                    <a:pt x="121" y="138"/>
                  </a:lnTo>
                  <a:lnTo>
                    <a:pt x="125" y="138"/>
                  </a:lnTo>
                  <a:lnTo>
                    <a:pt x="129" y="138"/>
                  </a:lnTo>
                  <a:lnTo>
                    <a:pt x="133" y="138"/>
                  </a:lnTo>
                  <a:lnTo>
                    <a:pt x="135" y="138"/>
                  </a:lnTo>
                  <a:lnTo>
                    <a:pt x="135" y="134"/>
                  </a:lnTo>
                  <a:lnTo>
                    <a:pt x="135" y="132"/>
                  </a:lnTo>
                  <a:lnTo>
                    <a:pt x="133" y="132"/>
                  </a:lnTo>
                  <a:lnTo>
                    <a:pt x="133" y="130"/>
                  </a:lnTo>
                  <a:lnTo>
                    <a:pt x="133" y="128"/>
                  </a:lnTo>
                  <a:lnTo>
                    <a:pt x="133" y="126"/>
                  </a:lnTo>
                  <a:lnTo>
                    <a:pt x="133" y="126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9" y="121"/>
                  </a:lnTo>
                  <a:lnTo>
                    <a:pt x="144" y="121"/>
                  </a:lnTo>
                  <a:lnTo>
                    <a:pt x="148" y="119"/>
                  </a:lnTo>
                  <a:lnTo>
                    <a:pt x="152" y="119"/>
                  </a:lnTo>
                  <a:lnTo>
                    <a:pt x="154" y="117"/>
                  </a:lnTo>
                  <a:lnTo>
                    <a:pt x="156" y="117"/>
                  </a:lnTo>
                  <a:lnTo>
                    <a:pt x="158" y="115"/>
                  </a:lnTo>
                  <a:lnTo>
                    <a:pt x="162" y="115"/>
                  </a:lnTo>
                  <a:lnTo>
                    <a:pt x="162" y="113"/>
                  </a:lnTo>
                  <a:lnTo>
                    <a:pt x="164" y="113"/>
                  </a:lnTo>
                  <a:lnTo>
                    <a:pt x="166" y="113"/>
                  </a:lnTo>
                  <a:lnTo>
                    <a:pt x="170" y="111"/>
                  </a:lnTo>
                  <a:lnTo>
                    <a:pt x="176" y="109"/>
                  </a:lnTo>
                  <a:lnTo>
                    <a:pt x="178" y="109"/>
                  </a:lnTo>
                  <a:lnTo>
                    <a:pt x="181" y="107"/>
                  </a:lnTo>
                  <a:lnTo>
                    <a:pt x="181" y="105"/>
                  </a:lnTo>
                  <a:lnTo>
                    <a:pt x="181" y="107"/>
                  </a:lnTo>
                  <a:lnTo>
                    <a:pt x="178" y="107"/>
                  </a:lnTo>
                  <a:lnTo>
                    <a:pt x="178" y="107"/>
                  </a:lnTo>
                  <a:lnTo>
                    <a:pt x="178" y="107"/>
                  </a:lnTo>
                  <a:lnTo>
                    <a:pt x="178" y="107"/>
                  </a:lnTo>
                  <a:lnTo>
                    <a:pt x="178" y="107"/>
                  </a:lnTo>
                  <a:lnTo>
                    <a:pt x="176" y="105"/>
                  </a:lnTo>
                  <a:lnTo>
                    <a:pt x="176" y="103"/>
                  </a:lnTo>
                  <a:lnTo>
                    <a:pt x="174" y="103"/>
                  </a:lnTo>
                  <a:lnTo>
                    <a:pt x="174" y="103"/>
                  </a:lnTo>
                  <a:lnTo>
                    <a:pt x="174" y="103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2" y="101"/>
                  </a:lnTo>
                  <a:lnTo>
                    <a:pt x="172" y="99"/>
                  </a:lnTo>
                  <a:lnTo>
                    <a:pt x="174" y="99"/>
                  </a:lnTo>
                  <a:lnTo>
                    <a:pt x="174" y="99"/>
                  </a:lnTo>
                  <a:lnTo>
                    <a:pt x="176" y="97"/>
                  </a:lnTo>
                  <a:lnTo>
                    <a:pt x="176" y="95"/>
                  </a:lnTo>
                  <a:lnTo>
                    <a:pt x="176" y="93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8" y="91"/>
                  </a:lnTo>
                  <a:lnTo>
                    <a:pt x="178" y="89"/>
                  </a:lnTo>
                  <a:lnTo>
                    <a:pt x="178" y="86"/>
                  </a:lnTo>
                  <a:lnTo>
                    <a:pt x="178" y="86"/>
                  </a:lnTo>
                  <a:lnTo>
                    <a:pt x="178" y="84"/>
                  </a:lnTo>
                  <a:lnTo>
                    <a:pt x="178" y="82"/>
                  </a:lnTo>
                  <a:lnTo>
                    <a:pt x="178" y="82"/>
                  </a:lnTo>
                  <a:lnTo>
                    <a:pt x="183" y="80"/>
                  </a:lnTo>
                  <a:lnTo>
                    <a:pt x="185" y="80"/>
                  </a:lnTo>
                  <a:lnTo>
                    <a:pt x="185" y="78"/>
                  </a:lnTo>
                  <a:lnTo>
                    <a:pt x="187" y="78"/>
                  </a:lnTo>
                  <a:lnTo>
                    <a:pt x="187" y="76"/>
                  </a:lnTo>
                  <a:lnTo>
                    <a:pt x="187" y="76"/>
                  </a:lnTo>
                  <a:lnTo>
                    <a:pt x="185" y="76"/>
                  </a:lnTo>
                  <a:lnTo>
                    <a:pt x="185" y="76"/>
                  </a:lnTo>
                  <a:lnTo>
                    <a:pt x="183" y="72"/>
                  </a:lnTo>
                  <a:lnTo>
                    <a:pt x="185" y="68"/>
                  </a:lnTo>
                  <a:lnTo>
                    <a:pt x="185" y="66"/>
                  </a:lnTo>
                  <a:lnTo>
                    <a:pt x="185" y="64"/>
                  </a:lnTo>
                  <a:lnTo>
                    <a:pt x="183" y="64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0"/>
                  </a:lnTo>
                  <a:lnTo>
                    <a:pt x="183" y="60"/>
                  </a:lnTo>
                  <a:lnTo>
                    <a:pt x="185" y="56"/>
                  </a:lnTo>
                  <a:lnTo>
                    <a:pt x="185" y="56"/>
                  </a:lnTo>
                  <a:lnTo>
                    <a:pt x="185" y="54"/>
                  </a:lnTo>
                  <a:lnTo>
                    <a:pt x="185" y="52"/>
                  </a:lnTo>
                  <a:lnTo>
                    <a:pt x="183" y="49"/>
                  </a:lnTo>
                  <a:lnTo>
                    <a:pt x="183" y="49"/>
                  </a:lnTo>
                  <a:lnTo>
                    <a:pt x="185" y="49"/>
                  </a:lnTo>
                  <a:lnTo>
                    <a:pt x="185" y="4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71BC715D-C19D-7149-A27A-AE3EA6CB56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0027" y="3117865"/>
              <a:ext cx="231736" cy="147360"/>
            </a:xfrm>
            <a:custGeom>
              <a:avLst/>
              <a:gdLst>
                <a:gd name="T0" fmla="*/ 183 w 195"/>
                <a:gd name="T1" fmla="*/ 118 h 124"/>
                <a:gd name="T2" fmla="*/ 177 w 195"/>
                <a:gd name="T3" fmla="*/ 118 h 124"/>
                <a:gd name="T4" fmla="*/ 179 w 195"/>
                <a:gd name="T5" fmla="*/ 124 h 124"/>
                <a:gd name="T6" fmla="*/ 193 w 195"/>
                <a:gd name="T7" fmla="*/ 122 h 124"/>
                <a:gd name="T8" fmla="*/ 5 w 195"/>
                <a:gd name="T9" fmla="*/ 97 h 124"/>
                <a:gd name="T10" fmla="*/ 5 w 195"/>
                <a:gd name="T11" fmla="*/ 97 h 124"/>
                <a:gd name="T12" fmla="*/ 5 w 195"/>
                <a:gd name="T13" fmla="*/ 93 h 124"/>
                <a:gd name="T14" fmla="*/ 5 w 195"/>
                <a:gd name="T15" fmla="*/ 93 h 124"/>
                <a:gd name="T16" fmla="*/ 0 w 195"/>
                <a:gd name="T17" fmla="*/ 68 h 124"/>
                <a:gd name="T18" fmla="*/ 0 w 195"/>
                <a:gd name="T19" fmla="*/ 66 h 124"/>
                <a:gd name="T20" fmla="*/ 163 w 195"/>
                <a:gd name="T21" fmla="*/ 33 h 124"/>
                <a:gd name="T22" fmla="*/ 159 w 195"/>
                <a:gd name="T23" fmla="*/ 27 h 124"/>
                <a:gd name="T24" fmla="*/ 156 w 195"/>
                <a:gd name="T25" fmla="*/ 19 h 124"/>
                <a:gd name="T26" fmla="*/ 152 w 195"/>
                <a:gd name="T27" fmla="*/ 13 h 124"/>
                <a:gd name="T28" fmla="*/ 150 w 195"/>
                <a:gd name="T29" fmla="*/ 5 h 124"/>
                <a:gd name="T30" fmla="*/ 140 w 195"/>
                <a:gd name="T31" fmla="*/ 3 h 124"/>
                <a:gd name="T32" fmla="*/ 122 w 195"/>
                <a:gd name="T33" fmla="*/ 5 h 124"/>
                <a:gd name="T34" fmla="*/ 103 w 195"/>
                <a:gd name="T35" fmla="*/ 9 h 124"/>
                <a:gd name="T36" fmla="*/ 91 w 195"/>
                <a:gd name="T37" fmla="*/ 15 h 124"/>
                <a:gd name="T38" fmla="*/ 83 w 195"/>
                <a:gd name="T39" fmla="*/ 25 h 124"/>
                <a:gd name="T40" fmla="*/ 76 w 195"/>
                <a:gd name="T41" fmla="*/ 35 h 124"/>
                <a:gd name="T42" fmla="*/ 70 w 195"/>
                <a:gd name="T43" fmla="*/ 40 h 124"/>
                <a:gd name="T44" fmla="*/ 64 w 195"/>
                <a:gd name="T45" fmla="*/ 33 h 124"/>
                <a:gd name="T46" fmla="*/ 52 w 195"/>
                <a:gd name="T47" fmla="*/ 33 h 124"/>
                <a:gd name="T48" fmla="*/ 41 w 195"/>
                <a:gd name="T49" fmla="*/ 29 h 124"/>
                <a:gd name="T50" fmla="*/ 31 w 195"/>
                <a:gd name="T51" fmla="*/ 31 h 124"/>
                <a:gd name="T52" fmla="*/ 23 w 195"/>
                <a:gd name="T53" fmla="*/ 31 h 124"/>
                <a:gd name="T54" fmla="*/ 19 w 195"/>
                <a:gd name="T55" fmla="*/ 31 h 124"/>
                <a:gd name="T56" fmla="*/ 15 w 195"/>
                <a:gd name="T57" fmla="*/ 29 h 124"/>
                <a:gd name="T58" fmla="*/ 11 w 195"/>
                <a:gd name="T59" fmla="*/ 29 h 124"/>
                <a:gd name="T60" fmla="*/ 11 w 195"/>
                <a:gd name="T61" fmla="*/ 33 h 124"/>
                <a:gd name="T62" fmla="*/ 9 w 195"/>
                <a:gd name="T63" fmla="*/ 40 h 124"/>
                <a:gd name="T64" fmla="*/ 9 w 195"/>
                <a:gd name="T65" fmla="*/ 44 h 124"/>
                <a:gd name="T66" fmla="*/ 7 w 195"/>
                <a:gd name="T67" fmla="*/ 48 h 124"/>
                <a:gd name="T68" fmla="*/ 5 w 195"/>
                <a:gd name="T69" fmla="*/ 68 h 124"/>
                <a:gd name="T70" fmla="*/ 2 w 195"/>
                <a:gd name="T71" fmla="*/ 68 h 124"/>
                <a:gd name="T72" fmla="*/ 7 w 195"/>
                <a:gd name="T73" fmla="*/ 77 h 124"/>
                <a:gd name="T74" fmla="*/ 7 w 195"/>
                <a:gd name="T75" fmla="*/ 79 h 124"/>
                <a:gd name="T76" fmla="*/ 9 w 195"/>
                <a:gd name="T77" fmla="*/ 87 h 124"/>
                <a:gd name="T78" fmla="*/ 13 w 195"/>
                <a:gd name="T79" fmla="*/ 99 h 124"/>
                <a:gd name="T80" fmla="*/ 17 w 195"/>
                <a:gd name="T81" fmla="*/ 118 h 124"/>
                <a:gd name="T82" fmla="*/ 25 w 195"/>
                <a:gd name="T83" fmla="*/ 118 h 124"/>
                <a:gd name="T84" fmla="*/ 35 w 195"/>
                <a:gd name="T85" fmla="*/ 116 h 124"/>
                <a:gd name="T86" fmla="*/ 44 w 195"/>
                <a:gd name="T87" fmla="*/ 114 h 124"/>
                <a:gd name="T88" fmla="*/ 52 w 195"/>
                <a:gd name="T89" fmla="*/ 105 h 124"/>
                <a:gd name="T90" fmla="*/ 68 w 195"/>
                <a:gd name="T91" fmla="*/ 103 h 124"/>
                <a:gd name="T92" fmla="*/ 80 w 195"/>
                <a:gd name="T93" fmla="*/ 99 h 124"/>
                <a:gd name="T94" fmla="*/ 89 w 195"/>
                <a:gd name="T95" fmla="*/ 93 h 124"/>
                <a:gd name="T96" fmla="*/ 99 w 195"/>
                <a:gd name="T97" fmla="*/ 93 h 124"/>
                <a:gd name="T98" fmla="*/ 105 w 195"/>
                <a:gd name="T99" fmla="*/ 85 h 124"/>
                <a:gd name="T100" fmla="*/ 120 w 195"/>
                <a:gd name="T101" fmla="*/ 79 h 124"/>
                <a:gd name="T102" fmla="*/ 136 w 195"/>
                <a:gd name="T103" fmla="*/ 72 h 124"/>
                <a:gd name="T104" fmla="*/ 148 w 195"/>
                <a:gd name="T105" fmla="*/ 66 h 124"/>
                <a:gd name="T106" fmla="*/ 154 w 195"/>
                <a:gd name="T107" fmla="*/ 62 h 124"/>
                <a:gd name="T108" fmla="*/ 156 w 195"/>
                <a:gd name="T109" fmla="*/ 52 h 124"/>
                <a:gd name="T110" fmla="*/ 167 w 195"/>
                <a:gd name="T111" fmla="*/ 4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5" h="124">
                  <a:moveTo>
                    <a:pt x="189" y="118"/>
                  </a:moveTo>
                  <a:lnTo>
                    <a:pt x="185" y="118"/>
                  </a:lnTo>
                  <a:lnTo>
                    <a:pt x="183" y="118"/>
                  </a:lnTo>
                  <a:lnTo>
                    <a:pt x="183" y="118"/>
                  </a:lnTo>
                  <a:lnTo>
                    <a:pt x="181" y="118"/>
                  </a:lnTo>
                  <a:lnTo>
                    <a:pt x="179" y="118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20"/>
                  </a:lnTo>
                  <a:lnTo>
                    <a:pt x="175" y="120"/>
                  </a:lnTo>
                  <a:lnTo>
                    <a:pt x="179" y="122"/>
                  </a:lnTo>
                  <a:lnTo>
                    <a:pt x="179" y="124"/>
                  </a:lnTo>
                  <a:lnTo>
                    <a:pt x="181" y="124"/>
                  </a:lnTo>
                  <a:lnTo>
                    <a:pt x="189" y="124"/>
                  </a:lnTo>
                  <a:lnTo>
                    <a:pt x="191" y="122"/>
                  </a:lnTo>
                  <a:lnTo>
                    <a:pt x="193" y="122"/>
                  </a:lnTo>
                  <a:lnTo>
                    <a:pt x="193" y="120"/>
                  </a:lnTo>
                  <a:lnTo>
                    <a:pt x="195" y="120"/>
                  </a:lnTo>
                  <a:lnTo>
                    <a:pt x="189" y="118"/>
                  </a:lnTo>
                  <a:close/>
                  <a:moveTo>
                    <a:pt x="5" y="97"/>
                  </a:moveTo>
                  <a:lnTo>
                    <a:pt x="5" y="99"/>
                  </a:lnTo>
                  <a:lnTo>
                    <a:pt x="5" y="99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97"/>
                  </a:lnTo>
                  <a:close/>
                  <a:moveTo>
                    <a:pt x="5" y="93"/>
                  </a:moveTo>
                  <a:lnTo>
                    <a:pt x="5" y="93"/>
                  </a:lnTo>
                  <a:lnTo>
                    <a:pt x="5" y="93"/>
                  </a:lnTo>
                  <a:lnTo>
                    <a:pt x="5" y="91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3"/>
                  </a:lnTo>
                  <a:close/>
                  <a:moveTo>
                    <a:pt x="0" y="66"/>
                  </a:moveTo>
                  <a:lnTo>
                    <a:pt x="0" y="68"/>
                  </a:lnTo>
                  <a:lnTo>
                    <a:pt x="0" y="70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68"/>
                  </a:lnTo>
                  <a:lnTo>
                    <a:pt x="0" y="66"/>
                  </a:lnTo>
                  <a:lnTo>
                    <a:pt x="0" y="66"/>
                  </a:lnTo>
                  <a:close/>
                  <a:moveTo>
                    <a:pt x="167" y="40"/>
                  </a:moveTo>
                  <a:lnTo>
                    <a:pt x="165" y="38"/>
                  </a:lnTo>
                  <a:lnTo>
                    <a:pt x="163" y="35"/>
                  </a:lnTo>
                  <a:lnTo>
                    <a:pt x="163" y="33"/>
                  </a:lnTo>
                  <a:lnTo>
                    <a:pt x="163" y="33"/>
                  </a:lnTo>
                  <a:lnTo>
                    <a:pt x="161" y="31"/>
                  </a:lnTo>
                  <a:lnTo>
                    <a:pt x="161" y="29"/>
                  </a:lnTo>
                  <a:lnTo>
                    <a:pt x="159" y="27"/>
                  </a:lnTo>
                  <a:lnTo>
                    <a:pt x="159" y="25"/>
                  </a:lnTo>
                  <a:lnTo>
                    <a:pt x="159" y="23"/>
                  </a:lnTo>
                  <a:lnTo>
                    <a:pt x="156" y="21"/>
                  </a:lnTo>
                  <a:lnTo>
                    <a:pt x="156" y="19"/>
                  </a:lnTo>
                  <a:lnTo>
                    <a:pt x="154" y="17"/>
                  </a:lnTo>
                  <a:lnTo>
                    <a:pt x="154" y="17"/>
                  </a:lnTo>
                  <a:lnTo>
                    <a:pt x="154" y="15"/>
                  </a:lnTo>
                  <a:lnTo>
                    <a:pt x="152" y="13"/>
                  </a:lnTo>
                  <a:lnTo>
                    <a:pt x="152" y="11"/>
                  </a:lnTo>
                  <a:lnTo>
                    <a:pt x="150" y="9"/>
                  </a:lnTo>
                  <a:lnTo>
                    <a:pt x="150" y="7"/>
                  </a:lnTo>
                  <a:lnTo>
                    <a:pt x="150" y="5"/>
                  </a:lnTo>
                  <a:lnTo>
                    <a:pt x="148" y="3"/>
                  </a:lnTo>
                  <a:lnTo>
                    <a:pt x="148" y="0"/>
                  </a:lnTo>
                  <a:lnTo>
                    <a:pt x="144" y="3"/>
                  </a:lnTo>
                  <a:lnTo>
                    <a:pt x="140" y="3"/>
                  </a:lnTo>
                  <a:lnTo>
                    <a:pt x="136" y="3"/>
                  </a:lnTo>
                  <a:lnTo>
                    <a:pt x="132" y="5"/>
                  </a:lnTo>
                  <a:lnTo>
                    <a:pt x="128" y="5"/>
                  </a:lnTo>
                  <a:lnTo>
                    <a:pt x="122" y="5"/>
                  </a:lnTo>
                  <a:lnTo>
                    <a:pt x="117" y="7"/>
                  </a:lnTo>
                  <a:lnTo>
                    <a:pt x="113" y="7"/>
                  </a:lnTo>
                  <a:lnTo>
                    <a:pt x="107" y="7"/>
                  </a:lnTo>
                  <a:lnTo>
                    <a:pt x="103" y="9"/>
                  </a:lnTo>
                  <a:lnTo>
                    <a:pt x="101" y="9"/>
                  </a:lnTo>
                  <a:lnTo>
                    <a:pt x="99" y="11"/>
                  </a:lnTo>
                  <a:lnTo>
                    <a:pt x="95" y="13"/>
                  </a:lnTo>
                  <a:lnTo>
                    <a:pt x="91" y="15"/>
                  </a:lnTo>
                  <a:lnTo>
                    <a:pt x="89" y="17"/>
                  </a:lnTo>
                  <a:lnTo>
                    <a:pt x="87" y="21"/>
                  </a:lnTo>
                  <a:lnTo>
                    <a:pt x="85" y="21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78" y="29"/>
                  </a:lnTo>
                  <a:lnTo>
                    <a:pt x="78" y="31"/>
                  </a:lnTo>
                  <a:lnTo>
                    <a:pt x="76" y="35"/>
                  </a:lnTo>
                  <a:lnTo>
                    <a:pt x="76" y="38"/>
                  </a:lnTo>
                  <a:lnTo>
                    <a:pt x="74" y="38"/>
                  </a:lnTo>
                  <a:lnTo>
                    <a:pt x="72" y="40"/>
                  </a:lnTo>
                  <a:lnTo>
                    <a:pt x="70" y="40"/>
                  </a:lnTo>
                  <a:lnTo>
                    <a:pt x="68" y="38"/>
                  </a:lnTo>
                  <a:lnTo>
                    <a:pt x="66" y="33"/>
                  </a:lnTo>
                  <a:lnTo>
                    <a:pt x="66" y="33"/>
                  </a:lnTo>
                  <a:lnTo>
                    <a:pt x="64" y="33"/>
                  </a:lnTo>
                  <a:lnTo>
                    <a:pt x="62" y="33"/>
                  </a:lnTo>
                  <a:lnTo>
                    <a:pt x="60" y="33"/>
                  </a:lnTo>
                  <a:lnTo>
                    <a:pt x="56" y="33"/>
                  </a:lnTo>
                  <a:lnTo>
                    <a:pt x="52" y="33"/>
                  </a:lnTo>
                  <a:lnTo>
                    <a:pt x="48" y="33"/>
                  </a:lnTo>
                  <a:lnTo>
                    <a:pt x="46" y="31"/>
                  </a:lnTo>
                  <a:lnTo>
                    <a:pt x="41" y="31"/>
                  </a:lnTo>
                  <a:lnTo>
                    <a:pt x="41" y="29"/>
                  </a:lnTo>
                  <a:lnTo>
                    <a:pt x="39" y="29"/>
                  </a:lnTo>
                  <a:lnTo>
                    <a:pt x="37" y="29"/>
                  </a:lnTo>
                  <a:lnTo>
                    <a:pt x="33" y="29"/>
                  </a:lnTo>
                  <a:lnTo>
                    <a:pt x="31" y="31"/>
                  </a:lnTo>
                  <a:lnTo>
                    <a:pt x="27" y="31"/>
                  </a:lnTo>
                  <a:lnTo>
                    <a:pt x="25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19" y="31"/>
                  </a:lnTo>
                  <a:lnTo>
                    <a:pt x="17" y="31"/>
                  </a:lnTo>
                  <a:lnTo>
                    <a:pt x="17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9" y="33"/>
                  </a:lnTo>
                  <a:lnTo>
                    <a:pt x="9" y="35"/>
                  </a:lnTo>
                  <a:lnTo>
                    <a:pt x="9" y="38"/>
                  </a:lnTo>
                  <a:lnTo>
                    <a:pt x="9" y="40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7" y="48"/>
                  </a:lnTo>
                  <a:lnTo>
                    <a:pt x="5" y="50"/>
                  </a:lnTo>
                  <a:lnTo>
                    <a:pt x="5" y="56"/>
                  </a:lnTo>
                  <a:lnTo>
                    <a:pt x="2" y="62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70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70"/>
                  </a:lnTo>
                  <a:lnTo>
                    <a:pt x="5" y="72"/>
                  </a:lnTo>
                  <a:lnTo>
                    <a:pt x="7" y="75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5"/>
                  </a:lnTo>
                  <a:lnTo>
                    <a:pt x="9" y="87"/>
                  </a:lnTo>
                  <a:lnTo>
                    <a:pt x="11" y="89"/>
                  </a:lnTo>
                  <a:lnTo>
                    <a:pt x="11" y="93"/>
                  </a:lnTo>
                  <a:lnTo>
                    <a:pt x="13" y="95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107"/>
                  </a:lnTo>
                  <a:lnTo>
                    <a:pt x="17" y="114"/>
                  </a:lnTo>
                  <a:lnTo>
                    <a:pt x="17" y="118"/>
                  </a:lnTo>
                  <a:lnTo>
                    <a:pt x="19" y="116"/>
                  </a:lnTo>
                  <a:lnTo>
                    <a:pt x="23" y="118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7" y="118"/>
                  </a:lnTo>
                  <a:lnTo>
                    <a:pt x="29" y="118"/>
                  </a:lnTo>
                  <a:lnTo>
                    <a:pt x="31" y="118"/>
                  </a:lnTo>
                  <a:lnTo>
                    <a:pt x="35" y="116"/>
                  </a:lnTo>
                  <a:lnTo>
                    <a:pt x="37" y="116"/>
                  </a:lnTo>
                  <a:lnTo>
                    <a:pt x="39" y="116"/>
                  </a:lnTo>
                  <a:lnTo>
                    <a:pt x="41" y="116"/>
                  </a:lnTo>
                  <a:lnTo>
                    <a:pt x="44" y="114"/>
                  </a:lnTo>
                  <a:lnTo>
                    <a:pt x="44" y="112"/>
                  </a:lnTo>
                  <a:lnTo>
                    <a:pt x="48" y="109"/>
                  </a:lnTo>
                  <a:lnTo>
                    <a:pt x="50" y="107"/>
                  </a:lnTo>
                  <a:lnTo>
                    <a:pt x="52" y="105"/>
                  </a:lnTo>
                  <a:lnTo>
                    <a:pt x="56" y="103"/>
                  </a:lnTo>
                  <a:lnTo>
                    <a:pt x="60" y="103"/>
                  </a:lnTo>
                  <a:lnTo>
                    <a:pt x="66" y="103"/>
                  </a:lnTo>
                  <a:lnTo>
                    <a:pt x="68" y="103"/>
                  </a:lnTo>
                  <a:lnTo>
                    <a:pt x="70" y="103"/>
                  </a:lnTo>
                  <a:lnTo>
                    <a:pt x="72" y="101"/>
                  </a:lnTo>
                  <a:lnTo>
                    <a:pt x="76" y="101"/>
                  </a:lnTo>
                  <a:lnTo>
                    <a:pt x="80" y="99"/>
                  </a:lnTo>
                  <a:lnTo>
                    <a:pt x="83" y="95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9" y="93"/>
                  </a:lnTo>
                  <a:lnTo>
                    <a:pt x="93" y="93"/>
                  </a:lnTo>
                  <a:lnTo>
                    <a:pt x="97" y="93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101" y="91"/>
                  </a:lnTo>
                  <a:lnTo>
                    <a:pt x="103" y="89"/>
                  </a:lnTo>
                  <a:lnTo>
                    <a:pt x="105" y="87"/>
                  </a:lnTo>
                  <a:lnTo>
                    <a:pt x="105" y="85"/>
                  </a:lnTo>
                  <a:lnTo>
                    <a:pt x="107" y="85"/>
                  </a:lnTo>
                  <a:lnTo>
                    <a:pt x="109" y="81"/>
                  </a:lnTo>
                  <a:lnTo>
                    <a:pt x="113" y="81"/>
                  </a:lnTo>
                  <a:lnTo>
                    <a:pt x="120" y="79"/>
                  </a:lnTo>
                  <a:lnTo>
                    <a:pt x="124" y="77"/>
                  </a:lnTo>
                  <a:lnTo>
                    <a:pt x="126" y="77"/>
                  </a:lnTo>
                  <a:lnTo>
                    <a:pt x="128" y="75"/>
                  </a:lnTo>
                  <a:lnTo>
                    <a:pt x="136" y="72"/>
                  </a:lnTo>
                  <a:lnTo>
                    <a:pt x="142" y="70"/>
                  </a:lnTo>
                  <a:lnTo>
                    <a:pt x="146" y="68"/>
                  </a:lnTo>
                  <a:lnTo>
                    <a:pt x="146" y="68"/>
                  </a:lnTo>
                  <a:lnTo>
                    <a:pt x="148" y="66"/>
                  </a:lnTo>
                  <a:lnTo>
                    <a:pt x="148" y="66"/>
                  </a:lnTo>
                  <a:lnTo>
                    <a:pt x="150" y="64"/>
                  </a:lnTo>
                  <a:lnTo>
                    <a:pt x="152" y="64"/>
                  </a:lnTo>
                  <a:lnTo>
                    <a:pt x="154" y="62"/>
                  </a:lnTo>
                  <a:lnTo>
                    <a:pt x="154" y="60"/>
                  </a:lnTo>
                  <a:lnTo>
                    <a:pt x="154" y="58"/>
                  </a:lnTo>
                  <a:lnTo>
                    <a:pt x="154" y="54"/>
                  </a:lnTo>
                  <a:lnTo>
                    <a:pt x="156" y="52"/>
                  </a:lnTo>
                  <a:lnTo>
                    <a:pt x="159" y="50"/>
                  </a:lnTo>
                  <a:lnTo>
                    <a:pt x="161" y="48"/>
                  </a:lnTo>
                  <a:lnTo>
                    <a:pt x="169" y="44"/>
                  </a:lnTo>
                  <a:lnTo>
                    <a:pt x="167" y="42"/>
                  </a:lnTo>
                  <a:lnTo>
                    <a:pt x="167" y="4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8735DFF4-F0A8-C945-ADB2-756E52E82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682" y="2930100"/>
              <a:ext cx="165186" cy="149737"/>
            </a:xfrm>
            <a:custGeom>
              <a:avLst/>
              <a:gdLst>
                <a:gd name="T0" fmla="*/ 137 w 139"/>
                <a:gd name="T1" fmla="*/ 2 h 126"/>
                <a:gd name="T2" fmla="*/ 137 w 139"/>
                <a:gd name="T3" fmla="*/ 6 h 126"/>
                <a:gd name="T4" fmla="*/ 137 w 139"/>
                <a:gd name="T5" fmla="*/ 10 h 126"/>
                <a:gd name="T6" fmla="*/ 129 w 139"/>
                <a:gd name="T7" fmla="*/ 10 h 126"/>
                <a:gd name="T8" fmla="*/ 125 w 139"/>
                <a:gd name="T9" fmla="*/ 10 h 126"/>
                <a:gd name="T10" fmla="*/ 121 w 139"/>
                <a:gd name="T11" fmla="*/ 15 h 126"/>
                <a:gd name="T12" fmla="*/ 117 w 139"/>
                <a:gd name="T13" fmla="*/ 15 h 126"/>
                <a:gd name="T14" fmla="*/ 113 w 139"/>
                <a:gd name="T15" fmla="*/ 15 h 126"/>
                <a:gd name="T16" fmla="*/ 107 w 139"/>
                <a:gd name="T17" fmla="*/ 13 h 126"/>
                <a:gd name="T18" fmla="*/ 98 w 139"/>
                <a:gd name="T19" fmla="*/ 13 h 126"/>
                <a:gd name="T20" fmla="*/ 96 w 139"/>
                <a:gd name="T21" fmla="*/ 17 h 126"/>
                <a:gd name="T22" fmla="*/ 94 w 139"/>
                <a:gd name="T23" fmla="*/ 21 h 126"/>
                <a:gd name="T24" fmla="*/ 90 w 139"/>
                <a:gd name="T25" fmla="*/ 25 h 126"/>
                <a:gd name="T26" fmla="*/ 88 w 139"/>
                <a:gd name="T27" fmla="*/ 29 h 126"/>
                <a:gd name="T28" fmla="*/ 84 w 139"/>
                <a:gd name="T29" fmla="*/ 31 h 126"/>
                <a:gd name="T30" fmla="*/ 84 w 139"/>
                <a:gd name="T31" fmla="*/ 33 h 126"/>
                <a:gd name="T32" fmla="*/ 82 w 139"/>
                <a:gd name="T33" fmla="*/ 41 h 126"/>
                <a:gd name="T34" fmla="*/ 78 w 139"/>
                <a:gd name="T35" fmla="*/ 52 h 126"/>
                <a:gd name="T36" fmla="*/ 74 w 139"/>
                <a:gd name="T37" fmla="*/ 56 h 126"/>
                <a:gd name="T38" fmla="*/ 70 w 139"/>
                <a:gd name="T39" fmla="*/ 58 h 126"/>
                <a:gd name="T40" fmla="*/ 65 w 139"/>
                <a:gd name="T41" fmla="*/ 64 h 126"/>
                <a:gd name="T42" fmla="*/ 61 w 139"/>
                <a:gd name="T43" fmla="*/ 68 h 126"/>
                <a:gd name="T44" fmla="*/ 55 w 139"/>
                <a:gd name="T45" fmla="*/ 72 h 126"/>
                <a:gd name="T46" fmla="*/ 51 w 139"/>
                <a:gd name="T47" fmla="*/ 76 h 126"/>
                <a:gd name="T48" fmla="*/ 49 w 139"/>
                <a:gd name="T49" fmla="*/ 87 h 126"/>
                <a:gd name="T50" fmla="*/ 47 w 139"/>
                <a:gd name="T51" fmla="*/ 97 h 126"/>
                <a:gd name="T52" fmla="*/ 45 w 139"/>
                <a:gd name="T53" fmla="*/ 101 h 126"/>
                <a:gd name="T54" fmla="*/ 43 w 139"/>
                <a:gd name="T55" fmla="*/ 105 h 126"/>
                <a:gd name="T56" fmla="*/ 41 w 139"/>
                <a:gd name="T57" fmla="*/ 109 h 126"/>
                <a:gd name="T58" fmla="*/ 37 w 139"/>
                <a:gd name="T59" fmla="*/ 115 h 126"/>
                <a:gd name="T60" fmla="*/ 26 w 139"/>
                <a:gd name="T61" fmla="*/ 115 h 126"/>
                <a:gd name="T62" fmla="*/ 18 w 139"/>
                <a:gd name="T63" fmla="*/ 113 h 126"/>
                <a:gd name="T64" fmla="*/ 4 w 139"/>
                <a:gd name="T65" fmla="*/ 115 h 126"/>
                <a:gd name="T66" fmla="*/ 0 w 139"/>
                <a:gd name="T67" fmla="*/ 126 h 126"/>
                <a:gd name="T68" fmla="*/ 2 w 139"/>
                <a:gd name="T69" fmla="*/ 119 h 126"/>
                <a:gd name="T70" fmla="*/ 12 w 139"/>
                <a:gd name="T71" fmla="*/ 117 h 126"/>
                <a:gd name="T72" fmla="*/ 26 w 139"/>
                <a:gd name="T73" fmla="*/ 117 h 126"/>
                <a:gd name="T74" fmla="*/ 41 w 139"/>
                <a:gd name="T75" fmla="*/ 117 h 126"/>
                <a:gd name="T76" fmla="*/ 55 w 139"/>
                <a:gd name="T77" fmla="*/ 117 h 126"/>
                <a:gd name="T78" fmla="*/ 65 w 139"/>
                <a:gd name="T79" fmla="*/ 113 h 126"/>
                <a:gd name="T80" fmla="*/ 65 w 139"/>
                <a:gd name="T81" fmla="*/ 105 h 126"/>
                <a:gd name="T82" fmla="*/ 65 w 139"/>
                <a:gd name="T83" fmla="*/ 95 h 126"/>
                <a:gd name="T84" fmla="*/ 63 w 139"/>
                <a:gd name="T85" fmla="*/ 89 h 126"/>
                <a:gd name="T86" fmla="*/ 72 w 139"/>
                <a:gd name="T87" fmla="*/ 82 h 126"/>
                <a:gd name="T88" fmla="*/ 80 w 139"/>
                <a:gd name="T89" fmla="*/ 78 h 126"/>
                <a:gd name="T90" fmla="*/ 84 w 139"/>
                <a:gd name="T91" fmla="*/ 72 h 126"/>
                <a:gd name="T92" fmla="*/ 84 w 139"/>
                <a:gd name="T93" fmla="*/ 64 h 126"/>
                <a:gd name="T94" fmla="*/ 84 w 139"/>
                <a:gd name="T95" fmla="*/ 54 h 126"/>
                <a:gd name="T96" fmla="*/ 84 w 139"/>
                <a:gd name="T97" fmla="*/ 43 h 126"/>
                <a:gd name="T98" fmla="*/ 84 w 139"/>
                <a:gd name="T99" fmla="*/ 33 h 126"/>
                <a:gd name="T100" fmla="*/ 119 w 139"/>
                <a:gd name="T101" fmla="*/ 31 h 126"/>
                <a:gd name="T102" fmla="*/ 137 w 139"/>
                <a:gd name="T103" fmla="*/ 25 h 126"/>
                <a:gd name="T104" fmla="*/ 137 w 139"/>
                <a:gd name="T105" fmla="*/ 10 h 126"/>
                <a:gd name="T106" fmla="*/ 137 w 139"/>
                <a:gd name="T10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9" h="126">
                  <a:moveTo>
                    <a:pt x="137" y="0"/>
                  </a:moveTo>
                  <a:lnTo>
                    <a:pt x="137" y="0"/>
                  </a:lnTo>
                  <a:lnTo>
                    <a:pt x="137" y="0"/>
                  </a:lnTo>
                  <a:lnTo>
                    <a:pt x="137" y="2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37" y="6"/>
                  </a:lnTo>
                  <a:lnTo>
                    <a:pt x="137" y="6"/>
                  </a:lnTo>
                  <a:lnTo>
                    <a:pt x="137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5" y="10"/>
                  </a:lnTo>
                  <a:lnTo>
                    <a:pt x="133" y="10"/>
                  </a:lnTo>
                  <a:lnTo>
                    <a:pt x="131" y="10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7" y="10"/>
                  </a:lnTo>
                  <a:lnTo>
                    <a:pt x="127" y="10"/>
                  </a:lnTo>
                  <a:lnTo>
                    <a:pt x="125" y="10"/>
                  </a:lnTo>
                  <a:lnTo>
                    <a:pt x="125" y="13"/>
                  </a:lnTo>
                  <a:lnTo>
                    <a:pt x="123" y="15"/>
                  </a:lnTo>
                  <a:lnTo>
                    <a:pt x="121" y="15"/>
                  </a:lnTo>
                  <a:lnTo>
                    <a:pt x="121" y="15"/>
                  </a:lnTo>
                  <a:lnTo>
                    <a:pt x="119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1" y="13"/>
                  </a:lnTo>
                  <a:lnTo>
                    <a:pt x="109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98" y="13"/>
                  </a:lnTo>
                  <a:lnTo>
                    <a:pt x="98" y="15"/>
                  </a:lnTo>
                  <a:lnTo>
                    <a:pt x="96" y="15"/>
                  </a:lnTo>
                  <a:lnTo>
                    <a:pt x="96" y="17"/>
                  </a:lnTo>
                  <a:lnTo>
                    <a:pt x="96" y="17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4" y="21"/>
                  </a:lnTo>
                  <a:lnTo>
                    <a:pt x="94" y="21"/>
                  </a:lnTo>
                  <a:lnTo>
                    <a:pt x="94" y="23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0" y="25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6" y="29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2" y="35"/>
                  </a:lnTo>
                  <a:lnTo>
                    <a:pt x="82" y="37"/>
                  </a:lnTo>
                  <a:lnTo>
                    <a:pt x="82" y="39"/>
                  </a:lnTo>
                  <a:lnTo>
                    <a:pt x="82" y="41"/>
                  </a:lnTo>
                  <a:lnTo>
                    <a:pt x="80" y="43"/>
                  </a:lnTo>
                  <a:lnTo>
                    <a:pt x="80" y="47"/>
                  </a:lnTo>
                  <a:lnTo>
                    <a:pt x="78" y="50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2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5" y="62"/>
                  </a:lnTo>
                  <a:lnTo>
                    <a:pt x="65" y="64"/>
                  </a:lnTo>
                  <a:lnTo>
                    <a:pt x="63" y="66"/>
                  </a:lnTo>
                  <a:lnTo>
                    <a:pt x="63" y="68"/>
                  </a:lnTo>
                  <a:lnTo>
                    <a:pt x="63" y="68"/>
                  </a:lnTo>
                  <a:lnTo>
                    <a:pt x="61" y="68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57" y="70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3" y="74"/>
                  </a:lnTo>
                  <a:lnTo>
                    <a:pt x="53" y="74"/>
                  </a:lnTo>
                  <a:lnTo>
                    <a:pt x="51" y="76"/>
                  </a:lnTo>
                  <a:lnTo>
                    <a:pt x="51" y="78"/>
                  </a:lnTo>
                  <a:lnTo>
                    <a:pt x="51" y="80"/>
                  </a:lnTo>
                  <a:lnTo>
                    <a:pt x="49" y="84"/>
                  </a:lnTo>
                  <a:lnTo>
                    <a:pt x="49" y="87"/>
                  </a:lnTo>
                  <a:lnTo>
                    <a:pt x="49" y="89"/>
                  </a:lnTo>
                  <a:lnTo>
                    <a:pt x="49" y="91"/>
                  </a:lnTo>
                  <a:lnTo>
                    <a:pt x="47" y="93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5" y="101"/>
                  </a:lnTo>
                  <a:lnTo>
                    <a:pt x="45" y="103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5"/>
                  </a:lnTo>
                  <a:lnTo>
                    <a:pt x="41" y="105"/>
                  </a:lnTo>
                  <a:lnTo>
                    <a:pt x="41" y="107"/>
                  </a:lnTo>
                  <a:lnTo>
                    <a:pt x="41" y="107"/>
                  </a:lnTo>
                  <a:lnTo>
                    <a:pt x="41" y="109"/>
                  </a:lnTo>
                  <a:lnTo>
                    <a:pt x="41" y="109"/>
                  </a:lnTo>
                  <a:lnTo>
                    <a:pt x="39" y="111"/>
                  </a:lnTo>
                  <a:lnTo>
                    <a:pt x="39" y="113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3" y="115"/>
                  </a:lnTo>
                  <a:lnTo>
                    <a:pt x="31" y="115"/>
                  </a:lnTo>
                  <a:lnTo>
                    <a:pt x="26" y="115"/>
                  </a:lnTo>
                  <a:lnTo>
                    <a:pt x="24" y="113"/>
                  </a:lnTo>
                  <a:lnTo>
                    <a:pt x="22" y="113"/>
                  </a:lnTo>
                  <a:lnTo>
                    <a:pt x="20" y="113"/>
                  </a:lnTo>
                  <a:lnTo>
                    <a:pt x="18" y="113"/>
                  </a:lnTo>
                  <a:lnTo>
                    <a:pt x="16" y="113"/>
                  </a:lnTo>
                  <a:lnTo>
                    <a:pt x="10" y="113"/>
                  </a:lnTo>
                  <a:lnTo>
                    <a:pt x="6" y="113"/>
                  </a:lnTo>
                  <a:lnTo>
                    <a:pt x="4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0" y="126"/>
                  </a:lnTo>
                  <a:lnTo>
                    <a:pt x="2" y="126"/>
                  </a:lnTo>
                  <a:lnTo>
                    <a:pt x="2" y="124"/>
                  </a:lnTo>
                  <a:lnTo>
                    <a:pt x="2" y="121"/>
                  </a:lnTo>
                  <a:lnTo>
                    <a:pt x="2" y="119"/>
                  </a:lnTo>
                  <a:lnTo>
                    <a:pt x="4" y="117"/>
                  </a:lnTo>
                  <a:lnTo>
                    <a:pt x="6" y="117"/>
                  </a:lnTo>
                  <a:lnTo>
                    <a:pt x="8" y="117"/>
                  </a:lnTo>
                  <a:lnTo>
                    <a:pt x="12" y="117"/>
                  </a:lnTo>
                  <a:lnTo>
                    <a:pt x="16" y="117"/>
                  </a:lnTo>
                  <a:lnTo>
                    <a:pt x="20" y="117"/>
                  </a:lnTo>
                  <a:lnTo>
                    <a:pt x="22" y="117"/>
                  </a:lnTo>
                  <a:lnTo>
                    <a:pt x="26" y="117"/>
                  </a:lnTo>
                  <a:lnTo>
                    <a:pt x="31" y="117"/>
                  </a:lnTo>
                  <a:lnTo>
                    <a:pt x="35" y="117"/>
                  </a:lnTo>
                  <a:lnTo>
                    <a:pt x="37" y="117"/>
                  </a:lnTo>
                  <a:lnTo>
                    <a:pt x="41" y="117"/>
                  </a:lnTo>
                  <a:lnTo>
                    <a:pt x="45" y="117"/>
                  </a:lnTo>
                  <a:lnTo>
                    <a:pt x="49" y="117"/>
                  </a:lnTo>
                  <a:lnTo>
                    <a:pt x="53" y="117"/>
                  </a:lnTo>
                  <a:lnTo>
                    <a:pt x="55" y="117"/>
                  </a:lnTo>
                  <a:lnTo>
                    <a:pt x="59" y="117"/>
                  </a:lnTo>
                  <a:lnTo>
                    <a:pt x="63" y="117"/>
                  </a:lnTo>
                  <a:lnTo>
                    <a:pt x="65" y="117"/>
                  </a:lnTo>
                  <a:lnTo>
                    <a:pt x="65" y="113"/>
                  </a:lnTo>
                  <a:lnTo>
                    <a:pt x="65" y="111"/>
                  </a:lnTo>
                  <a:lnTo>
                    <a:pt x="65" y="109"/>
                  </a:lnTo>
                  <a:lnTo>
                    <a:pt x="65" y="107"/>
                  </a:lnTo>
                  <a:lnTo>
                    <a:pt x="65" y="105"/>
                  </a:lnTo>
                  <a:lnTo>
                    <a:pt x="65" y="101"/>
                  </a:lnTo>
                  <a:lnTo>
                    <a:pt x="65" y="99"/>
                  </a:lnTo>
                  <a:lnTo>
                    <a:pt x="65" y="97"/>
                  </a:lnTo>
                  <a:lnTo>
                    <a:pt x="65" y="95"/>
                  </a:lnTo>
                  <a:lnTo>
                    <a:pt x="65" y="95"/>
                  </a:lnTo>
                  <a:lnTo>
                    <a:pt x="63" y="91"/>
                  </a:lnTo>
                  <a:lnTo>
                    <a:pt x="63" y="91"/>
                  </a:lnTo>
                  <a:lnTo>
                    <a:pt x="63" y="89"/>
                  </a:lnTo>
                  <a:lnTo>
                    <a:pt x="65" y="89"/>
                  </a:lnTo>
                  <a:lnTo>
                    <a:pt x="65" y="87"/>
                  </a:lnTo>
                  <a:lnTo>
                    <a:pt x="70" y="84"/>
                  </a:lnTo>
                  <a:lnTo>
                    <a:pt x="72" y="82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8" y="80"/>
                  </a:lnTo>
                  <a:lnTo>
                    <a:pt x="80" y="78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4" y="76"/>
                  </a:lnTo>
                  <a:lnTo>
                    <a:pt x="84" y="72"/>
                  </a:lnTo>
                  <a:lnTo>
                    <a:pt x="84" y="70"/>
                  </a:lnTo>
                  <a:lnTo>
                    <a:pt x="84" y="68"/>
                  </a:lnTo>
                  <a:lnTo>
                    <a:pt x="84" y="66"/>
                  </a:lnTo>
                  <a:lnTo>
                    <a:pt x="84" y="64"/>
                  </a:lnTo>
                  <a:lnTo>
                    <a:pt x="84" y="60"/>
                  </a:lnTo>
                  <a:lnTo>
                    <a:pt x="84" y="58"/>
                  </a:lnTo>
                  <a:lnTo>
                    <a:pt x="84" y="56"/>
                  </a:lnTo>
                  <a:lnTo>
                    <a:pt x="84" y="54"/>
                  </a:lnTo>
                  <a:lnTo>
                    <a:pt x="84" y="52"/>
                  </a:lnTo>
                  <a:lnTo>
                    <a:pt x="84" y="47"/>
                  </a:lnTo>
                  <a:lnTo>
                    <a:pt x="84" y="45"/>
                  </a:lnTo>
                  <a:lnTo>
                    <a:pt x="84" y="43"/>
                  </a:lnTo>
                  <a:lnTo>
                    <a:pt x="84" y="41"/>
                  </a:lnTo>
                  <a:lnTo>
                    <a:pt x="84" y="37"/>
                  </a:lnTo>
                  <a:lnTo>
                    <a:pt x="84" y="35"/>
                  </a:lnTo>
                  <a:lnTo>
                    <a:pt x="84" y="33"/>
                  </a:lnTo>
                  <a:lnTo>
                    <a:pt x="84" y="31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19" y="31"/>
                  </a:lnTo>
                  <a:lnTo>
                    <a:pt x="123" y="31"/>
                  </a:lnTo>
                  <a:lnTo>
                    <a:pt x="137" y="31"/>
                  </a:lnTo>
                  <a:lnTo>
                    <a:pt x="137" y="29"/>
                  </a:lnTo>
                  <a:lnTo>
                    <a:pt x="137" y="25"/>
                  </a:lnTo>
                  <a:lnTo>
                    <a:pt x="137" y="21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7" y="10"/>
                  </a:lnTo>
                  <a:lnTo>
                    <a:pt x="137" y="6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7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E2F2D5BE-B78A-8A48-943C-337845922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847" y="261993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7B1EF026-79BC-2E49-8139-3E10DEE936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5909" y="2541497"/>
              <a:ext cx="322053" cy="180635"/>
            </a:xfrm>
            <a:custGeom>
              <a:avLst/>
              <a:gdLst>
                <a:gd name="T0" fmla="*/ 245 w 271"/>
                <a:gd name="T1" fmla="*/ 101 h 152"/>
                <a:gd name="T2" fmla="*/ 243 w 271"/>
                <a:gd name="T3" fmla="*/ 101 h 152"/>
                <a:gd name="T4" fmla="*/ 245 w 271"/>
                <a:gd name="T5" fmla="*/ 101 h 152"/>
                <a:gd name="T6" fmla="*/ 259 w 271"/>
                <a:gd name="T7" fmla="*/ 83 h 152"/>
                <a:gd name="T8" fmla="*/ 251 w 271"/>
                <a:gd name="T9" fmla="*/ 80 h 152"/>
                <a:gd name="T10" fmla="*/ 245 w 271"/>
                <a:gd name="T11" fmla="*/ 74 h 152"/>
                <a:gd name="T12" fmla="*/ 240 w 271"/>
                <a:gd name="T13" fmla="*/ 80 h 152"/>
                <a:gd name="T14" fmla="*/ 228 w 271"/>
                <a:gd name="T15" fmla="*/ 76 h 152"/>
                <a:gd name="T16" fmla="*/ 230 w 271"/>
                <a:gd name="T17" fmla="*/ 66 h 152"/>
                <a:gd name="T18" fmla="*/ 232 w 271"/>
                <a:gd name="T19" fmla="*/ 60 h 152"/>
                <a:gd name="T20" fmla="*/ 224 w 271"/>
                <a:gd name="T21" fmla="*/ 64 h 152"/>
                <a:gd name="T22" fmla="*/ 210 w 271"/>
                <a:gd name="T23" fmla="*/ 74 h 152"/>
                <a:gd name="T24" fmla="*/ 204 w 271"/>
                <a:gd name="T25" fmla="*/ 87 h 152"/>
                <a:gd name="T26" fmla="*/ 195 w 271"/>
                <a:gd name="T27" fmla="*/ 85 h 152"/>
                <a:gd name="T28" fmla="*/ 185 w 271"/>
                <a:gd name="T29" fmla="*/ 80 h 152"/>
                <a:gd name="T30" fmla="*/ 169 w 271"/>
                <a:gd name="T31" fmla="*/ 72 h 152"/>
                <a:gd name="T32" fmla="*/ 158 w 271"/>
                <a:gd name="T33" fmla="*/ 56 h 152"/>
                <a:gd name="T34" fmla="*/ 148 w 271"/>
                <a:gd name="T35" fmla="*/ 43 h 152"/>
                <a:gd name="T36" fmla="*/ 132 w 271"/>
                <a:gd name="T37" fmla="*/ 37 h 152"/>
                <a:gd name="T38" fmla="*/ 109 w 271"/>
                <a:gd name="T39" fmla="*/ 37 h 152"/>
                <a:gd name="T40" fmla="*/ 84 w 271"/>
                <a:gd name="T41" fmla="*/ 31 h 152"/>
                <a:gd name="T42" fmla="*/ 66 w 271"/>
                <a:gd name="T43" fmla="*/ 19 h 152"/>
                <a:gd name="T44" fmla="*/ 43 w 271"/>
                <a:gd name="T45" fmla="*/ 4 h 152"/>
                <a:gd name="T46" fmla="*/ 21 w 271"/>
                <a:gd name="T47" fmla="*/ 4 h 152"/>
                <a:gd name="T48" fmla="*/ 0 w 271"/>
                <a:gd name="T49" fmla="*/ 17 h 152"/>
                <a:gd name="T50" fmla="*/ 8 w 271"/>
                <a:gd name="T51" fmla="*/ 56 h 152"/>
                <a:gd name="T52" fmla="*/ 29 w 271"/>
                <a:gd name="T53" fmla="*/ 78 h 152"/>
                <a:gd name="T54" fmla="*/ 27 w 271"/>
                <a:gd name="T55" fmla="*/ 66 h 152"/>
                <a:gd name="T56" fmla="*/ 39 w 271"/>
                <a:gd name="T57" fmla="*/ 58 h 152"/>
                <a:gd name="T58" fmla="*/ 45 w 271"/>
                <a:gd name="T59" fmla="*/ 60 h 152"/>
                <a:gd name="T60" fmla="*/ 41 w 271"/>
                <a:gd name="T61" fmla="*/ 54 h 152"/>
                <a:gd name="T62" fmla="*/ 56 w 271"/>
                <a:gd name="T63" fmla="*/ 56 h 152"/>
                <a:gd name="T64" fmla="*/ 70 w 271"/>
                <a:gd name="T65" fmla="*/ 62 h 152"/>
                <a:gd name="T66" fmla="*/ 74 w 271"/>
                <a:gd name="T67" fmla="*/ 68 h 152"/>
                <a:gd name="T68" fmla="*/ 74 w 271"/>
                <a:gd name="T69" fmla="*/ 76 h 152"/>
                <a:gd name="T70" fmla="*/ 93 w 271"/>
                <a:gd name="T71" fmla="*/ 80 h 152"/>
                <a:gd name="T72" fmla="*/ 105 w 271"/>
                <a:gd name="T73" fmla="*/ 85 h 152"/>
                <a:gd name="T74" fmla="*/ 125 w 271"/>
                <a:gd name="T75" fmla="*/ 107 h 152"/>
                <a:gd name="T76" fmla="*/ 152 w 271"/>
                <a:gd name="T77" fmla="*/ 124 h 152"/>
                <a:gd name="T78" fmla="*/ 177 w 271"/>
                <a:gd name="T79" fmla="*/ 132 h 152"/>
                <a:gd name="T80" fmla="*/ 185 w 271"/>
                <a:gd name="T81" fmla="*/ 144 h 152"/>
                <a:gd name="T82" fmla="*/ 204 w 271"/>
                <a:gd name="T83" fmla="*/ 150 h 152"/>
                <a:gd name="T84" fmla="*/ 210 w 271"/>
                <a:gd name="T85" fmla="*/ 138 h 152"/>
                <a:gd name="T86" fmla="*/ 204 w 271"/>
                <a:gd name="T87" fmla="*/ 124 h 152"/>
                <a:gd name="T88" fmla="*/ 197 w 271"/>
                <a:gd name="T89" fmla="*/ 115 h 152"/>
                <a:gd name="T90" fmla="*/ 195 w 271"/>
                <a:gd name="T91" fmla="*/ 107 h 152"/>
                <a:gd name="T92" fmla="*/ 208 w 271"/>
                <a:gd name="T93" fmla="*/ 103 h 152"/>
                <a:gd name="T94" fmla="*/ 212 w 271"/>
                <a:gd name="T95" fmla="*/ 101 h 152"/>
                <a:gd name="T96" fmla="*/ 210 w 271"/>
                <a:gd name="T97" fmla="*/ 99 h 152"/>
                <a:gd name="T98" fmla="*/ 216 w 271"/>
                <a:gd name="T99" fmla="*/ 95 h 152"/>
                <a:gd name="T100" fmla="*/ 220 w 271"/>
                <a:gd name="T101" fmla="*/ 89 h 152"/>
                <a:gd name="T102" fmla="*/ 232 w 271"/>
                <a:gd name="T103" fmla="*/ 85 h 152"/>
                <a:gd name="T104" fmla="*/ 232 w 271"/>
                <a:gd name="T105" fmla="*/ 91 h 152"/>
                <a:gd name="T106" fmla="*/ 236 w 271"/>
                <a:gd name="T107" fmla="*/ 97 h 152"/>
                <a:gd name="T108" fmla="*/ 251 w 271"/>
                <a:gd name="T109" fmla="*/ 97 h 152"/>
                <a:gd name="T110" fmla="*/ 257 w 271"/>
                <a:gd name="T111" fmla="*/ 93 h 152"/>
                <a:gd name="T112" fmla="*/ 261 w 271"/>
                <a:gd name="T113" fmla="*/ 91 h 152"/>
                <a:gd name="T114" fmla="*/ 232 w 271"/>
                <a:gd name="T115" fmla="*/ 85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" h="152">
                  <a:moveTo>
                    <a:pt x="255" y="99"/>
                  </a:moveTo>
                  <a:lnTo>
                    <a:pt x="253" y="99"/>
                  </a:lnTo>
                  <a:lnTo>
                    <a:pt x="253" y="101"/>
                  </a:lnTo>
                  <a:lnTo>
                    <a:pt x="253" y="101"/>
                  </a:lnTo>
                  <a:lnTo>
                    <a:pt x="253" y="101"/>
                  </a:lnTo>
                  <a:lnTo>
                    <a:pt x="255" y="101"/>
                  </a:lnTo>
                  <a:lnTo>
                    <a:pt x="255" y="101"/>
                  </a:lnTo>
                  <a:lnTo>
                    <a:pt x="255" y="99"/>
                  </a:lnTo>
                  <a:lnTo>
                    <a:pt x="255" y="99"/>
                  </a:lnTo>
                  <a:close/>
                  <a:moveTo>
                    <a:pt x="245" y="101"/>
                  </a:moveTo>
                  <a:lnTo>
                    <a:pt x="245" y="101"/>
                  </a:lnTo>
                  <a:lnTo>
                    <a:pt x="247" y="101"/>
                  </a:lnTo>
                  <a:lnTo>
                    <a:pt x="245" y="101"/>
                  </a:lnTo>
                  <a:close/>
                  <a:moveTo>
                    <a:pt x="245" y="101"/>
                  </a:moveTo>
                  <a:lnTo>
                    <a:pt x="243" y="99"/>
                  </a:lnTo>
                  <a:lnTo>
                    <a:pt x="243" y="99"/>
                  </a:lnTo>
                  <a:lnTo>
                    <a:pt x="243" y="99"/>
                  </a:lnTo>
                  <a:lnTo>
                    <a:pt x="240" y="99"/>
                  </a:lnTo>
                  <a:lnTo>
                    <a:pt x="240" y="99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3" y="99"/>
                  </a:lnTo>
                  <a:lnTo>
                    <a:pt x="243" y="99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7" y="101"/>
                  </a:lnTo>
                  <a:lnTo>
                    <a:pt x="247" y="101"/>
                  </a:lnTo>
                  <a:lnTo>
                    <a:pt x="245" y="101"/>
                  </a:lnTo>
                  <a:lnTo>
                    <a:pt x="245" y="101"/>
                  </a:lnTo>
                  <a:close/>
                  <a:moveTo>
                    <a:pt x="271" y="87"/>
                  </a:moveTo>
                  <a:lnTo>
                    <a:pt x="267" y="85"/>
                  </a:lnTo>
                  <a:lnTo>
                    <a:pt x="267" y="87"/>
                  </a:lnTo>
                  <a:lnTo>
                    <a:pt x="267" y="87"/>
                  </a:lnTo>
                  <a:lnTo>
                    <a:pt x="265" y="85"/>
                  </a:lnTo>
                  <a:lnTo>
                    <a:pt x="263" y="85"/>
                  </a:lnTo>
                  <a:lnTo>
                    <a:pt x="263" y="85"/>
                  </a:lnTo>
                  <a:lnTo>
                    <a:pt x="261" y="83"/>
                  </a:lnTo>
                  <a:lnTo>
                    <a:pt x="259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5" y="83"/>
                  </a:lnTo>
                  <a:lnTo>
                    <a:pt x="255" y="83"/>
                  </a:lnTo>
                  <a:lnTo>
                    <a:pt x="255" y="83"/>
                  </a:lnTo>
                  <a:lnTo>
                    <a:pt x="255" y="80"/>
                  </a:lnTo>
                  <a:lnTo>
                    <a:pt x="255" y="80"/>
                  </a:lnTo>
                  <a:lnTo>
                    <a:pt x="253" y="80"/>
                  </a:lnTo>
                  <a:lnTo>
                    <a:pt x="253" y="80"/>
                  </a:lnTo>
                  <a:lnTo>
                    <a:pt x="251" y="80"/>
                  </a:lnTo>
                  <a:lnTo>
                    <a:pt x="251" y="80"/>
                  </a:lnTo>
                  <a:lnTo>
                    <a:pt x="249" y="78"/>
                  </a:lnTo>
                  <a:lnTo>
                    <a:pt x="249" y="76"/>
                  </a:lnTo>
                  <a:lnTo>
                    <a:pt x="247" y="76"/>
                  </a:lnTo>
                  <a:lnTo>
                    <a:pt x="247" y="74"/>
                  </a:lnTo>
                  <a:lnTo>
                    <a:pt x="247" y="74"/>
                  </a:lnTo>
                  <a:lnTo>
                    <a:pt x="247" y="74"/>
                  </a:lnTo>
                  <a:lnTo>
                    <a:pt x="245" y="74"/>
                  </a:lnTo>
                  <a:lnTo>
                    <a:pt x="245" y="74"/>
                  </a:lnTo>
                  <a:lnTo>
                    <a:pt x="245" y="74"/>
                  </a:lnTo>
                  <a:lnTo>
                    <a:pt x="245" y="74"/>
                  </a:lnTo>
                  <a:lnTo>
                    <a:pt x="245" y="74"/>
                  </a:lnTo>
                  <a:lnTo>
                    <a:pt x="245" y="76"/>
                  </a:lnTo>
                  <a:lnTo>
                    <a:pt x="245" y="76"/>
                  </a:lnTo>
                  <a:lnTo>
                    <a:pt x="245" y="78"/>
                  </a:lnTo>
                  <a:lnTo>
                    <a:pt x="245" y="78"/>
                  </a:lnTo>
                  <a:lnTo>
                    <a:pt x="243" y="76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0" y="80"/>
                  </a:lnTo>
                  <a:lnTo>
                    <a:pt x="240" y="80"/>
                  </a:lnTo>
                  <a:lnTo>
                    <a:pt x="238" y="80"/>
                  </a:lnTo>
                  <a:lnTo>
                    <a:pt x="236" y="80"/>
                  </a:lnTo>
                  <a:lnTo>
                    <a:pt x="236" y="80"/>
                  </a:lnTo>
                  <a:lnTo>
                    <a:pt x="234" y="78"/>
                  </a:lnTo>
                  <a:lnTo>
                    <a:pt x="234" y="78"/>
                  </a:lnTo>
                  <a:lnTo>
                    <a:pt x="232" y="76"/>
                  </a:lnTo>
                  <a:lnTo>
                    <a:pt x="230" y="74"/>
                  </a:lnTo>
                  <a:lnTo>
                    <a:pt x="230" y="74"/>
                  </a:lnTo>
                  <a:lnTo>
                    <a:pt x="228" y="76"/>
                  </a:lnTo>
                  <a:lnTo>
                    <a:pt x="226" y="74"/>
                  </a:lnTo>
                  <a:lnTo>
                    <a:pt x="224" y="74"/>
                  </a:lnTo>
                  <a:lnTo>
                    <a:pt x="224" y="74"/>
                  </a:lnTo>
                  <a:lnTo>
                    <a:pt x="222" y="74"/>
                  </a:lnTo>
                  <a:lnTo>
                    <a:pt x="222" y="72"/>
                  </a:lnTo>
                  <a:lnTo>
                    <a:pt x="226" y="70"/>
                  </a:lnTo>
                  <a:lnTo>
                    <a:pt x="228" y="68"/>
                  </a:lnTo>
                  <a:lnTo>
                    <a:pt x="228" y="68"/>
                  </a:lnTo>
                  <a:lnTo>
                    <a:pt x="230" y="66"/>
                  </a:lnTo>
                  <a:lnTo>
                    <a:pt x="230" y="66"/>
                  </a:lnTo>
                  <a:lnTo>
                    <a:pt x="230" y="64"/>
                  </a:lnTo>
                  <a:lnTo>
                    <a:pt x="230" y="64"/>
                  </a:lnTo>
                  <a:lnTo>
                    <a:pt x="232" y="64"/>
                  </a:lnTo>
                  <a:lnTo>
                    <a:pt x="232" y="64"/>
                  </a:lnTo>
                  <a:lnTo>
                    <a:pt x="236" y="62"/>
                  </a:lnTo>
                  <a:lnTo>
                    <a:pt x="236" y="62"/>
                  </a:lnTo>
                  <a:lnTo>
                    <a:pt x="234" y="62"/>
                  </a:lnTo>
                  <a:lnTo>
                    <a:pt x="234" y="60"/>
                  </a:lnTo>
                  <a:lnTo>
                    <a:pt x="232" y="60"/>
                  </a:lnTo>
                  <a:lnTo>
                    <a:pt x="232" y="60"/>
                  </a:lnTo>
                  <a:lnTo>
                    <a:pt x="230" y="60"/>
                  </a:lnTo>
                  <a:lnTo>
                    <a:pt x="230" y="62"/>
                  </a:lnTo>
                  <a:lnTo>
                    <a:pt x="228" y="62"/>
                  </a:lnTo>
                  <a:lnTo>
                    <a:pt x="228" y="62"/>
                  </a:lnTo>
                  <a:lnTo>
                    <a:pt x="228" y="64"/>
                  </a:lnTo>
                  <a:lnTo>
                    <a:pt x="226" y="64"/>
                  </a:lnTo>
                  <a:lnTo>
                    <a:pt x="226" y="64"/>
                  </a:lnTo>
                  <a:lnTo>
                    <a:pt x="226" y="64"/>
                  </a:lnTo>
                  <a:lnTo>
                    <a:pt x="224" y="64"/>
                  </a:lnTo>
                  <a:lnTo>
                    <a:pt x="224" y="64"/>
                  </a:lnTo>
                  <a:lnTo>
                    <a:pt x="222" y="64"/>
                  </a:lnTo>
                  <a:lnTo>
                    <a:pt x="222" y="66"/>
                  </a:lnTo>
                  <a:lnTo>
                    <a:pt x="220" y="68"/>
                  </a:lnTo>
                  <a:lnTo>
                    <a:pt x="218" y="70"/>
                  </a:lnTo>
                  <a:lnTo>
                    <a:pt x="216" y="70"/>
                  </a:lnTo>
                  <a:lnTo>
                    <a:pt x="214" y="70"/>
                  </a:lnTo>
                  <a:lnTo>
                    <a:pt x="214" y="72"/>
                  </a:lnTo>
                  <a:lnTo>
                    <a:pt x="212" y="74"/>
                  </a:lnTo>
                  <a:lnTo>
                    <a:pt x="212" y="74"/>
                  </a:lnTo>
                  <a:lnTo>
                    <a:pt x="210" y="74"/>
                  </a:lnTo>
                  <a:lnTo>
                    <a:pt x="208" y="76"/>
                  </a:lnTo>
                  <a:lnTo>
                    <a:pt x="208" y="76"/>
                  </a:lnTo>
                  <a:lnTo>
                    <a:pt x="208" y="78"/>
                  </a:lnTo>
                  <a:lnTo>
                    <a:pt x="208" y="78"/>
                  </a:lnTo>
                  <a:lnTo>
                    <a:pt x="206" y="80"/>
                  </a:lnTo>
                  <a:lnTo>
                    <a:pt x="204" y="83"/>
                  </a:lnTo>
                  <a:lnTo>
                    <a:pt x="204" y="85"/>
                  </a:lnTo>
                  <a:lnTo>
                    <a:pt x="201" y="85"/>
                  </a:lnTo>
                  <a:lnTo>
                    <a:pt x="201" y="87"/>
                  </a:lnTo>
                  <a:lnTo>
                    <a:pt x="204" y="87"/>
                  </a:lnTo>
                  <a:lnTo>
                    <a:pt x="204" y="89"/>
                  </a:lnTo>
                  <a:lnTo>
                    <a:pt x="204" y="89"/>
                  </a:lnTo>
                  <a:lnTo>
                    <a:pt x="204" y="91"/>
                  </a:lnTo>
                  <a:lnTo>
                    <a:pt x="201" y="91"/>
                  </a:lnTo>
                  <a:lnTo>
                    <a:pt x="201" y="91"/>
                  </a:lnTo>
                  <a:lnTo>
                    <a:pt x="199" y="89"/>
                  </a:lnTo>
                  <a:lnTo>
                    <a:pt x="197" y="89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5"/>
                  </a:lnTo>
                  <a:lnTo>
                    <a:pt x="195" y="85"/>
                  </a:lnTo>
                  <a:lnTo>
                    <a:pt x="195" y="83"/>
                  </a:lnTo>
                  <a:lnTo>
                    <a:pt x="193" y="83"/>
                  </a:lnTo>
                  <a:lnTo>
                    <a:pt x="193" y="80"/>
                  </a:lnTo>
                  <a:lnTo>
                    <a:pt x="193" y="80"/>
                  </a:lnTo>
                  <a:lnTo>
                    <a:pt x="191" y="80"/>
                  </a:lnTo>
                  <a:lnTo>
                    <a:pt x="191" y="80"/>
                  </a:lnTo>
                  <a:lnTo>
                    <a:pt x="189" y="80"/>
                  </a:lnTo>
                  <a:lnTo>
                    <a:pt x="189" y="80"/>
                  </a:lnTo>
                  <a:lnTo>
                    <a:pt x="185" y="80"/>
                  </a:lnTo>
                  <a:lnTo>
                    <a:pt x="183" y="80"/>
                  </a:lnTo>
                  <a:lnTo>
                    <a:pt x="181" y="80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5" y="80"/>
                  </a:lnTo>
                  <a:lnTo>
                    <a:pt x="173" y="80"/>
                  </a:lnTo>
                  <a:lnTo>
                    <a:pt x="173" y="78"/>
                  </a:lnTo>
                  <a:lnTo>
                    <a:pt x="171" y="76"/>
                  </a:lnTo>
                  <a:lnTo>
                    <a:pt x="171" y="74"/>
                  </a:lnTo>
                  <a:lnTo>
                    <a:pt x="169" y="72"/>
                  </a:lnTo>
                  <a:lnTo>
                    <a:pt x="169" y="70"/>
                  </a:lnTo>
                  <a:lnTo>
                    <a:pt x="167" y="66"/>
                  </a:lnTo>
                  <a:lnTo>
                    <a:pt x="167" y="66"/>
                  </a:lnTo>
                  <a:lnTo>
                    <a:pt x="164" y="66"/>
                  </a:lnTo>
                  <a:lnTo>
                    <a:pt x="162" y="66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58" y="62"/>
                  </a:lnTo>
                  <a:lnTo>
                    <a:pt x="158" y="60"/>
                  </a:lnTo>
                  <a:lnTo>
                    <a:pt x="158" y="56"/>
                  </a:lnTo>
                  <a:lnTo>
                    <a:pt x="156" y="54"/>
                  </a:lnTo>
                  <a:lnTo>
                    <a:pt x="156" y="52"/>
                  </a:lnTo>
                  <a:lnTo>
                    <a:pt x="156" y="50"/>
                  </a:lnTo>
                  <a:lnTo>
                    <a:pt x="156" y="48"/>
                  </a:lnTo>
                  <a:lnTo>
                    <a:pt x="154" y="48"/>
                  </a:lnTo>
                  <a:lnTo>
                    <a:pt x="154" y="50"/>
                  </a:lnTo>
                  <a:lnTo>
                    <a:pt x="152" y="50"/>
                  </a:lnTo>
                  <a:lnTo>
                    <a:pt x="150" y="48"/>
                  </a:lnTo>
                  <a:lnTo>
                    <a:pt x="150" y="45"/>
                  </a:lnTo>
                  <a:lnTo>
                    <a:pt x="148" y="43"/>
                  </a:lnTo>
                  <a:lnTo>
                    <a:pt x="146" y="41"/>
                  </a:lnTo>
                  <a:lnTo>
                    <a:pt x="144" y="41"/>
                  </a:lnTo>
                  <a:lnTo>
                    <a:pt x="142" y="39"/>
                  </a:lnTo>
                  <a:lnTo>
                    <a:pt x="140" y="39"/>
                  </a:lnTo>
                  <a:lnTo>
                    <a:pt x="138" y="37"/>
                  </a:lnTo>
                  <a:lnTo>
                    <a:pt x="138" y="35"/>
                  </a:lnTo>
                  <a:lnTo>
                    <a:pt x="136" y="35"/>
                  </a:lnTo>
                  <a:lnTo>
                    <a:pt x="134" y="35"/>
                  </a:lnTo>
                  <a:lnTo>
                    <a:pt x="132" y="35"/>
                  </a:lnTo>
                  <a:lnTo>
                    <a:pt x="132" y="37"/>
                  </a:lnTo>
                  <a:lnTo>
                    <a:pt x="130" y="37"/>
                  </a:lnTo>
                  <a:lnTo>
                    <a:pt x="130" y="37"/>
                  </a:lnTo>
                  <a:lnTo>
                    <a:pt x="128" y="37"/>
                  </a:lnTo>
                  <a:lnTo>
                    <a:pt x="125" y="37"/>
                  </a:lnTo>
                  <a:lnTo>
                    <a:pt x="123" y="37"/>
                  </a:lnTo>
                  <a:lnTo>
                    <a:pt x="119" y="37"/>
                  </a:lnTo>
                  <a:lnTo>
                    <a:pt x="117" y="37"/>
                  </a:lnTo>
                  <a:lnTo>
                    <a:pt x="115" y="37"/>
                  </a:lnTo>
                  <a:lnTo>
                    <a:pt x="111" y="35"/>
                  </a:lnTo>
                  <a:lnTo>
                    <a:pt x="109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97" y="37"/>
                  </a:lnTo>
                  <a:lnTo>
                    <a:pt x="95" y="39"/>
                  </a:lnTo>
                  <a:lnTo>
                    <a:pt x="93" y="39"/>
                  </a:lnTo>
                  <a:lnTo>
                    <a:pt x="93" y="37"/>
                  </a:lnTo>
                  <a:lnTo>
                    <a:pt x="89" y="35"/>
                  </a:lnTo>
                  <a:lnTo>
                    <a:pt x="86" y="33"/>
                  </a:lnTo>
                  <a:lnTo>
                    <a:pt x="84" y="31"/>
                  </a:lnTo>
                  <a:lnTo>
                    <a:pt x="82" y="29"/>
                  </a:lnTo>
                  <a:lnTo>
                    <a:pt x="80" y="29"/>
                  </a:lnTo>
                  <a:lnTo>
                    <a:pt x="78" y="27"/>
                  </a:lnTo>
                  <a:lnTo>
                    <a:pt x="76" y="25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4" y="21"/>
                  </a:lnTo>
                  <a:lnTo>
                    <a:pt x="70" y="21"/>
                  </a:lnTo>
                  <a:lnTo>
                    <a:pt x="68" y="19"/>
                  </a:lnTo>
                  <a:lnTo>
                    <a:pt x="66" y="19"/>
                  </a:lnTo>
                  <a:lnTo>
                    <a:pt x="64" y="17"/>
                  </a:lnTo>
                  <a:lnTo>
                    <a:pt x="62" y="15"/>
                  </a:lnTo>
                  <a:lnTo>
                    <a:pt x="60" y="15"/>
                  </a:lnTo>
                  <a:lnTo>
                    <a:pt x="58" y="13"/>
                  </a:lnTo>
                  <a:lnTo>
                    <a:pt x="56" y="13"/>
                  </a:lnTo>
                  <a:lnTo>
                    <a:pt x="52" y="8"/>
                  </a:lnTo>
                  <a:lnTo>
                    <a:pt x="50" y="8"/>
                  </a:lnTo>
                  <a:lnTo>
                    <a:pt x="47" y="6"/>
                  </a:lnTo>
                  <a:lnTo>
                    <a:pt x="45" y="6"/>
                  </a:lnTo>
                  <a:lnTo>
                    <a:pt x="43" y="4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19" y="4"/>
                  </a:lnTo>
                  <a:lnTo>
                    <a:pt x="17" y="6"/>
                  </a:lnTo>
                  <a:lnTo>
                    <a:pt x="13" y="6"/>
                  </a:lnTo>
                  <a:lnTo>
                    <a:pt x="11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11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2" y="21"/>
                  </a:lnTo>
                  <a:lnTo>
                    <a:pt x="2" y="25"/>
                  </a:lnTo>
                  <a:lnTo>
                    <a:pt x="2" y="29"/>
                  </a:lnTo>
                  <a:lnTo>
                    <a:pt x="4" y="33"/>
                  </a:lnTo>
                  <a:lnTo>
                    <a:pt x="4" y="37"/>
                  </a:lnTo>
                  <a:lnTo>
                    <a:pt x="6" y="41"/>
                  </a:lnTo>
                  <a:lnTo>
                    <a:pt x="6" y="45"/>
                  </a:lnTo>
                  <a:lnTo>
                    <a:pt x="8" y="48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1" y="60"/>
                  </a:lnTo>
                  <a:lnTo>
                    <a:pt x="11" y="64"/>
                  </a:lnTo>
                  <a:lnTo>
                    <a:pt x="13" y="68"/>
                  </a:lnTo>
                  <a:lnTo>
                    <a:pt x="13" y="72"/>
                  </a:lnTo>
                  <a:lnTo>
                    <a:pt x="13" y="76"/>
                  </a:lnTo>
                  <a:lnTo>
                    <a:pt x="17" y="78"/>
                  </a:lnTo>
                  <a:lnTo>
                    <a:pt x="21" y="78"/>
                  </a:lnTo>
                  <a:lnTo>
                    <a:pt x="25" y="78"/>
                  </a:lnTo>
                  <a:lnTo>
                    <a:pt x="27" y="78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29" y="76"/>
                  </a:lnTo>
                  <a:lnTo>
                    <a:pt x="29" y="74"/>
                  </a:lnTo>
                  <a:lnTo>
                    <a:pt x="27" y="70"/>
                  </a:lnTo>
                  <a:lnTo>
                    <a:pt x="27" y="68"/>
                  </a:lnTo>
                  <a:lnTo>
                    <a:pt x="27" y="66"/>
                  </a:lnTo>
                  <a:lnTo>
                    <a:pt x="29" y="66"/>
                  </a:lnTo>
                  <a:lnTo>
                    <a:pt x="29" y="64"/>
                  </a:lnTo>
                  <a:lnTo>
                    <a:pt x="29" y="62"/>
                  </a:lnTo>
                  <a:lnTo>
                    <a:pt x="31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41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5" y="58"/>
                  </a:lnTo>
                  <a:lnTo>
                    <a:pt x="43" y="56"/>
                  </a:lnTo>
                  <a:lnTo>
                    <a:pt x="41" y="56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3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7" y="52"/>
                  </a:lnTo>
                  <a:lnTo>
                    <a:pt x="50" y="54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6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72" y="66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2" y="68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4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6" y="76"/>
                  </a:lnTo>
                  <a:lnTo>
                    <a:pt x="80" y="78"/>
                  </a:lnTo>
                  <a:lnTo>
                    <a:pt x="80" y="78"/>
                  </a:lnTo>
                  <a:lnTo>
                    <a:pt x="84" y="78"/>
                  </a:lnTo>
                  <a:lnTo>
                    <a:pt x="86" y="78"/>
                  </a:lnTo>
                  <a:lnTo>
                    <a:pt x="86" y="78"/>
                  </a:lnTo>
                  <a:lnTo>
                    <a:pt x="91" y="78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5" y="78"/>
                  </a:lnTo>
                  <a:lnTo>
                    <a:pt x="95" y="78"/>
                  </a:lnTo>
                  <a:lnTo>
                    <a:pt x="95" y="78"/>
                  </a:lnTo>
                  <a:lnTo>
                    <a:pt x="95" y="78"/>
                  </a:lnTo>
                  <a:lnTo>
                    <a:pt x="99" y="78"/>
                  </a:lnTo>
                  <a:lnTo>
                    <a:pt x="101" y="80"/>
                  </a:lnTo>
                  <a:lnTo>
                    <a:pt x="103" y="80"/>
                  </a:lnTo>
                  <a:lnTo>
                    <a:pt x="103" y="83"/>
                  </a:lnTo>
                  <a:lnTo>
                    <a:pt x="105" y="85"/>
                  </a:lnTo>
                  <a:lnTo>
                    <a:pt x="107" y="89"/>
                  </a:lnTo>
                  <a:lnTo>
                    <a:pt x="109" y="91"/>
                  </a:lnTo>
                  <a:lnTo>
                    <a:pt x="111" y="93"/>
                  </a:lnTo>
                  <a:lnTo>
                    <a:pt x="113" y="95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9" y="103"/>
                  </a:lnTo>
                  <a:lnTo>
                    <a:pt x="123" y="105"/>
                  </a:lnTo>
                  <a:lnTo>
                    <a:pt x="125" y="107"/>
                  </a:lnTo>
                  <a:lnTo>
                    <a:pt x="130" y="109"/>
                  </a:lnTo>
                  <a:lnTo>
                    <a:pt x="134" y="111"/>
                  </a:lnTo>
                  <a:lnTo>
                    <a:pt x="138" y="115"/>
                  </a:lnTo>
                  <a:lnTo>
                    <a:pt x="138" y="115"/>
                  </a:lnTo>
                  <a:lnTo>
                    <a:pt x="142" y="117"/>
                  </a:lnTo>
                  <a:lnTo>
                    <a:pt x="144" y="120"/>
                  </a:lnTo>
                  <a:lnTo>
                    <a:pt x="146" y="117"/>
                  </a:lnTo>
                  <a:lnTo>
                    <a:pt x="150" y="122"/>
                  </a:lnTo>
                  <a:lnTo>
                    <a:pt x="152" y="122"/>
                  </a:lnTo>
                  <a:lnTo>
                    <a:pt x="152" y="124"/>
                  </a:lnTo>
                  <a:lnTo>
                    <a:pt x="156" y="124"/>
                  </a:lnTo>
                  <a:lnTo>
                    <a:pt x="160" y="126"/>
                  </a:lnTo>
                  <a:lnTo>
                    <a:pt x="164" y="130"/>
                  </a:lnTo>
                  <a:lnTo>
                    <a:pt x="169" y="132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73" y="132"/>
                  </a:lnTo>
                  <a:lnTo>
                    <a:pt x="175" y="132"/>
                  </a:lnTo>
                  <a:lnTo>
                    <a:pt x="177" y="132"/>
                  </a:lnTo>
                  <a:lnTo>
                    <a:pt x="177" y="134"/>
                  </a:lnTo>
                  <a:lnTo>
                    <a:pt x="179" y="134"/>
                  </a:lnTo>
                  <a:lnTo>
                    <a:pt x="181" y="136"/>
                  </a:lnTo>
                  <a:lnTo>
                    <a:pt x="181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5" y="138"/>
                  </a:lnTo>
                  <a:lnTo>
                    <a:pt x="185" y="138"/>
                  </a:lnTo>
                  <a:lnTo>
                    <a:pt x="185" y="140"/>
                  </a:lnTo>
                  <a:lnTo>
                    <a:pt x="185" y="144"/>
                  </a:lnTo>
                  <a:lnTo>
                    <a:pt x="185" y="146"/>
                  </a:lnTo>
                  <a:lnTo>
                    <a:pt x="187" y="148"/>
                  </a:lnTo>
                  <a:lnTo>
                    <a:pt x="191" y="148"/>
                  </a:lnTo>
                  <a:lnTo>
                    <a:pt x="195" y="148"/>
                  </a:lnTo>
                  <a:lnTo>
                    <a:pt x="197" y="150"/>
                  </a:lnTo>
                  <a:lnTo>
                    <a:pt x="199" y="150"/>
                  </a:lnTo>
                  <a:lnTo>
                    <a:pt x="199" y="150"/>
                  </a:lnTo>
                  <a:lnTo>
                    <a:pt x="201" y="150"/>
                  </a:lnTo>
                  <a:lnTo>
                    <a:pt x="201" y="150"/>
                  </a:lnTo>
                  <a:lnTo>
                    <a:pt x="204" y="150"/>
                  </a:lnTo>
                  <a:lnTo>
                    <a:pt x="204" y="150"/>
                  </a:lnTo>
                  <a:lnTo>
                    <a:pt x="206" y="152"/>
                  </a:lnTo>
                  <a:lnTo>
                    <a:pt x="206" y="152"/>
                  </a:lnTo>
                  <a:lnTo>
                    <a:pt x="206" y="150"/>
                  </a:lnTo>
                  <a:lnTo>
                    <a:pt x="206" y="146"/>
                  </a:lnTo>
                  <a:lnTo>
                    <a:pt x="206" y="144"/>
                  </a:lnTo>
                  <a:lnTo>
                    <a:pt x="208" y="142"/>
                  </a:lnTo>
                  <a:lnTo>
                    <a:pt x="208" y="140"/>
                  </a:lnTo>
                  <a:lnTo>
                    <a:pt x="210" y="138"/>
                  </a:lnTo>
                  <a:lnTo>
                    <a:pt x="210" y="138"/>
                  </a:lnTo>
                  <a:lnTo>
                    <a:pt x="210" y="136"/>
                  </a:lnTo>
                  <a:lnTo>
                    <a:pt x="210" y="134"/>
                  </a:lnTo>
                  <a:lnTo>
                    <a:pt x="210" y="134"/>
                  </a:lnTo>
                  <a:lnTo>
                    <a:pt x="210" y="132"/>
                  </a:lnTo>
                  <a:lnTo>
                    <a:pt x="210" y="132"/>
                  </a:lnTo>
                  <a:lnTo>
                    <a:pt x="208" y="132"/>
                  </a:lnTo>
                  <a:lnTo>
                    <a:pt x="206" y="130"/>
                  </a:lnTo>
                  <a:lnTo>
                    <a:pt x="206" y="128"/>
                  </a:lnTo>
                  <a:lnTo>
                    <a:pt x="204" y="126"/>
                  </a:lnTo>
                  <a:lnTo>
                    <a:pt x="204" y="124"/>
                  </a:lnTo>
                  <a:lnTo>
                    <a:pt x="204" y="120"/>
                  </a:lnTo>
                  <a:lnTo>
                    <a:pt x="204" y="120"/>
                  </a:lnTo>
                  <a:lnTo>
                    <a:pt x="204" y="120"/>
                  </a:lnTo>
                  <a:lnTo>
                    <a:pt x="204" y="117"/>
                  </a:lnTo>
                  <a:lnTo>
                    <a:pt x="201" y="117"/>
                  </a:lnTo>
                  <a:lnTo>
                    <a:pt x="199" y="117"/>
                  </a:lnTo>
                  <a:lnTo>
                    <a:pt x="199" y="117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197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1" y="113"/>
                  </a:lnTo>
                  <a:lnTo>
                    <a:pt x="191" y="113"/>
                  </a:lnTo>
                  <a:lnTo>
                    <a:pt x="191" y="113"/>
                  </a:lnTo>
                  <a:lnTo>
                    <a:pt x="191" y="109"/>
                  </a:lnTo>
                  <a:lnTo>
                    <a:pt x="191" y="109"/>
                  </a:lnTo>
                  <a:lnTo>
                    <a:pt x="191" y="109"/>
                  </a:lnTo>
                  <a:lnTo>
                    <a:pt x="193" y="107"/>
                  </a:lnTo>
                  <a:lnTo>
                    <a:pt x="195" y="107"/>
                  </a:lnTo>
                  <a:lnTo>
                    <a:pt x="197" y="107"/>
                  </a:lnTo>
                  <a:lnTo>
                    <a:pt x="201" y="107"/>
                  </a:lnTo>
                  <a:lnTo>
                    <a:pt x="204" y="107"/>
                  </a:lnTo>
                  <a:lnTo>
                    <a:pt x="204" y="107"/>
                  </a:lnTo>
                  <a:lnTo>
                    <a:pt x="206" y="109"/>
                  </a:lnTo>
                  <a:lnTo>
                    <a:pt x="206" y="107"/>
                  </a:lnTo>
                  <a:lnTo>
                    <a:pt x="208" y="107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3"/>
                  </a:lnTo>
                  <a:lnTo>
                    <a:pt x="208" y="103"/>
                  </a:lnTo>
                  <a:lnTo>
                    <a:pt x="210" y="103"/>
                  </a:lnTo>
                  <a:lnTo>
                    <a:pt x="210" y="103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2" y="101"/>
                  </a:lnTo>
                  <a:lnTo>
                    <a:pt x="212" y="101"/>
                  </a:lnTo>
                  <a:lnTo>
                    <a:pt x="212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2" y="99"/>
                  </a:lnTo>
                  <a:lnTo>
                    <a:pt x="212" y="99"/>
                  </a:lnTo>
                  <a:lnTo>
                    <a:pt x="212" y="99"/>
                  </a:lnTo>
                  <a:lnTo>
                    <a:pt x="212" y="99"/>
                  </a:lnTo>
                  <a:lnTo>
                    <a:pt x="212" y="99"/>
                  </a:lnTo>
                  <a:lnTo>
                    <a:pt x="210" y="99"/>
                  </a:lnTo>
                  <a:lnTo>
                    <a:pt x="208" y="99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06" y="97"/>
                  </a:lnTo>
                  <a:lnTo>
                    <a:pt x="212" y="97"/>
                  </a:lnTo>
                  <a:lnTo>
                    <a:pt x="214" y="97"/>
                  </a:lnTo>
                  <a:lnTo>
                    <a:pt x="216" y="97"/>
                  </a:lnTo>
                  <a:lnTo>
                    <a:pt x="216" y="97"/>
                  </a:lnTo>
                  <a:lnTo>
                    <a:pt x="214" y="95"/>
                  </a:lnTo>
                  <a:lnTo>
                    <a:pt x="216" y="95"/>
                  </a:lnTo>
                  <a:lnTo>
                    <a:pt x="216" y="95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4" y="89"/>
                  </a:lnTo>
                  <a:lnTo>
                    <a:pt x="214" y="89"/>
                  </a:lnTo>
                  <a:lnTo>
                    <a:pt x="214" y="87"/>
                  </a:lnTo>
                  <a:lnTo>
                    <a:pt x="216" y="87"/>
                  </a:lnTo>
                  <a:lnTo>
                    <a:pt x="216" y="87"/>
                  </a:lnTo>
                  <a:lnTo>
                    <a:pt x="218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22" y="89"/>
                  </a:lnTo>
                  <a:lnTo>
                    <a:pt x="224" y="87"/>
                  </a:lnTo>
                  <a:lnTo>
                    <a:pt x="226" y="87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8" y="83"/>
                  </a:lnTo>
                  <a:lnTo>
                    <a:pt x="228" y="83"/>
                  </a:lnTo>
                  <a:lnTo>
                    <a:pt x="230" y="83"/>
                  </a:lnTo>
                  <a:lnTo>
                    <a:pt x="232" y="85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4" y="89"/>
                  </a:lnTo>
                  <a:lnTo>
                    <a:pt x="236" y="89"/>
                  </a:lnTo>
                  <a:lnTo>
                    <a:pt x="234" y="89"/>
                  </a:lnTo>
                  <a:lnTo>
                    <a:pt x="234" y="89"/>
                  </a:lnTo>
                  <a:lnTo>
                    <a:pt x="234" y="89"/>
                  </a:lnTo>
                  <a:lnTo>
                    <a:pt x="232" y="91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2" y="95"/>
                  </a:lnTo>
                  <a:lnTo>
                    <a:pt x="232" y="95"/>
                  </a:lnTo>
                  <a:lnTo>
                    <a:pt x="232" y="95"/>
                  </a:lnTo>
                  <a:lnTo>
                    <a:pt x="234" y="95"/>
                  </a:lnTo>
                  <a:lnTo>
                    <a:pt x="234" y="97"/>
                  </a:lnTo>
                  <a:lnTo>
                    <a:pt x="236" y="97"/>
                  </a:lnTo>
                  <a:lnTo>
                    <a:pt x="236" y="97"/>
                  </a:lnTo>
                  <a:lnTo>
                    <a:pt x="240" y="97"/>
                  </a:lnTo>
                  <a:lnTo>
                    <a:pt x="240" y="97"/>
                  </a:lnTo>
                  <a:lnTo>
                    <a:pt x="240" y="97"/>
                  </a:lnTo>
                  <a:lnTo>
                    <a:pt x="243" y="97"/>
                  </a:lnTo>
                  <a:lnTo>
                    <a:pt x="247" y="97"/>
                  </a:lnTo>
                  <a:lnTo>
                    <a:pt x="247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51" y="97"/>
                  </a:lnTo>
                  <a:lnTo>
                    <a:pt x="251" y="97"/>
                  </a:lnTo>
                  <a:lnTo>
                    <a:pt x="251" y="97"/>
                  </a:lnTo>
                  <a:lnTo>
                    <a:pt x="251" y="97"/>
                  </a:lnTo>
                  <a:lnTo>
                    <a:pt x="253" y="99"/>
                  </a:lnTo>
                  <a:lnTo>
                    <a:pt x="253" y="97"/>
                  </a:lnTo>
                  <a:lnTo>
                    <a:pt x="255" y="97"/>
                  </a:lnTo>
                  <a:lnTo>
                    <a:pt x="255" y="97"/>
                  </a:lnTo>
                  <a:lnTo>
                    <a:pt x="255" y="97"/>
                  </a:lnTo>
                  <a:lnTo>
                    <a:pt x="255" y="95"/>
                  </a:lnTo>
                  <a:lnTo>
                    <a:pt x="257" y="95"/>
                  </a:lnTo>
                  <a:lnTo>
                    <a:pt x="257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61" y="91"/>
                  </a:lnTo>
                  <a:lnTo>
                    <a:pt x="261" y="91"/>
                  </a:lnTo>
                  <a:lnTo>
                    <a:pt x="261" y="91"/>
                  </a:lnTo>
                  <a:lnTo>
                    <a:pt x="263" y="91"/>
                  </a:lnTo>
                  <a:lnTo>
                    <a:pt x="263" y="91"/>
                  </a:lnTo>
                  <a:lnTo>
                    <a:pt x="265" y="91"/>
                  </a:lnTo>
                  <a:lnTo>
                    <a:pt x="265" y="91"/>
                  </a:lnTo>
                  <a:lnTo>
                    <a:pt x="265" y="89"/>
                  </a:lnTo>
                  <a:lnTo>
                    <a:pt x="269" y="87"/>
                  </a:lnTo>
                  <a:lnTo>
                    <a:pt x="271" y="87"/>
                  </a:lnTo>
                  <a:lnTo>
                    <a:pt x="271" y="87"/>
                  </a:lnTo>
                  <a:close/>
                  <a:moveTo>
                    <a:pt x="232" y="85"/>
                  </a:moveTo>
                  <a:lnTo>
                    <a:pt x="232" y="83"/>
                  </a:lnTo>
                  <a:lnTo>
                    <a:pt x="230" y="83"/>
                  </a:lnTo>
                  <a:lnTo>
                    <a:pt x="232" y="83"/>
                  </a:lnTo>
                  <a:lnTo>
                    <a:pt x="232" y="83"/>
                  </a:lnTo>
                  <a:lnTo>
                    <a:pt x="232" y="85"/>
                  </a:lnTo>
                  <a:lnTo>
                    <a:pt x="232" y="85"/>
                  </a:lnTo>
                  <a:lnTo>
                    <a:pt x="232" y="8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E5484527-1510-F441-A9D0-C0E4EA4622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0910" y="2224198"/>
              <a:ext cx="158056" cy="222229"/>
            </a:xfrm>
            <a:custGeom>
              <a:avLst/>
              <a:gdLst>
                <a:gd name="T0" fmla="*/ 51 w 133"/>
                <a:gd name="T1" fmla="*/ 132 h 187"/>
                <a:gd name="T2" fmla="*/ 30 w 133"/>
                <a:gd name="T3" fmla="*/ 113 h 187"/>
                <a:gd name="T4" fmla="*/ 32 w 133"/>
                <a:gd name="T5" fmla="*/ 105 h 187"/>
                <a:gd name="T6" fmla="*/ 18 w 133"/>
                <a:gd name="T7" fmla="*/ 97 h 187"/>
                <a:gd name="T8" fmla="*/ 4 w 133"/>
                <a:gd name="T9" fmla="*/ 105 h 187"/>
                <a:gd name="T10" fmla="*/ 6 w 133"/>
                <a:gd name="T11" fmla="*/ 115 h 187"/>
                <a:gd name="T12" fmla="*/ 16 w 133"/>
                <a:gd name="T13" fmla="*/ 113 h 187"/>
                <a:gd name="T14" fmla="*/ 43 w 133"/>
                <a:gd name="T15" fmla="*/ 92 h 187"/>
                <a:gd name="T16" fmla="*/ 30 w 133"/>
                <a:gd name="T17" fmla="*/ 88 h 187"/>
                <a:gd name="T18" fmla="*/ 26 w 133"/>
                <a:gd name="T19" fmla="*/ 86 h 187"/>
                <a:gd name="T20" fmla="*/ 32 w 133"/>
                <a:gd name="T21" fmla="*/ 82 h 187"/>
                <a:gd name="T22" fmla="*/ 30 w 133"/>
                <a:gd name="T23" fmla="*/ 74 h 187"/>
                <a:gd name="T24" fmla="*/ 26 w 133"/>
                <a:gd name="T25" fmla="*/ 72 h 187"/>
                <a:gd name="T26" fmla="*/ 30 w 133"/>
                <a:gd name="T27" fmla="*/ 64 h 187"/>
                <a:gd name="T28" fmla="*/ 35 w 133"/>
                <a:gd name="T29" fmla="*/ 66 h 187"/>
                <a:gd name="T30" fmla="*/ 32 w 133"/>
                <a:gd name="T31" fmla="*/ 55 h 187"/>
                <a:gd name="T32" fmla="*/ 28 w 133"/>
                <a:gd name="T33" fmla="*/ 60 h 187"/>
                <a:gd name="T34" fmla="*/ 16 w 133"/>
                <a:gd name="T35" fmla="*/ 55 h 187"/>
                <a:gd name="T36" fmla="*/ 30 w 133"/>
                <a:gd name="T37" fmla="*/ 47 h 187"/>
                <a:gd name="T38" fmla="*/ 26 w 133"/>
                <a:gd name="T39" fmla="*/ 45 h 187"/>
                <a:gd name="T40" fmla="*/ 22 w 133"/>
                <a:gd name="T41" fmla="*/ 49 h 187"/>
                <a:gd name="T42" fmla="*/ 115 w 133"/>
                <a:gd name="T43" fmla="*/ 138 h 187"/>
                <a:gd name="T44" fmla="*/ 106 w 133"/>
                <a:gd name="T45" fmla="*/ 121 h 187"/>
                <a:gd name="T46" fmla="*/ 102 w 133"/>
                <a:gd name="T47" fmla="*/ 109 h 187"/>
                <a:gd name="T48" fmla="*/ 71 w 133"/>
                <a:gd name="T49" fmla="*/ 84 h 187"/>
                <a:gd name="T50" fmla="*/ 69 w 133"/>
                <a:gd name="T51" fmla="*/ 76 h 187"/>
                <a:gd name="T52" fmla="*/ 90 w 133"/>
                <a:gd name="T53" fmla="*/ 58 h 187"/>
                <a:gd name="T54" fmla="*/ 61 w 133"/>
                <a:gd name="T55" fmla="*/ 53 h 187"/>
                <a:gd name="T56" fmla="*/ 76 w 133"/>
                <a:gd name="T57" fmla="*/ 37 h 187"/>
                <a:gd name="T58" fmla="*/ 49 w 133"/>
                <a:gd name="T59" fmla="*/ 39 h 187"/>
                <a:gd name="T60" fmla="*/ 47 w 133"/>
                <a:gd name="T61" fmla="*/ 51 h 187"/>
                <a:gd name="T62" fmla="*/ 37 w 133"/>
                <a:gd name="T63" fmla="*/ 60 h 187"/>
                <a:gd name="T64" fmla="*/ 35 w 133"/>
                <a:gd name="T65" fmla="*/ 74 h 187"/>
                <a:gd name="T66" fmla="*/ 37 w 133"/>
                <a:gd name="T67" fmla="*/ 86 h 187"/>
                <a:gd name="T68" fmla="*/ 41 w 133"/>
                <a:gd name="T69" fmla="*/ 86 h 187"/>
                <a:gd name="T70" fmla="*/ 43 w 133"/>
                <a:gd name="T71" fmla="*/ 84 h 187"/>
                <a:gd name="T72" fmla="*/ 49 w 133"/>
                <a:gd name="T73" fmla="*/ 90 h 187"/>
                <a:gd name="T74" fmla="*/ 47 w 133"/>
                <a:gd name="T75" fmla="*/ 103 h 187"/>
                <a:gd name="T76" fmla="*/ 65 w 133"/>
                <a:gd name="T77" fmla="*/ 101 h 187"/>
                <a:gd name="T78" fmla="*/ 69 w 133"/>
                <a:gd name="T79" fmla="*/ 117 h 187"/>
                <a:gd name="T80" fmla="*/ 67 w 133"/>
                <a:gd name="T81" fmla="*/ 127 h 187"/>
                <a:gd name="T82" fmla="*/ 45 w 133"/>
                <a:gd name="T83" fmla="*/ 138 h 187"/>
                <a:gd name="T84" fmla="*/ 51 w 133"/>
                <a:gd name="T85" fmla="*/ 146 h 187"/>
                <a:gd name="T86" fmla="*/ 45 w 133"/>
                <a:gd name="T87" fmla="*/ 156 h 187"/>
                <a:gd name="T88" fmla="*/ 65 w 133"/>
                <a:gd name="T89" fmla="*/ 160 h 187"/>
                <a:gd name="T90" fmla="*/ 49 w 133"/>
                <a:gd name="T91" fmla="*/ 167 h 187"/>
                <a:gd name="T92" fmla="*/ 26 w 133"/>
                <a:gd name="T93" fmla="*/ 187 h 187"/>
                <a:gd name="T94" fmla="*/ 49 w 133"/>
                <a:gd name="T95" fmla="*/ 181 h 187"/>
                <a:gd name="T96" fmla="*/ 78 w 133"/>
                <a:gd name="T97" fmla="*/ 177 h 187"/>
                <a:gd name="T98" fmla="*/ 100 w 133"/>
                <a:gd name="T99" fmla="*/ 173 h 187"/>
                <a:gd name="T100" fmla="*/ 125 w 133"/>
                <a:gd name="T101" fmla="*/ 162 h 187"/>
                <a:gd name="T102" fmla="*/ 121 w 133"/>
                <a:gd name="T103" fmla="*/ 156 h 187"/>
                <a:gd name="T104" fmla="*/ 133 w 133"/>
                <a:gd name="T105" fmla="*/ 142 h 187"/>
                <a:gd name="T106" fmla="*/ 74 w 133"/>
                <a:gd name="T107" fmla="*/ 33 h 187"/>
                <a:gd name="T108" fmla="*/ 78 w 133"/>
                <a:gd name="T109" fmla="*/ 33 h 187"/>
                <a:gd name="T110" fmla="*/ 71 w 133"/>
                <a:gd name="T111" fmla="*/ 31 h 187"/>
                <a:gd name="T112" fmla="*/ 82 w 133"/>
                <a:gd name="T113" fmla="*/ 27 h 187"/>
                <a:gd name="T114" fmla="*/ 100 w 133"/>
                <a:gd name="T115" fmla="*/ 12 h 187"/>
                <a:gd name="T116" fmla="*/ 102 w 133"/>
                <a:gd name="T117" fmla="*/ 6 h 187"/>
                <a:gd name="T118" fmla="*/ 96 w 133"/>
                <a:gd name="T119" fmla="*/ 10 h 187"/>
                <a:gd name="T120" fmla="*/ 108 w 133"/>
                <a:gd name="T121" fmla="*/ 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3" h="187">
                  <a:moveTo>
                    <a:pt x="88" y="175"/>
                  </a:moveTo>
                  <a:lnTo>
                    <a:pt x="86" y="175"/>
                  </a:lnTo>
                  <a:lnTo>
                    <a:pt x="84" y="175"/>
                  </a:lnTo>
                  <a:lnTo>
                    <a:pt x="84" y="177"/>
                  </a:lnTo>
                  <a:lnTo>
                    <a:pt x="84" y="177"/>
                  </a:lnTo>
                  <a:lnTo>
                    <a:pt x="88" y="177"/>
                  </a:lnTo>
                  <a:lnTo>
                    <a:pt x="88" y="177"/>
                  </a:lnTo>
                  <a:lnTo>
                    <a:pt x="90" y="177"/>
                  </a:lnTo>
                  <a:lnTo>
                    <a:pt x="90" y="177"/>
                  </a:lnTo>
                  <a:lnTo>
                    <a:pt x="90" y="177"/>
                  </a:lnTo>
                  <a:lnTo>
                    <a:pt x="92" y="175"/>
                  </a:lnTo>
                  <a:lnTo>
                    <a:pt x="90" y="175"/>
                  </a:lnTo>
                  <a:lnTo>
                    <a:pt x="88" y="175"/>
                  </a:lnTo>
                  <a:close/>
                  <a:moveTo>
                    <a:pt x="49" y="132"/>
                  </a:moveTo>
                  <a:lnTo>
                    <a:pt x="51" y="132"/>
                  </a:lnTo>
                  <a:lnTo>
                    <a:pt x="51" y="132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1" y="129"/>
                  </a:lnTo>
                  <a:lnTo>
                    <a:pt x="51" y="129"/>
                  </a:lnTo>
                  <a:lnTo>
                    <a:pt x="51" y="127"/>
                  </a:lnTo>
                  <a:lnTo>
                    <a:pt x="49" y="127"/>
                  </a:lnTo>
                  <a:lnTo>
                    <a:pt x="47" y="127"/>
                  </a:lnTo>
                  <a:lnTo>
                    <a:pt x="47" y="129"/>
                  </a:lnTo>
                  <a:lnTo>
                    <a:pt x="47" y="132"/>
                  </a:lnTo>
                  <a:lnTo>
                    <a:pt x="49" y="132"/>
                  </a:lnTo>
                  <a:lnTo>
                    <a:pt x="49" y="132"/>
                  </a:lnTo>
                  <a:close/>
                  <a:moveTo>
                    <a:pt x="28" y="117"/>
                  </a:moveTo>
                  <a:lnTo>
                    <a:pt x="28" y="115"/>
                  </a:lnTo>
                  <a:lnTo>
                    <a:pt x="30" y="115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32" y="113"/>
                  </a:lnTo>
                  <a:lnTo>
                    <a:pt x="35" y="113"/>
                  </a:lnTo>
                  <a:lnTo>
                    <a:pt x="35" y="111"/>
                  </a:lnTo>
                  <a:lnTo>
                    <a:pt x="35" y="111"/>
                  </a:lnTo>
                  <a:lnTo>
                    <a:pt x="32" y="111"/>
                  </a:lnTo>
                  <a:lnTo>
                    <a:pt x="35" y="109"/>
                  </a:lnTo>
                  <a:lnTo>
                    <a:pt x="32" y="107"/>
                  </a:lnTo>
                  <a:lnTo>
                    <a:pt x="35" y="109"/>
                  </a:lnTo>
                  <a:lnTo>
                    <a:pt x="35" y="109"/>
                  </a:lnTo>
                  <a:lnTo>
                    <a:pt x="35" y="109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7"/>
                  </a:lnTo>
                  <a:lnTo>
                    <a:pt x="35" y="107"/>
                  </a:lnTo>
                  <a:lnTo>
                    <a:pt x="35" y="105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0" y="107"/>
                  </a:lnTo>
                  <a:lnTo>
                    <a:pt x="30" y="105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2" y="103"/>
                  </a:lnTo>
                  <a:lnTo>
                    <a:pt x="32" y="101"/>
                  </a:lnTo>
                  <a:lnTo>
                    <a:pt x="30" y="99"/>
                  </a:lnTo>
                  <a:lnTo>
                    <a:pt x="30" y="97"/>
                  </a:lnTo>
                  <a:lnTo>
                    <a:pt x="28" y="97"/>
                  </a:lnTo>
                  <a:lnTo>
                    <a:pt x="26" y="97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0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2" y="99"/>
                  </a:lnTo>
                  <a:lnTo>
                    <a:pt x="12" y="101"/>
                  </a:lnTo>
                  <a:lnTo>
                    <a:pt x="10" y="101"/>
                  </a:lnTo>
                  <a:lnTo>
                    <a:pt x="10" y="103"/>
                  </a:lnTo>
                  <a:lnTo>
                    <a:pt x="10" y="103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6" y="105"/>
                  </a:lnTo>
                  <a:lnTo>
                    <a:pt x="6" y="105"/>
                  </a:lnTo>
                  <a:lnTo>
                    <a:pt x="6" y="105"/>
                  </a:lnTo>
                  <a:lnTo>
                    <a:pt x="4" y="105"/>
                  </a:lnTo>
                  <a:lnTo>
                    <a:pt x="4" y="105"/>
                  </a:lnTo>
                  <a:lnTo>
                    <a:pt x="4" y="105"/>
                  </a:lnTo>
                  <a:lnTo>
                    <a:pt x="4" y="105"/>
                  </a:lnTo>
                  <a:lnTo>
                    <a:pt x="4" y="107"/>
                  </a:lnTo>
                  <a:lnTo>
                    <a:pt x="6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09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0" y="111"/>
                  </a:lnTo>
                  <a:lnTo>
                    <a:pt x="2" y="113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6" y="115"/>
                  </a:lnTo>
                  <a:lnTo>
                    <a:pt x="6" y="115"/>
                  </a:lnTo>
                  <a:lnTo>
                    <a:pt x="8" y="115"/>
                  </a:lnTo>
                  <a:lnTo>
                    <a:pt x="10" y="115"/>
                  </a:lnTo>
                  <a:lnTo>
                    <a:pt x="10" y="115"/>
                  </a:lnTo>
                  <a:lnTo>
                    <a:pt x="10" y="115"/>
                  </a:lnTo>
                  <a:lnTo>
                    <a:pt x="10" y="115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6" y="113"/>
                  </a:lnTo>
                  <a:lnTo>
                    <a:pt x="16" y="113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18" y="115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2" y="117"/>
                  </a:lnTo>
                  <a:lnTo>
                    <a:pt x="22" y="117"/>
                  </a:lnTo>
                  <a:lnTo>
                    <a:pt x="22" y="115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6" y="117"/>
                  </a:lnTo>
                  <a:lnTo>
                    <a:pt x="28" y="117"/>
                  </a:lnTo>
                  <a:close/>
                  <a:moveTo>
                    <a:pt x="41" y="92"/>
                  </a:moveTo>
                  <a:lnTo>
                    <a:pt x="43" y="92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close/>
                  <a:moveTo>
                    <a:pt x="26" y="90"/>
                  </a:moveTo>
                  <a:lnTo>
                    <a:pt x="28" y="90"/>
                  </a:lnTo>
                  <a:lnTo>
                    <a:pt x="30" y="88"/>
                  </a:lnTo>
                  <a:lnTo>
                    <a:pt x="30" y="88"/>
                  </a:lnTo>
                  <a:lnTo>
                    <a:pt x="30" y="88"/>
                  </a:lnTo>
                  <a:lnTo>
                    <a:pt x="30" y="86"/>
                  </a:lnTo>
                  <a:lnTo>
                    <a:pt x="30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8" y="86"/>
                  </a:lnTo>
                  <a:lnTo>
                    <a:pt x="26" y="88"/>
                  </a:lnTo>
                  <a:lnTo>
                    <a:pt x="28" y="88"/>
                  </a:lnTo>
                  <a:lnTo>
                    <a:pt x="26" y="88"/>
                  </a:lnTo>
                  <a:lnTo>
                    <a:pt x="26" y="90"/>
                  </a:lnTo>
                  <a:close/>
                  <a:moveTo>
                    <a:pt x="30" y="84"/>
                  </a:moveTo>
                  <a:lnTo>
                    <a:pt x="30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5" y="82"/>
                  </a:lnTo>
                  <a:lnTo>
                    <a:pt x="37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0" y="84"/>
                  </a:lnTo>
                  <a:lnTo>
                    <a:pt x="30" y="84"/>
                  </a:lnTo>
                  <a:close/>
                  <a:moveTo>
                    <a:pt x="35" y="74"/>
                  </a:moveTo>
                  <a:lnTo>
                    <a:pt x="35" y="74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4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28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30" y="78"/>
                  </a:lnTo>
                  <a:lnTo>
                    <a:pt x="35" y="76"/>
                  </a:lnTo>
                  <a:lnTo>
                    <a:pt x="37" y="74"/>
                  </a:lnTo>
                  <a:lnTo>
                    <a:pt x="35" y="74"/>
                  </a:lnTo>
                  <a:close/>
                  <a:moveTo>
                    <a:pt x="26" y="72"/>
                  </a:moveTo>
                  <a:lnTo>
                    <a:pt x="26" y="72"/>
                  </a:lnTo>
                  <a:lnTo>
                    <a:pt x="26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6" y="72"/>
                  </a:lnTo>
                  <a:lnTo>
                    <a:pt x="26" y="72"/>
                  </a:lnTo>
                  <a:close/>
                  <a:moveTo>
                    <a:pt x="14" y="66"/>
                  </a:moveTo>
                  <a:lnTo>
                    <a:pt x="14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6"/>
                  </a:lnTo>
                  <a:close/>
                  <a:moveTo>
                    <a:pt x="28" y="66"/>
                  </a:move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4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28" y="66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6" y="60"/>
                  </a:lnTo>
                  <a:close/>
                  <a:moveTo>
                    <a:pt x="35" y="66"/>
                  </a:moveTo>
                  <a:lnTo>
                    <a:pt x="35" y="66"/>
                  </a:lnTo>
                  <a:lnTo>
                    <a:pt x="35" y="64"/>
                  </a:lnTo>
                  <a:lnTo>
                    <a:pt x="37" y="64"/>
                  </a:lnTo>
                  <a:lnTo>
                    <a:pt x="39" y="62"/>
                  </a:lnTo>
                  <a:lnTo>
                    <a:pt x="39" y="62"/>
                  </a:lnTo>
                  <a:lnTo>
                    <a:pt x="39" y="62"/>
                  </a:lnTo>
                  <a:lnTo>
                    <a:pt x="39" y="62"/>
                  </a:lnTo>
                  <a:lnTo>
                    <a:pt x="37" y="62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5"/>
                  </a:lnTo>
                  <a:lnTo>
                    <a:pt x="32" y="53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0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60"/>
                  </a:lnTo>
                  <a:lnTo>
                    <a:pt x="28" y="60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2" y="62"/>
                  </a:lnTo>
                  <a:lnTo>
                    <a:pt x="35" y="62"/>
                  </a:lnTo>
                  <a:lnTo>
                    <a:pt x="35" y="64"/>
                  </a:lnTo>
                  <a:lnTo>
                    <a:pt x="35" y="66"/>
                  </a:lnTo>
                  <a:close/>
                  <a:moveTo>
                    <a:pt x="20" y="55"/>
                  </a:moveTo>
                  <a:lnTo>
                    <a:pt x="20" y="55"/>
                  </a:lnTo>
                  <a:lnTo>
                    <a:pt x="20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8" y="55"/>
                  </a:lnTo>
                  <a:lnTo>
                    <a:pt x="20" y="55"/>
                  </a:lnTo>
                  <a:close/>
                  <a:moveTo>
                    <a:pt x="22" y="51"/>
                  </a:moveTo>
                  <a:lnTo>
                    <a:pt x="20" y="51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6" y="49"/>
                  </a:lnTo>
                  <a:lnTo>
                    <a:pt x="28" y="49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28" y="47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2" y="45"/>
                  </a:lnTo>
                  <a:lnTo>
                    <a:pt x="35" y="43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39"/>
                  </a:lnTo>
                  <a:lnTo>
                    <a:pt x="32" y="41"/>
                  </a:lnTo>
                  <a:lnTo>
                    <a:pt x="30" y="41"/>
                  </a:lnTo>
                  <a:lnTo>
                    <a:pt x="26" y="43"/>
                  </a:lnTo>
                  <a:lnTo>
                    <a:pt x="26" y="43"/>
                  </a:lnTo>
                  <a:lnTo>
                    <a:pt x="26" y="43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2" y="49"/>
                  </a:lnTo>
                  <a:lnTo>
                    <a:pt x="22" y="51"/>
                  </a:lnTo>
                  <a:close/>
                  <a:moveTo>
                    <a:pt x="131" y="140"/>
                  </a:moveTo>
                  <a:lnTo>
                    <a:pt x="131" y="140"/>
                  </a:lnTo>
                  <a:lnTo>
                    <a:pt x="127" y="136"/>
                  </a:lnTo>
                  <a:lnTo>
                    <a:pt x="127" y="136"/>
                  </a:lnTo>
                  <a:lnTo>
                    <a:pt x="123" y="136"/>
                  </a:lnTo>
                  <a:lnTo>
                    <a:pt x="121" y="136"/>
                  </a:lnTo>
                  <a:lnTo>
                    <a:pt x="121" y="136"/>
                  </a:lnTo>
                  <a:lnTo>
                    <a:pt x="119" y="136"/>
                  </a:lnTo>
                  <a:lnTo>
                    <a:pt x="117" y="136"/>
                  </a:lnTo>
                  <a:lnTo>
                    <a:pt x="115" y="136"/>
                  </a:lnTo>
                  <a:lnTo>
                    <a:pt x="115" y="138"/>
                  </a:lnTo>
                  <a:lnTo>
                    <a:pt x="115" y="138"/>
                  </a:lnTo>
                  <a:lnTo>
                    <a:pt x="113" y="138"/>
                  </a:lnTo>
                  <a:lnTo>
                    <a:pt x="113" y="138"/>
                  </a:lnTo>
                  <a:lnTo>
                    <a:pt x="108" y="136"/>
                  </a:lnTo>
                  <a:lnTo>
                    <a:pt x="110" y="136"/>
                  </a:lnTo>
                  <a:lnTo>
                    <a:pt x="110" y="134"/>
                  </a:lnTo>
                  <a:lnTo>
                    <a:pt x="113" y="134"/>
                  </a:lnTo>
                  <a:lnTo>
                    <a:pt x="115" y="132"/>
                  </a:lnTo>
                  <a:lnTo>
                    <a:pt x="113" y="129"/>
                  </a:lnTo>
                  <a:lnTo>
                    <a:pt x="110" y="127"/>
                  </a:lnTo>
                  <a:lnTo>
                    <a:pt x="106" y="123"/>
                  </a:lnTo>
                  <a:lnTo>
                    <a:pt x="102" y="123"/>
                  </a:lnTo>
                  <a:lnTo>
                    <a:pt x="100" y="121"/>
                  </a:lnTo>
                  <a:lnTo>
                    <a:pt x="102" y="121"/>
                  </a:lnTo>
                  <a:lnTo>
                    <a:pt x="102" y="121"/>
                  </a:lnTo>
                  <a:lnTo>
                    <a:pt x="106" y="121"/>
                  </a:lnTo>
                  <a:lnTo>
                    <a:pt x="106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10" y="123"/>
                  </a:lnTo>
                  <a:lnTo>
                    <a:pt x="110" y="123"/>
                  </a:lnTo>
                  <a:lnTo>
                    <a:pt x="110" y="123"/>
                  </a:lnTo>
                  <a:lnTo>
                    <a:pt x="110" y="121"/>
                  </a:lnTo>
                  <a:lnTo>
                    <a:pt x="108" y="119"/>
                  </a:lnTo>
                  <a:lnTo>
                    <a:pt x="108" y="119"/>
                  </a:lnTo>
                  <a:lnTo>
                    <a:pt x="106" y="117"/>
                  </a:lnTo>
                  <a:lnTo>
                    <a:pt x="108" y="115"/>
                  </a:lnTo>
                  <a:lnTo>
                    <a:pt x="108" y="115"/>
                  </a:lnTo>
                  <a:lnTo>
                    <a:pt x="106" y="113"/>
                  </a:lnTo>
                  <a:lnTo>
                    <a:pt x="104" y="113"/>
                  </a:lnTo>
                  <a:lnTo>
                    <a:pt x="102" y="111"/>
                  </a:lnTo>
                  <a:lnTo>
                    <a:pt x="102" y="109"/>
                  </a:lnTo>
                  <a:lnTo>
                    <a:pt x="100" y="109"/>
                  </a:lnTo>
                  <a:lnTo>
                    <a:pt x="94" y="107"/>
                  </a:lnTo>
                  <a:lnTo>
                    <a:pt x="94" y="105"/>
                  </a:lnTo>
                  <a:lnTo>
                    <a:pt x="94" y="105"/>
                  </a:lnTo>
                  <a:lnTo>
                    <a:pt x="92" y="99"/>
                  </a:lnTo>
                  <a:lnTo>
                    <a:pt x="90" y="95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6" y="86"/>
                  </a:lnTo>
                  <a:lnTo>
                    <a:pt x="84" y="84"/>
                  </a:lnTo>
                  <a:lnTo>
                    <a:pt x="78" y="82"/>
                  </a:lnTo>
                  <a:lnTo>
                    <a:pt x="74" y="82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63" y="82"/>
                  </a:lnTo>
                  <a:lnTo>
                    <a:pt x="63" y="82"/>
                  </a:lnTo>
                  <a:lnTo>
                    <a:pt x="61" y="80"/>
                  </a:lnTo>
                  <a:lnTo>
                    <a:pt x="63" y="82"/>
                  </a:lnTo>
                  <a:lnTo>
                    <a:pt x="65" y="82"/>
                  </a:lnTo>
                  <a:lnTo>
                    <a:pt x="67" y="82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74" y="80"/>
                  </a:lnTo>
                  <a:lnTo>
                    <a:pt x="76" y="80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4" y="76"/>
                  </a:lnTo>
                  <a:lnTo>
                    <a:pt x="71" y="76"/>
                  </a:lnTo>
                  <a:lnTo>
                    <a:pt x="69" y="76"/>
                  </a:lnTo>
                  <a:lnTo>
                    <a:pt x="69" y="76"/>
                  </a:lnTo>
                  <a:lnTo>
                    <a:pt x="69" y="76"/>
                  </a:lnTo>
                  <a:lnTo>
                    <a:pt x="71" y="76"/>
                  </a:lnTo>
                  <a:lnTo>
                    <a:pt x="71" y="74"/>
                  </a:lnTo>
                  <a:lnTo>
                    <a:pt x="76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80" y="72"/>
                  </a:lnTo>
                  <a:lnTo>
                    <a:pt x="82" y="70"/>
                  </a:lnTo>
                  <a:lnTo>
                    <a:pt x="84" y="68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6" y="62"/>
                  </a:lnTo>
                  <a:lnTo>
                    <a:pt x="88" y="62"/>
                  </a:lnTo>
                  <a:lnTo>
                    <a:pt x="88" y="60"/>
                  </a:lnTo>
                  <a:lnTo>
                    <a:pt x="90" y="58"/>
                  </a:lnTo>
                  <a:lnTo>
                    <a:pt x="90" y="58"/>
                  </a:lnTo>
                  <a:lnTo>
                    <a:pt x="90" y="58"/>
                  </a:lnTo>
                  <a:lnTo>
                    <a:pt x="90" y="55"/>
                  </a:lnTo>
                  <a:lnTo>
                    <a:pt x="88" y="53"/>
                  </a:lnTo>
                  <a:lnTo>
                    <a:pt x="88" y="53"/>
                  </a:lnTo>
                  <a:lnTo>
                    <a:pt x="84" y="53"/>
                  </a:lnTo>
                  <a:lnTo>
                    <a:pt x="78" y="53"/>
                  </a:lnTo>
                  <a:lnTo>
                    <a:pt x="76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1" y="53"/>
                  </a:lnTo>
                  <a:lnTo>
                    <a:pt x="69" y="53"/>
                  </a:lnTo>
                  <a:lnTo>
                    <a:pt x="67" y="53"/>
                  </a:lnTo>
                  <a:lnTo>
                    <a:pt x="63" y="55"/>
                  </a:lnTo>
                  <a:lnTo>
                    <a:pt x="61" y="55"/>
                  </a:lnTo>
                  <a:lnTo>
                    <a:pt x="59" y="55"/>
                  </a:lnTo>
                  <a:lnTo>
                    <a:pt x="61" y="53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1" y="51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5" y="47"/>
                  </a:lnTo>
                  <a:lnTo>
                    <a:pt x="69" y="45"/>
                  </a:lnTo>
                  <a:lnTo>
                    <a:pt x="74" y="43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6" y="41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4" y="37"/>
                  </a:lnTo>
                  <a:lnTo>
                    <a:pt x="69" y="37"/>
                  </a:lnTo>
                  <a:lnTo>
                    <a:pt x="67" y="39"/>
                  </a:lnTo>
                  <a:lnTo>
                    <a:pt x="65" y="39"/>
                  </a:lnTo>
                  <a:lnTo>
                    <a:pt x="61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39"/>
                  </a:lnTo>
                  <a:lnTo>
                    <a:pt x="53" y="39"/>
                  </a:lnTo>
                  <a:lnTo>
                    <a:pt x="53" y="39"/>
                  </a:lnTo>
                  <a:lnTo>
                    <a:pt x="53" y="39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7" y="43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3" y="47"/>
                  </a:lnTo>
                  <a:lnTo>
                    <a:pt x="45" y="47"/>
                  </a:lnTo>
                  <a:lnTo>
                    <a:pt x="47" y="49"/>
                  </a:lnTo>
                  <a:lnTo>
                    <a:pt x="47" y="51"/>
                  </a:lnTo>
                  <a:lnTo>
                    <a:pt x="45" y="49"/>
                  </a:lnTo>
                  <a:lnTo>
                    <a:pt x="45" y="49"/>
                  </a:lnTo>
                  <a:lnTo>
                    <a:pt x="45" y="51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9" y="51"/>
                  </a:lnTo>
                  <a:lnTo>
                    <a:pt x="39" y="53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41" y="55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7" y="58"/>
                  </a:lnTo>
                  <a:lnTo>
                    <a:pt x="37" y="58"/>
                  </a:lnTo>
                  <a:lnTo>
                    <a:pt x="37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41" y="62"/>
                  </a:lnTo>
                  <a:lnTo>
                    <a:pt x="39" y="64"/>
                  </a:lnTo>
                  <a:lnTo>
                    <a:pt x="37" y="66"/>
                  </a:lnTo>
                  <a:lnTo>
                    <a:pt x="37" y="68"/>
                  </a:lnTo>
                  <a:lnTo>
                    <a:pt x="35" y="68"/>
                  </a:lnTo>
                  <a:lnTo>
                    <a:pt x="37" y="68"/>
                  </a:lnTo>
                  <a:lnTo>
                    <a:pt x="35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0" y="70"/>
                  </a:lnTo>
                  <a:lnTo>
                    <a:pt x="32" y="70"/>
                  </a:lnTo>
                  <a:lnTo>
                    <a:pt x="35" y="70"/>
                  </a:lnTo>
                  <a:lnTo>
                    <a:pt x="35" y="72"/>
                  </a:lnTo>
                  <a:lnTo>
                    <a:pt x="35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9" y="74"/>
                  </a:lnTo>
                  <a:lnTo>
                    <a:pt x="43" y="70"/>
                  </a:lnTo>
                  <a:lnTo>
                    <a:pt x="45" y="70"/>
                  </a:lnTo>
                  <a:lnTo>
                    <a:pt x="43" y="70"/>
                  </a:lnTo>
                  <a:lnTo>
                    <a:pt x="43" y="72"/>
                  </a:lnTo>
                  <a:lnTo>
                    <a:pt x="43" y="74"/>
                  </a:lnTo>
                  <a:lnTo>
                    <a:pt x="41" y="74"/>
                  </a:lnTo>
                  <a:lnTo>
                    <a:pt x="41" y="76"/>
                  </a:lnTo>
                  <a:lnTo>
                    <a:pt x="39" y="76"/>
                  </a:lnTo>
                  <a:lnTo>
                    <a:pt x="39" y="78"/>
                  </a:lnTo>
                  <a:lnTo>
                    <a:pt x="39" y="80"/>
                  </a:lnTo>
                  <a:lnTo>
                    <a:pt x="37" y="82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5" y="88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35" y="95"/>
                  </a:lnTo>
                  <a:lnTo>
                    <a:pt x="35" y="95"/>
                  </a:lnTo>
                  <a:lnTo>
                    <a:pt x="35" y="95"/>
                  </a:lnTo>
                  <a:lnTo>
                    <a:pt x="37" y="95"/>
                  </a:lnTo>
                  <a:lnTo>
                    <a:pt x="37" y="95"/>
                  </a:lnTo>
                  <a:lnTo>
                    <a:pt x="37" y="92"/>
                  </a:lnTo>
                  <a:lnTo>
                    <a:pt x="39" y="86"/>
                  </a:lnTo>
                  <a:lnTo>
                    <a:pt x="41" y="86"/>
                  </a:lnTo>
                  <a:lnTo>
                    <a:pt x="39" y="84"/>
                  </a:lnTo>
                  <a:lnTo>
                    <a:pt x="39" y="82"/>
                  </a:lnTo>
                  <a:lnTo>
                    <a:pt x="41" y="82"/>
                  </a:lnTo>
                  <a:lnTo>
                    <a:pt x="41" y="82"/>
                  </a:lnTo>
                  <a:lnTo>
                    <a:pt x="41" y="80"/>
                  </a:lnTo>
                  <a:lnTo>
                    <a:pt x="45" y="80"/>
                  </a:lnTo>
                  <a:lnTo>
                    <a:pt x="45" y="78"/>
                  </a:lnTo>
                  <a:lnTo>
                    <a:pt x="43" y="80"/>
                  </a:lnTo>
                  <a:lnTo>
                    <a:pt x="43" y="82"/>
                  </a:lnTo>
                  <a:lnTo>
                    <a:pt x="43" y="82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5" y="82"/>
                  </a:lnTo>
                  <a:lnTo>
                    <a:pt x="45" y="82"/>
                  </a:lnTo>
                  <a:lnTo>
                    <a:pt x="47" y="82"/>
                  </a:lnTo>
                  <a:lnTo>
                    <a:pt x="47" y="80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47" y="82"/>
                  </a:lnTo>
                  <a:lnTo>
                    <a:pt x="47" y="82"/>
                  </a:lnTo>
                  <a:lnTo>
                    <a:pt x="49" y="84"/>
                  </a:lnTo>
                  <a:lnTo>
                    <a:pt x="51" y="84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47" y="86"/>
                  </a:lnTo>
                  <a:lnTo>
                    <a:pt x="47" y="88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2"/>
                  </a:lnTo>
                  <a:lnTo>
                    <a:pt x="47" y="95"/>
                  </a:lnTo>
                  <a:lnTo>
                    <a:pt x="45" y="97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41" y="103"/>
                  </a:lnTo>
                  <a:lnTo>
                    <a:pt x="43" y="105"/>
                  </a:lnTo>
                  <a:lnTo>
                    <a:pt x="45" y="105"/>
                  </a:lnTo>
                  <a:lnTo>
                    <a:pt x="45" y="105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7" y="103"/>
                  </a:lnTo>
                  <a:lnTo>
                    <a:pt x="49" y="105"/>
                  </a:lnTo>
                  <a:lnTo>
                    <a:pt x="51" y="103"/>
                  </a:lnTo>
                  <a:lnTo>
                    <a:pt x="53" y="103"/>
                  </a:lnTo>
                  <a:lnTo>
                    <a:pt x="53" y="103"/>
                  </a:lnTo>
                  <a:lnTo>
                    <a:pt x="53" y="103"/>
                  </a:lnTo>
                  <a:lnTo>
                    <a:pt x="55" y="103"/>
                  </a:lnTo>
                  <a:lnTo>
                    <a:pt x="55" y="105"/>
                  </a:lnTo>
                  <a:lnTo>
                    <a:pt x="55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3" y="101"/>
                  </a:lnTo>
                  <a:lnTo>
                    <a:pt x="65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7" y="101"/>
                  </a:lnTo>
                  <a:lnTo>
                    <a:pt x="63" y="105"/>
                  </a:lnTo>
                  <a:lnTo>
                    <a:pt x="61" y="107"/>
                  </a:lnTo>
                  <a:lnTo>
                    <a:pt x="61" y="109"/>
                  </a:lnTo>
                  <a:lnTo>
                    <a:pt x="63" y="113"/>
                  </a:lnTo>
                  <a:lnTo>
                    <a:pt x="65" y="113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9" y="115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7"/>
                  </a:lnTo>
                  <a:lnTo>
                    <a:pt x="69" y="117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21"/>
                  </a:lnTo>
                  <a:lnTo>
                    <a:pt x="69" y="121"/>
                  </a:lnTo>
                  <a:lnTo>
                    <a:pt x="69" y="121"/>
                  </a:lnTo>
                  <a:lnTo>
                    <a:pt x="69" y="123"/>
                  </a:lnTo>
                  <a:lnTo>
                    <a:pt x="67" y="125"/>
                  </a:lnTo>
                  <a:lnTo>
                    <a:pt x="67" y="125"/>
                  </a:lnTo>
                  <a:lnTo>
                    <a:pt x="67" y="127"/>
                  </a:lnTo>
                  <a:lnTo>
                    <a:pt x="69" y="129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9"/>
                  </a:lnTo>
                  <a:lnTo>
                    <a:pt x="69" y="129"/>
                  </a:lnTo>
                  <a:lnTo>
                    <a:pt x="69" y="129"/>
                  </a:lnTo>
                  <a:lnTo>
                    <a:pt x="67" y="127"/>
                  </a:lnTo>
                  <a:lnTo>
                    <a:pt x="65" y="127"/>
                  </a:lnTo>
                  <a:lnTo>
                    <a:pt x="67" y="129"/>
                  </a:lnTo>
                  <a:lnTo>
                    <a:pt x="63" y="12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29"/>
                  </a:lnTo>
                  <a:lnTo>
                    <a:pt x="57" y="129"/>
                  </a:lnTo>
                  <a:lnTo>
                    <a:pt x="57" y="129"/>
                  </a:lnTo>
                  <a:lnTo>
                    <a:pt x="53" y="132"/>
                  </a:lnTo>
                  <a:lnTo>
                    <a:pt x="51" y="132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47" y="136"/>
                  </a:lnTo>
                  <a:lnTo>
                    <a:pt x="45" y="138"/>
                  </a:lnTo>
                  <a:lnTo>
                    <a:pt x="45" y="138"/>
                  </a:lnTo>
                  <a:lnTo>
                    <a:pt x="45" y="138"/>
                  </a:lnTo>
                  <a:lnTo>
                    <a:pt x="45" y="138"/>
                  </a:lnTo>
                  <a:lnTo>
                    <a:pt x="47" y="138"/>
                  </a:lnTo>
                  <a:lnTo>
                    <a:pt x="49" y="136"/>
                  </a:lnTo>
                  <a:lnTo>
                    <a:pt x="51" y="136"/>
                  </a:lnTo>
                  <a:lnTo>
                    <a:pt x="53" y="136"/>
                  </a:lnTo>
                  <a:lnTo>
                    <a:pt x="51" y="138"/>
                  </a:lnTo>
                  <a:lnTo>
                    <a:pt x="51" y="138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1" y="142"/>
                  </a:lnTo>
                  <a:lnTo>
                    <a:pt x="53" y="142"/>
                  </a:lnTo>
                  <a:lnTo>
                    <a:pt x="53" y="142"/>
                  </a:lnTo>
                  <a:lnTo>
                    <a:pt x="53" y="144"/>
                  </a:lnTo>
                  <a:lnTo>
                    <a:pt x="51" y="146"/>
                  </a:lnTo>
                  <a:lnTo>
                    <a:pt x="51" y="146"/>
                  </a:lnTo>
                  <a:lnTo>
                    <a:pt x="49" y="148"/>
                  </a:lnTo>
                  <a:lnTo>
                    <a:pt x="47" y="148"/>
                  </a:lnTo>
                  <a:lnTo>
                    <a:pt x="45" y="150"/>
                  </a:lnTo>
                  <a:lnTo>
                    <a:pt x="41" y="152"/>
                  </a:lnTo>
                  <a:lnTo>
                    <a:pt x="37" y="152"/>
                  </a:lnTo>
                  <a:lnTo>
                    <a:pt x="35" y="154"/>
                  </a:lnTo>
                  <a:lnTo>
                    <a:pt x="35" y="154"/>
                  </a:lnTo>
                  <a:lnTo>
                    <a:pt x="35" y="154"/>
                  </a:lnTo>
                  <a:lnTo>
                    <a:pt x="35" y="156"/>
                  </a:lnTo>
                  <a:lnTo>
                    <a:pt x="35" y="156"/>
                  </a:lnTo>
                  <a:lnTo>
                    <a:pt x="37" y="158"/>
                  </a:lnTo>
                  <a:lnTo>
                    <a:pt x="39" y="158"/>
                  </a:lnTo>
                  <a:lnTo>
                    <a:pt x="41" y="158"/>
                  </a:lnTo>
                  <a:lnTo>
                    <a:pt x="43" y="156"/>
                  </a:lnTo>
                  <a:lnTo>
                    <a:pt x="45" y="156"/>
                  </a:lnTo>
                  <a:lnTo>
                    <a:pt x="47" y="156"/>
                  </a:lnTo>
                  <a:lnTo>
                    <a:pt x="47" y="158"/>
                  </a:lnTo>
                  <a:lnTo>
                    <a:pt x="47" y="158"/>
                  </a:lnTo>
                  <a:lnTo>
                    <a:pt x="51" y="158"/>
                  </a:lnTo>
                  <a:lnTo>
                    <a:pt x="49" y="158"/>
                  </a:lnTo>
                  <a:lnTo>
                    <a:pt x="49" y="160"/>
                  </a:lnTo>
                  <a:lnTo>
                    <a:pt x="49" y="160"/>
                  </a:lnTo>
                  <a:lnTo>
                    <a:pt x="51" y="160"/>
                  </a:lnTo>
                  <a:lnTo>
                    <a:pt x="53" y="160"/>
                  </a:lnTo>
                  <a:lnTo>
                    <a:pt x="53" y="160"/>
                  </a:lnTo>
                  <a:lnTo>
                    <a:pt x="55" y="160"/>
                  </a:lnTo>
                  <a:lnTo>
                    <a:pt x="57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3" y="160"/>
                  </a:lnTo>
                  <a:lnTo>
                    <a:pt x="65" y="160"/>
                  </a:lnTo>
                  <a:lnTo>
                    <a:pt x="69" y="160"/>
                  </a:lnTo>
                  <a:lnTo>
                    <a:pt x="69" y="158"/>
                  </a:lnTo>
                  <a:lnTo>
                    <a:pt x="71" y="158"/>
                  </a:lnTo>
                  <a:lnTo>
                    <a:pt x="74" y="156"/>
                  </a:lnTo>
                  <a:lnTo>
                    <a:pt x="71" y="158"/>
                  </a:lnTo>
                  <a:lnTo>
                    <a:pt x="69" y="160"/>
                  </a:lnTo>
                  <a:lnTo>
                    <a:pt x="67" y="162"/>
                  </a:lnTo>
                  <a:lnTo>
                    <a:pt x="67" y="162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1" y="167"/>
                  </a:lnTo>
                  <a:lnTo>
                    <a:pt x="59" y="167"/>
                  </a:lnTo>
                  <a:lnTo>
                    <a:pt x="57" y="167"/>
                  </a:lnTo>
                  <a:lnTo>
                    <a:pt x="53" y="167"/>
                  </a:lnTo>
                  <a:lnTo>
                    <a:pt x="49" y="167"/>
                  </a:lnTo>
                  <a:lnTo>
                    <a:pt x="49" y="167"/>
                  </a:lnTo>
                  <a:lnTo>
                    <a:pt x="47" y="169"/>
                  </a:lnTo>
                  <a:lnTo>
                    <a:pt x="43" y="171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5"/>
                  </a:lnTo>
                  <a:lnTo>
                    <a:pt x="39" y="177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35" y="179"/>
                  </a:lnTo>
                  <a:lnTo>
                    <a:pt x="32" y="181"/>
                  </a:lnTo>
                  <a:lnTo>
                    <a:pt x="30" y="183"/>
                  </a:lnTo>
                  <a:lnTo>
                    <a:pt x="26" y="185"/>
                  </a:lnTo>
                  <a:lnTo>
                    <a:pt x="26" y="185"/>
                  </a:lnTo>
                  <a:lnTo>
                    <a:pt x="26" y="187"/>
                  </a:lnTo>
                  <a:lnTo>
                    <a:pt x="26" y="187"/>
                  </a:lnTo>
                  <a:lnTo>
                    <a:pt x="26" y="187"/>
                  </a:lnTo>
                  <a:lnTo>
                    <a:pt x="28" y="185"/>
                  </a:lnTo>
                  <a:lnTo>
                    <a:pt x="30" y="187"/>
                  </a:lnTo>
                  <a:lnTo>
                    <a:pt x="32" y="187"/>
                  </a:lnTo>
                  <a:lnTo>
                    <a:pt x="32" y="187"/>
                  </a:lnTo>
                  <a:lnTo>
                    <a:pt x="35" y="185"/>
                  </a:lnTo>
                  <a:lnTo>
                    <a:pt x="35" y="185"/>
                  </a:lnTo>
                  <a:lnTo>
                    <a:pt x="39" y="183"/>
                  </a:lnTo>
                  <a:lnTo>
                    <a:pt x="39" y="183"/>
                  </a:lnTo>
                  <a:lnTo>
                    <a:pt x="43" y="181"/>
                  </a:lnTo>
                  <a:lnTo>
                    <a:pt x="45" y="181"/>
                  </a:lnTo>
                  <a:lnTo>
                    <a:pt x="45" y="181"/>
                  </a:lnTo>
                  <a:lnTo>
                    <a:pt x="47" y="181"/>
                  </a:lnTo>
                  <a:lnTo>
                    <a:pt x="47" y="181"/>
                  </a:lnTo>
                  <a:lnTo>
                    <a:pt x="47" y="181"/>
                  </a:lnTo>
                  <a:lnTo>
                    <a:pt x="49" y="181"/>
                  </a:lnTo>
                  <a:lnTo>
                    <a:pt x="51" y="183"/>
                  </a:lnTo>
                  <a:lnTo>
                    <a:pt x="53" y="183"/>
                  </a:lnTo>
                  <a:lnTo>
                    <a:pt x="53" y="183"/>
                  </a:lnTo>
                  <a:lnTo>
                    <a:pt x="55" y="183"/>
                  </a:lnTo>
                  <a:lnTo>
                    <a:pt x="57" y="181"/>
                  </a:lnTo>
                  <a:lnTo>
                    <a:pt x="57" y="179"/>
                  </a:lnTo>
                  <a:lnTo>
                    <a:pt x="59" y="177"/>
                  </a:lnTo>
                  <a:lnTo>
                    <a:pt x="63" y="175"/>
                  </a:lnTo>
                  <a:lnTo>
                    <a:pt x="65" y="175"/>
                  </a:lnTo>
                  <a:lnTo>
                    <a:pt x="67" y="175"/>
                  </a:lnTo>
                  <a:lnTo>
                    <a:pt x="69" y="177"/>
                  </a:lnTo>
                  <a:lnTo>
                    <a:pt x="69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4" y="177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78" y="175"/>
                  </a:lnTo>
                  <a:lnTo>
                    <a:pt x="80" y="175"/>
                  </a:lnTo>
                  <a:lnTo>
                    <a:pt x="82" y="175"/>
                  </a:lnTo>
                  <a:lnTo>
                    <a:pt x="84" y="175"/>
                  </a:lnTo>
                  <a:lnTo>
                    <a:pt x="84" y="175"/>
                  </a:lnTo>
                  <a:lnTo>
                    <a:pt x="88" y="173"/>
                  </a:lnTo>
                  <a:lnTo>
                    <a:pt x="86" y="173"/>
                  </a:lnTo>
                  <a:lnTo>
                    <a:pt x="88" y="173"/>
                  </a:lnTo>
                  <a:lnTo>
                    <a:pt x="90" y="173"/>
                  </a:lnTo>
                  <a:lnTo>
                    <a:pt x="92" y="173"/>
                  </a:lnTo>
                  <a:lnTo>
                    <a:pt x="94" y="175"/>
                  </a:lnTo>
                  <a:lnTo>
                    <a:pt x="94" y="175"/>
                  </a:lnTo>
                  <a:lnTo>
                    <a:pt x="100" y="173"/>
                  </a:lnTo>
                  <a:lnTo>
                    <a:pt x="102" y="173"/>
                  </a:lnTo>
                  <a:lnTo>
                    <a:pt x="108" y="175"/>
                  </a:lnTo>
                  <a:lnTo>
                    <a:pt x="110" y="175"/>
                  </a:lnTo>
                  <a:lnTo>
                    <a:pt x="113" y="173"/>
                  </a:lnTo>
                  <a:lnTo>
                    <a:pt x="113" y="173"/>
                  </a:lnTo>
                  <a:lnTo>
                    <a:pt x="117" y="173"/>
                  </a:lnTo>
                  <a:lnTo>
                    <a:pt x="117" y="171"/>
                  </a:lnTo>
                  <a:lnTo>
                    <a:pt x="119" y="171"/>
                  </a:lnTo>
                  <a:lnTo>
                    <a:pt x="121" y="171"/>
                  </a:lnTo>
                  <a:lnTo>
                    <a:pt x="121" y="169"/>
                  </a:lnTo>
                  <a:lnTo>
                    <a:pt x="125" y="167"/>
                  </a:lnTo>
                  <a:lnTo>
                    <a:pt x="127" y="167"/>
                  </a:lnTo>
                  <a:lnTo>
                    <a:pt x="127" y="164"/>
                  </a:lnTo>
                  <a:lnTo>
                    <a:pt x="127" y="164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1" y="164"/>
                  </a:lnTo>
                  <a:lnTo>
                    <a:pt x="119" y="164"/>
                  </a:lnTo>
                  <a:lnTo>
                    <a:pt x="117" y="162"/>
                  </a:lnTo>
                  <a:lnTo>
                    <a:pt x="117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3" y="162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7" y="160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21" y="158"/>
                  </a:lnTo>
                  <a:lnTo>
                    <a:pt x="119" y="158"/>
                  </a:lnTo>
                  <a:lnTo>
                    <a:pt x="117" y="156"/>
                  </a:lnTo>
                  <a:lnTo>
                    <a:pt x="121" y="156"/>
                  </a:lnTo>
                  <a:lnTo>
                    <a:pt x="123" y="156"/>
                  </a:lnTo>
                  <a:lnTo>
                    <a:pt x="123" y="156"/>
                  </a:lnTo>
                  <a:lnTo>
                    <a:pt x="125" y="154"/>
                  </a:lnTo>
                  <a:lnTo>
                    <a:pt x="125" y="154"/>
                  </a:lnTo>
                  <a:lnTo>
                    <a:pt x="125" y="154"/>
                  </a:lnTo>
                  <a:lnTo>
                    <a:pt x="125" y="152"/>
                  </a:lnTo>
                  <a:lnTo>
                    <a:pt x="125" y="152"/>
                  </a:lnTo>
                  <a:lnTo>
                    <a:pt x="125" y="152"/>
                  </a:lnTo>
                  <a:lnTo>
                    <a:pt x="127" y="152"/>
                  </a:lnTo>
                  <a:lnTo>
                    <a:pt x="129" y="150"/>
                  </a:lnTo>
                  <a:lnTo>
                    <a:pt x="129" y="150"/>
                  </a:lnTo>
                  <a:lnTo>
                    <a:pt x="129" y="150"/>
                  </a:lnTo>
                  <a:lnTo>
                    <a:pt x="131" y="148"/>
                  </a:lnTo>
                  <a:lnTo>
                    <a:pt x="131" y="146"/>
                  </a:lnTo>
                  <a:lnTo>
                    <a:pt x="133" y="144"/>
                  </a:lnTo>
                  <a:lnTo>
                    <a:pt x="133" y="142"/>
                  </a:lnTo>
                  <a:lnTo>
                    <a:pt x="131" y="140"/>
                  </a:lnTo>
                  <a:close/>
                  <a:moveTo>
                    <a:pt x="78" y="35"/>
                  </a:moveTo>
                  <a:lnTo>
                    <a:pt x="78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6" y="35"/>
                  </a:lnTo>
                  <a:lnTo>
                    <a:pt x="78" y="35"/>
                  </a:lnTo>
                  <a:close/>
                  <a:moveTo>
                    <a:pt x="74" y="35"/>
                  </a:moveTo>
                  <a:lnTo>
                    <a:pt x="74" y="35"/>
                  </a:lnTo>
                  <a:lnTo>
                    <a:pt x="74" y="35"/>
                  </a:lnTo>
                  <a:lnTo>
                    <a:pt x="76" y="35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5"/>
                  </a:lnTo>
                  <a:lnTo>
                    <a:pt x="74" y="35"/>
                  </a:lnTo>
                  <a:close/>
                  <a:moveTo>
                    <a:pt x="74" y="33"/>
                  </a:moveTo>
                  <a:lnTo>
                    <a:pt x="74" y="33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6" y="33"/>
                  </a:lnTo>
                  <a:lnTo>
                    <a:pt x="78" y="33"/>
                  </a:lnTo>
                  <a:lnTo>
                    <a:pt x="78" y="33"/>
                  </a:lnTo>
                  <a:lnTo>
                    <a:pt x="80" y="33"/>
                  </a:lnTo>
                  <a:lnTo>
                    <a:pt x="80" y="33"/>
                  </a:lnTo>
                  <a:lnTo>
                    <a:pt x="80" y="33"/>
                  </a:lnTo>
                  <a:lnTo>
                    <a:pt x="80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4" y="33"/>
                  </a:lnTo>
                  <a:close/>
                  <a:moveTo>
                    <a:pt x="86" y="27"/>
                  </a:moveTo>
                  <a:lnTo>
                    <a:pt x="86" y="27"/>
                  </a:lnTo>
                  <a:lnTo>
                    <a:pt x="84" y="27"/>
                  </a:lnTo>
                  <a:lnTo>
                    <a:pt x="82" y="27"/>
                  </a:lnTo>
                  <a:lnTo>
                    <a:pt x="82" y="27"/>
                  </a:lnTo>
                  <a:lnTo>
                    <a:pt x="84" y="27"/>
                  </a:lnTo>
                  <a:lnTo>
                    <a:pt x="86" y="27"/>
                  </a:lnTo>
                  <a:close/>
                  <a:moveTo>
                    <a:pt x="78" y="27"/>
                  </a:moveTo>
                  <a:lnTo>
                    <a:pt x="80" y="27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2" y="29"/>
                  </a:lnTo>
                  <a:lnTo>
                    <a:pt x="82" y="27"/>
                  </a:lnTo>
                  <a:lnTo>
                    <a:pt x="82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78" y="25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close/>
                  <a:moveTo>
                    <a:pt x="96" y="10"/>
                  </a:moveTo>
                  <a:lnTo>
                    <a:pt x="96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4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4" y="8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2" y="8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0" y="8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6" y="10"/>
                  </a:lnTo>
                  <a:close/>
                  <a:moveTo>
                    <a:pt x="104" y="6"/>
                  </a:moveTo>
                  <a:lnTo>
                    <a:pt x="104" y="6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4" y="2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6"/>
                  </a:lnTo>
                  <a:close/>
                  <a:moveTo>
                    <a:pt x="106" y="2"/>
                  </a:moveTo>
                  <a:lnTo>
                    <a:pt x="108" y="4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2"/>
                  </a:lnTo>
                  <a:lnTo>
                    <a:pt x="106" y="2"/>
                  </a:lnTo>
                  <a:lnTo>
                    <a:pt x="106" y="2"/>
                  </a:lnTo>
                  <a:lnTo>
                    <a:pt x="106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5C5329DB-7413-BE40-8938-EDA1C6F1C3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1648" y="2964563"/>
              <a:ext cx="87941" cy="76057"/>
            </a:xfrm>
            <a:custGeom>
              <a:avLst/>
              <a:gdLst>
                <a:gd name="T0" fmla="*/ 37 w 74"/>
                <a:gd name="T1" fmla="*/ 35 h 64"/>
                <a:gd name="T2" fmla="*/ 35 w 74"/>
                <a:gd name="T3" fmla="*/ 33 h 64"/>
                <a:gd name="T4" fmla="*/ 33 w 74"/>
                <a:gd name="T5" fmla="*/ 35 h 64"/>
                <a:gd name="T6" fmla="*/ 16 w 74"/>
                <a:gd name="T7" fmla="*/ 33 h 64"/>
                <a:gd name="T8" fmla="*/ 14 w 74"/>
                <a:gd name="T9" fmla="*/ 33 h 64"/>
                <a:gd name="T10" fmla="*/ 27 w 74"/>
                <a:gd name="T11" fmla="*/ 33 h 64"/>
                <a:gd name="T12" fmla="*/ 29 w 74"/>
                <a:gd name="T13" fmla="*/ 31 h 64"/>
                <a:gd name="T14" fmla="*/ 27 w 74"/>
                <a:gd name="T15" fmla="*/ 33 h 64"/>
                <a:gd name="T16" fmla="*/ 27 w 74"/>
                <a:gd name="T17" fmla="*/ 33 h 64"/>
                <a:gd name="T18" fmla="*/ 45 w 74"/>
                <a:gd name="T19" fmla="*/ 31 h 64"/>
                <a:gd name="T20" fmla="*/ 43 w 74"/>
                <a:gd name="T21" fmla="*/ 29 h 64"/>
                <a:gd name="T22" fmla="*/ 43 w 74"/>
                <a:gd name="T23" fmla="*/ 31 h 64"/>
                <a:gd name="T24" fmla="*/ 72 w 74"/>
                <a:gd name="T25" fmla="*/ 8 h 64"/>
                <a:gd name="T26" fmla="*/ 70 w 74"/>
                <a:gd name="T27" fmla="*/ 8 h 64"/>
                <a:gd name="T28" fmla="*/ 70 w 74"/>
                <a:gd name="T29" fmla="*/ 4 h 64"/>
                <a:gd name="T30" fmla="*/ 68 w 74"/>
                <a:gd name="T31" fmla="*/ 0 h 64"/>
                <a:gd name="T32" fmla="*/ 68 w 74"/>
                <a:gd name="T33" fmla="*/ 4 h 64"/>
                <a:gd name="T34" fmla="*/ 57 w 74"/>
                <a:gd name="T35" fmla="*/ 12 h 64"/>
                <a:gd name="T36" fmla="*/ 53 w 74"/>
                <a:gd name="T37" fmla="*/ 18 h 64"/>
                <a:gd name="T38" fmla="*/ 47 w 74"/>
                <a:gd name="T39" fmla="*/ 27 h 64"/>
                <a:gd name="T40" fmla="*/ 45 w 74"/>
                <a:gd name="T41" fmla="*/ 31 h 64"/>
                <a:gd name="T42" fmla="*/ 43 w 74"/>
                <a:gd name="T43" fmla="*/ 33 h 64"/>
                <a:gd name="T44" fmla="*/ 35 w 74"/>
                <a:gd name="T45" fmla="*/ 37 h 64"/>
                <a:gd name="T46" fmla="*/ 16 w 74"/>
                <a:gd name="T47" fmla="*/ 35 h 64"/>
                <a:gd name="T48" fmla="*/ 8 w 74"/>
                <a:gd name="T49" fmla="*/ 39 h 64"/>
                <a:gd name="T50" fmla="*/ 2 w 74"/>
                <a:gd name="T51" fmla="*/ 37 h 64"/>
                <a:gd name="T52" fmla="*/ 0 w 74"/>
                <a:gd name="T53" fmla="*/ 35 h 64"/>
                <a:gd name="T54" fmla="*/ 0 w 74"/>
                <a:gd name="T55" fmla="*/ 33 h 64"/>
                <a:gd name="T56" fmla="*/ 0 w 74"/>
                <a:gd name="T57" fmla="*/ 37 h 64"/>
                <a:gd name="T58" fmla="*/ 2 w 74"/>
                <a:gd name="T59" fmla="*/ 41 h 64"/>
                <a:gd name="T60" fmla="*/ 6 w 74"/>
                <a:gd name="T61" fmla="*/ 43 h 64"/>
                <a:gd name="T62" fmla="*/ 8 w 74"/>
                <a:gd name="T63" fmla="*/ 47 h 64"/>
                <a:gd name="T64" fmla="*/ 10 w 74"/>
                <a:gd name="T65" fmla="*/ 51 h 64"/>
                <a:gd name="T66" fmla="*/ 14 w 74"/>
                <a:gd name="T67" fmla="*/ 55 h 64"/>
                <a:gd name="T68" fmla="*/ 18 w 74"/>
                <a:gd name="T69" fmla="*/ 58 h 64"/>
                <a:gd name="T70" fmla="*/ 20 w 74"/>
                <a:gd name="T71" fmla="*/ 60 h 64"/>
                <a:gd name="T72" fmla="*/ 31 w 74"/>
                <a:gd name="T73" fmla="*/ 60 h 64"/>
                <a:gd name="T74" fmla="*/ 41 w 74"/>
                <a:gd name="T75" fmla="*/ 62 h 64"/>
                <a:gd name="T76" fmla="*/ 49 w 74"/>
                <a:gd name="T77" fmla="*/ 64 h 64"/>
                <a:gd name="T78" fmla="*/ 55 w 74"/>
                <a:gd name="T79" fmla="*/ 64 h 64"/>
                <a:gd name="T80" fmla="*/ 57 w 74"/>
                <a:gd name="T81" fmla="*/ 64 h 64"/>
                <a:gd name="T82" fmla="*/ 57 w 74"/>
                <a:gd name="T83" fmla="*/ 58 h 64"/>
                <a:gd name="T84" fmla="*/ 59 w 74"/>
                <a:gd name="T85" fmla="*/ 49 h 64"/>
                <a:gd name="T86" fmla="*/ 62 w 74"/>
                <a:gd name="T87" fmla="*/ 43 h 64"/>
                <a:gd name="T88" fmla="*/ 62 w 74"/>
                <a:gd name="T89" fmla="*/ 41 h 64"/>
                <a:gd name="T90" fmla="*/ 66 w 74"/>
                <a:gd name="T91" fmla="*/ 39 h 64"/>
                <a:gd name="T92" fmla="*/ 70 w 74"/>
                <a:gd name="T93" fmla="*/ 37 h 64"/>
                <a:gd name="T94" fmla="*/ 68 w 74"/>
                <a:gd name="T95" fmla="*/ 35 h 64"/>
                <a:gd name="T96" fmla="*/ 66 w 74"/>
                <a:gd name="T97" fmla="*/ 33 h 64"/>
                <a:gd name="T98" fmla="*/ 66 w 74"/>
                <a:gd name="T99" fmla="*/ 29 h 64"/>
                <a:gd name="T100" fmla="*/ 66 w 74"/>
                <a:gd name="T101" fmla="*/ 27 h 64"/>
                <a:gd name="T102" fmla="*/ 66 w 74"/>
                <a:gd name="T103" fmla="*/ 23 h 64"/>
                <a:gd name="T104" fmla="*/ 68 w 74"/>
                <a:gd name="T105" fmla="*/ 21 h 64"/>
                <a:gd name="T106" fmla="*/ 68 w 74"/>
                <a:gd name="T107" fmla="*/ 23 h 64"/>
                <a:gd name="T108" fmla="*/ 68 w 74"/>
                <a:gd name="T109" fmla="*/ 25 h 64"/>
                <a:gd name="T110" fmla="*/ 70 w 74"/>
                <a:gd name="T111" fmla="*/ 25 h 64"/>
                <a:gd name="T112" fmla="*/ 74 w 74"/>
                <a:gd name="T113" fmla="*/ 21 h 64"/>
                <a:gd name="T114" fmla="*/ 74 w 74"/>
                <a:gd name="T115" fmla="*/ 21 h 64"/>
                <a:gd name="T116" fmla="*/ 72 w 74"/>
                <a:gd name="T117" fmla="*/ 16 h 64"/>
                <a:gd name="T118" fmla="*/ 72 w 74"/>
                <a:gd name="T119" fmla="*/ 1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" h="64">
                  <a:moveTo>
                    <a:pt x="35" y="37"/>
                  </a:moveTo>
                  <a:lnTo>
                    <a:pt x="35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5" y="33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5" y="37"/>
                  </a:lnTo>
                  <a:close/>
                  <a:moveTo>
                    <a:pt x="16" y="33"/>
                  </a:moveTo>
                  <a:lnTo>
                    <a:pt x="16" y="33"/>
                  </a:lnTo>
                  <a:lnTo>
                    <a:pt x="16" y="33"/>
                  </a:lnTo>
                  <a:lnTo>
                    <a:pt x="16" y="31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6" y="33"/>
                  </a:lnTo>
                  <a:close/>
                  <a:moveTo>
                    <a:pt x="27" y="33"/>
                  </a:moveTo>
                  <a:lnTo>
                    <a:pt x="29" y="33"/>
                  </a:lnTo>
                  <a:lnTo>
                    <a:pt x="29" y="33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5" y="33"/>
                  </a:lnTo>
                  <a:lnTo>
                    <a:pt x="27" y="33"/>
                  </a:lnTo>
                  <a:lnTo>
                    <a:pt x="27" y="33"/>
                  </a:lnTo>
                  <a:close/>
                  <a:moveTo>
                    <a:pt x="43" y="31"/>
                  </a:moveTo>
                  <a:lnTo>
                    <a:pt x="45" y="31"/>
                  </a:lnTo>
                  <a:lnTo>
                    <a:pt x="45" y="31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close/>
                  <a:moveTo>
                    <a:pt x="74" y="21"/>
                  </a:moveTo>
                  <a:lnTo>
                    <a:pt x="72" y="10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6"/>
                  </a:lnTo>
                  <a:lnTo>
                    <a:pt x="70" y="4"/>
                  </a:lnTo>
                  <a:lnTo>
                    <a:pt x="70" y="2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6" y="6"/>
                  </a:lnTo>
                  <a:lnTo>
                    <a:pt x="59" y="10"/>
                  </a:lnTo>
                  <a:lnTo>
                    <a:pt x="57" y="12"/>
                  </a:lnTo>
                  <a:lnTo>
                    <a:pt x="57" y="14"/>
                  </a:lnTo>
                  <a:lnTo>
                    <a:pt x="57" y="16"/>
                  </a:lnTo>
                  <a:lnTo>
                    <a:pt x="53" y="18"/>
                  </a:lnTo>
                  <a:lnTo>
                    <a:pt x="49" y="25"/>
                  </a:lnTo>
                  <a:lnTo>
                    <a:pt x="47" y="25"/>
                  </a:lnTo>
                  <a:lnTo>
                    <a:pt x="47" y="27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5" y="31"/>
                  </a:lnTo>
                  <a:lnTo>
                    <a:pt x="45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1" y="35"/>
                  </a:lnTo>
                  <a:lnTo>
                    <a:pt x="37" y="37"/>
                  </a:lnTo>
                  <a:lnTo>
                    <a:pt x="35" y="37"/>
                  </a:lnTo>
                  <a:lnTo>
                    <a:pt x="27" y="37"/>
                  </a:lnTo>
                  <a:lnTo>
                    <a:pt x="23" y="35"/>
                  </a:lnTo>
                  <a:lnTo>
                    <a:pt x="16" y="35"/>
                  </a:lnTo>
                  <a:lnTo>
                    <a:pt x="14" y="37"/>
                  </a:lnTo>
                  <a:lnTo>
                    <a:pt x="10" y="39"/>
                  </a:lnTo>
                  <a:lnTo>
                    <a:pt x="8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2" y="37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2" y="39"/>
                  </a:lnTo>
                  <a:lnTo>
                    <a:pt x="2" y="41"/>
                  </a:lnTo>
                  <a:lnTo>
                    <a:pt x="4" y="41"/>
                  </a:lnTo>
                  <a:lnTo>
                    <a:pt x="4" y="43"/>
                  </a:lnTo>
                  <a:lnTo>
                    <a:pt x="6" y="43"/>
                  </a:lnTo>
                  <a:lnTo>
                    <a:pt x="6" y="45"/>
                  </a:lnTo>
                  <a:lnTo>
                    <a:pt x="6" y="47"/>
                  </a:lnTo>
                  <a:lnTo>
                    <a:pt x="8" y="47"/>
                  </a:lnTo>
                  <a:lnTo>
                    <a:pt x="8" y="49"/>
                  </a:lnTo>
                  <a:lnTo>
                    <a:pt x="10" y="49"/>
                  </a:lnTo>
                  <a:lnTo>
                    <a:pt x="10" y="51"/>
                  </a:lnTo>
                  <a:lnTo>
                    <a:pt x="12" y="53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20" y="60"/>
                  </a:lnTo>
                  <a:lnTo>
                    <a:pt x="25" y="60"/>
                  </a:lnTo>
                  <a:lnTo>
                    <a:pt x="27" y="60"/>
                  </a:lnTo>
                  <a:lnTo>
                    <a:pt x="31" y="60"/>
                  </a:lnTo>
                  <a:lnTo>
                    <a:pt x="33" y="60"/>
                  </a:lnTo>
                  <a:lnTo>
                    <a:pt x="37" y="62"/>
                  </a:lnTo>
                  <a:lnTo>
                    <a:pt x="41" y="62"/>
                  </a:lnTo>
                  <a:lnTo>
                    <a:pt x="43" y="62"/>
                  </a:lnTo>
                  <a:lnTo>
                    <a:pt x="47" y="62"/>
                  </a:lnTo>
                  <a:lnTo>
                    <a:pt x="49" y="64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5" y="64"/>
                  </a:lnTo>
                  <a:lnTo>
                    <a:pt x="55" y="64"/>
                  </a:lnTo>
                  <a:lnTo>
                    <a:pt x="57" y="64"/>
                  </a:lnTo>
                  <a:lnTo>
                    <a:pt x="57" y="64"/>
                  </a:lnTo>
                  <a:lnTo>
                    <a:pt x="57" y="62"/>
                  </a:lnTo>
                  <a:lnTo>
                    <a:pt x="57" y="60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9" y="53"/>
                  </a:lnTo>
                  <a:lnTo>
                    <a:pt x="59" y="49"/>
                  </a:lnTo>
                  <a:lnTo>
                    <a:pt x="62" y="47"/>
                  </a:lnTo>
                  <a:lnTo>
                    <a:pt x="62" y="45"/>
                  </a:lnTo>
                  <a:lnTo>
                    <a:pt x="62" y="43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8" y="37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70" y="35"/>
                  </a:lnTo>
                  <a:lnTo>
                    <a:pt x="68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3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1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4" y="21"/>
                  </a:lnTo>
                  <a:close/>
                  <a:moveTo>
                    <a:pt x="72" y="16"/>
                  </a:moveTo>
                  <a:lnTo>
                    <a:pt x="72" y="16"/>
                  </a:lnTo>
                  <a:lnTo>
                    <a:pt x="72" y="16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F8CA7C80-B551-DA47-AA8E-3592263857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7657" y="2397702"/>
              <a:ext cx="300662" cy="171128"/>
            </a:xfrm>
            <a:custGeom>
              <a:avLst/>
              <a:gdLst>
                <a:gd name="T0" fmla="*/ 253 w 253"/>
                <a:gd name="T1" fmla="*/ 72 h 144"/>
                <a:gd name="T2" fmla="*/ 249 w 253"/>
                <a:gd name="T3" fmla="*/ 66 h 144"/>
                <a:gd name="T4" fmla="*/ 247 w 253"/>
                <a:gd name="T5" fmla="*/ 60 h 144"/>
                <a:gd name="T6" fmla="*/ 251 w 253"/>
                <a:gd name="T7" fmla="*/ 49 h 144"/>
                <a:gd name="T8" fmla="*/ 239 w 253"/>
                <a:gd name="T9" fmla="*/ 45 h 144"/>
                <a:gd name="T10" fmla="*/ 224 w 253"/>
                <a:gd name="T11" fmla="*/ 43 h 144"/>
                <a:gd name="T12" fmla="*/ 210 w 253"/>
                <a:gd name="T13" fmla="*/ 35 h 144"/>
                <a:gd name="T14" fmla="*/ 195 w 253"/>
                <a:gd name="T15" fmla="*/ 37 h 144"/>
                <a:gd name="T16" fmla="*/ 183 w 253"/>
                <a:gd name="T17" fmla="*/ 31 h 144"/>
                <a:gd name="T18" fmla="*/ 181 w 253"/>
                <a:gd name="T19" fmla="*/ 23 h 144"/>
                <a:gd name="T20" fmla="*/ 169 w 253"/>
                <a:gd name="T21" fmla="*/ 21 h 144"/>
                <a:gd name="T22" fmla="*/ 163 w 253"/>
                <a:gd name="T23" fmla="*/ 12 h 144"/>
                <a:gd name="T24" fmla="*/ 154 w 253"/>
                <a:gd name="T25" fmla="*/ 0 h 144"/>
                <a:gd name="T26" fmla="*/ 136 w 253"/>
                <a:gd name="T27" fmla="*/ 4 h 144"/>
                <a:gd name="T28" fmla="*/ 122 w 253"/>
                <a:gd name="T29" fmla="*/ 6 h 144"/>
                <a:gd name="T30" fmla="*/ 115 w 253"/>
                <a:gd name="T31" fmla="*/ 16 h 144"/>
                <a:gd name="T32" fmla="*/ 101 w 253"/>
                <a:gd name="T33" fmla="*/ 16 h 144"/>
                <a:gd name="T34" fmla="*/ 91 w 253"/>
                <a:gd name="T35" fmla="*/ 14 h 144"/>
                <a:gd name="T36" fmla="*/ 81 w 253"/>
                <a:gd name="T37" fmla="*/ 12 h 144"/>
                <a:gd name="T38" fmla="*/ 72 w 253"/>
                <a:gd name="T39" fmla="*/ 14 h 144"/>
                <a:gd name="T40" fmla="*/ 56 w 253"/>
                <a:gd name="T41" fmla="*/ 8 h 144"/>
                <a:gd name="T42" fmla="*/ 29 w 253"/>
                <a:gd name="T43" fmla="*/ 8 h 144"/>
                <a:gd name="T44" fmla="*/ 17 w 253"/>
                <a:gd name="T45" fmla="*/ 12 h 144"/>
                <a:gd name="T46" fmla="*/ 25 w 253"/>
                <a:gd name="T47" fmla="*/ 27 h 144"/>
                <a:gd name="T48" fmla="*/ 23 w 253"/>
                <a:gd name="T49" fmla="*/ 33 h 144"/>
                <a:gd name="T50" fmla="*/ 7 w 253"/>
                <a:gd name="T51" fmla="*/ 49 h 144"/>
                <a:gd name="T52" fmla="*/ 9 w 253"/>
                <a:gd name="T53" fmla="*/ 60 h 144"/>
                <a:gd name="T54" fmla="*/ 0 w 253"/>
                <a:gd name="T55" fmla="*/ 70 h 144"/>
                <a:gd name="T56" fmla="*/ 7 w 253"/>
                <a:gd name="T57" fmla="*/ 76 h 144"/>
                <a:gd name="T58" fmla="*/ 11 w 253"/>
                <a:gd name="T59" fmla="*/ 78 h 144"/>
                <a:gd name="T60" fmla="*/ 27 w 253"/>
                <a:gd name="T61" fmla="*/ 78 h 144"/>
                <a:gd name="T62" fmla="*/ 44 w 253"/>
                <a:gd name="T63" fmla="*/ 82 h 144"/>
                <a:gd name="T64" fmla="*/ 64 w 253"/>
                <a:gd name="T65" fmla="*/ 72 h 144"/>
                <a:gd name="T66" fmla="*/ 76 w 253"/>
                <a:gd name="T67" fmla="*/ 70 h 144"/>
                <a:gd name="T68" fmla="*/ 89 w 253"/>
                <a:gd name="T69" fmla="*/ 74 h 144"/>
                <a:gd name="T70" fmla="*/ 99 w 253"/>
                <a:gd name="T71" fmla="*/ 78 h 144"/>
                <a:gd name="T72" fmla="*/ 101 w 253"/>
                <a:gd name="T73" fmla="*/ 88 h 144"/>
                <a:gd name="T74" fmla="*/ 107 w 253"/>
                <a:gd name="T75" fmla="*/ 95 h 144"/>
                <a:gd name="T76" fmla="*/ 117 w 253"/>
                <a:gd name="T77" fmla="*/ 107 h 144"/>
                <a:gd name="T78" fmla="*/ 107 w 253"/>
                <a:gd name="T79" fmla="*/ 105 h 144"/>
                <a:gd name="T80" fmla="*/ 101 w 253"/>
                <a:gd name="T81" fmla="*/ 105 h 144"/>
                <a:gd name="T82" fmla="*/ 95 w 253"/>
                <a:gd name="T83" fmla="*/ 119 h 144"/>
                <a:gd name="T84" fmla="*/ 95 w 253"/>
                <a:gd name="T85" fmla="*/ 125 h 144"/>
                <a:gd name="T86" fmla="*/ 109 w 253"/>
                <a:gd name="T87" fmla="*/ 123 h 144"/>
                <a:gd name="T88" fmla="*/ 115 w 253"/>
                <a:gd name="T89" fmla="*/ 117 h 144"/>
                <a:gd name="T90" fmla="*/ 132 w 253"/>
                <a:gd name="T91" fmla="*/ 103 h 144"/>
                <a:gd name="T92" fmla="*/ 140 w 253"/>
                <a:gd name="T93" fmla="*/ 95 h 144"/>
                <a:gd name="T94" fmla="*/ 148 w 253"/>
                <a:gd name="T95" fmla="*/ 103 h 144"/>
                <a:gd name="T96" fmla="*/ 142 w 253"/>
                <a:gd name="T97" fmla="*/ 105 h 144"/>
                <a:gd name="T98" fmla="*/ 152 w 253"/>
                <a:gd name="T99" fmla="*/ 111 h 144"/>
                <a:gd name="T100" fmla="*/ 165 w 253"/>
                <a:gd name="T101" fmla="*/ 117 h 144"/>
                <a:gd name="T102" fmla="*/ 169 w 253"/>
                <a:gd name="T103" fmla="*/ 129 h 144"/>
                <a:gd name="T104" fmla="*/ 181 w 253"/>
                <a:gd name="T105" fmla="*/ 142 h 144"/>
                <a:gd name="T106" fmla="*/ 202 w 253"/>
                <a:gd name="T107" fmla="*/ 132 h 144"/>
                <a:gd name="T108" fmla="*/ 206 w 253"/>
                <a:gd name="T109" fmla="*/ 123 h 144"/>
                <a:gd name="T110" fmla="*/ 185 w 253"/>
                <a:gd name="T111" fmla="*/ 113 h 144"/>
                <a:gd name="T112" fmla="*/ 189 w 253"/>
                <a:gd name="T113" fmla="*/ 111 h 144"/>
                <a:gd name="T114" fmla="*/ 210 w 253"/>
                <a:gd name="T115" fmla="*/ 101 h 144"/>
                <a:gd name="T116" fmla="*/ 230 w 253"/>
                <a:gd name="T117" fmla="*/ 92 h 144"/>
                <a:gd name="T118" fmla="*/ 232 w 253"/>
                <a:gd name="T119" fmla="*/ 86 h 144"/>
                <a:gd name="T120" fmla="*/ 251 w 253"/>
                <a:gd name="T121" fmla="*/ 8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3" h="144">
                  <a:moveTo>
                    <a:pt x="140" y="109"/>
                  </a:moveTo>
                  <a:lnTo>
                    <a:pt x="138" y="109"/>
                  </a:lnTo>
                  <a:lnTo>
                    <a:pt x="138" y="107"/>
                  </a:lnTo>
                  <a:lnTo>
                    <a:pt x="138" y="109"/>
                  </a:lnTo>
                  <a:lnTo>
                    <a:pt x="138" y="109"/>
                  </a:lnTo>
                  <a:lnTo>
                    <a:pt x="140" y="109"/>
                  </a:lnTo>
                  <a:lnTo>
                    <a:pt x="144" y="111"/>
                  </a:lnTo>
                  <a:lnTo>
                    <a:pt x="146" y="111"/>
                  </a:lnTo>
                  <a:lnTo>
                    <a:pt x="144" y="109"/>
                  </a:lnTo>
                  <a:lnTo>
                    <a:pt x="140" y="109"/>
                  </a:lnTo>
                  <a:close/>
                  <a:moveTo>
                    <a:pt x="253" y="72"/>
                  </a:moveTo>
                  <a:lnTo>
                    <a:pt x="253" y="72"/>
                  </a:lnTo>
                  <a:lnTo>
                    <a:pt x="253" y="72"/>
                  </a:lnTo>
                  <a:lnTo>
                    <a:pt x="253" y="72"/>
                  </a:lnTo>
                  <a:lnTo>
                    <a:pt x="251" y="72"/>
                  </a:lnTo>
                  <a:lnTo>
                    <a:pt x="253" y="72"/>
                  </a:lnTo>
                  <a:lnTo>
                    <a:pt x="253" y="70"/>
                  </a:lnTo>
                  <a:lnTo>
                    <a:pt x="251" y="70"/>
                  </a:lnTo>
                  <a:lnTo>
                    <a:pt x="251" y="68"/>
                  </a:lnTo>
                  <a:lnTo>
                    <a:pt x="251" y="68"/>
                  </a:lnTo>
                  <a:lnTo>
                    <a:pt x="249" y="68"/>
                  </a:lnTo>
                  <a:lnTo>
                    <a:pt x="249" y="66"/>
                  </a:lnTo>
                  <a:lnTo>
                    <a:pt x="249" y="64"/>
                  </a:lnTo>
                  <a:lnTo>
                    <a:pt x="249" y="64"/>
                  </a:lnTo>
                  <a:lnTo>
                    <a:pt x="249" y="64"/>
                  </a:lnTo>
                  <a:lnTo>
                    <a:pt x="251" y="64"/>
                  </a:lnTo>
                  <a:lnTo>
                    <a:pt x="253" y="64"/>
                  </a:lnTo>
                  <a:lnTo>
                    <a:pt x="253" y="64"/>
                  </a:lnTo>
                  <a:lnTo>
                    <a:pt x="253" y="62"/>
                  </a:lnTo>
                  <a:lnTo>
                    <a:pt x="251" y="62"/>
                  </a:lnTo>
                  <a:lnTo>
                    <a:pt x="249" y="62"/>
                  </a:lnTo>
                  <a:lnTo>
                    <a:pt x="249" y="60"/>
                  </a:lnTo>
                  <a:lnTo>
                    <a:pt x="247" y="60"/>
                  </a:lnTo>
                  <a:lnTo>
                    <a:pt x="249" y="60"/>
                  </a:lnTo>
                  <a:lnTo>
                    <a:pt x="251" y="58"/>
                  </a:lnTo>
                  <a:lnTo>
                    <a:pt x="251" y="58"/>
                  </a:lnTo>
                  <a:lnTo>
                    <a:pt x="253" y="55"/>
                  </a:lnTo>
                  <a:lnTo>
                    <a:pt x="253" y="55"/>
                  </a:lnTo>
                  <a:lnTo>
                    <a:pt x="253" y="53"/>
                  </a:lnTo>
                  <a:lnTo>
                    <a:pt x="253" y="53"/>
                  </a:lnTo>
                  <a:lnTo>
                    <a:pt x="251" y="51"/>
                  </a:lnTo>
                  <a:lnTo>
                    <a:pt x="251" y="51"/>
                  </a:lnTo>
                  <a:lnTo>
                    <a:pt x="253" y="49"/>
                  </a:lnTo>
                  <a:lnTo>
                    <a:pt x="251" y="49"/>
                  </a:lnTo>
                  <a:lnTo>
                    <a:pt x="251" y="49"/>
                  </a:lnTo>
                  <a:lnTo>
                    <a:pt x="251" y="49"/>
                  </a:lnTo>
                  <a:lnTo>
                    <a:pt x="249" y="49"/>
                  </a:lnTo>
                  <a:lnTo>
                    <a:pt x="247" y="49"/>
                  </a:lnTo>
                  <a:lnTo>
                    <a:pt x="245" y="47"/>
                  </a:lnTo>
                  <a:lnTo>
                    <a:pt x="243" y="47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39" y="45"/>
                  </a:lnTo>
                  <a:lnTo>
                    <a:pt x="239" y="45"/>
                  </a:lnTo>
                  <a:lnTo>
                    <a:pt x="239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4" y="45"/>
                  </a:lnTo>
                  <a:lnTo>
                    <a:pt x="232" y="43"/>
                  </a:lnTo>
                  <a:lnTo>
                    <a:pt x="230" y="43"/>
                  </a:lnTo>
                  <a:lnTo>
                    <a:pt x="228" y="43"/>
                  </a:lnTo>
                  <a:lnTo>
                    <a:pt x="228" y="43"/>
                  </a:lnTo>
                  <a:lnTo>
                    <a:pt x="224" y="41"/>
                  </a:lnTo>
                  <a:lnTo>
                    <a:pt x="224" y="41"/>
                  </a:lnTo>
                  <a:lnTo>
                    <a:pt x="224" y="41"/>
                  </a:lnTo>
                  <a:lnTo>
                    <a:pt x="224" y="43"/>
                  </a:lnTo>
                  <a:lnTo>
                    <a:pt x="224" y="43"/>
                  </a:lnTo>
                  <a:lnTo>
                    <a:pt x="222" y="43"/>
                  </a:lnTo>
                  <a:lnTo>
                    <a:pt x="222" y="43"/>
                  </a:lnTo>
                  <a:lnTo>
                    <a:pt x="220" y="43"/>
                  </a:lnTo>
                  <a:lnTo>
                    <a:pt x="216" y="39"/>
                  </a:lnTo>
                  <a:lnTo>
                    <a:pt x="216" y="37"/>
                  </a:lnTo>
                  <a:lnTo>
                    <a:pt x="214" y="37"/>
                  </a:lnTo>
                  <a:lnTo>
                    <a:pt x="214" y="35"/>
                  </a:lnTo>
                  <a:lnTo>
                    <a:pt x="212" y="35"/>
                  </a:lnTo>
                  <a:lnTo>
                    <a:pt x="212" y="35"/>
                  </a:lnTo>
                  <a:lnTo>
                    <a:pt x="210" y="35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06" y="35"/>
                  </a:lnTo>
                  <a:lnTo>
                    <a:pt x="204" y="37"/>
                  </a:lnTo>
                  <a:lnTo>
                    <a:pt x="202" y="37"/>
                  </a:lnTo>
                  <a:lnTo>
                    <a:pt x="202" y="39"/>
                  </a:lnTo>
                  <a:lnTo>
                    <a:pt x="200" y="37"/>
                  </a:lnTo>
                  <a:lnTo>
                    <a:pt x="200" y="37"/>
                  </a:lnTo>
                  <a:lnTo>
                    <a:pt x="198" y="37"/>
                  </a:lnTo>
                  <a:lnTo>
                    <a:pt x="198" y="37"/>
                  </a:lnTo>
                  <a:lnTo>
                    <a:pt x="195" y="37"/>
                  </a:lnTo>
                  <a:lnTo>
                    <a:pt x="195" y="35"/>
                  </a:lnTo>
                  <a:lnTo>
                    <a:pt x="193" y="35"/>
                  </a:lnTo>
                  <a:lnTo>
                    <a:pt x="191" y="35"/>
                  </a:lnTo>
                  <a:lnTo>
                    <a:pt x="191" y="35"/>
                  </a:lnTo>
                  <a:lnTo>
                    <a:pt x="189" y="35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5"/>
                  </a:lnTo>
                  <a:lnTo>
                    <a:pt x="185" y="33"/>
                  </a:lnTo>
                  <a:lnTo>
                    <a:pt x="183" y="33"/>
                  </a:lnTo>
                  <a:lnTo>
                    <a:pt x="183" y="31"/>
                  </a:lnTo>
                  <a:lnTo>
                    <a:pt x="183" y="31"/>
                  </a:lnTo>
                  <a:lnTo>
                    <a:pt x="183" y="29"/>
                  </a:lnTo>
                  <a:lnTo>
                    <a:pt x="183" y="29"/>
                  </a:lnTo>
                  <a:lnTo>
                    <a:pt x="183" y="29"/>
                  </a:lnTo>
                  <a:lnTo>
                    <a:pt x="183" y="27"/>
                  </a:lnTo>
                  <a:lnTo>
                    <a:pt x="181" y="27"/>
                  </a:lnTo>
                  <a:lnTo>
                    <a:pt x="181" y="25"/>
                  </a:lnTo>
                  <a:lnTo>
                    <a:pt x="181" y="25"/>
                  </a:lnTo>
                  <a:lnTo>
                    <a:pt x="181" y="25"/>
                  </a:lnTo>
                  <a:lnTo>
                    <a:pt x="181" y="23"/>
                  </a:lnTo>
                  <a:lnTo>
                    <a:pt x="181" y="23"/>
                  </a:lnTo>
                  <a:lnTo>
                    <a:pt x="179" y="23"/>
                  </a:lnTo>
                  <a:lnTo>
                    <a:pt x="179" y="23"/>
                  </a:lnTo>
                  <a:lnTo>
                    <a:pt x="179" y="23"/>
                  </a:lnTo>
                  <a:lnTo>
                    <a:pt x="177" y="21"/>
                  </a:lnTo>
                  <a:lnTo>
                    <a:pt x="177" y="21"/>
                  </a:lnTo>
                  <a:lnTo>
                    <a:pt x="177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1" y="21"/>
                  </a:lnTo>
                  <a:lnTo>
                    <a:pt x="169" y="21"/>
                  </a:lnTo>
                  <a:lnTo>
                    <a:pt x="165" y="21"/>
                  </a:lnTo>
                  <a:lnTo>
                    <a:pt x="165" y="21"/>
                  </a:lnTo>
                  <a:lnTo>
                    <a:pt x="165" y="18"/>
                  </a:lnTo>
                  <a:lnTo>
                    <a:pt x="167" y="18"/>
                  </a:lnTo>
                  <a:lnTo>
                    <a:pt x="167" y="18"/>
                  </a:lnTo>
                  <a:lnTo>
                    <a:pt x="165" y="18"/>
                  </a:lnTo>
                  <a:lnTo>
                    <a:pt x="165" y="16"/>
                  </a:lnTo>
                  <a:lnTo>
                    <a:pt x="165" y="16"/>
                  </a:lnTo>
                  <a:lnTo>
                    <a:pt x="165" y="14"/>
                  </a:lnTo>
                  <a:lnTo>
                    <a:pt x="163" y="12"/>
                  </a:lnTo>
                  <a:lnTo>
                    <a:pt x="163" y="12"/>
                  </a:lnTo>
                  <a:lnTo>
                    <a:pt x="163" y="12"/>
                  </a:lnTo>
                  <a:lnTo>
                    <a:pt x="165" y="12"/>
                  </a:lnTo>
                  <a:lnTo>
                    <a:pt x="167" y="12"/>
                  </a:lnTo>
                  <a:lnTo>
                    <a:pt x="167" y="10"/>
                  </a:lnTo>
                  <a:lnTo>
                    <a:pt x="167" y="10"/>
                  </a:lnTo>
                  <a:lnTo>
                    <a:pt x="163" y="6"/>
                  </a:lnTo>
                  <a:lnTo>
                    <a:pt x="161" y="4"/>
                  </a:lnTo>
                  <a:lnTo>
                    <a:pt x="159" y="2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54" y="0"/>
                  </a:lnTo>
                  <a:lnTo>
                    <a:pt x="152" y="0"/>
                  </a:lnTo>
                  <a:lnTo>
                    <a:pt x="150" y="0"/>
                  </a:lnTo>
                  <a:lnTo>
                    <a:pt x="148" y="0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0" y="2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36" y="4"/>
                  </a:lnTo>
                  <a:lnTo>
                    <a:pt x="136" y="4"/>
                  </a:lnTo>
                  <a:lnTo>
                    <a:pt x="134" y="6"/>
                  </a:lnTo>
                  <a:lnTo>
                    <a:pt x="134" y="6"/>
                  </a:lnTo>
                  <a:lnTo>
                    <a:pt x="132" y="6"/>
                  </a:lnTo>
                  <a:lnTo>
                    <a:pt x="130" y="6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26" y="4"/>
                  </a:lnTo>
                  <a:lnTo>
                    <a:pt x="124" y="4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0" y="4"/>
                  </a:lnTo>
                  <a:lnTo>
                    <a:pt x="117" y="6"/>
                  </a:lnTo>
                  <a:lnTo>
                    <a:pt x="117" y="8"/>
                  </a:lnTo>
                  <a:lnTo>
                    <a:pt x="115" y="8"/>
                  </a:lnTo>
                  <a:lnTo>
                    <a:pt x="115" y="10"/>
                  </a:lnTo>
                  <a:lnTo>
                    <a:pt x="113" y="10"/>
                  </a:lnTo>
                  <a:lnTo>
                    <a:pt x="113" y="12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1" y="18"/>
                  </a:lnTo>
                  <a:lnTo>
                    <a:pt x="111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7" y="16"/>
                  </a:lnTo>
                  <a:lnTo>
                    <a:pt x="105" y="16"/>
                  </a:lnTo>
                  <a:lnTo>
                    <a:pt x="101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87" y="16"/>
                  </a:lnTo>
                  <a:lnTo>
                    <a:pt x="87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3" y="14"/>
                  </a:lnTo>
                  <a:lnTo>
                    <a:pt x="81" y="12"/>
                  </a:lnTo>
                  <a:lnTo>
                    <a:pt x="81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2" y="14"/>
                  </a:lnTo>
                  <a:lnTo>
                    <a:pt x="70" y="12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2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6" y="10"/>
                  </a:lnTo>
                  <a:lnTo>
                    <a:pt x="56" y="8"/>
                  </a:lnTo>
                  <a:lnTo>
                    <a:pt x="5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39" y="8"/>
                  </a:lnTo>
                  <a:lnTo>
                    <a:pt x="37" y="8"/>
                  </a:lnTo>
                  <a:lnTo>
                    <a:pt x="35" y="8"/>
                  </a:lnTo>
                  <a:lnTo>
                    <a:pt x="33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5" y="10"/>
                  </a:lnTo>
                  <a:lnTo>
                    <a:pt x="25" y="12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6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1" y="23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3" y="35"/>
                  </a:lnTo>
                  <a:lnTo>
                    <a:pt x="21" y="35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5" y="41"/>
                  </a:lnTo>
                  <a:lnTo>
                    <a:pt x="11" y="43"/>
                  </a:lnTo>
                  <a:lnTo>
                    <a:pt x="11" y="45"/>
                  </a:lnTo>
                  <a:lnTo>
                    <a:pt x="9" y="45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51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7" y="60"/>
                  </a:lnTo>
                  <a:lnTo>
                    <a:pt x="7" y="58"/>
                  </a:lnTo>
                  <a:lnTo>
                    <a:pt x="5" y="58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5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4"/>
                  </a:lnTo>
                  <a:lnTo>
                    <a:pt x="5" y="74"/>
                  </a:lnTo>
                  <a:lnTo>
                    <a:pt x="7" y="74"/>
                  </a:lnTo>
                  <a:lnTo>
                    <a:pt x="7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1" y="76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3" y="78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9" y="78"/>
                  </a:lnTo>
                  <a:lnTo>
                    <a:pt x="21" y="78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9" y="80"/>
                  </a:lnTo>
                  <a:lnTo>
                    <a:pt x="31" y="80"/>
                  </a:lnTo>
                  <a:lnTo>
                    <a:pt x="33" y="78"/>
                  </a:lnTo>
                  <a:lnTo>
                    <a:pt x="33" y="78"/>
                  </a:lnTo>
                  <a:lnTo>
                    <a:pt x="35" y="78"/>
                  </a:lnTo>
                  <a:lnTo>
                    <a:pt x="37" y="80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42" y="82"/>
                  </a:lnTo>
                  <a:lnTo>
                    <a:pt x="44" y="82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52" y="78"/>
                  </a:lnTo>
                  <a:lnTo>
                    <a:pt x="54" y="78"/>
                  </a:lnTo>
                  <a:lnTo>
                    <a:pt x="58" y="78"/>
                  </a:lnTo>
                  <a:lnTo>
                    <a:pt x="58" y="76"/>
                  </a:lnTo>
                  <a:lnTo>
                    <a:pt x="60" y="76"/>
                  </a:lnTo>
                  <a:lnTo>
                    <a:pt x="60" y="74"/>
                  </a:lnTo>
                  <a:lnTo>
                    <a:pt x="62" y="74"/>
                  </a:lnTo>
                  <a:lnTo>
                    <a:pt x="64" y="74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6" y="70"/>
                  </a:lnTo>
                  <a:lnTo>
                    <a:pt x="68" y="72"/>
                  </a:lnTo>
                  <a:lnTo>
                    <a:pt x="70" y="72"/>
                  </a:lnTo>
                  <a:lnTo>
                    <a:pt x="72" y="72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8" y="70"/>
                  </a:lnTo>
                  <a:lnTo>
                    <a:pt x="81" y="70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4"/>
                  </a:lnTo>
                  <a:lnTo>
                    <a:pt x="87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91" y="74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4"/>
                  </a:lnTo>
                  <a:lnTo>
                    <a:pt x="93" y="74"/>
                  </a:lnTo>
                  <a:lnTo>
                    <a:pt x="95" y="76"/>
                  </a:lnTo>
                  <a:lnTo>
                    <a:pt x="97" y="78"/>
                  </a:lnTo>
                  <a:lnTo>
                    <a:pt x="97" y="78"/>
                  </a:lnTo>
                  <a:lnTo>
                    <a:pt x="99" y="78"/>
                  </a:lnTo>
                  <a:lnTo>
                    <a:pt x="99" y="78"/>
                  </a:lnTo>
                  <a:lnTo>
                    <a:pt x="99" y="78"/>
                  </a:lnTo>
                  <a:lnTo>
                    <a:pt x="101" y="78"/>
                  </a:lnTo>
                  <a:lnTo>
                    <a:pt x="101" y="80"/>
                  </a:lnTo>
                  <a:lnTo>
                    <a:pt x="101" y="82"/>
                  </a:lnTo>
                  <a:lnTo>
                    <a:pt x="101" y="82"/>
                  </a:lnTo>
                  <a:lnTo>
                    <a:pt x="101" y="84"/>
                  </a:lnTo>
                  <a:lnTo>
                    <a:pt x="101" y="84"/>
                  </a:lnTo>
                  <a:lnTo>
                    <a:pt x="101" y="86"/>
                  </a:lnTo>
                  <a:lnTo>
                    <a:pt x="101" y="86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3" y="88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7" y="90"/>
                  </a:lnTo>
                  <a:lnTo>
                    <a:pt x="107" y="90"/>
                  </a:lnTo>
                  <a:lnTo>
                    <a:pt x="107" y="90"/>
                  </a:lnTo>
                  <a:lnTo>
                    <a:pt x="107" y="92"/>
                  </a:lnTo>
                  <a:lnTo>
                    <a:pt x="107" y="92"/>
                  </a:lnTo>
                  <a:lnTo>
                    <a:pt x="107" y="95"/>
                  </a:lnTo>
                  <a:lnTo>
                    <a:pt x="107" y="95"/>
                  </a:lnTo>
                  <a:lnTo>
                    <a:pt x="107" y="97"/>
                  </a:lnTo>
                  <a:lnTo>
                    <a:pt x="107" y="97"/>
                  </a:lnTo>
                  <a:lnTo>
                    <a:pt x="109" y="97"/>
                  </a:lnTo>
                  <a:lnTo>
                    <a:pt x="111" y="99"/>
                  </a:lnTo>
                  <a:lnTo>
                    <a:pt x="113" y="99"/>
                  </a:lnTo>
                  <a:lnTo>
                    <a:pt x="113" y="99"/>
                  </a:lnTo>
                  <a:lnTo>
                    <a:pt x="113" y="101"/>
                  </a:lnTo>
                  <a:lnTo>
                    <a:pt x="113" y="103"/>
                  </a:lnTo>
                  <a:lnTo>
                    <a:pt x="113" y="105"/>
                  </a:lnTo>
                  <a:lnTo>
                    <a:pt x="117" y="107"/>
                  </a:lnTo>
                  <a:lnTo>
                    <a:pt x="117" y="107"/>
                  </a:lnTo>
                  <a:lnTo>
                    <a:pt x="115" y="107"/>
                  </a:lnTo>
                  <a:lnTo>
                    <a:pt x="113" y="107"/>
                  </a:lnTo>
                  <a:lnTo>
                    <a:pt x="113" y="107"/>
                  </a:lnTo>
                  <a:lnTo>
                    <a:pt x="111" y="105"/>
                  </a:lnTo>
                  <a:lnTo>
                    <a:pt x="111" y="105"/>
                  </a:lnTo>
                  <a:lnTo>
                    <a:pt x="111" y="107"/>
                  </a:lnTo>
                  <a:lnTo>
                    <a:pt x="109" y="107"/>
                  </a:lnTo>
                  <a:lnTo>
                    <a:pt x="109" y="107"/>
                  </a:lnTo>
                  <a:lnTo>
                    <a:pt x="107" y="105"/>
                  </a:lnTo>
                  <a:lnTo>
                    <a:pt x="107" y="105"/>
                  </a:lnTo>
                  <a:lnTo>
                    <a:pt x="107" y="105"/>
                  </a:lnTo>
                  <a:lnTo>
                    <a:pt x="107" y="105"/>
                  </a:lnTo>
                  <a:lnTo>
                    <a:pt x="105" y="105"/>
                  </a:lnTo>
                  <a:lnTo>
                    <a:pt x="105" y="105"/>
                  </a:lnTo>
                  <a:lnTo>
                    <a:pt x="105" y="107"/>
                  </a:lnTo>
                  <a:lnTo>
                    <a:pt x="103" y="107"/>
                  </a:lnTo>
                  <a:lnTo>
                    <a:pt x="103" y="107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1" y="105"/>
                  </a:lnTo>
                  <a:lnTo>
                    <a:pt x="101" y="105"/>
                  </a:lnTo>
                  <a:lnTo>
                    <a:pt x="99" y="107"/>
                  </a:lnTo>
                  <a:lnTo>
                    <a:pt x="99" y="107"/>
                  </a:lnTo>
                  <a:lnTo>
                    <a:pt x="101" y="109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3"/>
                  </a:lnTo>
                  <a:lnTo>
                    <a:pt x="99" y="113"/>
                  </a:lnTo>
                  <a:lnTo>
                    <a:pt x="97" y="115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5" y="119"/>
                  </a:lnTo>
                  <a:lnTo>
                    <a:pt x="95" y="119"/>
                  </a:lnTo>
                  <a:lnTo>
                    <a:pt x="95" y="121"/>
                  </a:lnTo>
                  <a:lnTo>
                    <a:pt x="95" y="121"/>
                  </a:lnTo>
                  <a:lnTo>
                    <a:pt x="95" y="121"/>
                  </a:lnTo>
                  <a:lnTo>
                    <a:pt x="95" y="121"/>
                  </a:lnTo>
                  <a:lnTo>
                    <a:pt x="95" y="123"/>
                  </a:lnTo>
                  <a:lnTo>
                    <a:pt x="93" y="123"/>
                  </a:lnTo>
                  <a:lnTo>
                    <a:pt x="91" y="123"/>
                  </a:lnTo>
                  <a:lnTo>
                    <a:pt x="91" y="123"/>
                  </a:lnTo>
                  <a:lnTo>
                    <a:pt x="93" y="125"/>
                  </a:lnTo>
                  <a:lnTo>
                    <a:pt x="95" y="125"/>
                  </a:lnTo>
                  <a:lnTo>
                    <a:pt x="99" y="127"/>
                  </a:lnTo>
                  <a:lnTo>
                    <a:pt x="99" y="127"/>
                  </a:lnTo>
                  <a:lnTo>
                    <a:pt x="99" y="127"/>
                  </a:lnTo>
                  <a:lnTo>
                    <a:pt x="99" y="127"/>
                  </a:lnTo>
                  <a:lnTo>
                    <a:pt x="99" y="125"/>
                  </a:lnTo>
                  <a:lnTo>
                    <a:pt x="99" y="125"/>
                  </a:lnTo>
                  <a:lnTo>
                    <a:pt x="101" y="125"/>
                  </a:lnTo>
                  <a:lnTo>
                    <a:pt x="101" y="125"/>
                  </a:lnTo>
                  <a:lnTo>
                    <a:pt x="103" y="125"/>
                  </a:lnTo>
                  <a:lnTo>
                    <a:pt x="105" y="123"/>
                  </a:lnTo>
                  <a:lnTo>
                    <a:pt x="109" y="123"/>
                  </a:lnTo>
                  <a:lnTo>
                    <a:pt x="111" y="125"/>
                  </a:lnTo>
                  <a:lnTo>
                    <a:pt x="111" y="125"/>
                  </a:lnTo>
                  <a:lnTo>
                    <a:pt x="113" y="127"/>
                  </a:lnTo>
                  <a:lnTo>
                    <a:pt x="113" y="125"/>
                  </a:lnTo>
                  <a:lnTo>
                    <a:pt x="111" y="121"/>
                  </a:lnTo>
                  <a:lnTo>
                    <a:pt x="111" y="121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1" y="117"/>
                  </a:lnTo>
                  <a:lnTo>
                    <a:pt x="113" y="119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20" y="117"/>
                  </a:lnTo>
                  <a:lnTo>
                    <a:pt x="120" y="115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6" y="109"/>
                  </a:lnTo>
                  <a:lnTo>
                    <a:pt x="126" y="109"/>
                  </a:lnTo>
                  <a:lnTo>
                    <a:pt x="126" y="107"/>
                  </a:lnTo>
                  <a:lnTo>
                    <a:pt x="126" y="105"/>
                  </a:lnTo>
                  <a:lnTo>
                    <a:pt x="126" y="103"/>
                  </a:lnTo>
                  <a:lnTo>
                    <a:pt x="132" y="103"/>
                  </a:lnTo>
                  <a:lnTo>
                    <a:pt x="134" y="103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8" y="99"/>
                  </a:lnTo>
                  <a:lnTo>
                    <a:pt x="136" y="101"/>
                  </a:lnTo>
                  <a:lnTo>
                    <a:pt x="138" y="103"/>
                  </a:lnTo>
                  <a:lnTo>
                    <a:pt x="140" y="103"/>
                  </a:lnTo>
                  <a:lnTo>
                    <a:pt x="142" y="103"/>
                  </a:lnTo>
                  <a:lnTo>
                    <a:pt x="142" y="101"/>
                  </a:lnTo>
                  <a:lnTo>
                    <a:pt x="142" y="97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0" y="95"/>
                  </a:lnTo>
                  <a:lnTo>
                    <a:pt x="142" y="97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2" y="101"/>
                  </a:lnTo>
                  <a:lnTo>
                    <a:pt x="144" y="103"/>
                  </a:lnTo>
                  <a:lnTo>
                    <a:pt x="146" y="103"/>
                  </a:lnTo>
                  <a:lnTo>
                    <a:pt x="148" y="103"/>
                  </a:lnTo>
                  <a:lnTo>
                    <a:pt x="152" y="103"/>
                  </a:lnTo>
                  <a:lnTo>
                    <a:pt x="152" y="103"/>
                  </a:lnTo>
                  <a:lnTo>
                    <a:pt x="150" y="105"/>
                  </a:lnTo>
                  <a:lnTo>
                    <a:pt x="148" y="105"/>
                  </a:lnTo>
                  <a:lnTo>
                    <a:pt x="146" y="105"/>
                  </a:lnTo>
                  <a:lnTo>
                    <a:pt x="142" y="105"/>
                  </a:lnTo>
                  <a:lnTo>
                    <a:pt x="140" y="103"/>
                  </a:lnTo>
                  <a:lnTo>
                    <a:pt x="138" y="103"/>
                  </a:lnTo>
                  <a:lnTo>
                    <a:pt x="138" y="105"/>
                  </a:lnTo>
                  <a:lnTo>
                    <a:pt x="140" y="105"/>
                  </a:lnTo>
                  <a:lnTo>
                    <a:pt x="142" y="105"/>
                  </a:lnTo>
                  <a:lnTo>
                    <a:pt x="144" y="105"/>
                  </a:lnTo>
                  <a:lnTo>
                    <a:pt x="144" y="107"/>
                  </a:lnTo>
                  <a:lnTo>
                    <a:pt x="144" y="107"/>
                  </a:lnTo>
                  <a:lnTo>
                    <a:pt x="142" y="107"/>
                  </a:lnTo>
                  <a:lnTo>
                    <a:pt x="142" y="107"/>
                  </a:lnTo>
                  <a:lnTo>
                    <a:pt x="140" y="107"/>
                  </a:lnTo>
                  <a:lnTo>
                    <a:pt x="142" y="109"/>
                  </a:lnTo>
                  <a:lnTo>
                    <a:pt x="144" y="109"/>
                  </a:lnTo>
                  <a:lnTo>
                    <a:pt x="144" y="109"/>
                  </a:lnTo>
                  <a:lnTo>
                    <a:pt x="148" y="111"/>
                  </a:lnTo>
                  <a:lnTo>
                    <a:pt x="152" y="111"/>
                  </a:lnTo>
                  <a:lnTo>
                    <a:pt x="156" y="111"/>
                  </a:lnTo>
                  <a:lnTo>
                    <a:pt x="159" y="111"/>
                  </a:lnTo>
                  <a:lnTo>
                    <a:pt x="163" y="111"/>
                  </a:lnTo>
                  <a:lnTo>
                    <a:pt x="163" y="111"/>
                  </a:lnTo>
                  <a:lnTo>
                    <a:pt x="165" y="113"/>
                  </a:lnTo>
                  <a:lnTo>
                    <a:pt x="167" y="113"/>
                  </a:lnTo>
                  <a:lnTo>
                    <a:pt x="167" y="111"/>
                  </a:lnTo>
                  <a:lnTo>
                    <a:pt x="169" y="113"/>
                  </a:lnTo>
                  <a:lnTo>
                    <a:pt x="169" y="115"/>
                  </a:lnTo>
                  <a:lnTo>
                    <a:pt x="167" y="117"/>
                  </a:lnTo>
                  <a:lnTo>
                    <a:pt x="165" y="117"/>
                  </a:lnTo>
                  <a:lnTo>
                    <a:pt x="163" y="117"/>
                  </a:lnTo>
                  <a:lnTo>
                    <a:pt x="156" y="121"/>
                  </a:lnTo>
                  <a:lnTo>
                    <a:pt x="152" y="123"/>
                  </a:lnTo>
                  <a:lnTo>
                    <a:pt x="154" y="125"/>
                  </a:lnTo>
                  <a:lnTo>
                    <a:pt x="154" y="125"/>
                  </a:lnTo>
                  <a:lnTo>
                    <a:pt x="156" y="125"/>
                  </a:lnTo>
                  <a:lnTo>
                    <a:pt x="159" y="125"/>
                  </a:lnTo>
                  <a:lnTo>
                    <a:pt x="163" y="127"/>
                  </a:lnTo>
                  <a:lnTo>
                    <a:pt x="165" y="127"/>
                  </a:lnTo>
                  <a:lnTo>
                    <a:pt x="167" y="127"/>
                  </a:lnTo>
                  <a:lnTo>
                    <a:pt x="169" y="129"/>
                  </a:lnTo>
                  <a:lnTo>
                    <a:pt x="171" y="134"/>
                  </a:lnTo>
                  <a:lnTo>
                    <a:pt x="171" y="134"/>
                  </a:lnTo>
                  <a:lnTo>
                    <a:pt x="169" y="138"/>
                  </a:lnTo>
                  <a:lnTo>
                    <a:pt x="169" y="140"/>
                  </a:lnTo>
                  <a:lnTo>
                    <a:pt x="169" y="140"/>
                  </a:lnTo>
                  <a:lnTo>
                    <a:pt x="169" y="140"/>
                  </a:lnTo>
                  <a:lnTo>
                    <a:pt x="171" y="144"/>
                  </a:lnTo>
                  <a:lnTo>
                    <a:pt x="173" y="144"/>
                  </a:lnTo>
                  <a:lnTo>
                    <a:pt x="175" y="144"/>
                  </a:lnTo>
                  <a:lnTo>
                    <a:pt x="177" y="144"/>
                  </a:lnTo>
                  <a:lnTo>
                    <a:pt x="181" y="142"/>
                  </a:lnTo>
                  <a:lnTo>
                    <a:pt x="183" y="138"/>
                  </a:lnTo>
                  <a:lnTo>
                    <a:pt x="187" y="136"/>
                  </a:lnTo>
                  <a:lnTo>
                    <a:pt x="189" y="136"/>
                  </a:lnTo>
                  <a:lnTo>
                    <a:pt x="191" y="136"/>
                  </a:lnTo>
                  <a:lnTo>
                    <a:pt x="193" y="136"/>
                  </a:lnTo>
                  <a:lnTo>
                    <a:pt x="195" y="134"/>
                  </a:lnTo>
                  <a:lnTo>
                    <a:pt x="198" y="129"/>
                  </a:lnTo>
                  <a:lnTo>
                    <a:pt x="198" y="129"/>
                  </a:lnTo>
                  <a:lnTo>
                    <a:pt x="200" y="129"/>
                  </a:lnTo>
                  <a:lnTo>
                    <a:pt x="202" y="129"/>
                  </a:lnTo>
                  <a:lnTo>
                    <a:pt x="202" y="132"/>
                  </a:lnTo>
                  <a:lnTo>
                    <a:pt x="204" y="132"/>
                  </a:lnTo>
                  <a:lnTo>
                    <a:pt x="206" y="132"/>
                  </a:lnTo>
                  <a:lnTo>
                    <a:pt x="208" y="132"/>
                  </a:lnTo>
                  <a:lnTo>
                    <a:pt x="210" y="129"/>
                  </a:lnTo>
                  <a:lnTo>
                    <a:pt x="210" y="129"/>
                  </a:lnTo>
                  <a:lnTo>
                    <a:pt x="210" y="127"/>
                  </a:lnTo>
                  <a:lnTo>
                    <a:pt x="212" y="125"/>
                  </a:lnTo>
                  <a:lnTo>
                    <a:pt x="212" y="123"/>
                  </a:lnTo>
                  <a:lnTo>
                    <a:pt x="210" y="123"/>
                  </a:lnTo>
                  <a:lnTo>
                    <a:pt x="208" y="123"/>
                  </a:lnTo>
                  <a:lnTo>
                    <a:pt x="206" y="123"/>
                  </a:lnTo>
                  <a:lnTo>
                    <a:pt x="206" y="123"/>
                  </a:lnTo>
                  <a:lnTo>
                    <a:pt x="204" y="125"/>
                  </a:lnTo>
                  <a:lnTo>
                    <a:pt x="202" y="123"/>
                  </a:lnTo>
                  <a:lnTo>
                    <a:pt x="200" y="125"/>
                  </a:lnTo>
                  <a:lnTo>
                    <a:pt x="198" y="125"/>
                  </a:lnTo>
                  <a:lnTo>
                    <a:pt x="195" y="125"/>
                  </a:lnTo>
                  <a:lnTo>
                    <a:pt x="195" y="125"/>
                  </a:lnTo>
                  <a:lnTo>
                    <a:pt x="193" y="123"/>
                  </a:lnTo>
                  <a:lnTo>
                    <a:pt x="189" y="119"/>
                  </a:lnTo>
                  <a:lnTo>
                    <a:pt x="187" y="115"/>
                  </a:lnTo>
                  <a:lnTo>
                    <a:pt x="185" y="113"/>
                  </a:lnTo>
                  <a:lnTo>
                    <a:pt x="185" y="113"/>
                  </a:lnTo>
                  <a:lnTo>
                    <a:pt x="185" y="111"/>
                  </a:lnTo>
                  <a:lnTo>
                    <a:pt x="187" y="109"/>
                  </a:lnTo>
                  <a:lnTo>
                    <a:pt x="189" y="109"/>
                  </a:lnTo>
                  <a:lnTo>
                    <a:pt x="191" y="105"/>
                  </a:lnTo>
                  <a:lnTo>
                    <a:pt x="191" y="107"/>
                  </a:lnTo>
                  <a:lnTo>
                    <a:pt x="191" y="107"/>
                  </a:lnTo>
                  <a:lnTo>
                    <a:pt x="191" y="109"/>
                  </a:lnTo>
                  <a:lnTo>
                    <a:pt x="191" y="109"/>
                  </a:lnTo>
                  <a:lnTo>
                    <a:pt x="187" y="111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91" y="111"/>
                  </a:lnTo>
                  <a:lnTo>
                    <a:pt x="191" y="109"/>
                  </a:lnTo>
                  <a:lnTo>
                    <a:pt x="193" y="107"/>
                  </a:lnTo>
                  <a:lnTo>
                    <a:pt x="200" y="103"/>
                  </a:lnTo>
                  <a:lnTo>
                    <a:pt x="202" y="101"/>
                  </a:lnTo>
                  <a:lnTo>
                    <a:pt x="204" y="103"/>
                  </a:lnTo>
                  <a:lnTo>
                    <a:pt x="206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10" y="101"/>
                  </a:lnTo>
                  <a:lnTo>
                    <a:pt x="212" y="101"/>
                  </a:lnTo>
                  <a:lnTo>
                    <a:pt x="214" y="99"/>
                  </a:lnTo>
                  <a:lnTo>
                    <a:pt x="216" y="99"/>
                  </a:lnTo>
                  <a:lnTo>
                    <a:pt x="218" y="97"/>
                  </a:lnTo>
                  <a:lnTo>
                    <a:pt x="220" y="97"/>
                  </a:lnTo>
                  <a:lnTo>
                    <a:pt x="222" y="95"/>
                  </a:lnTo>
                  <a:lnTo>
                    <a:pt x="226" y="95"/>
                  </a:lnTo>
                  <a:lnTo>
                    <a:pt x="230" y="95"/>
                  </a:lnTo>
                  <a:lnTo>
                    <a:pt x="232" y="95"/>
                  </a:lnTo>
                  <a:lnTo>
                    <a:pt x="232" y="92"/>
                  </a:lnTo>
                  <a:lnTo>
                    <a:pt x="230" y="92"/>
                  </a:lnTo>
                  <a:lnTo>
                    <a:pt x="232" y="92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0" y="90"/>
                  </a:lnTo>
                  <a:lnTo>
                    <a:pt x="230" y="90"/>
                  </a:lnTo>
                  <a:lnTo>
                    <a:pt x="230" y="88"/>
                  </a:lnTo>
                  <a:lnTo>
                    <a:pt x="232" y="88"/>
                  </a:lnTo>
                  <a:lnTo>
                    <a:pt x="232" y="88"/>
                  </a:lnTo>
                  <a:lnTo>
                    <a:pt x="232" y="86"/>
                  </a:lnTo>
                  <a:lnTo>
                    <a:pt x="232" y="86"/>
                  </a:lnTo>
                  <a:lnTo>
                    <a:pt x="232" y="84"/>
                  </a:lnTo>
                  <a:lnTo>
                    <a:pt x="234" y="84"/>
                  </a:lnTo>
                  <a:lnTo>
                    <a:pt x="237" y="84"/>
                  </a:lnTo>
                  <a:lnTo>
                    <a:pt x="237" y="82"/>
                  </a:lnTo>
                  <a:lnTo>
                    <a:pt x="239" y="80"/>
                  </a:lnTo>
                  <a:lnTo>
                    <a:pt x="241" y="80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1" y="80"/>
                  </a:lnTo>
                  <a:lnTo>
                    <a:pt x="253" y="80"/>
                  </a:lnTo>
                  <a:lnTo>
                    <a:pt x="251" y="78"/>
                  </a:lnTo>
                  <a:lnTo>
                    <a:pt x="253" y="76"/>
                  </a:lnTo>
                  <a:lnTo>
                    <a:pt x="253" y="74"/>
                  </a:lnTo>
                  <a:lnTo>
                    <a:pt x="253" y="74"/>
                  </a:lnTo>
                  <a:lnTo>
                    <a:pt x="253" y="7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46F225D3-F66B-9040-82E5-00BB3736C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408" y="3441107"/>
              <a:ext cx="104578" cy="124781"/>
            </a:xfrm>
            <a:custGeom>
              <a:avLst/>
              <a:gdLst>
                <a:gd name="T0" fmla="*/ 86 w 88"/>
                <a:gd name="T1" fmla="*/ 37 h 105"/>
                <a:gd name="T2" fmla="*/ 86 w 88"/>
                <a:gd name="T3" fmla="*/ 31 h 105"/>
                <a:gd name="T4" fmla="*/ 84 w 88"/>
                <a:gd name="T5" fmla="*/ 29 h 105"/>
                <a:gd name="T6" fmla="*/ 82 w 88"/>
                <a:gd name="T7" fmla="*/ 25 h 105"/>
                <a:gd name="T8" fmla="*/ 78 w 88"/>
                <a:gd name="T9" fmla="*/ 16 h 105"/>
                <a:gd name="T10" fmla="*/ 78 w 88"/>
                <a:gd name="T11" fmla="*/ 10 h 105"/>
                <a:gd name="T12" fmla="*/ 74 w 88"/>
                <a:gd name="T13" fmla="*/ 8 h 105"/>
                <a:gd name="T14" fmla="*/ 74 w 88"/>
                <a:gd name="T15" fmla="*/ 6 h 105"/>
                <a:gd name="T16" fmla="*/ 66 w 88"/>
                <a:gd name="T17" fmla="*/ 8 h 105"/>
                <a:gd name="T18" fmla="*/ 62 w 88"/>
                <a:gd name="T19" fmla="*/ 10 h 105"/>
                <a:gd name="T20" fmla="*/ 53 w 88"/>
                <a:gd name="T21" fmla="*/ 8 h 105"/>
                <a:gd name="T22" fmla="*/ 47 w 88"/>
                <a:gd name="T23" fmla="*/ 10 h 105"/>
                <a:gd name="T24" fmla="*/ 43 w 88"/>
                <a:gd name="T25" fmla="*/ 12 h 105"/>
                <a:gd name="T26" fmla="*/ 41 w 88"/>
                <a:gd name="T27" fmla="*/ 14 h 105"/>
                <a:gd name="T28" fmla="*/ 37 w 88"/>
                <a:gd name="T29" fmla="*/ 10 h 105"/>
                <a:gd name="T30" fmla="*/ 33 w 88"/>
                <a:gd name="T31" fmla="*/ 10 h 105"/>
                <a:gd name="T32" fmla="*/ 29 w 88"/>
                <a:gd name="T33" fmla="*/ 10 h 105"/>
                <a:gd name="T34" fmla="*/ 25 w 88"/>
                <a:gd name="T35" fmla="*/ 10 h 105"/>
                <a:gd name="T36" fmla="*/ 21 w 88"/>
                <a:gd name="T37" fmla="*/ 14 h 105"/>
                <a:gd name="T38" fmla="*/ 21 w 88"/>
                <a:gd name="T39" fmla="*/ 16 h 105"/>
                <a:gd name="T40" fmla="*/ 19 w 88"/>
                <a:gd name="T41" fmla="*/ 23 h 105"/>
                <a:gd name="T42" fmla="*/ 21 w 88"/>
                <a:gd name="T43" fmla="*/ 25 h 105"/>
                <a:gd name="T44" fmla="*/ 21 w 88"/>
                <a:gd name="T45" fmla="*/ 29 h 105"/>
                <a:gd name="T46" fmla="*/ 21 w 88"/>
                <a:gd name="T47" fmla="*/ 35 h 105"/>
                <a:gd name="T48" fmla="*/ 25 w 88"/>
                <a:gd name="T49" fmla="*/ 35 h 105"/>
                <a:gd name="T50" fmla="*/ 27 w 88"/>
                <a:gd name="T51" fmla="*/ 37 h 105"/>
                <a:gd name="T52" fmla="*/ 29 w 88"/>
                <a:gd name="T53" fmla="*/ 39 h 105"/>
                <a:gd name="T54" fmla="*/ 27 w 88"/>
                <a:gd name="T55" fmla="*/ 43 h 105"/>
                <a:gd name="T56" fmla="*/ 14 w 88"/>
                <a:gd name="T57" fmla="*/ 55 h 105"/>
                <a:gd name="T58" fmla="*/ 10 w 88"/>
                <a:gd name="T59" fmla="*/ 60 h 105"/>
                <a:gd name="T60" fmla="*/ 6 w 88"/>
                <a:gd name="T61" fmla="*/ 64 h 105"/>
                <a:gd name="T62" fmla="*/ 6 w 88"/>
                <a:gd name="T63" fmla="*/ 70 h 105"/>
                <a:gd name="T64" fmla="*/ 4 w 88"/>
                <a:gd name="T65" fmla="*/ 76 h 105"/>
                <a:gd name="T66" fmla="*/ 2 w 88"/>
                <a:gd name="T67" fmla="*/ 80 h 105"/>
                <a:gd name="T68" fmla="*/ 2 w 88"/>
                <a:gd name="T69" fmla="*/ 90 h 105"/>
                <a:gd name="T70" fmla="*/ 0 w 88"/>
                <a:gd name="T71" fmla="*/ 97 h 105"/>
                <a:gd name="T72" fmla="*/ 0 w 88"/>
                <a:gd name="T73" fmla="*/ 103 h 105"/>
                <a:gd name="T74" fmla="*/ 4 w 88"/>
                <a:gd name="T75" fmla="*/ 103 h 105"/>
                <a:gd name="T76" fmla="*/ 6 w 88"/>
                <a:gd name="T77" fmla="*/ 105 h 105"/>
                <a:gd name="T78" fmla="*/ 10 w 88"/>
                <a:gd name="T79" fmla="*/ 103 h 105"/>
                <a:gd name="T80" fmla="*/ 12 w 88"/>
                <a:gd name="T81" fmla="*/ 99 h 105"/>
                <a:gd name="T82" fmla="*/ 14 w 88"/>
                <a:gd name="T83" fmla="*/ 99 h 105"/>
                <a:gd name="T84" fmla="*/ 17 w 88"/>
                <a:gd name="T85" fmla="*/ 99 h 105"/>
                <a:gd name="T86" fmla="*/ 21 w 88"/>
                <a:gd name="T87" fmla="*/ 97 h 105"/>
                <a:gd name="T88" fmla="*/ 70 w 88"/>
                <a:gd name="T89" fmla="*/ 97 h 105"/>
                <a:gd name="T90" fmla="*/ 72 w 88"/>
                <a:gd name="T91" fmla="*/ 78 h 105"/>
                <a:gd name="T92" fmla="*/ 74 w 88"/>
                <a:gd name="T93" fmla="*/ 72 h 105"/>
                <a:gd name="T94" fmla="*/ 76 w 88"/>
                <a:gd name="T95" fmla="*/ 66 h 105"/>
                <a:gd name="T96" fmla="*/ 80 w 88"/>
                <a:gd name="T97" fmla="*/ 60 h 105"/>
                <a:gd name="T98" fmla="*/ 82 w 88"/>
                <a:gd name="T99" fmla="*/ 55 h 105"/>
                <a:gd name="T100" fmla="*/ 84 w 88"/>
                <a:gd name="T101" fmla="*/ 55 h 105"/>
                <a:gd name="T102" fmla="*/ 86 w 88"/>
                <a:gd name="T103" fmla="*/ 51 h 105"/>
                <a:gd name="T104" fmla="*/ 88 w 88"/>
                <a:gd name="T105" fmla="*/ 49 h 105"/>
                <a:gd name="T106" fmla="*/ 88 w 88"/>
                <a:gd name="T107" fmla="*/ 4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105">
                  <a:moveTo>
                    <a:pt x="88" y="43"/>
                  </a:moveTo>
                  <a:lnTo>
                    <a:pt x="88" y="41"/>
                  </a:lnTo>
                  <a:lnTo>
                    <a:pt x="86" y="37"/>
                  </a:lnTo>
                  <a:lnTo>
                    <a:pt x="86" y="33"/>
                  </a:lnTo>
                  <a:lnTo>
                    <a:pt x="86" y="33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4" y="29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2" y="25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80" y="12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6" y="10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2" y="0"/>
                  </a:lnTo>
                  <a:lnTo>
                    <a:pt x="68" y="4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2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3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47" y="10"/>
                  </a:lnTo>
                  <a:lnTo>
                    <a:pt x="45" y="10"/>
                  </a:lnTo>
                  <a:lnTo>
                    <a:pt x="43" y="10"/>
                  </a:lnTo>
                  <a:lnTo>
                    <a:pt x="43" y="12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39" y="12"/>
                  </a:lnTo>
                  <a:lnTo>
                    <a:pt x="37" y="10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1" y="10"/>
                  </a:lnTo>
                  <a:lnTo>
                    <a:pt x="29" y="10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5" y="10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3" y="16"/>
                  </a:lnTo>
                  <a:lnTo>
                    <a:pt x="21" y="16"/>
                  </a:lnTo>
                  <a:lnTo>
                    <a:pt x="21" y="18"/>
                  </a:lnTo>
                  <a:lnTo>
                    <a:pt x="21" y="20"/>
                  </a:lnTo>
                  <a:lnTo>
                    <a:pt x="19" y="23"/>
                  </a:lnTo>
                  <a:lnTo>
                    <a:pt x="21" y="23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7"/>
                  </a:lnTo>
                  <a:lnTo>
                    <a:pt x="21" y="29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21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5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9" y="39"/>
                  </a:lnTo>
                  <a:lnTo>
                    <a:pt x="27" y="39"/>
                  </a:lnTo>
                  <a:lnTo>
                    <a:pt x="27" y="41"/>
                  </a:lnTo>
                  <a:lnTo>
                    <a:pt x="27" y="43"/>
                  </a:lnTo>
                  <a:lnTo>
                    <a:pt x="23" y="47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2" y="55"/>
                  </a:lnTo>
                  <a:lnTo>
                    <a:pt x="10" y="57"/>
                  </a:lnTo>
                  <a:lnTo>
                    <a:pt x="10" y="60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4" y="74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2" y="76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2" y="86"/>
                  </a:lnTo>
                  <a:lnTo>
                    <a:pt x="2" y="88"/>
                  </a:lnTo>
                  <a:lnTo>
                    <a:pt x="2" y="90"/>
                  </a:lnTo>
                  <a:lnTo>
                    <a:pt x="0" y="92"/>
                  </a:lnTo>
                  <a:lnTo>
                    <a:pt x="0" y="94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2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6" y="105"/>
                  </a:lnTo>
                  <a:lnTo>
                    <a:pt x="6" y="105"/>
                  </a:lnTo>
                  <a:lnTo>
                    <a:pt x="6" y="105"/>
                  </a:lnTo>
                  <a:lnTo>
                    <a:pt x="8" y="105"/>
                  </a:lnTo>
                  <a:lnTo>
                    <a:pt x="8" y="103"/>
                  </a:lnTo>
                  <a:lnTo>
                    <a:pt x="10" y="103"/>
                  </a:lnTo>
                  <a:lnTo>
                    <a:pt x="10" y="101"/>
                  </a:lnTo>
                  <a:lnTo>
                    <a:pt x="12" y="101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9" y="97"/>
                  </a:lnTo>
                  <a:lnTo>
                    <a:pt x="19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70" y="97"/>
                  </a:lnTo>
                  <a:lnTo>
                    <a:pt x="70" y="92"/>
                  </a:lnTo>
                  <a:lnTo>
                    <a:pt x="72" y="86"/>
                  </a:lnTo>
                  <a:lnTo>
                    <a:pt x="72" y="78"/>
                  </a:lnTo>
                  <a:lnTo>
                    <a:pt x="72" y="74"/>
                  </a:lnTo>
                  <a:lnTo>
                    <a:pt x="72" y="72"/>
                  </a:lnTo>
                  <a:lnTo>
                    <a:pt x="74" y="72"/>
                  </a:lnTo>
                  <a:lnTo>
                    <a:pt x="74" y="70"/>
                  </a:lnTo>
                  <a:lnTo>
                    <a:pt x="74" y="68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8" y="62"/>
                  </a:lnTo>
                  <a:lnTo>
                    <a:pt x="80" y="60"/>
                  </a:lnTo>
                  <a:lnTo>
                    <a:pt x="80" y="57"/>
                  </a:lnTo>
                  <a:lnTo>
                    <a:pt x="82" y="57"/>
                  </a:lnTo>
                  <a:lnTo>
                    <a:pt x="82" y="55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4" y="53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49"/>
                  </a:lnTo>
                  <a:lnTo>
                    <a:pt x="88" y="49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5"/>
                  </a:lnTo>
                  <a:lnTo>
                    <a:pt x="88" y="4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Freeform 23">
              <a:extLst>
                <a:ext uri="{FF2B5EF4-FFF2-40B4-BE49-F238E27FC236}">
                  <a16:creationId xmlns:a16="http://schemas.microsoft.com/office/drawing/2014/main" id="{2AAEB4F1-D66A-7B40-8B56-DB0EACCA9A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9561" y="2603293"/>
              <a:ext cx="268576" cy="162809"/>
            </a:xfrm>
            <a:custGeom>
              <a:avLst/>
              <a:gdLst>
                <a:gd name="T0" fmla="*/ 19 w 226"/>
                <a:gd name="T1" fmla="*/ 70 h 137"/>
                <a:gd name="T2" fmla="*/ 224 w 226"/>
                <a:gd name="T3" fmla="*/ 84 h 137"/>
                <a:gd name="T4" fmla="*/ 214 w 226"/>
                <a:gd name="T5" fmla="*/ 80 h 137"/>
                <a:gd name="T6" fmla="*/ 199 w 226"/>
                <a:gd name="T7" fmla="*/ 74 h 137"/>
                <a:gd name="T8" fmla="*/ 181 w 226"/>
                <a:gd name="T9" fmla="*/ 65 h 137"/>
                <a:gd name="T10" fmla="*/ 158 w 226"/>
                <a:gd name="T11" fmla="*/ 51 h 137"/>
                <a:gd name="T12" fmla="*/ 146 w 226"/>
                <a:gd name="T13" fmla="*/ 37 h 137"/>
                <a:gd name="T14" fmla="*/ 134 w 226"/>
                <a:gd name="T15" fmla="*/ 26 h 137"/>
                <a:gd name="T16" fmla="*/ 125 w 226"/>
                <a:gd name="T17" fmla="*/ 26 h 137"/>
                <a:gd name="T18" fmla="*/ 113 w 226"/>
                <a:gd name="T19" fmla="*/ 24 h 137"/>
                <a:gd name="T20" fmla="*/ 111 w 226"/>
                <a:gd name="T21" fmla="*/ 16 h 137"/>
                <a:gd name="T22" fmla="*/ 109 w 226"/>
                <a:gd name="T23" fmla="*/ 14 h 137"/>
                <a:gd name="T24" fmla="*/ 109 w 226"/>
                <a:gd name="T25" fmla="*/ 10 h 137"/>
                <a:gd name="T26" fmla="*/ 97 w 226"/>
                <a:gd name="T27" fmla="*/ 4 h 137"/>
                <a:gd name="T28" fmla="*/ 86 w 226"/>
                <a:gd name="T29" fmla="*/ 0 h 137"/>
                <a:gd name="T30" fmla="*/ 80 w 226"/>
                <a:gd name="T31" fmla="*/ 2 h 137"/>
                <a:gd name="T32" fmla="*/ 86 w 226"/>
                <a:gd name="T33" fmla="*/ 8 h 137"/>
                <a:gd name="T34" fmla="*/ 82 w 226"/>
                <a:gd name="T35" fmla="*/ 6 h 137"/>
                <a:gd name="T36" fmla="*/ 76 w 226"/>
                <a:gd name="T37" fmla="*/ 10 h 137"/>
                <a:gd name="T38" fmla="*/ 66 w 226"/>
                <a:gd name="T39" fmla="*/ 14 h 137"/>
                <a:gd name="T40" fmla="*/ 70 w 226"/>
                <a:gd name="T41" fmla="*/ 24 h 137"/>
                <a:gd name="T42" fmla="*/ 56 w 226"/>
                <a:gd name="T43" fmla="*/ 26 h 137"/>
                <a:gd name="T44" fmla="*/ 45 w 226"/>
                <a:gd name="T45" fmla="*/ 26 h 137"/>
                <a:gd name="T46" fmla="*/ 35 w 226"/>
                <a:gd name="T47" fmla="*/ 16 h 137"/>
                <a:gd name="T48" fmla="*/ 21 w 226"/>
                <a:gd name="T49" fmla="*/ 8 h 137"/>
                <a:gd name="T50" fmla="*/ 6 w 226"/>
                <a:gd name="T51" fmla="*/ 10 h 137"/>
                <a:gd name="T52" fmla="*/ 6 w 226"/>
                <a:gd name="T53" fmla="*/ 26 h 137"/>
                <a:gd name="T54" fmla="*/ 6 w 226"/>
                <a:gd name="T55" fmla="*/ 14 h 137"/>
                <a:gd name="T56" fmla="*/ 17 w 226"/>
                <a:gd name="T57" fmla="*/ 12 h 137"/>
                <a:gd name="T58" fmla="*/ 27 w 226"/>
                <a:gd name="T59" fmla="*/ 24 h 137"/>
                <a:gd name="T60" fmla="*/ 35 w 226"/>
                <a:gd name="T61" fmla="*/ 33 h 137"/>
                <a:gd name="T62" fmla="*/ 31 w 226"/>
                <a:gd name="T63" fmla="*/ 37 h 137"/>
                <a:gd name="T64" fmla="*/ 19 w 226"/>
                <a:gd name="T65" fmla="*/ 35 h 137"/>
                <a:gd name="T66" fmla="*/ 11 w 226"/>
                <a:gd name="T67" fmla="*/ 33 h 137"/>
                <a:gd name="T68" fmla="*/ 11 w 226"/>
                <a:gd name="T69" fmla="*/ 49 h 137"/>
                <a:gd name="T70" fmla="*/ 17 w 226"/>
                <a:gd name="T71" fmla="*/ 49 h 137"/>
                <a:gd name="T72" fmla="*/ 23 w 226"/>
                <a:gd name="T73" fmla="*/ 55 h 137"/>
                <a:gd name="T74" fmla="*/ 17 w 226"/>
                <a:gd name="T75" fmla="*/ 57 h 137"/>
                <a:gd name="T76" fmla="*/ 23 w 226"/>
                <a:gd name="T77" fmla="*/ 61 h 137"/>
                <a:gd name="T78" fmla="*/ 29 w 226"/>
                <a:gd name="T79" fmla="*/ 68 h 137"/>
                <a:gd name="T80" fmla="*/ 31 w 226"/>
                <a:gd name="T81" fmla="*/ 86 h 137"/>
                <a:gd name="T82" fmla="*/ 43 w 226"/>
                <a:gd name="T83" fmla="*/ 94 h 137"/>
                <a:gd name="T84" fmla="*/ 52 w 226"/>
                <a:gd name="T85" fmla="*/ 84 h 137"/>
                <a:gd name="T86" fmla="*/ 68 w 226"/>
                <a:gd name="T87" fmla="*/ 84 h 137"/>
                <a:gd name="T88" fmla="*/ 74 w 226"/>
                <a:gd name="T89" fmla="*/ 80 h 137"/>
                <a:gd name="T90" fmla="*/ 84 w 226"/>
                <a:gd name="T91" fmla="*/ 84 h 137"/>
                <a:gd name="T92" fmla="*/ 95 w 226"/>
                <a:gd name="T93" fmla="*/ 88 h 137"/>
                <a:gd name="T94" fmla="*/ 105 w 226"/>
                <a:gd name="T95" fmla="*/ 90 h 137"/>
                <a:gd name="T96" fmla="*/ 115 w 226"/>
                <a:gd name="T97" fmla="*/ 94 h 137"/>
                <a:gd name="T98" fmla="*/ 130 w 226"/>
                <a:gd name="T99" fmla="*/ 105 h 137"/>
                <a:gd name="T100" fmla="*/ 148 w 226"/>
                <a:gd name="T101" fmla="*/ 115 h 137"/>
                <a:gd name="T102" fmla="*/ 150 w 226"/>
                <a:gd name="T103" fmla="*/ 123 h 137"/>
                <a:gd name="T104" fmla="*/ 152 w 226"/>
                <a:gd name="T105" fmla="*/ 129 h 137"/>
                <a:gd name="T106" fmla="*/ 162 w 226"/>
                <a:gd name="T107" fmla="*/ 133 h 137"/>
                <a:gd name="T108" fmla="*/ 171 w 226"/>
                <a:gd name="T109" fmla="*/ 135 h 137"/>
                <a:gd name="T110" fmla="*/ 179 w 226"/>
                <a:gd name="T111" fmla="*/ 133 h 137"/>
                <a:gd name="T112" fmla="*/ 179 w 226"/>
                <a:gd name="T113" fmla="*/ 125 h 137"/>
                <a:gd name="T114" fmla="*/ 191 w 226"/>
                <a:gd name="T115" fmla="*/ 121 h 137"/>
                <a:gd name="T116" fmla="*/ 199 w 226"/>
                <a:gd name="T117" fmla="*/ 115 h 137"/>
                <a:gd name="T118" fmla="*/ 203 w 226"/>
                <a:gd name="T119" fmla="*/ 98 h 137"/>
                <a:gd name="T120" fmla="*/ 214 w 226"/>
                <a:gd name="T121" fmla="*/ 9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6" h="137">
                  <a:moveTo>
                    <a:pt x="17" y="65"/>
                  </a:moveTo>
                  <a:lnTo>
                    <a:pt x="17" y="63"/>
                  </a:lnTo>
                  <a:lnTo>
                    <a:pt x="17" y="63"/>
                  </a:lnTo>
                  <a:lnTo>
                    <a:pt x="17" y="65"/>
                  </a:lnTo>
                  <a:lnTo>
                    <a:pt x="17" y="68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17" y="65"/>
                  </a:lnTo>
                  <a:close/>
                  <a:moveTo>
                    <a:pt x="224" y="94"/>
                  </a:moveTo>
                  <a:lnTo>
                    <a:pt x="224" y="92"/>
                  </a:lnTo>
                  <a:lnTo>
                    <a:pt x="224" y="88"/>
                  </a:lnTo>
                  <a:lnTo>
                    <a:pt x="224" y="86"/>
                  </a:lnTo>
                  <a:lnTo>
                    <a:pt x="224" y="86"/>
                  </a:lnTo>
                  <a:lnTo>
                    <a:pt x="224" y="84"/>
                  </a:lnTo>
                  <a:lnTo>
                    <a:pt x="224" y="84"/>
                  </a:lnTo>
                  <a:lnTo>
                    <a:pt x="220" y="84"/>
                  </a:lnTo>
                  <a:lnTo>
                    <a:pt x="220" y="84"/>
                  </a:lnTo>
                  <a:lnTo>
                    <a:pt x="218" y="82"/>
                  </a:lnTo>
                  <a:lnTo>
                    <a:pt x="216" y="82"/>
                  </a:lnTo>
                  <a:lnTo>
                    <a:pt x="216" y="80"/>
                  </a:lnTo>
                  <a:lnTo>
                    <a:pt x="214" y="80"/>
                  </a:lnTo>
                  <a:lnTo>
                    <a:pt x="212" y="80"/>
                  </a:lnTo>
                  <a:lnTo>
                    <a:pt x="210" y="80"/>
                  </a:lnTo>
                  <a:lnTo>
                    <a:pt x="210" y="80"/>
                  </a:lnTo>
                  <a:lnTo>
                    <a:pt x="210" y="80"/>
                  </a:lnTo>
                  <a:lnTo>
                    <a:pt x="208" y="80"/>
                  </a:lnTo>
                  <a:lnTo>
                    <a:pt x="203" y="78"/>
                  </a:lnTo>
                  <a:lnTo>
                    <a:pt x="199" y="74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91" y="70"/>
                  </a:lnTo>
                  <a:lnTo>
                    <a:pt x="189" y="70"/>
                  </a:lnTo>
                  <a:lnTo>
                    <a:pt x="185" y="65"/>
                  </a:lnTo>
                  <a:lnTo>
                    <a:pt x="183" y="68"/>
                  </a:lnTo>
                  <a:lnTo>
                    <a:pt x="181" y="65"/>
                  </a:lnTo>
                  <a:lnTo>
                    <a:pt x="177" y="63"/>
                  </a:lnTo>
                  <a:lnTo>
                    <a:pt x="177" y="63"/>
                  </a:lnTo>
                  <a:lnTo>
                    <a:pt x="173" y="59"/>
                  </a:lnTo>
                  <a:lnTo>
                    <a:pt x="169" y="57"/>
                  </a:lnTo>
                  <a:lnTo>
                    <a:pt x="164" y="55"/>
                  </a:lnTo>
                  <a:lnTo>
                    <a:pt x="162" y="53"/>
                  </a:lnTo>
                  <a:lnTo>
                    <a:pt x="158" y="51"/>
                  </a:lnTo>
                  <a:lnTo>
                    <a:pt x="154" y="49"/>
                  </a:lnTo>
                  <a:lnTo>
                    <a:pt x="154" y="49"/>
                  </a:lnTo>
                  <a:lnTo>
                    <a:pt x="154" y="49"/>
                  </a:lnTo>
                  <a:lnTo>
                    <a:pt x="152" y="43"/>
                  </a:lnTo>
                  <a:lnTo>
                    <a:pt x="150" y="41"/>
                  </a:lnTo>
                  <a:lnTo>
                    <a:pt x="148" y="39"/>
                  </a:lnTo>
                  <a:lnTo>
                    <a:pt x="146" y="37"/>
                  </a:lnTo>
                  <a:lnTo>
                    <a:pt x="144" y="33"/>
                  </a:lnTo>
                  <a:lnTo>
                    <a:pt x="142" y="31"/>
                  </a:lnTo>
                  <a:lnTo>
                    <a:pt x="142" y="28"/>
                  </a:lnTo>
                  <a:lnTo>
                    <a:pt x="140" y="28"/>
                  </a:lnTo>
                  <a:lnTo>
                    <a:pt x="138" y="26"/>
                  </a:lnTo>
                  <a:lnTo>
                    <a:pt x="134" y="26"/>
                  </a:lnTo>
                  <a:lnTo>
                    <a:pt x="134" y="26"/>
                  </a:lnTo>
                  <a:lnTo>
                    <a:pt x="134" y="26"/>
                  </a:lnTo>
                  <a:lnTo>
                    <a:pt x="134" y="26"/>
                  </a:lnTo>
                  <a:lnTo>
                    <a:pt x="132" y="28"/>
                  </a:lnTo>
                  <a:lnTo>
                    <a:pt x="132" y="28"/>
                  </a:lnTo>
                  <a:lnTo>
                    <a:pt x="130" y="28"/>
                  </a:lnTo>
                  <a:lnTo>
                    <a:pt x="130" y="26"/>
                  </a:lnTo>
                  <a:lnTo>
                    <a:pt x="125" y="26"/>
                  </a:lnTo>
                  <a:lnTo>
                    <a:pt x="125" y="26"/>
                  </a:lnTo>
                  <a:lnTo>
                    <a:pt x="123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5" y="24"/>
                  </a:lnTo>
                  <a:lnTo>
                    <a:pt x="113" y="24"/>
                  </a:lnTo>
                  <a:lnTo>
                    <a:pt x="113" y="24"/>
                  </a:lnTo>
                  <a:lnTo>
                    <a:pt x="113" y="22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1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1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09" y="10"/>
                  </a:lnTo>
                  <a:lnTo>
                    <a:pt x="109" y="10"/>
                  </a:lnTo>
                  <a:lnTo>
                    <a:pt x="109" y="10"/>
                  </a:lnTo>
                  <a:lnTo>
                    <a:pt x="109" y="10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5" y="8"/>
                  </a:lnTo>
                  <a:lnTo>
                    <a:pt x="101" y="8"/>
                  </a:lnTo>
                  <a:lnTo>
                    <a:pt x="99" y="8"/>
                  </a:lnTo>
                  <a:lnTo>
                    <a:pt x="97" y="6"/>
                  </a:lnTo>
                  <a:lnTo>
                    <a:pt x="97" y="4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3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89" y="2"/>
                  </a:lnTo>
                  <a:lnTo>
                    <a:pt x="86" y="0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2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4" y="6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0" y="6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8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4" y="10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8" y="12"/>
                  </a:lnTo>
                  <a:lnTo>
                    <a:pt x="68" y="14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6" y="18"/>
                  </a:lnTo>
                  <a:lnTo>
                    <a:pt x="68" y="22"/>
                  </a:lnTo>
                  <a:lnTo>
                    <a:pt x="68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0" y="26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6"/>
                  </a:lnTo>
                  <a:lnTo>
                    <a:pt x="47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1" y="22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4"/>
                  </a:lnTo>
                  <a:lnTo>
                    <a:pt x="33" y="14"/>
                  </a:lnTo>
                  <a:lnTo>
                    <a:pt x="31" y="12"/>
                  </a:lnTo>
                  <a:lnTo>
                    <a:pt x="27" y="10"/>
                  </a:lnTo>
                  <a:lnTo>
                    <a:pt x="25" y="8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9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4" y="24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3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21" y="16"/>
                  </a:lnTo>
                  <a:lnTo>
                    <a:pt x="21" y="18"/>
                  </a:lnTo>
                  <a:lnTo>
                    <a:pt x="23" y="20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7" y="24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3" y="35"/>
                  </a:lnTo>
                  <a:lnTo>
                    <a:pt x="31" y="33"/>
                  </a:lnTo>
                  <a:lnTo>
                    <a:pt x="29" y="35"/>
                  </a:lnTo>
                  <a:lnTo>
                    <a:pt x="31" y="35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7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5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8" y="31"/>
                  </a:lnTo>
                  <a:lnTo>
                    <a:pt x="8" y="33"/>
                  </a:lnTo>
                  <a:lnTo>
                    <a:pt x="8" y="37"/>
                  </a:lnTo>
                  <a:lnTo>
                    <a:pt x="8" y="39"/>
                  </a:lnTo>
                  <a:lnTo>
                    <a:pt x="8" y="43"/>
                  </a:lnTo>
                  <a:lnTo>
                    <a:pt x="8" y="45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3" y="49"/>
                  </a:lnTo>
                  <a:lnTo>
                    <a:pt x="13" y="47"/>
                  </a:lnTo>
                  <a:lnTo>
                    <a:pt x="15" y="49"/>
                  </a:lnTo>
                  <a:lnTo>
                    <a:pt x="17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21" y="49"/>
                  </a:lnTo>
                  <a:lnTo>
                    <a:pt x="21" y="51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19" y="55"/>
                  </a:lnTo>
                  <a:lnTo>
                    <a:pt x="17" y="55"/>
                  </a:lnTo>
                  <a:lnTo>
                    <a:pt x="17" y="57"/>
                  </a:lnTo>
                  <a:lnTo>
                    <a:pt x="17" y="59"/>
                  </a:lnTo>
                  <a:lnTo>
                    <a:pt x="17" y="61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21" y="59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9" y="65"/>
                  </a:lnTo>
                  <a:lnTo>
                    <a:pt x="29" y="68"/>
                  </a:lnTo>
                  <a:lnTo>
                    <a:pt x="29" y="68"/>
                  </a:lnTo>
                  <a:lnTo>
                    <a:pt x="29" y="72"/>
                  </a:lnTo>
                  <a:lnTo>
                    <a:pt x="29" y="74"/>
                  </a:lnTo>
                  <a:lnTo>
                    <a:pt x="29" y="76"/>
                  </a:lnTo>
                  <a:lnTo>
                    <a:pt x="31" y="78"/>
                  </a:lnTo>
                  <a:lnTo>
                    <a:pt x="31" y="80"/>
                  </a:lnTo>
                  <a:lnTo>
                    <a:pt x="31" y="84"/>
                  </a:lnTo>
                  <a:lnTo>
                    <a:pt x="31" y="86"/>
                  </a:lnTo>
                  <a:lnTo>
                    <a:pt x="33" y="90"/>
                  </a:lnTo>
                  <a:lnTo>
                    <a:pt x="33" y="96"/>
                  </a:lnTo>
                  <a:lnTo>
                    <a:pt x="35" y="96"/>
                  </a:lnTo>
                  <a:lnTo>
                    <a:pt x="39" y="96"/>
                  </a:lnTo>
                  <a:lnTo>
                    <a:pt x="41" y="96"/>
                  </a:lnTo>
                  <a:lnTo>
                    <a:pt x="43" y="96"/>
                  </a:lnTo>
                  <a:lnTo>
                    <a:pt x="43" y="94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7" y="94"/>
                  </a:lnTo>
                  <a:lnTo>
                    <a:pt x="47" y="90"/>
                  </a:lnTo>
                  <a:lnTo>
                    <a:pt x="47" y="88"/>
                  </a:lnTo>
                  <a:lnTo>
                    <a:pt x="50" y="86"/>
                  </a:lnTo>
                  <a:lnTo>
                    <a:pt x="52" y="84"/>
                  </a:lnTo>
                  <a:lnTo>
                    <a:pt x="54" y="84"/>
                  </a:lnTo>
                  <a:lnTo>
                    <a:pt x="58" y="82"/>
                  </a:lnTo>
                  <a:lnTo>
                    <a:pt x="62" y="82"/>
                  </a:lnTo>
                  <a:lnTo>
                    <a:pt x="64" y="84"/>
                  </a:lnTo>
                  <a:lnTo>
                    <a:pt x="66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0"/>
                  </a:lnTo>
                  <a:lnTo>
                    <a:pt x="70" y="80"/>
                  </a:lnTo>
                  <a:lnTo>
                    <a:pt x="72" y="80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84" y="8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6"/>
                  </a:lnTo>
                  <a:lnTo>
                    <a:pt x="86" y="86"/>
                  </a:lnTo>
                  <a:lnTo>
                    <a:pt x="86" y="86"/>
                  </a:lnTo>
                  <a:lnTo>
                    <a:pt x="91" y="86"/>
                  </a:lnTo>
                  <a:lnTo>
                    <a:pt x="93" y="88"/>
                  </a:lnTo>
                  <a:lnTo>
                    <a:pt x="95" y="88"/>
                  </a:lnTo>
                  <a:lnTo>
                    <a:pt x="97" y="88"/>
                  </a:lnTo>
                  <a:lnTo>
                    <a:pt x="99" y="90"/>
                  </a:lnTo>
                  <a:lnTo>
                    <a:pt x="101" y="90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3" y="90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7" y="90"/>
                  </a:lnTo>
                  <a:lnTo>
                    <a:pt x="109" y="90"/>
                  </a:lnTo>
                  <a:lnTo>
                    <a:pt x="115" y="94"/>
                  </a:lnTo>
                  <a:lnTo>
                    <a:pt x="115" y="94"/>
                  </a:lnTo>
                  <a:lnTo>
                    <a:pt x="115" y="94"/>
                  </a:lnTo>
                  <a:lnTo>
                    <a:pt x="115" y="94"/>
                  </a:lnTo>
                  <a:lnTo>
                    <a:pt x="117" y="94"/>
                  </a:lnTo>
                  <a:lnTo>
                    <a:pt x="117" y="96"/>
                  </a:lnTo>
                  <a:lnTo>
                    <a:pt x="119" y="98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8" y="102"/>
                  </a:lnTo>
                  <a:lnTo>
                    <a:pt x="130" y="105"/>
                  </a:lnTo>
                  <a:lnTo>
                    <a:pt x="132" y="107"/>
                  </a:lnTo>
                  <a:lnTo>
                    <a:pt x="134" y="111"/>
                  </a:lnTo>
                  <a:lnTo>
                    <a:pt x="134" y="111"/>
                  </a:lnTo>
                  <a:lnTo>
                    <a:pt x="140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8" y="115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3"/>
                  </a:lnTo>
                  <a:lnTo>
                    <a:pt x="150" y="123"/>
                  </a:lnTo>
                  <a:lnTo>
                    <a:pt x="150" y="125"/>
                  </a:lnTo>
                  <a:lnTo>
                    <a:pt x="150" y="127"/>
                  </a:lnTo>
                  <a:lnTo>
                    <a:pt x="150" y="127"/>
                  </a:lnTo>
                  <a:lnTo>
                    <a:pt x="150" y="129"/>
                  </a:lnTo>
                  <a:lnTo>
                    <a:pt x="152" y="129"/>
                  </a:lnTo>
                  <a:lnTo>
                    <a:pt x="152" y="129"/>
                  </a:lnTo>
                  <a:lnTo>
                    <a:pt x="152" y="129"/>
                  </a:lnTo>
                  <a:lnTo>
                    <a:pt x="154" y="131"/>
                  </a:lnTo>
                  <a:lnTo>
                    <a:pt x="156" y="131"/>
                  </a:lnTo>
                  <a:lnTo>
                    <a:pt x="158" y="133"/>
                  </a:lnTo>
                  <a:lnTo>
                    <a:pt x="158" y="133"/>
                  </a:lnTo>
                  <a:lnTo>
                    <a:pt x="160" y="133"/>
                  </a:lnTo>
                  <a:lnTo>
                    <a:pt x="162" y="131"/>
                  </a:lnTo>
                  <a:lnTo>
                    <a:pt x="162" y="133"/>
                  </a:lnTo>
                  <a:lnTo>
                    <a:pt x="164" y="133"/>
                  </a:lnTo>
                  <a:lnTo>
                    <a:pt x="167" y="135"/>
                  </a:lnTo>
                  <a:lnTo>
                    <a:pt x="167" y="135"/>
                  </a:lnTo>
                  <a:lnTo>
                    <a:pt x="169" y="137"/>
                  </a:lnTo>
                  <a:lnTo>
                    <a:pt x="169" y="137"/>
                  </a:lnTo>
                  <a:lnTo>
                    <a:pt x="171" y="135"/>
                  </a:lnTo>
                  <a:lnTo>
                    <a:pt x="171" y="135"/>
                  </a:lnTo>
                  <a:lnTo>
                    <a:pt x="173" y="135"/>
                  </a:lnTo>
                  <a:lnTo>
                    <a:pt x="173" y="135"/>
                  </a:lnTo>
                  <a:lnTo>
                    <a:pt x="175" y="135"/>
                  </a:lnTo>
                  <a:lnTo>
                    <a:pt x="175" y="135"/>
                  </a:lnTo>
                  <a:lnTo>
                    <a:pt x="177" y="133"/>
                  </a:lnTo>
                  <a:lnTo>
                    <a:pt x="179" y="133"/>
                  </a:lnTo>
                  <a:lnTo>
                    <a:pt x="179" y="133"/>
                  </a:lnTo>
                  <a:lnTo>
                    <a:pt x="179" y="129"/>
                  </a:lnTo>
                  <a:lnTo>
                    <a:pt x="179" y="129"/>
                  </a:lnTo>
                  <a:lnTo>
                    <a:pt x="181" y="127"/>
                  </a:lnTo>
                  <a:lnTo>
                    <a:pt x="179" y="127"/>
                  </a:lnTo>
                  <a:lnTo>
                    <a:pt x="179" y="127"/>
                  </a:lnTo>
                  <a:lnTo>
                    <a:pt x="179" y="125"/>
                  </a:lnTo>
                  <a:lnTo>
                    <a:pt x="179" y="125"/>
                  </a:lnTo>
                  <a:lnTo>
                    <a:pt x="179" y="125"/>
                  </a:lnTo>
                  <a:lnTo>
                    <a:pt x="181" y="125"/>
                  </a:lnTo>
                  <a:lnTo>
                    <a:pt x="185" y="123"/>
                  </a:lnTo>
                  <a:lnTo>
                    <a:pt x="187" y="123"/>
                  </a:lnTo>
                  <a:lnTo>
                    <a:pt x="189" y="121"/>
                  </a:lnTo>
                  <a:lnTo>
                    <a:pt x="191" y="121"/>
                  </a:lnTo>
                  <a:lnTo>
                    <a:pt x="191" y="121"/>
                  </a:lnTo>
                  <a:lnTo>
                    <a:pt x="193" y="121"/>
                  </a:lnTo>
                  <a:lnTo>
                    <a:pt x="193" y="121"/>
                  </a:lnTo>
                  <a:lnTo>
                    <a:pt x="193" y="119"/>
                  </a:lnTo>
                  <a:lnTo>
                    <a:pt x="193" y="119"/>
                  </a:lnTo>
                  <a:lnTo>
                    <a:pt x="197" y="117"/>
                  </a:lnTo>
                  <a:lnTo>
                    <a:pt x="197" y="115"/>
                  </a:lnTo>
                  <a:lnTo>
                    <a:pt x="199" y="115"/>
                  </a:lnTo>
                  <a:lnTo>
                    <a:pt x="199" y="111"/>
                  </a:lnTo>
                  <a:lnTo>
                    <a:pt x="199" y="109"/>
                  </a:lnTo>
                  <a:lnTo>
                    <a:pt x="199" y="105"/>
                  </a:lnTo>
                  <a:lnTo>
                    <a:pt x="199" y="102"/>
                  </a:lnTo>
                  <a:lnTo>
                    <a:pt x="199" y="100"/>
                  </a:lnTo>
                  <a:lnTo>
                    <a:pt x="201" y="100"/>
                  </a:lnTo>
                  <a:lnTo>
                    <a:pt x="203" y="98"/>
                  </a:lnTo>
                  <a:lnTo>
                    <a:pt x="208" y="98"/>
                  </a:lnTo>
                  <a:lnTo>
                    <a:pt x="212" y="98"/>
                  </a:lnTo>
                  <a:lnTo>
                    <a:pt x="212" y="96"/>
                  </a:lnTo>
                  <a:lnTo>
                    <a:pt x="212" y="94"/>
                  </a:lnTo>
                  <a:lnTo>
                    <a:pt x="212" y="94"/>
                  </a:lnTo>
                  <a:lnTo>
                    <a:pt x="212" y="92"/>
                  </a:lnTo>
                  <a:lnTo>
                    <a:pt x="214" y="92"/>
                  </a:lnTo>
                  <a:lnTo>
                    <a:pt x="216" y="94"/>
                  </a:lnTo>
                  <a:lnTo>
                    <a:pt x="218" y="96"/>
                  </a:lnTo>
                  <a:lnTo>
                    <a:pt x="222" y="96"/>
                  </a:lnTo>
                  <a:lnTo>
                    <a:pt x="224" y="96"/>
                  </a:lnTo>
                  <a:lnTo>
                    <a:pt x="226" y="96"/>
                  </a:lnTo>
                  <a:lnTo>
                    <a:pt x="224" y="9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" name="Freeform 24">
              <a:extLst>
                <a:ext uri="{FF2B5EF4-FFF2-40B4-BE49-F238E27FC236}">
                  <a16:creationId xmlns:a16="http://schemas.microsoft.com/office/drawing/2014/main" id="{16186F35-F358-C849-89B6-36DCFC006F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8960" y="2617554"/>
              <a:ext cx="349386" cy="134288"/>
            </a:xfrm>
            <a:custGeom>
              <a:avLst/>
              <a:gdLst>
                <a:gd name="T0" fmla="*/ 292 w 294"/>
                <a:gd name="T1" fmla="*/ 86 h 113"/>
                <a:gd name="T2" fmla="*/ 287 w 294"/>
                <a:gd name="T3" fmla="*/ 80 h 113"/>
                <a:gd name="T4" fmla="*/ 283 w 294"/>
                <a:gd name="T5" fmla="*/ 72 h 113"/>
                <a:gd name="T6" fmla="*/ 283 w 294"/>
                <a:gd name="T7" fmla="*/ 66 h 113"/>
                <a:gd name="T8" fmla="*/ 279 w 294"/>
                <a:gd name="T9" fmla="*/ 53 h 113"/>
                <a:gd name="T10" fmla="*/ 277 w 294"/>
                <a:gd name="T11" fmla="*/ 47 h 113"/>
                <a:gd name="T12" fmla="*/ 283 w 294"/>
                <a:gd name="T13" fmla="*/ 39 h 113"/>
                <a:gd name="T14" fmla="*/ 279 w 294"/>
                <a:gd name="T15" fmla="*/ 37 h 113"/>
                <a:gd name="T16" fmla="*/ 267 w 294"/>
                <a:gd name="T17" fmla="*/ 31 h 113"/>
                <a:gd name="T18" fmla="*/ 265 w 294"/>
                <a:gd name="T19" fmla="*/ 21 h 113"/>
                <a:gd name="T20" fmla="*/ 259 w 294"/>
                <a:gd name="T21" fmla="*/ 14 h 113"/>
                <a:gd name="T22" fmla="*/ 253 w 294"/>
                <a:gd name="T23" fmla="*/ 8 h 113"/>
                <a:gd name="T24" fmla="*/ 244 w 294"/>
                <a:gd name="T25" fmla="*/ 10 h 113"/>
                <a:gd name="T26" fmla="*/ 228 w 294"/>
                <a:gd name="T27" fmla="*/ 14 h 113"/>
                <a:gd name="T28" fmla="*/ 203 w 294"/>
                <a:gd name="T29" fmla="*/ 16 h 113"/>
                <a:gd name="T30" fmla="*/ 164 w 294"/>
                <a:gd name="T31" fmla="*/ 12 h 113"/>
                <a:gd name="T32" fmla="*/ 150 w 294"/>
                <a:gd name="T33" fmla="*/ 6 h 113"/>
                <a:gd name="T34" fmla="*/ 133 w 294"/>
                <a:gd name="T35" fmla="*/ 2 h 113"/>
                <a:gd name="T36" fmla="*/ 84 w 294"/>
                <a:gd name="T37" fmla="*/ 16 h 113"/>
                <a:gd name="T38" fmla="*/ 49 w 294"/>
                <a:gd name="T39" fmla="*/ 19 h 113"/>
                <a:gd name="T40" fmla="*/ 51 w 294"/>
                <a:gd name="T41" fmla="*/ 25 h 113"/>
                <a:gd name="T42" fmla="*/ 45 w 294"/>
                <a:gd name="T43" fmla="*/ 31 h 113"/>
                <a:gd name="T44" fmla="*/ 31 w 294"/>
                <a:gd name="T45" fmla="*/ 29 h 113"/>
                <a:gd name="T46" fmla="*/ 21 w 294"/>
                <a:gd name="T47" fmla="*/ 31 h 113"/>
                <a:gd name="T48" fmla="*/ 8 w 294"/>
                <a:gd name="T49" fmla="*/ 45 h 113"/>
                <a:gd name="T50" fmla="*/ 16 w 294"/>
                <a:gd name="T51" fmla="*/ 49 h 113"/>
                <a:gd name="T52" fmla="*/ 21 w 294"/>
                <a:gd name="T53" fmla="*/ 58 h 113"/>
                <a:gd name="T54" fmla="*/ 25 w 294"/>
                <a:gd name="T55" fmla="*/ 66 h 113"/>
                <a:gd name="T56" fmla="*/ 16 w 294"/>
                <a:gd name="T57" fmla="*/ 62 h 113"/>
                <a:gd name="T58" fmla="*/ 12 w 294"/>
                <a:gd name="T59" fmla="*/ 68 h 113"/>
                <a:gd name="T60" fmla="*/ 25 w 294"/>
                <a:gd name="T61" fmla="*/ 72 h 113"/>
                <a:gd name="T62" fmla="*/ 29 w 294"/>
                <a:gd name="T63" fmla="*/ 84 h 113"/>
                <a:gd name="T64" fmla="*/ 29 w 294"/>
                <a:gd name="T65" fmla="*/ 93 h 113"/>
                <a:gd name="T66" fmla="*/ 33 w 294"/>
                <a:gd name="T67" fmla="*/ 95 h 113"/>
                <a:gd name="T68" fmla="*/ 39 w 294"/>
                <a:gd name="T69" fmla="*/ 99 h 113"/>
                <a:gd name="T70" fmla="*/ 55 w 294"/>
                <a:gd name="T71" fmla="*/ 97 h 113"/>
                <a:gd name="T72" fmla="*/ 72 w 294"/>
                <a:gd name="T73" fmla="*/ 105 h 113"/>
                <a:gd name="T74" fmla="*/ 80 w 294"/>
                <a:gd name="T75" fmla="*/ 95 h 113"/>
                <a:gd name="T76" fmla="*/ 109 w 294"/>
                <a:gd name="T77" fmla="*/ 109 h 113"/>
                <a:gd name="T78" fmla="*/ 135 w 294"/>
                <a:gd name="T79" fmla="*/ 99 h 113"/>
                <a:gd name="T80" fmla="*/ 156 w 294"/>
                <a:gd name="T81" fmla="*/ 97 h 113"/>
                <a:gd name="T82" fmla="*/ 162 w 294"/>
                <a:gd name="T83" fmla="*/ 101 h 113"/>
                <a:gd name="T84" fmla="*/ 164 w 294"/>
                <a:gd name="T85" fmla="*/ 111 h 113"/>
                <a:gd name="T86" fmla="*/ 168 w 294"/>
                <a:gd name="T87" fmla="*/ 101 h 113"/>
                <a:gd name="T88" fmla="*/ 179 w 294"/>
                <a:gd name="T89" fmla="*/ 99 h 113"/>
                <a:gd name="T90" fmla="*/ 197 w 294"/>
                <a:gd name="T91" fmla="*/ 93 h 113"/>
                <a:gd name="T92" fmla="*/ 218 w 294"/>
                <a:gd name="T93" fmla="*/ 97 h 113"/>
                <a:gd name="T94" fmla="*/ 244 w 294"/>
                <a:gd name="T95" fmla="*/ 90 h 113"/>
                <a:gd name="T96" fmla="*/ 257 w 294"/>
                <a:gd name="T97" fmla="*/ 88 h 113"/>
                <a:gd name="T98" fmla="*/ 269 w 294"/>
                <a:gd name="T99" fmla="*/ 84 h 113"/>
                <a:gd name="T100" fmla="*/ 283 w 294"/>
                <a:gd name="T101" fmla="*/ 86 h 113"/>
                <a:gd name="T102" fmla="*/ 287 w 294"/>
                <a:gd name="T103" fmla="*/ 90 h 113"/>
                <a:gd name="T104" fmla="*/ 10 w 294"/>
                <a:gd name="T105" fmla="*/ 27 h 113"/>
                <a:gd name="T106" fmla="*/ 8 w 294"/>
                <a:gd name="T107" fmla="*/ 35 h 113"/>
                <a:gd name="T108" fmla="*/ 27 w 294"/>
                <a:gd name="T109" fmla="*/ 19 h 113"/>
                <a:gd name="T110" fmla="*/ 49 w 294"/>
                <a:gd name="T111" fmla="*/ 16 h 113"/>
                <a:gd name="T112" fmla="*/ 31 w 294"/>
                <a:gd name="T113" fmla="*/ 2 h 113"/>
                <a:gd name="T114" fmla="*/ 23 w 294"/>
                <a:gd name="T115" fmla="*/ 0 h 113"/>
                <a:gd name="T116" fmla="*/ 12 w 294"/>
                <a:gd name="T117" fmla="*/ 2 h 113"/>
                <a:gd name="T118" fmla="*/ 10 w 294"/>
                <a:gd name="T119" fmla="*/ 8 h 113"/>
                <a:gd name="T120" fmla="*/ 10 w 294"/>
                <a:gd name="T121" fmla="*/ 16 h 113"/>
                <a:gd name="T122" fmla="*/ 6 w 294"/>
                <a:gd name="T123" fmla="*/ 25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4" h="113">
                  <a:moveTo>
                    <a:pt x="4" y="33"/>
                  </a:moveTo>
                  <a:lnTo>
                    <a:pt x="2" y="33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3"/>
                  </a:lnTo>
                  <a:close/>
                  <a:moveTo>
                    <a:pt x="292" y="86"/>
                  </a:moveTo>
                  <a:lnTo>
                    <a:pt x="294" y="86"/>
                  </a:lnTo>
                  <a:lnTo>
                    <a:pt x="294" y="86"/>
                  </a:lnTo>
                  <a:lnTo>
                    <a:pt x="292" y="84"/>
                  </a:lnTo>
                  <a:lnTo>
                    <a:pt x="289" y="84"/>
                  </a:lnTo>
                  <a:lnTo>
                    <a:pt x="289" y="82"/>
                  </a:lnTo>
                  <a:lnTo>
                    <a:pt x="289" y="82"/>
                  </a:lnTo>
                  <a:lnTo>
                    <a:pt x="289" y="80"/>
                  </a:lnTo>
                  <a:lnTo>
                    <a:pt x="289" y="80"/>
                  </a:lnTo>
                  <a:lnTo>
                    <a:pt x="287" y="80"/>
                  </a:lnTo>
                  <a:lnTo>
                    <a:pt x="287" y="78"/>
                  </a:lnTo>
                  <a:lnTo>
                    <a:pt x="289" y="78"/>
                  </a:lnTo>
                  <a:lnTo>
                    <a:pt x="287" y="78"/>
                  </a:lnTo>
                  <a:lnTo>
                    <a:pt x="285" y="76"/>
                  </a:lnTo>
                  <a:lnTo>
                    <a:pt x="285" y="74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2"/>
                  </a:lnTo>
                  <a:lnTo>
                    <a:pt x="283" y="70"/>
                  </a:lnTo>
                  <a:lnTo>
                    <a:pt x="283" y="70"/>
                  </a:lnTo>
                  <a:lnTo>
                    <a:pt x="283" y="68"/>
                  </a:lnTo>
                  <a:lnTo>
                    <a:pt x="283" y="68"/>
                  </a:lnTo>
                  <a:lnTo>
                    <a:pt x="285" y="66"/>
                  </a:lnTo>
                  <a:lnTo>
                    <a:pt x="285" y="66"/>
                  </a:lnTo>
                  <a:lnTo>
                    <a:pt x="285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4"/>
                  </a:lnTo>
                  <a:lnTo>
                    <a:pt x="283" y="62"/>
                  </a:lnTo>
                  <a:lnTo>
                    <a:pt x="281" y="60"/>
                  </a:lnTo>
                  <a:lnTo>
                    <a:pt x="281" y="60"/>
                  </a:lnTo>
                  <a:lnTo>
                    <a:pt x="281" y="58"/>
                  </a:lnTo>
                  <a:lnTo>
                    <a:pt x="281" y="56"/>
                  </a:lnTo>
                  <a:lnTo>
                    <a:pt x="279" y="56"/>
                  </a:lnTo>
                  <a:lnTo>
                    <a:pt x="279" y="53"/>
                  </a:lnTo>
                  <a:lnTo>
                    <a:pt x="279" y="53"/>
                  </a:lnTo>
                  <a:lnTo>
                    <a:pt x="279" y="53"/>
                  </a:lnTo>
                  <a:lnTo>
                    <a:pt x="279" y="51"/>
                  </a:lnTo>
                  <a:lnTo>
                    <a:pt x="279" y="51"/>
                  </a:lnTo>
                  <a:lnTo>
                    <a:pt x="279" y="51"/>
                  </a:lnTo>
                  <a:lnTo>
                    <a:pt x="277" y="49"/>
                  </a:lnTo>
                  <a:lnTo>
                    <a:pt x="277" y="49"/>
                  </a:lnTo>
                  <a:lnTo>
                    <a:pt x="277" y="47"/>
                  </a:lnTo>
                  <a:lnTo>
                    <a:pt x="277" y="47"/>
                  </a:lnTo>
                  <a:lnTo>
                    <a:pt x="277" y="47"/>
                  </a:lnTo>
                  <a:lnTo>
                    <a:pt x="277" y="47"/>
                  </a:lnTo>
                  <a:lnTo>
                    <a:pt x="277" y="47"/>
                  </a:lnTo>
                  <a:lnTo>
                    <a:pt x="279" y="47"/>
                  </a:lnTo>
                  <a:lnTo>
                    <a:pt x="281" y="47"/>
                  </a:lnTo>
                  <a:lnTo>
                    <a:pt x="281" y="45"/>
                  </a:lnTo>
                  <a:lnTo>
                    <a:pt x="281" y="41"/>
                  </a:lnTo>
                  <a:lnTo>
                    <a:pt x="283" y="41"/>
                  </a:lnTo>
                  <a:lnTo>
                    <a:pt x="283" y="39"/>
                  </a:lnTo>
                  <a:lnTo>
                    <a:pt x="285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5" y="41"/>
                  </a:lnTo>
                  <a:lnTo>
                    <a:pt x="283" y="37"/>
                  </a:lnTo>
                  <a:lnTo>
                    <a:pt x="281" y="35"/>
                  </a:lnTo>
                  <a:lnTo>
                    <a:pt x="279" y="37"/>
                  </a:lnTo>
                  <a:lnTo>
                    <a:pt x="277" y="37"/>
                  </a:lnTo>
                  <a:lnTo>
                    <a:pt x="275" y="37"/>
                  </a:lnTo>
                  <a:lnTo>
                    <a:pt x="273" y="37"/>
                  </a:lnTo>
                  <a:lnTo>
                    <a:pt x="271" y="35"/>
                  </a:lnTo>
                  <a:lnTo>
                    <a:pt x="269" y="35"/>
                  </a:lnTo>
                  <a:lnTo>
                    <a:pt x="269" y="35"/>
                  </a:lnTo>
                  <a:lnTo>
                    <a:pt x="269" y="35"/>
                  </a:lnTo>
                  <a:lnTo>
                    <a:pt x="269" y="33"/>
                  </a:lnTo>
                  <a:lnTo>
                    <a:pt x="267" y="31"/>
                  </a:lnTo>
                  <a:lnTo>
                    <a:pt x="267" y="31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69" y="27"/>
                  </a:lnTo>
                  <a:lnTo>
                    <a:pt x="269" y="25"/>
                  </a:lnTo>
                  <a:lnTo>
                    <a:pt x="269" y="25"/>
                  </a:lnTo>
                  <a:lnTo>
                    <a:pt x="267" y="23"/>
                  </a:lnTo>
                  <a:lnTo>
                    <a:pt x="267" y="21"/>
                  </a:lnTo>
                  <a:lnTo>
                    <a:pt x="265" y="21"/>
                  </a:lnTo>
                  <a:lnTo>
                    <a:pt x="265" y="19"/>
                  </a:lnTo>
                  <a:lnTo>
                    <a:pt x="263" y="19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1" y="16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7" y="12"/>
                  </a:lnTo>
                  <a:lnTo>
                    <a:pt x="255" y="10"/>
                  </a:lnTo>
                  <a:lnTo>
                    <a:pt x="253" y="10"/>
                  </a:lnTo>
                  <a:lnTo>
                    <a:pt x="253" y="8"/>
                  </a:lnTo>
                  <a:lnTo>
                    <a:pt x="253" y="8"/>
                  </a:lnTo>
                  <a:lnTo>
                    <a:pt x="250" y="8"/>
                  </a:lnTo>
                  <a:lnTo>
                    <a:pt x="250" y="8"/>
                  </a:lnTo>
                  <a:lnTo>
                    <a:pt x="250" y="8"/>
                  </a:lnTo>
                  <a:lnTo>
                    <a:pt x="248" y="8"/>
                  </a:lnTo>
                  <a:lnTo>
                    <a:pt x="248" y="10"/>
                  </a:lnTo>
                  <a:lnTo>
                    <a:pt x="248" y="10"/>
                  </a:lnTo>
                  <a:lnTo>
                    <a:pt x="246" y="10"/>
                  </a:lnTo>
                  <a:lnTo>
                    <a:pt x="244" y="10"/>
                  </a:lnTo>
                  <a:lnTo>
                    <a:pt x="244" y="10"/>
                  </a:lnTo>
                  <a:lnTo>
                    <a:pt x="242" y="10"/>
                  </a:lnTo>
                  <a:lnTo>
                    <a:pt x="240" y="10"/>
                  </a:lnTo>
                  <a:lnTo>
                    <a:pt x="238" y="10"/>
                  </a:lnTo>
                  <a:lnTo>
                    <a:pt x="238" y="10"/>
                  </a:lnTo>
                  <a:lnTo>
                    <a:pt x="236" y="10"/>
                  </a:lnTo>
                  <a:lnTo>
                    <a:pt x="234" y="10"/>
                  </a:lnTo>
                  <a:lnTo>
                    <a:pt x="234" y="10"/>
                  </a:lnTo>
                  <a:lnTo>
                    <a:pt x="232" y="12"/>
                  </a:lnTo>
                  <a:lnTo>
                    <a:pt x="228" y="14"/>
                  </a:lnTo>
                  <a:lnTo>
                    <a:pt x="226" y="14"/>
                  </a:lnTo>
                  <a:lnTo>
                    <a:pt x="224" y="16"/>
                  </a:lnTo>
                  <a:lnTo>
                    <a:pt x="222" y="16"/>
                  </a:lnTo>
                  <a:lnTo>
                    <a:pt x="216" y="21"/>
                  </a:lnTo>
                  <a:lnTo>
                    <a:pt x="214" y="21"/>
                  </a:lnTo>
                  <a:lnTo>
                    <a:pt x="211" y="19"/>
                  </a:lnTo>
                  <a:lnTo>
                    <a:pt x="211" y="21"/>
                  </a:lnTo>
                  <a:lnTo>
                    <a:pt x="209" y="19"/>
                  </a:lnTo>
                  <a:lnTo>
                    <a:pt x="203" y="16"/>
                  </a:lnTo>
                  <a:lnTo>
                    <a:pt x="195" y="19"/>
                  </a:lnTo>
                  <a:lnTo>
                    <a:pt x="191" y="21"/>
                  </a:lnTo>
                  <a:lnTo>
                    <a:pt x="189" y="21"/>
                  </a:lnTo>
                  <a:lnTo>
                    <a:pt x="181" y="19"/>
                  </a:lnTo>
                  <a:lnTo>
                    <a:pt x="179" y="19"/>
                  </a:lnTo>
                  <a:lnTo>
                    <a:pt x="174" y="16"/>
                  </a:lnTo>
                  <a:lnTo>
                    <a:pt x="168" y="16"/>
                  </a:lnTo>
                  <a:lnTo>
                    <a:pt x="166" y="14"/>
                  </a:lnTo>
                  <a:lnTo>
                    <a:pt x="164" y="12"/>
                  </a:lnTo>
                  <a:lnTo>
                    <a:pt x="162" y="12"/>
                  </a:lnTo>
                  <a:lnTo>
                    <a:pt x="160" y="12"/>
                  </a:lnTo>
                  <a:lnTo>
                    <a:pt x="160" y="14"/>
                  </a:lnTo>
                  <a:lnTo>
                    <a:pt x="158" y="14"/>
                  </a:lnTo>
                  <a:lnTo>
                    <a:pt x="156" y="12"/>
                  </a:lnTo>
                  <a:lnTo>
                    <a:pt x="154" y="12"/>
                  </a:lnTo>
                  <a:lnTo>
                    <a:pt x="152" y="6"/>
                  </a:lnTo>
                  <a:lnTo>
                    <a:pt x="152" y="6"/>
                  </a:lnTo>
                  <a:lnTo>
                    <a:pt x="150" y="6"/>
                  </a:lnTo>
                  <a:lnTo>
                    <a:pt x="146" y="8"/>
                  </a:lnTo>
                  <a:lnTo>
                    <a:pt x="142" y="6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33" y="2"/>
                  </a:lnTo>
                  <a:lnTo>
                    <a:pt x="125" y="2"/>
                  </a:lnTo>
                  <a:lnTo>
                    <a:pt x="113" y="0"/>
                  </a:lnTo>
                  <a:lnTo>
                    <a:pt x="111" y="0"/>
                  </a:lnTo>
                  <a:lnTo>
                    <a:pt x="107" y="2"/>
                  </a:lnTo>
                  <a:lnTo>
                    <a:pt x="101" y="4"/>
                  </a:lnTo>
                  <a:lnTo>
                    <a:pt x="96" y="6"/>
                  </a:lnTo>
                  <a:lnTo>
                    <a:pt x="94" y="8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2" y="16"/>
                  </a:lnTo>
                  <a:lnTo>
                    <a:pt x="76" y="16"/>
                  </a:lnTo>
                  <a:lnTo>
                    <a:pt x="68" y="16"/>
                  </a:lnTo>
                  <a:lnTo>
                    <a:pt x="62" y="16"/>
                  </a:lnTo>
                  <a:lnTo>
                    <a:pt x="53" y="14"/>
                  </a:lnTo>
                  <a:lnTo>
                    <a:pt x="51" y="14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9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3" y="23"/>
                  </a:lnTo>
                  <a:lnTo>
                    <a:pt x="55" y="23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2" y="25"/>
                  </a:lnTo>
                  <a:lnTo>
                    <a:pt x="57" y="25"/>
                  </a:lnTo>
                  <a:lnTo>
                    <a:pt x="51" y="25"/>
                  </a:lnTo>
                  <a:lnTo>
                    <a:pt x="49" y="25"/>
                  </a:lnTo>
                  <a:lnTo>
                    <a:pt x="47" y="27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9" y="29"/>
                  </a:lnTo>
                  <a:lnTo>
                    <a:pt x="51" y="29"/>
                  </a:lnTo>
                  <a:lnTo>
                    <a:pt x="49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39" y="29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1" y="31"/>
                  </a:lnTo>
                  <a:lnTo>
                    <a:pt x="27" y="31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3" y="29"/>
                  </a:lnTo>
                  <a:lnTo>
                    <a:pt x="21" y="31"/>
                  </a:lnTo>
                  <a:lnTo>
                    <a:pt x="16" y="31"/>
                  </a:lnTo>
                  <a:lnTo>
                    <a:pt x="12" y="33"/>
                  </a:lnTo>
                  <a:lnTo>
                    <a:pt x="10" y="37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8" y="41"/>
                  </a:lnTo>
                  <a:lnTo>
                    <a:pt x="8" y="43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12" y="45"/>
                  </a:lnTo>
                  <a:lnTo>
                    <a:pt x="14" y="45"/>
                  </a:lnTo>
                  <a:lnTo>
                    <a:pt x="18" y="43"/>
                  </a:lnTo>
                  <a:lnTo>
                    <a:pt x="21" y="43"/>
                  </a:lnTo>
                  <a:lnTo>
                    <a:pt x="21" y="45"/>
                  </a:lnTo>
                  <a:lnTo>
                    <a:pt x="18" y="45"/>
                  </a:lnTo>
                  <a:lnTo>
                    <a:pt x="16" y="47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8" y="51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1" y="58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21" y="62"/>
                  </a:lnTo>
                  <a:lnTo>
                    <a:pt x="21" y="64"/>
                  </a:lnTo>
                  <a:lnTo>
                    <a:pt x="23" y="64"/>
                  </a:lnTo>
                  <a:lnTo>
                    <a:pt x="25" y="64"/>
                  </a:lnTo>
                  <a:lnTo>
                    <a:pt x="25" y="66"/>
                  </a:lnTo>
                  <a:lnTo>
                    <a:pt x="21" y="66"/>
                  </a:lnTo>
                  <a:lnTo>
                    <a:pt x="18" y="66"/>
                  </a:lnTo>
                  <a:lnTo>
                    <a:pt x="18" y="6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6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2"/>
                  </a:lnTo>
                  <a:lnTo>
                    <a:pt x="14" y="62"/>
                  </a:lnTo>
                  <a:lnTo>
                    <a:pt x="14" y="60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8" y="68"/>
                  </a:lnTo>
                  <a:lnTo>
                    <a:pt x="21" y="70"/>
                  </a:lnTo>
                  <a:lnTo>
                    <a:pt x="21" y="72"/>
                  </a:lnTo>
                  <a:lnTo>
                    <a:pt x="23" y="72"/>
                  </a:lnTo>
                  <a:lnTo>
                    <a:pt x="25" y="72"/>
                  </a:lnTo>
                  <a:lnTo>
                    <a:pt x="27" y="72"/>
                  </a:lnTo>
                  <a:lnTo>
                    <a:pt x="27" y="74"/>
                  </a:lnTo>
                  <a:lnTo>
                    <a:pt x="27" y="78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5" y="80"/>
                  </a:lnTo>
                  <a:lnTo>
                    <a:pt x="27" y="82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6"/>
                  </a:lnTo>
                  <a:lnTo>
                    <a:pt x="31" y="86"/>
                  </a:lnTo>
                  <a:lnTo>
                    <a:pt x="33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90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0"/>
                  </a:lnTo>
                  <a:lnTo>
                    <a:pt x="35" y="90"/>
                  </a:lnTo>
                  <a:lnTo>
                    <a:pt x="41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1" y="93"/>
                  </a:lnTo>
                  <a:lnTo>
                    <a:pt x="39" y="95"/>
                  </a:lnTo>
                  <a:lnTo>
                    <a:pt x="39" y="95"/>
                  </a:lnTo>
                  <a:lnTo>
                    <a:pt x="33" y="95"/>
                  </a:lnTo>
                  <a:lnTo>
                    <a:pt x="33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3" y="97"/>
                  </a:lnTo>
                  <a:lnTo>
                    <a:pt x="35" y="97"/>
                  </a:lnTo>
                  <a:lnTo>
                    <a:pt x="37" y="97"/>
                  </a:lnTo>
                  <a:lnTo>
                    <a:pt x="41" y="97"/>
                  </a:lnTo>
                  <a:lnTo>
                    <a:pt x="39" y="97"/>
                  </a:lnTo>
                  <a:lnTo>
                    <a:pt x="39" y="99"/>
                  </a:lnTo>
                  <a:lnTo>
                    <a:pt x="41" y="99"/>
                  </a:lnTo>
                  <a:lnTo>
                    <a:pt x="43" y="97"/>
                  </a:lnTo>
                  <a:lnTo>
                    <a:pt x="43" y="95"/>
                  </a:lnTo>
                  <a:lnTo>
                    <a:pt x="47" y="95"/>
                  </a:lnTo>
                  <a:lnTo>
                    <a:pt x="51" y="97"/>
                  </a:lnTo>
                  <a:lnTo>
                    <a:pt x="51" y="97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5" y="97"/>
                  </a:lnTo>
                  <a:lnTo>
                    <a:pt x="55" y="99"/>
                  </a:lnTo>
                  <a:lnTo>
                    <a:pt x="55" y="99"/>
                  </a:lnTo>
                  <a:lnTo>
                    <a:pt x="57" y="101"/>
                  </a:lnTo>
                  <a:lnTo>
                    <a:pt x="57" y="103"/>
                  </a:lnTo>
                  <a:lnTo>
                    <a:pt x="57" y="105"/>
                  </a:lnTo>
                  <a:lnTo>
                    <a:pt x="60" y="105"/>
                  </a:lnTo>
                  <a:lnTo>
                    <a:pt x="66" y="107"/>
                  </a:lnTo>
                  <a:lnTo>
                    <a:pt x="68" y="107"/>
                  </a:lnTo>
                  <a:lnTo>
                    <a:pt x="72" y="105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6" y="105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78" y="95"/>
                  </a:lnTo>
                  <a:lnTo>
                    <a:pt x="80" y="95"/>
                  </a:lnTo>
                  <a:lnTo>
                    <a:pt x="84" y="95"/>
                  </a:lnTo>
                  <a:lnTo>
                    <a:pt x="88" y="95"/>
                  </a:lnTo>
                  <a:lnTo>
                    <a:pt x="90" y="95"/>
                  </a:lnTo>
                  <a:lnTo>
                    <a:pt x="96" y="99"/>
                  </a:lnTo>
                  <a:lnTo>
                    <a:pt x="101" y="101"/>
                  </a:lnTo>
                  <a:lnTo>
                    <a:pt x="103" y="101"/>
                  </a:lnTo>
                  <a:lnTo>
                    <a:pt x="105" y="105"/>
                  </a:lnTo>
                  <a:lnTo>
                    <a:pt x="107" y="107"/>
                  </a:lnTo>
                  <a:lnTo>
                    <a:pt x="109" y="109"/>
                  </a:lnTo>
                  <a:lnTo>
                    <a:pt x="113" y="109"/>
                  </a:lnTo>
                  <a:lnTo>
                    <a:pt x="115" y="109"/>
                  </a:lnTo>
                  <a:lnTo>
                    <a:pt x="117" y="109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7" y="107"/>
                  </a:lnTo>
                  <a:lnTo>
                    <a:pt x="131" y="105"/>
                  </a:lnTo>
                  <a:lnTo>
                    <a:pt x="131" y="103"/>
                  </a:lnTo>
                  <a:lnTo>
                    <a:pt x="135" y="99"/>
                  </a:lnTo>
                  <a:lnTo>
                    <a:pt x="140" y="95"/>
                  </a:lnTo>
                  <a:lnTo>
                    <a:pt x="142" y="95"/>
                  </a:lnTo>
                  <a:lnTo>
                    <a:pt x="142" y="95"/>
                  </a:lnTo>
                  <a:lnTo>
                    <a:pt x="144" y="97"/>
                  </a:lnTo>
                  <a:lnTo>
                    <a:pt x="148" y="99"/>
                  </a:lnTo>
                  <a:lnTo>
                    <a:pt x="152" y="99"/>
                  </a:lnTo>
                  <a:lnTo>
                    <a:pt x="154" y="99"/>
                  </a:lnTo>
                  <a:lnTo>
                    <a:pt x="156" y="99"/>
                  </a:lnTo>
                  <a:lnTo>
                    <a:pt x="156" y="97"/>
                  </a:lnTo>
                  <a:lnTo>
                    <a:pt x="156" y="97"/>
                  </a:lnTo>
                  <a:lnTo>
                    <a:pt x="158" y="95"/>
                  </a:lnTo>
                  <a:lnTo>
                    <a:pt x="158" y="95"/>
                  </a:lnTo>
                  <a:lnTo>
                    <a:pt x="162" y="93"/>
                  </a:lnTo>
                  <a:lnTo>
                    <a:pt x="162" y="95"/>
                  </a:lnTo>
                  <a:lnTo>
                    <a:pt x="164" y="95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2" y="101"/>
                  </a:lnTo>
                  <a:lnTo>
                    <a:pt x="160" y="103"/>
                  </a:lnTo>
                  <a:lnTo>
                    <a:pt x="158" y="105"/>
                  </a:lnTo>
                  <a:lnTo>
                    <a:pt x="160" y="107"/>
                  </a:lnTo>
                  <a:lnTo>
                    <a:pt x="162" y="109"/>
                  </a:lnTo>
                  <a:lnTo>
                    <a:pt x="160" y="111"/>
                  </a:lnTo>
                  <a:lnTo>
                    <a:pt x="162" y="111"/>
                  </a:lnTo>
                  <a:lnTo>
                    <a:pt x="164" y="113"/>
                  </a:lnTo>
                  <a:lnTo>
                    <a:pt x="164" y="113"/>
                  </a:lnTo>
                  <a:lnTo>
                    <a:pt x="164" y="111"/>
                  </a:lnTo>
                  <a:lnTo>
                    <a:pt x="166" y="111"/>
                  </a:lnTo>
                  <a:lnTo>
                    <a:pt x="166" y="109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5"/>
                  </a:lnTo>
                  <a:lnTo>
                    <a:pt x="170" y="105"/>
                  </a:lnTo>
                  <a:lnTo>
                    <a:pt x="170" y="105"/>
                  </a:lnTo>
                  <a:lnTo>
                    <a:pt x="170" y="105"/>
                  </a:lnTo>
                  <a:lnTo>
                    <a:pt x="168" y="101"/>
                  </a:lnTo>
                  <a:lnTo>
                    <a:pt x="170" y="101"/>
                  </a:lnTo>
                  <a:lnTo>
                    <a:pt x="170" y="97"/>
                  </a:lnTo>
                  <a:lnTo>
                    <a:pt x="170" y="95"/>
                  </a:lnTo>
                  <a:lnTo>
                    <a:pt x="170" y="95"/>
                  </a:lnTo>
                  <a:lnTo>
                    <a:pt x="172" y="95"/>
                  </a:lnTo>
                  <a:lnTo>
                    <a:pt x="174" y="97"/>
                  </a:lnTo>
                  <a:lnTo>
                    <a:pt x="177" y="97"/>
                  </a:lnTo>
                  <a:lnTo>
                    <a:pt x="177" y="99"/>
                  </a:lnTo>
                  <a:lnTo>
                    <a:pt x="179" y="99"/>
                  </a:lnTo>
                  <a:lnTo>
                    <a:pt x="181" y="99"/>
                  </a:lnTo>
                  <a:lnTo>
                    <a:pt x="183" y="99"/>
                  </a:lnTo>
                  <a:lnTo>
                    <a:pt x="185" y="97"/>
                  </a:lnTo>
                  <a:lnTo>
                    <a:pt x="187" y="97"/>
                  </a:lnTo>
                  <a:lnTo>
                    <a:pt x="189" y="97"/>
                  </a:lnTo>
                  <a:lnTo>
                    <a:pt x="189" y="95"/>
                  </a:lnTo>
                  <a:lnTo>
                    <a:pt x="193" y="93"/>
                  </a:lnTo>
                  <a:lnTo>
                    <a:pt x="195" y="93"/>
                  </a:lnTo>
                  <a:lnTo>
                    <a:pt x="197" y="93"/>
                  </a:lnTo>
                  <a:lnTo>
                    <a:pt x="197" y="95"/>
                  </a:lnTo>
                  <a:lnTo>
                    <a:pt x="199" y="95"/>
                  </a:lnTo>
                  <a:lnTo>
                    <a:pt x="201" y="97"/>
                  </a:lnTo>
                  <a:lnTo>
                    <a:pt x="203" y="97"/>
                  </a:lnTo>
                  <a:lnTo>
                    <a:pt x="205" y="97"/>
                  </a:lnTo>
                  <a:lnTo>
                    <a:pt x="207" y="97"/>
                  </a:lnTo>
                  <a:lnTo>
                    <a:pt x="211" y="97"/>
                  </a:lnTo>
                  <a:lnTo>
                    <a:pt x="214" y="97"/>
                  </a:lnTo>
                  <a:lnTo>
                    <a:pt x="218" y="97"/>
                  </a:lnTo>
                  <a:lnTo>
                    <a:pt x="222" y="95"/>
                  </a:lnTo>
                  <a:lnTo>
                    <a:pt x="228" y="90"/>
                  </a:lnTo>
                  <a:lnTo>
                    <a:pt x="232" y="88"/>
                  </a:lnTo>
                  <a:lnTo>
                    <a:pt x="232" y="88"/>
                  </a:lnTo>
                  <a:lnTo>
                    <a:pt x="236" y="88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0" y="90"/>
                  </a:lnTo>
                  <a:lnTo>
                    <a:pt x="244" y="90"/>
                  </a:lnTo>
                  <a:lnTo>
                    <a:pt x="246" y="88"/>
                  </a:lnTo>
                  <a:lnTo>
                    <a:pt x="248" y="88"/>
                  </a:lnTo>
                  <a:lnTo>
                    <a:pt x="253" y="86"/>
                  </a:lnTo>
                  <a:lnTo>
                    <a:pt x="253" y="86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7" y="88"/>
                  </a:lnTo>
                  <a:lnTo>
                    <a:pt x="259" y="88"/>
                  </a:lnTo>
                  <a:lnTo>
                    <a:pt x="261" y="86"/>
                  </a:lnTo>
                  <a:lnTo>
                    <a:pt x="261" y="84"/>
                  </a:lnTo>
                  <a:lnTo>
                    <a:pt x="263" y="84"/>
                  </a:lnTo>
                  <a:lnTo>
                    <a:pt x="263" y="84"/>
                  </a:lnTo>
                  <a:lnTo>
                    <a:pt x="265" y="84"/>
                  </a:lnTo>
                  <a:lnTo>
                    <a:pt x="267" y="84"/>
                  </a:lnTo>
                  <a:lnTo>
                    <a:pt x="269" y="84"/>
                  </a:lnTo>
                  <a:lnTo>
                    <a:pt x="269" y="84"/>
                  </a:lnTo>
                  <a:lnTo>
                    <a:pt x="271" y="86"/>
                  </a:lnTo>
                  <a:lnTo>
                    <a:pt x="273" y="86"/>
                  </a:lnTo>
                  <a:lnTo>
                    <a:pt x="275" y="86"/>
                  </a:lnTo>
                  <a:lnTo>
                    <a:pt x="275" y="86"/>
                  </a:lnTo>
                  <a:lnTo>
                    <a:pt x="279" y="86"/>
                  </a:lnTo>
                  <a:lnTo>
                    <a:pt x="279" y="86"/>
                  </a:lnTo>
                  <a:lnTo>
                    <a:pt x="281" y="86"/>
                  </a:lnTo>
                  <a:lnTo>
                    <a:pt x="281" y="86"/>
                  </a:lnTo>
                  <a:lnTo>
                    <a:pt x="283" y="86"/>
                  </a:lnTo>
                  <a:lnTo>
                    <a:pt x="283" y="86"/>
                  </a:lnTo>
                  <a:lnTo>
                    <a:pt x="283" y="86"/>
                  </a:lnTo>
                  <a:lnTo>
                    <a:pt x="283" y="88"/>
                  </a:lnTo>
                  <a:lnTo>
                    <a:pt x="285" y="90"/>
                  </a:lnTo>
                  <a:lnTo>
                    <a:pt x="285" y="90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0"/>
                  </a:lnTo>
                  <a:lnTo>
                    <a:pt x="287" y="90"/>
                  </a:lnTo>
                  <a:lnTo>
                    <a:pt x="289" y="88"/>
                  </a:lnTo>
                  <a:lnTo>
                    <a:pt x="289" y="88"/>
                  </a:lnTo>
                  <a:lnTo>
                    <a:pt x="289" y="88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4" y="88"/>
                  </a:lnTo>
                  <a:lnTo>
                    <a:pt x="294" y="88"/>
                  </a:lnTo>
                  <a:lnTo>
                    <a:pt x="292" y="86"/>
                  </a:lnTo>
                  <a:close/>
                  <a:moveTo>
                    <a:pt x="10" y="27"/>
                  </a:moveTo>
                  <a:lnTo>
                    <a:pt x="14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2" y="29"/>
                  </a:lnTo>
                  <a:lnTo>
                    <a:pt x="10" y="31"/>
                  </a:lnTo>
                  <a:lnTo>
                    <a:pt x="8" y="31"/>
                  </a:lnTo>
                  <a:lnTo>
                    <a:pt x="8" y="33"/>
                  </a:lnTo>
                  <a:lnTo>
                    <a:pt x="10" y="33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2" y="33"/>
                  </a:lnTo>
                  <a:lnTo>
                    <a:pt x="16" y="29"/>
                  </a:lnTo>
                  <a:lnTo>
                    <a:pt x="21" y="27"/>
                  </a:lnTo>
                  <a:lnTo>
                    <a:pt x="25" y="25"/>
                  </a:lnTo>
                  <a:lnTo>
                    <a:pt x="27" y="23"/>
                  </a:lnTo>
                  <a:lnTo>
                    <a:pt x="27" y="19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45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49" y="16"/>
                  </a:lnTo>
                  <a:lnTo>
                    <a:pt x="49" y="14"/>
                  </a:lnTo>
                  <a:lnTo>
                    <a:pt x="47" y="14"/>
                  </a:lnTo>
                  <a:lnTo>
                    <a:pt x="39" y="10"/>
                  </a:lnTo>
                  <a:lnTo>
                    <a:pt x="37" y="8"/>
                  </a:lnTo>
                  <a:lnTo>
                    <a:pt x="35" y="6"/>
                  </a:lnTo>
                  <a:lnTo>
                    <a:pt x="33" y="4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21"/>
                  </a:lnTo>
                  <a:lnTo>
                    <a:pt x="8" y="21"/>
                  </a:lnTo>
                  <a:lnTo>
                    <a:pt x="8" y="23"/>
                  </a:lnTo>
                  <a:lnTo>
                    <a:pt x="6" y="23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10" y="2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" name="Freeform 25">
              <a:extLst>
                <a:ext uri="{FF2B5EF4-FFF2-40B4-BE49-F238E27FC236}">
                  <a16:creationId xmlns:a16="http://schemas.microsoft.com/office/drawing/2014/main" id="{011B151B-BB55-E144-8698-34FE10037F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66907" y="2717378"/>
              <a:ext cx="73680" cy="156867"/>
            </a:xfrm>
            <a:custGeom>
              <a:avLst/>
              <a:gdLst>
                <a:gd name="T0" fmla="*/ 49 w 62"/>
                <a:gd name="T1" fmla="*/ 66 h 132"/>
                <a:gd name="T2" fmla="*/ 49 w 62"/>
                <a:gd name="T3" fmla="*/ 68 h 132"/>
                <a:gd name="T4" fmla="*/ 51 w 62"/>
                <a:gd name="T5" fmla="*/ 68 h 132"/>
                <a:gd name="T6" fmla="*/ 53 w 62"/>
                <a:gd name="T7" fmla="*/ 66 h 132"/>
                <a:gd name="T8" fmla="*/ 51 w 62"/>
                <a:gd name="T9" fmla="*/ 64 h 132"/>
                <a:gd name="T10" fmla="*/ 57 w 62"/>
                <a:gd name="T11" fmla="*/ 48 h 132"/>
                <a:gd name="T12" fmla="*/ 57 w 62"/>
                <a:gd name="T13" fmla="*/ 50 h 132"/>
                <a:gd name="T14" fmla="*/ 60 w 62"/>
                <a:gd name="T15" fmla="*/ 85 h 132"/>
                <a:gd name="T16" fmla="*/ 60 w 62"/>
                <a:gd name="T17" fmla="*/ 78 h 132"/>
                <a:gd name="T18" fmla="*/ 57 w 62"/>
                <a:gd name="T19" fmla="*/ 78 h 132"/>
                <a:gd name="T20" fmla="*/ 55 w 62"/>
                <a:gd name="T21" fmla="*/ 76 h 132"/>
                <a:gd name="T22" fmla="*/ 55 w 62"/>
                <a:gd name="T23" fmla="*/ 74 h 132"/>
                <a:gd name="T24" fmla="*/ 51 w 62"/>
                <a:gd name="T25" fmla="*/ 72 h 132"/>
                <a:gd name="T26" fmla="*/ 49 w 62"/>
                <a:gd name="T27" fmla="*/ 70 h 132"/>
                <a:gd name="T28" fmla="*/ 43 w 62"/>
                <a:gd name="T29" fmla="*/ 68 h 132"/>
                <a:gd name="T30" fmla="*/ 39 w 62"/>
                <a:gd name="T31" fmla="*/ 60 h 132"/>
                <a:gd name="T32" fmla="*/ 41 w 62"/>
                <a:gd name="T33" fmla="*/ 56 h 132"/>
                <a:gd name="T34" fmla="*/ 51 w 62"/>
                <a:gd name="T35" fmla="*/ 48 h 132"/>
                <a:gd name="T36" fmla="*/ 53 w 62"/>
                <a:gd name="T37" fmla="*/ 39 h 132"/>
                <a:gd name="T38" fmla="*/ 53 w 62"/>
                <a:gd name="T39" fmla="*/ 33 h 132"/>
                <a:gd name="T40" fmla="*/ 47 w 62"/>
                <a:gd name="T41" fmla="*/ 27 h 132"/>
                <a:gd name="T42" fmla="*/ 45 w 62"/>
                <a:gd name="T43" fmla="*/ 21 h 132"/>
                <a:gd name="T44" fmla="*/ 49 w 62"/>
                <a:gd name="T45" fmla="*/ 17 h 132"/>
                <a:gd name="T46" fmla="*/ 55 w 62"/>
                <a:gd name="T47" fmla="*/ 11 h 132"/>
                <a:gd name="T48" fmla="*/ 51 w 62"/>
                <a:gd name="T49" fmla="*/ 6 h 132"/>
                <a:gd name="T50" fmla="*/ 45 w 62"/>
                <a:gd name="T51" fmla="*/ 11 h 132"/>
                <a:gd name="T52" fmla="*/ 43 w 62"/>
                <a:gd name="T53" fmla="*/ 11 h 132"/>
                <a:gd name="T54" fmla="*/ 39 w 62"/>
                <a:gd name="T55" fmla="*/ 2 h 132"/>
                <a:gd name="T56" fmla="*/ 35 w 62"/>
                <a:gd name="T57" fmla="*/ 2 h 132"/>
                <a:gd name="T58" fmla="*/ 35 w 62"/>
                <a:gd name="T59" fmla="*/ 2 h 132"/>
                <a:gd name="T60" fmla="*/ 35 w 62"/>
                <a:gd name="T61" fmla="*/ 0 h 132"/>
                <a:gd name="T62" fmla="*/ 23 w 62"/>
                <a:gd name="T63" fmla="*/ 4 h 132"/>
                <a:gd name="T64" fmla="*/ 16 w 62"/>
                <a:gd name="T65" fmla="*/ 9 h 132"/>
                <a:gd name="T66" fmla="*/ 14 w 62"/>
                <a:gd name="T67" fmla="*/ 13 h 132"/>
                <a:gd name="T68" fmla="*/ 10 w 62"/>
                <a:gd name="T69" fmla="*/ 17 h 132"/>
                <a:gd name="T70" fmla="*/ 12 w 62"/>
                <a:gd name="T71" fmla="*/ 19 h 132"/>
                <a:gd name="T72" fmla="*/ 12 w 62"/>
                <a:gd name="T73" fmla="*/ 25 h 132"/>
                <a:gd name="T74" fmla="*/ 12 w 62"/>
                <a:gd name="T75" fmla="*/ 31 h 132"/>
                <a:gd name="T76" fmla="*/ 12 w 62"/>
                <a:gd name="T77" fmla="*/ 37 h 132"/>
                <a:gd name="T78" fmla="*/ 12 w 62"/>
                <a:gd name="T79" fmla="*/ 43 h 132"/>
                <a:gd name="T80" fmla="*/ 10 w 62"/>
                <a:gd name="T81" fmla="*/ 50 h 132"/>
                <a:gd name="T82" fmla="*/ 8 w 62"/>
                <a:gd name="T83" fmla="*/ 54 h 132"/>
                <a:gd name="T84" fmla="*/ 2 w 62"/>
                <a:gd name="T85" fmla="*/ 58 h 132"/>
                <a:gd name="T86" fmla="*/ 0 w 62"/>
                <a:gd name="T87" fmla="*/ 64 h 132"/>
                <a:gd name="T88" fmla="*/ 0 w 62"/>
                <a:gd name="T89" fmla="*/ 72 h 132"/>
                <a:gd name="T90" fmla="*/ 2 w 62"/>
                <a:gd name="T91" fmla="*/ 76 h 132"/>
                <a:gd name="T92" fmla="*/ 8 w 62"/>
                <a:gd name="T93" fmla="*/ 80 h 132"/>
                <a:gd name="T94" fmla="*/ 12 w 62"/>
                <a:gd name="T95" fmla="*/ 91 h 132"/>
                <a:gd name="T96" fmla="*/ 20 w 62"/>
                <a:gd name="T97" fmla="*/ 97 h 132"/>
                <a:gd name="T98" fmla="*/ 23 w 62"/>
                <a:gd name="T99" fmla="*/ 103 h 132"/>
                <a:gd name="T100" fmla="*/ 27 w 62"/>
                <a:gd name="T101" fmla="*/ 115 h 132"/>
                <a:gd name="T102" fmla="*/ 29 w 62"/>
                <a:gd name="T103" fmla="*/ 128 h 132"/>
                <a:gd name="T104" fmla="*/ 35 w 62"/>
                <a:gd name="T105" fmla="*/ 130 h 132"/>
                <a:gd name="T106" fmla="*/ 39 w 62"/>
                <a:gd name="T107" fmla="*/ 126 h 132"/>
                <a:gd name="T108" fmla="*/ 41 w 62"/>
                <a:gd name="T109" fmla="*/ 120 h 132"/>
                <a:gd name="T110" fmla="*/ 39 w 62"/>
                <a:gd name="T111" fmla="*/ 113 h 132"/>
                <a:gd name="T112" fmla="*/ 41 w 62"/>
                <a:gd name="T113" fmla="*/ 107 h 132"/>
                <a:gd name="T114" fmla="*/ 45 w 62"/>
                <a:gd name="T115" fmla="*/ 105 h 132"/>
                <a:gd name="T116" fmla="*/ 47 w 62"/>
                <a:gd name="T117" fmla="*/ 101 h 132"/>
                <a:gd name="T118" fmla="*/ 49 w 62"/>
                <a:gd name="T119" fmla="*/ 99 h 132"/>
                <a:gd name="T120" fmla="*/ 57 w 62"/>
                <a:gd name="T121" fmla="*/ 93 h 132"/>
                <a:gd name="T122" fmla="*/ 62 w 62"/>
                <a:gd name="T123" fmla="*/ 9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2" h="132">
                  <a:moveTo>
                    <a:pt x="51" y="64"/>
                  </a:moveTo>
                  <a:lnTo>
                    <a:pt x="49" y="66"/>
                  </a:lnTo>
                  <a:lnTo>
                    <a:pt x="49" y="66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3" y="68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1" y="64"/>
                  </a:lnTo>
                  <a:close/>
                  <a:moveTo>
                    <a:pt x="57" y="50"/>
                  </a:moveTo>
                  <a:lnTo>
                    <a:pt x="57" y="48"/>
                  </a:lnTo>
                  <a:lnTo>
                    <a:pt x="57" y="48"/>
                  </a:lnTo>
                  <a:lnTo>
                    <a:pt x="55" y="50"/>
                  </a:lnTo>
                  <a:lnTo>
                    <a:pt x="55" y="50"/>
                  </a:lnTo>
                  <a:lnTo>
                    <a:pt x="57" y="50"/>
                  </a:lnTo>
                  <a:close/>
                  <a:moveTo>
                    <a:pt x="62" y="91"/>
                  </a:moveTo>
                  <a:lnTo>
                    <a:pt x="60" y="89"/>
                  </a:lnTo>
                  <a:lnTo>
                    <a:pt x="60" y="85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6"/>
                  </a:lnTo>
                  <a:lnTo>
                    <a:pt x="57" y="78"/>
                  </a:lnTo>
                  <a:lnTo>
                    <a:pt x="55" y="76"/>
                  </a:lnTo>
                  <a:lnTo>
                    <a:pt x="55" y="76"/>
                  </a:lnTo>
                  <a:lnTo>
                    <a:pt x="55" y="76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5" y="74"/>
                  </a:lnTo>
                  <a:lnTo>
                    <a:pt x="53" y="70"/>
                  </a:lnTo>
                  <a:lnTo>
                    <a:pt x="51" y="70"/>
                  </a:lnTo>
                  <a:lnTo>
                    <a:pt x="51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0"/>
                  </a:lnTo>
                  <a:lnTo>
                    <a:pt x="49" y="68"/>
                  </a:lnTo>
                  <a:lnTo>
                    <a:pt x="45" y="70"/>
                  </a:lnTo>
                  <a:lnTo>
                    <a:pt x="43" y="68"/>
                  </a:lnTo>
                  <a:lnTo>
                    <a:pt x="39" y="66"/>
                  </a:lnTo>
                  <a:lnTo>
                    <a:pt x="39" y="62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41" y="56"/>
                  </a:lnTo>
                  <a:lnTo>
                    <a:pt x="45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1" y="43"/>
                  </a:lnTo>
                  <a:lnTo>
                    <a:pt x="55" y="39"/>
                  </a:lnTo>
                  <a:lnTo>
                    <a:pt x="53" y="39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3" y="33"/>
                  </a:lnTo>
                  <a:lnTo>
                    <a:pt x="49" y="31"/>
                  </a:lnTo>
                  <a:lnTo>
                    <a:pt x="47" y="29"/>
                  </a:lnTo>
                  <a:lnTo>
                    <a:pt x="47" y="27"/>
                  </a:lnTo>
                  <a:lnTo>
                    <a:pt x="45" y="25"/>
                  </a:lnTo>
                  <a:lnTo>
                    <a:pt x="45" y="23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7" y="19"/>
                  </a:lnTo>
                  <a:lnTo>
                    <a:pt x="49" y="17"/>
                  </a:lnTo>
                  <a:lnTo>
                    <a:pt x="51" y="13"/>
                  </a:lnTo>
                  <a:lnTo>
                    <a:pt x="53" y="11"/>
                  </a:lnTo>
                  <a:lnTo>
                    <a:pt x="55" y="11"/>
                  </a:lnTo>
                  <a:lnTo>
                    <a:pt x="53" y="9"/>
                  </a:lnTo>
                  <a:lnTo>
                    <a:pt x="53" y="6"/>
                  </a:lnTo>
                  <a:lnTo>
                    <a:pt x="51" y="6"/>
                  </a:lnTo>
                  <a:lnTo>
                    <a:pt x="49" y="9"/>
                  </a:lnTo>
                  <a:lnTo>
                    <a:pt x="47" y="9"/>
                  </a:lnTo>
                  <a:lnTo>
                    <a:pt x="45" y="11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1" y="6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25" y="4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11"/>
                  </a:lnTo>
                  <a:lnTo>
                    <a:pt x="14" y="11"/>
                  </a:lnTo>
                  <a:lnTo>
                    <a:pt x="14" y="13"/>
                  </a:lnTo>
                  <a:lnTo>
                    <a:pt x="12" y="15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2" y="17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23"/>
                  </a:lnTo>
                  <a:lnTo>
                    <a:pt x="12" y="25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7"/>
                  </a:lnTo>
                  <a:lnTo>
                    <a:pt x="12" y="39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8" y="52"/>
                  </a:lnTo>
                  <a:lnTo>
                    <a:pt x="8" y="54"/>
                  </a:lnTo>
                  <a:lnTo>
                    <a:pt x="6" y="54"/>
                  </a:lnTo>
                  <a:lnTo>
                    <a:pt x="4" y="56"/>
                  </a:lnTo>
                  <a:lnTo>
                    <a:pt x="2" y="58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2" y="74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4" y="78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10" y="83"/>
                  </a:lnTo>
                  <a:lnTo>
                    <a:pt x="10" y="87"/>
                  </a:lnTo>
                  <a:lnTo>
                    <a:pt x="12" y="91"/>
                  </a:lnTo>
                  <a:lnTo>
                    <a:pt x="14" y="93"/>
                  </a:lnTo>
                  <a:lnTo>
                    <a:pt x="16" y="95"/>
                  </a:lnTo>
                  <a:lnTo>
                    <a:pt x="20" y="97"/>
                  </a:lnTo>
                  <a:lnTo>
                    <a:pt x="23" y="97"/>
                  </a:lnTo>
                  <a:lnTo>
                    <a:pt x="23" y="99"/>
                  </a:lnTo>
                  <a:lnTo>
                    <a:pt x="23" y="103"/>
                  </a:lnTo>
                  <a:lnTo>
                    <a:pt x="25" y="107"/>
                  </a:lnTo>
                  <a:lnTo>
                    <a:pt x="25" y="111"/>
                  </a:lnTo>
                  <a:lnTo>
                    <a:pt x="27" y="115"/>
                  </a:lnTo>
                  <a:lnTo>
                    <a:pt x="27" y="122"/>
                  </a:lnTo>
                  <a:lnTo>
                    <a:pt x="29" y="124"/>
                  </a:lnTo>
                  <a:lnTo>
                    <a:pt x="29" y="128"/>
                  </a:lnTo>
                  <a:lnTo>
                    <a:pt x="31" y="132"/>
                  </a:lnTo>
                  <a:lnTo>
                    <a:pt x="31" y="132"/>
                  </a:lnTo>
                  <a:lnTo>
                    <a:pt x="35" y="130"/>
                  </a:lnTo>
                  <a:lnTo>
                    <a:pt x="35" y="130"/>
                  </a:lnTo>
                  <a:lnTo>
                    <a:pt x="37" y="128"/>
                  </a:lnTo>
                  <a:lnTo>
                    <a:pt x="39" y="126"/>
                  </a:lnTo>
                  <a:lnTo>
                    <a:pt x="39" y="124"/>
                  </a:lnTo>
                  <a:lnTo>
                    <a:pt x="41" y="122"/>
                  </a:lnTo>
                  <a:lnTo>
                    <a:pt x="41" y="120"/>
                  </a:lnTo>
                  <a:lnTo>
                    <a:pt x="41" y="120"/>
                  </a:lnTo>
                  <a:lnTo>
                    <a:pt x="41" y="117"/>
                  </a:lnTo>
                  <a:lnTo>
                    <a:pt x="39" y="113"/>
                  </a:lnTo>
                  <a:lnTo>
                    <a:pt x="39" y="109"/>
                  </a:lnTo>
                  <a:lnTo>
                    <a:pt x="39" y="107"/>
                  </a:lnTo>
                  <a:lnTo>
                    <a:pt x="41" y="107"/>
                  </a:lnTo>
                  <a:lnTo>
                    <a:pt x="41" y="105"/>
                  </a:lnTo>
                  <a:lnTo>
                    <a:pt x="41" y="105"/>
                  </a:lnTo>
                  <a:lnTo>
                    <a:pt x="45" y="105"/>
                  </a:lnTo>
                  <a:lnTo>
                    <a:pt x="45" y="103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53" y="97"/>
                  </a:lnTo>
                  <a:lnTo>
                    <a:pt x="55" y="95"/>
                  </a:lnTo>
                  <a:lnTo>
                    <a:pt x="57" y="93"/>
                  </a:lnTo>
                  <a:lnTo>
                    <a:pt x="62" y="93"/>
                  </a:lnTo>
                  <a:lnTo>
                    <a:pt x="62" y="91"/>
                  </a:lnTo>
                  <a:lnTo>
                    <a:pt x="62" y="91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" name="Freeform 28">
              <a:extLst>
                <a:ext uri="{FF2B5EF4-FFF2-40B4-BE49-F238E27FC236}">
                  <a16:creationId xmlns:a16="http://schemas.microsoft.com/office/drawing/2014/main" id="{02A59451-DF7C-2D41-8E11-9E9A41241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8358" y="3291370"/>
              <a:ext cx="33275" cy="110520"/>
            </a:xfrm>
            <a:custGeom>
              <a:avLst/>
              <a:gdLst>
                <a:gd name="T0" fmla="*/ 26 w 28"/>
                <a:gd name="T1" fmla="*/ 83 h 93"/>
                <a:gd name="T2" fmla="*/ 26 w 28"/>
                <a:gd name="T3" fmla="*/ 81 h 93"/>
                <a:gd name="T4" fmla="*/ 24 w 28"/>
                <a:gd name="T5" fmla="*/ 77 h 93"/>
                <a:gd name="T6" fmla="*/ 26 w 28"/>
                <a:gd name="T7" fmla="*/ 62 h 93"/>
                <a:gd name="T8" fmla="*/ 26 w 28"/>
                <a:gd name="T9" fmla="*/ 48 h 93"/>
                <a:gd name="T10" fmla="*/ 26 w 28"/>
                <a:gd name="T11" fmla="*/ 35 h 93"/>
                <a:gd name="T12" fmla="*/ 22 w 28"/>
                <a:gd name="T13" fmla="*/ 31 h 93"/>
                <a:gd name="T14" fmla="*/ 22 w 28"/>
                <a:gd name="T15" fmla="*/ 21 h 93"/>
                <a:gd name="T16" fmla="*/ 16 w 28"/>
                <a:gd name="T17" fmla="*/ 17 h 93"/>
                <a:gd name="T18" fmla="*/ 12 w 28"/>
                <a:gd name="T19" fmla="*/ 13 h 93"/>
                <a:gd name="T20" fmla="*/ 14 w 28"/>
                <a:gd name="T21" fmla="*/ 5 h 93"/>
                <a:gd name="T22" fmla="*/ 10 w 28"/>
                <a:gd name="T23" fmla="*/ 3 h 93"/>
                <a:gd name="T24" fmla="*/ 8 w 28"/>
                <a:gd name="T25" fmla="*/ 3 h 93"/>
                <a:gd name="T26" fmla="*/ 0 w 28"/>
                <a:gd name="T27" fmla="*/ 0 h 93"/>
                <a:gd name="T28" fmla="*/ 0 w 28"/>
                <a:gd name="T29" fmla="*/ 7 h 93"/>
                <a:gd name="T30" fmla="*/ 0 w 28"/>
                <a:gd name="T31" fmla="*/ 9 h 93"/>
                <a:gd name="T32" fmla="*/ 4 w 28"/>
                <a:gd name="T33" fmla="*/ 13 h 93"/>
                <a:gd name="T34" fmla="*/ 6 w 28"/>
                <a:gd name="T35" fmla="*/ 15 h 93"/>
                <a:gd name="T36" fmla="*/ 6 w 28"/>
                <a:gd name="T37" fmla="*/ 21 h 93"/>
                <a:gd name="T38" fmla="*/ 6 w 28"/>
                <a:gd name="T39" fmla="*/ 27 h 93"/>
                <a:gd name="T40" fmla="*/ 4 w 28"/>
                <a:gd name="T41" fmla="*/ 27 h 93"/>
                <a:gd name="T42" fmla="*/ 6 w 28"/>
                <a:gd name="T43" fmla="*/ 27 h 93"/>
                <a:gd name="T44" fmla="*/ 4 w 28"/>
                <a:gd name="T45" fmla="*/ 29 h 93"/>
                <a:gd name="T46" fmla="*/ 4 w 28"/>
                <a:gd name="T47" fmla="*/ 31 h 93"/>
                <a:gd name="T48" fmla="*/ 6 w 28"/>
                <a:gd name="T49" fmla="*/ 29 h 93"/>
                <a:gd name="T50" fmla="*/ 8 w 28"/>
                <a:gd name="T51" fmla="*/ 31 h 93"/>
                <a:gd name="T52" fmla="*/ 8 w 28"/>
                <a:gd name="T53" fmla="*/ 37 h 93"/>
                <a:gd name="T54" fmla="*/ 8 w 28"/>
                <a:gd name="T55" fmla="*/ 42 h 93"/>
                <a:gd name="T56" fmla="*/ 6 w 28"/>
                <a:gd name="T57" fmla="*/ 44 h 93"/>
                <a:gd name="T58" fmla="*/ 10 w 28"/>
                <a:gd name="T59" fmla="*/ 48 h 93"/>
                <a:gd name="T60" fmla="*/ 10 w 28"/>
                <a:gd name="T61" fmla="*/ 52 h 93"/>
                <a:gd name="T62" fmla="*/ 10 w 28"/>
                <a:gd name="T63" fmla="*/ 62 h 93"/>
                <a:gd name="T64" fmla="*/ 8 w 28"/>
                <a:gd name="T65" fmla="*/ 68 h 93"/>
                <a:gd name="T66" fmla="*/ 10 w 28"/>
                <a:gd name="T67" fmla="*/ 68 h 93"/>
                <a:gd name="T68" fmla="*/ 10 w 28"/>
                <a:gd name="T69" fmla="*/ 75 h 93"/>
                <a:gd name="T70" fmla="*/ 8 w 28"/>
                <a:gd name="T71" fmla="*/ 77 h 93"/>
                <a:gd name="T72" fmla="*/ 8 w 28"/>
                <a:gd name="T73" fmla="*/ 79 h 93"/>
                <a:gd name="T74" fmla="*/ 12 w 28"/>
                <a:gd name="T75" fmla="*/ 83 h 93"/>
                <a:gd name="T76" fmla="*/ 12 w 28"/>
                <a:gd name="T77" fmla="*/ 85 h 93"/>
                <a:gd name="T78" fmla="*/ 16 w 28"/>
                <a:gd name="T79" fmla="*/ 89 h 93"/>
                <a:gd name="T80" fmla="*/ 18 w 28"/>
                <a:gd name="T81" fmla="*/ 91 h 93"/>
                <a:gd name="T82" fmla="*/ 18 w 28"/>
                <a:gd name="T83" fmla="*/ 93 h 93"/>
                <a:gd name="T84" fmla="*/ 26 w 28"/>
                <a:gd name="T85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" h="93">
                  <a:moveTo>
                    <a:pt x="28" y="89"/>
                  </a:moveTo>
                  <a:lnTo>
                    <a:pt x="28" y="87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6" y="79"/>
                  </a:lnTo>
                  <a:lnTo>
                    <a:pt x="24" y="77"/>
                  </a:lnTo>
                  <a:lnTo>
                    <a:pt x="26" y="77"/>
                  </a:lnTo>
                  <a:lnTo>
                    <a:pt x="26" y="68"/>
                  </a:lnTo>
                  <a:lnTo>
                    <a:pt x="26" y="62"/>
                  </a:lnTo>
                  <a:lnTo>
                    <a:pt x="26" y="56"/>
                  </a:lnTo>
                  <a:lnTo>
                    <a:pt x="26" y="52"/>
                  </a:lnTo>
                  <a:lnTo>
                    <a:pt x="26" y="48"/>
                  </a:lnTo>
                  <a:lnTo>
                    <a:pt x="26" y="44"/>
                  </a:lnTo>
                  <a:lnTo>
                    <a:pt x="26" y="37"/>
                  </a:lnTo>
                  <a:lnTo>
                    <a:pt x="26" y="35"/>
                  </a:lnTo>
                  <a:lnTo>
                    <a:pt x="22" y="33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29"/>
                  </a:lnTo>
                  <a:lnTo>
                    <a:pt x="22" y="25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19"/>
                  </a:lnTo>
                  <a:lnTo>
                    <a:pt x="16" y="17"/>
                  </a:lnTo>
                  <a:lnTo>
                    <a:pt x="14" y="15"/>
                  </a:lnTo>
                  <a:lnTo>
                    <a:pt x="12" y="15"/>
                  </a:lnTo>
                  <a:lnTo>
                    <a:pt x="12" y="13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6" y="21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6" y="31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8" y="40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8"/>
                  </a:lnTo>
                  <a:lnTo>
                    <a:pt x="12" y="50"/>
                  </a:lnTo>
                  <a:lnTo>
                    <a:pt x="12" y="52"/>
                  </a:lnTo>
                  <a:lnTo>
                    <a:pt x="10" y="52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62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72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10" y="81"/>
                  </a:lnTo>
                  <a:lnTo>
                    <a:pt x="10" y="83"/>
                  </a:lnTo>
                  <a:lnTo>
                    <a:pt x="12" y="83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4" y="87"/>
                  </a:lnTo>
                  <a:lnTo>
                    <a:pt x="14" y="89"/>
                  </a:lnTo>
                  <a:lnTo>
                    <a:pt x="16" y="89"/>
                  </a:lnTo>
                  <a:lnTo>
                    <a:pt x="16" y="89"/>
                  </a:lnTo>
                  <a:lnTo>
                    <a:pt x="16" y="91"/>
                  </a:lnTo>
                  <a:lnTo>
                    <a:pt x="18" y="91"/>
                  </a:lnTo>
                  <a:lnTo>
                    <a:pt x="18" y="91"/>
                  </a:lnTo>
                  <a:lnTo>
                    <a:pt x="18" y="91"/>
                  </a:lnTo>
                  <a:lnTo>
                    <a:pt x="18" y="93"/>
                  </a:lnTo>
                  <a:lnTo>
                    <a:pt x="20" y="91"/>
                  </a:lnTo>
                  <a:lnTo>
                    <a:pt x="26" y="91"/>
                  </a:lnTo>
                  <a:lnTo>
                    <a:pt x="26" y="89"/>
                  </a:lnTo>
                  <a:lnTo>
                    <a:pt x="28" y="8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DA865612-AD1A-3248-94C7-8407FEBE7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1654" y="3556380"/>
              <a:ext cx="212721" cy="234112"/>
            </a:xfrm>
            <a:custGeom>
              <a:avLst/>
              <a:gdLst>
                <a:gd name="T0" fmla="*/ 170 w 179"/>
                <a:gd name="T1" fmla="*/ 121 h 197"/>
                <a:gd name="T2" fmla="*/ 166 w 179"/>
                <a:gd name="T3" fmla="*/ 127 h 197"/>
                <a:gd name="T4" fmla="*/ 162 w 179"/>
                <a:gd name="T5" fmla="*/ 98 h 197"/>
                <a:gd name="T6" fmla="*/ 166 w 179"/>
                <a:gd name="T7" fmla="*/ 98 h 197"/>
                <a:gd name="T8" fmla="*/ 162 w 179"/>
                <a:gd name="T9" fmla="*/ 86 h 197"/>
                <a:gd name="T10" fmla="*/ 168 w 179"/>
                <a:gd name="T11" fmla="*/ 82 h 197"/>
                <a:gd name="T12" fmla="*/ 170 w 179"/>
                <a:gd name="T13" fmla="*/ 72 h 197"/>
                <a:gd name="T14" fmla="*/ 179 w 179"/>
                <a:gd name="T15" fmla="*/ 172 h 197"/>
                <a:gd name="T16" fmla="*/ 170 w 179"/>
                <a:gd name="T17" fmla="*/ 168 h 197"/>
                <a:gd name="T18" fmla="*/ 166 w 179"/>
                <a:gd name="T19" fmla="*/ 160 h 197"/>
                <a:gd name="T20" fmla="*/ 164 w 179"/>
                <a:gd name="T21" fmla="*/ 143 h 197"/>
                <a:gd name="T22" fmla="*/ 162 w 179"/>
                <a:gd name="T23" fmla="*/ 125 h 197"/>
                <a:gd name="T24" fmla="*/ 164 w 179"/>
                <a:gd name="T25" fmla="*/ 113 h 197"/>
                <a:gd name="T26" fmla="*/ 158 w 179"/>
                <a:gd name="T27" fmla="*/ 100 h 197"/>
                <a:gd name="T28" fmla="*/ 156 w 179"/>
                <a:gd name="T29" fmla="*/ 84 h 197"/>
                <a:gd name="T30" fmla="*/ 160 w 179"/>
                <a:gd name="T31" fmla="*/ 69 h 197"/>
                <a:gd name="T32" fmla="*/ 152 w 179"/>
                <a:gd name="T33" fmla="*/ 59 h 197"/>
                <a:gd name="T34" fmla="*/ 138 w 179"/>
                <a:gd name="T35" fmla="*/ 47 h 197"/>
                <a:gd name="T36" fmla="*/ 133 w 179"/>
                <a:gd name="T37" fmla="*/ 45 h 197"/>
                <a:gd name="T38" fmla="*/ 136 w 179"/>
                <a:gd name="T39" fmla="*/ 37 h 197"/>
                <a:gd name="T40" fmla="*/ 117 w 179"/>
                <a:gd name="T41" fmla="*/ 24 h 197"/>
                <a:gd name="T42" fmla="*/ 96 w 179"/>
                <a:gd name="T43" fmla="*/ 12 h 197"/>
                <a:gd name="T44" fmla="*/ 78 w 179"/>
                <a:gd name="T45" fmla="*/ 0 h 197"/>
                <a:gd name="T46" fmla="*/ 23 w 179"/>
                <a:gd name="T47" fmla="*/ 0 h 197"/>
                <a:gd name="T48" fmla="*/ 21 w 179"/>
                <a:gd name="T49" fmla="*/ 4 h 197"/>
                <a:gd name="T50" fmla="*/ 25 w 179"/>
                <a:gd name="T51" fmla="*/ 16 h 197"/>
                <a:gd name="T52" fmla="*/ 25 w 179"/>
                <a:gd name="T53" fmla="*/ 24 h 197"/>
                <a:gd name="T54" fmla="*/ 21 w 179"/>
                <a:gd name="T55" fmla="*/ 26 h 197"/>
                <a:gd name="T56" fmla="*/ 18 w 179"/>
                <a:gd name="T57" fmla="*/ 32 h 197"/>
                <a:gd name="T58" fmla="*/ 23 w 179"/>
                <a:gd name="T59" fmla="*/ 37 h 197"/>
                <a:gd name="T60" fmla="*/ 25 w 179"/>
                <a:gd name="T61" fmla="*/ 41 h 197"/>
                <a:gd name="T62" fmla="*/ 21 w 179"/>
                <a:gd name="T63" fmla="*/ 45 h 197"/>
                <a:gd name="T64" fmla="*/ 14 w 179"/>
                <a:gd name="T65" fmla="*/ 55 h 197"/>
                <a:gd name="T66" fmla="*/ 2 w 179"/>
                <a:gd name="T67" fmla="*/ 63 h 197"/>
                <a:gd name="T68" fmla="*/ 2 w 179"/>
                <a:gd name="T69" fmla="*/ 78 h 197"/>
                <a:gd name="T70" fmla="*/ 2 w 179"/>
                <a:gd name="T71" fmla="*/ 90 h 197"/>
                <a:gd name="T72" fmla="*/ 8 w 179"/>
                <a:gd name="T73" fmla="*/ 104 h 197"/>
                <a:gd name="T74" fmla="*/ 16 w 179"/>
                <a:gd name="T75" fmla="*/ 117 h 197"/>
                <a:gd name="T76" fmla="*/ 23 w 179"/>
                <a:gd name="T77" fmla="*/ 131 h 197"/>
                <a:gd name="T78" fmla="*/ 29 w 179"/>
                <a:gd name="T79" fmla="*/ 139 h 197"/>
                <a:gd name="T80" fmla="*/ 37 w 179"/>
                <a:gd name="T81" fmla="*/ 146 h 197"/>
                <a:gd name="T82" fmla="*/ 41 w 179"/>
                <a:gd name="T83" fmla="*/ 148 h 197"/>
                <a:gd name="T84" fmla="*/ 49 w 179"/>
                <a:gd name="T85" fmla="*/ 150 h 197"/>
                <a:gd name="T86" fmla="*/ 57 w 179"/>
                <a:gd name="T87" fmla="*/ 154 h 197"/>
                <a:gd name="T88" fmla="*/ 66 w 179"/>
                <a:gd name="T89" fmla="*/ 158 h 197"/>
                <a:gd name="T90" fmla="*/ 74 w 179"/>
                <a:gd name="T91" fmla="*/ 158 h 197"/>
                <a:gd name="T92" fmla="*/ 76 w 179"/>
                <a:gd name="T93" fmla="*/ 156 h 197"/>
                <a:gd name="T94" fmla="*/ 84 w 179"/>
                <a:gd name="T95" fmla="*/ 168 h 197"/>
                <a:gd name="T96" fmla="*/ 84 w 179"/>
                <a:gd name="T97" fmla="*/ 176 h 197"/>
                <a:gd name="T98" fmla="*/ 84 w 179"/>
                <a:gd name="T99" fmla="*/ 185 h 197"/>
                <a:gd name="T100" fmla="*/ 86 w 179"/>
                <a:gd name="T101" fmla="*/ 189 h 197"/>
                <a:gd name="T102" fmla="*/ 92 w 179"/>
                <a:gd name="T103" fmla="*/ 193 h 197"/>
                <a:gd name="T104" fmla="*/ 101 w 179"/>
                <a:gd name="T105" fmla="*/ 193 h 197"/>
                <a:gd name="T106" fmla="*/ 111 w 179"/>
                <a:gd name="T107" fmla="*/ 197 h 197"/>
                <a:gd name="T108" fmla="*/ 123 w 179"/>
                <a:gd name="T109" fmla="*/ 195 h 197"/>
                <a:gd name="T110" fmla="*/ 136 w 179"/>
                <a:gd name="T111" fmla="*/ 193 h 197"/>
                <a:gd name="T112" fmla="*/ 144 w 179"/>
                <a:gd name="T113" fmla="*/ 189 h 197"/>
                <a:gd name="T114" fmla="*/ 160 w 179"/>
                <a:gd name="T115" fmla="*/ 185 h 197"/>
                <a:gd name="T116" fmla="*/ 175 w 179"/>
                <a:gd name="T117" fmla="*/ 17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9" h="197">
                  <a:moveTo>
                    <a:pt x="166" y="127"/>
                  </a:moveTo>
                  <a:lnTo>
                    <a:pt x="168" y="127"/>
                  </a:lnTo>
                  <a:lnTo>
                    <a:pt x="168" y="127"/>
                  </a:lnTo>
                  <a:lnTo>
                    <a:pt x="168" y="127"/>
                  </a:lnTo>
                  <a:lnTo>
                    <a:pt x="170" y="123"/>
                  </a:lnTo>
                  <a:lnTo>
                    <a:pt x="170" y="121"/>
                  </a:lnTo>
                  <a:lnTo>
                    <a:pt x="170" y="121"/>
                  </a:lnTo>
                  <a:lnTo>
                    <a:pt x="170" y="123"/>
                  </a:lnTo>
                  <a:lnTo>
                    <a:pt x="168" y="125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close/>
                  <a:moveTo>
                    <a:pt x="160" y="92"/>
                  </a:moveTo>
                  <a:lnTo>
                    <a:pt x="160" y="94"/>
                  </a:lnTo>
                  <a:lnTo>
                    <a:pt x="160" y="96"/>
                  </a:lnTo>
                  <a:lnTo>
                    <a:pt x="162" y="96"/>
                  </a:lnTo>
                  <a:lnTo>
                    <a:pt x="162" y="98"/>
                  </a:lnTo>
                  <a:lnTo>
                    <a:pt x="162" y="98"/>
                  </a:lnTo>
                  <a:lnTo>
                    <a:pt x="164" y="98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6" y="98"/>
                  </a:lnTo>
                  <a:lnTo>
                    <a:pt x="166" y="98"/>
                  </a:lnTo>
                  <a:lnTo>
                    <a:pt x="164" y="94"/>
                  </a:lnTo>
                  <a:lnTo>
                    <a:pt x="164" y="94"/>
                  </a:lnTo>
                  <a:lnTo>
                    <a:pt x="164" y="94"/>
                  </a:lnTo>
                  <a:lnTo>
                    <a:pt x="162" y="90"/>
                  </a:lnTo>
                  <a:lnTo>
                    <a:pt x="162" y="88"/>
                  </a:lnTo>
                  <a:lnTo>
                    <a:pt x="162" y="86"/>
                  </a:lnTo>
                  <a:lnTo>
                    <a:pt x="160" y="88"/>
                  </a:lnTo>
                  <a:lnTo>
                    <a:pt x="160" y="90"/>
                  </a:lnTo>
                  <a:lnTo>
                    <a:pt x="160" y="92"/>
                  </a:lnTo>
                  <a:close/>
                  <a:moveTo>
                    <a:pt x="168" y="80"/>
                  </a:moveTo>
                  <a:lnTo>
                    <a:pt x="168" y="82"/>
                  </a:lnTo>
                  <a:lnTo>
                    <a:pt x="168" y="82"/>
                  </a:lnTo>
                  <a:lnTo>
                    <a:pt x="170" y="80"/>
                  </a:lnTo>
                  <a:lnTo>
                    <a:pt x="170" y="78"/>
                  </a:lnTo>
                  <a:lnTo>
                    <a:pt x="170" y="76"/>
                  </a:lnTo>
                  <a:lnTo>
                    <a:pt x="170" y="74"/>
                  </a:lnTo>
                  <a:lnTo>
                    <a:pt x="170" y="72"/>
                  </a:lnTo>
                  <a:lnTo>
                    <a:pt x="170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6"/>
                  </a:lnTo>
                  <a:lnTo>
                    <a:pt x="166" y="80"/>
                  </a:lnTo>
                  <a:lnTo>
                    <a:pt x="168" y="80"/>
                  </a:lnTo>
                  <a:close/>
                  <a:moveTo>
                    <a:pt x="179" y="172"/>
                  </a:moveTo>
                  <a:lnTo>
                    <a:pt x="179" y="172"/>
                  </a:lnTo>
                  <a:lnTo>
                    <a:pt x="177" y="170"/>
                  </a:lnTo>
                  <a:lnTo>
                    <a:pt x="175" y="168"/>
                  </a:lnTo>
                  <a:lnTo>
                    <a:pt x="172" y="168"/>
                  </a:lnTo>
                  <a:lnTo>
                    <a:pt x="172" y="168"/>
                  </a:lnTo>
                  <a:lnTo>
                    <a:pt x="170" y="168"/>
                  </a:lnTo>
                  <a:lnTo>
                    <a:pt x="170" y="166"/>
                  </a:lnTo>
                  <a:lnTo>
                    <a:pt x="168" y="166"/>
                  </a:lnTo>
                  <a:lnTo>
                    <a:pt x="166" y="164"/>
                  </a:lnTo>
                  <a:lnTo>
                    <a:pt x="168" y="164"/>
                  </a:lnTo>
                  <a:lnTo>
                    <a:pt x="168" y="162"/>
                  </a:lnTo>
                  <a:lnTo>
                    <a:pt x="166" y="160"/>
                  </a:lnTo>
                  <a:lnTo>
                    <a:pt x="166" y="158"/>
                  </a:lnTo>
                  <a:lnTo>
                    <a:pt x="166" y="154"/>
                  </a:lnTo>
                  <a:lnTo>
                    <a:pt x="166" y="150"/>
                  </a:lnTo>
                  <a:lnTo>
                    <a:pt x="162" y="146"/>
                  </a:lnTo>
                  <a:lnTo>
                    <a:pt x="164" y="146"/>
                  </a:lnTo>
                  <a:lnTo>
                    <a:pt x="164" y="143"/>
                  </a:lnTo>
                  <a:lnTo>
                    <a:pt x="162" y="141"/>
                  </a:lnTo>
                  <a:lnTo>
                    <a:pt x="160" y="135"/>
                  </a:lnTo>
                  <a:lnTo>
                    <a:pt x="160" y="135"/>
                  </a:lnTo>
                  <a:lnTo>
                    <a:pt x="162" y="133"/>
                  </a:lnTo>
                  <a:lnTo>
                    <a:pt x="162" y="129"/>
                  </a:lnTo>
                  <a:lnTo>
                    <a:pt x="162" y="125"/>
                  </a:lnTo>
                  <a:lnTo>
                    <a:pt x="162" y="123"/>
                  </a:lnTo>
                  <a:lnTo>
                    <a:pt x="160" y="125"/>
                  </a:lnTo>
                  <a:lnTo>
                    <a:pt x="160" y="119"/>
                  </a:lnTo>
                  <a:lnTo>
                    <a:pt x="162" y="117"/>
                  </a:lnTo>
                  <a:lnTo>
                    <a:pt x="162" y="113"/>
                  </a:lnTo>
                  <a:lnTo>
                    <a:pt x="164" y="113"/>
                  </a:lnTo>
                  <a:lnTo>
                    <a:pt x="164" y="111"/>
                  </a:lnTo>
                  <a:lnTo>
                    <a:pt x="164" y="106"/>
                  </a:lnTo>
                  <a:lnTo>
                    <a:pt x="160" y="106"/>
                  </a:lnTo>
                  <a:lnTo>
                    <a:pt x="160" y="104"/>
                  </a:lnTo>
                  <a:lnTo>
                    <a:pt x="158" y="102"/>
                  </a:lnTo>
                  <a:lnTo>
                    <a:pt x="158" y="100"/>
                  </a:lnTo>
                  <a:lnTo>
                    <a:pt x="156" y="100"/>
                  </a:lnTo>
                  <a:lnTo>
                    <a:pt x="154" y="98"/>
                  </a:lnTo>
                  <a:lnTo>
                    <a:pt x="154" y="94"/>
                  </a:lnTo>
                  <a:lnTo>
                    <a:pt x="154" y="92"/>
                  </a:lnTo>
                  <a:lnTo>
                    <a:pt x="154" y="90"/>
                  </a:lnTo>
                  <a:lnTo>
                    <a:pt x="156" y="84"/>
                  </a:lnTo>
                  <a:lnTo>
                    <a:pt x="156" y="82"/>
                  </a:lnTo>
                  <a:lnTo>
                    <a:pt x="158" y="78"/>
                  </a:lnTo>
                  <a:lnTo>
                    <a:pt x="158" y="76"/>
                  </a:lnTo>
                  <a:lnTo>
                    <a:pt x="158" y="74"/>
                  </a:lnTo>
                  <a:lnTo>
                    <a:pt x="158" y="72"/>
                  </a:lnTo>
                  <a:lnTo>
                    <a:pt x="160" y="69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58" y="65"/>
                  </a:lnTo>
                  <a:lnTo>
                    <a:pt x="156" y="63"/>
                  </a:lnTo>
                  <a:lnTo>
                    <a:pt x="154" y="61"/>
                  </a:lnTo>
                  <a:lnTo>
                    <a:pt x="152" y="59"/>
                  </a:lnTo>
                  <a:lnTo>
                    <a:pt x="148" y="57"/>
                  </a:lnTo>
                  <a:lnTo>
                    <a:pt x="146" y="55"/>
                  </a:lnTo>
                  <a:lnTo>
                    <a:pt x="142" y="51"/>
                  </a:lnTo>
                  <a:lnTo>
                    <a:pt x="140" y="49"/>
                  </a:lnTo>
                  <a:lnTo>
                    <a:pt x="138" y="49"/>
                  </a:lnTo>
                  <a:lnTo>
                    <a:pt x="138" y="47"/>
                  </a:lnTo>
                  <a:lnTo>
                    <a:pt x="136" y="47"/>
                  </a:lnTo>
                  <a:lnTo>
                    <a:pt x="136" y="47"/>
                  </a:lnTo>
                  <a:lnTo>
                    <a:pt x="136" y="45"/>
                  </a:lnTo>
                  <a:lnTo>
                    <a:pt x="136" y="45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6" y="41"/>
                  </a:lnTo>
                  <a:lnTo>
                    <a:pt x="136" y="39"/>
                  </a:lnTo>
                  <a:lnTo>
                    <a:pt x="136" y="37"/>
                  </a:lnTo>
                  <a:lnTo>
                    <a:pt x="136" y="37"/>
                  </a:lnTo>
                  <a:lnTo>
                    <a:pt x="133" y="37"/>
                  </a:lnTo>
                  <a:lnTo>
                    <a:pt x="129" y="34"/>
                  </a:lnTo>
                  <a:lnTo>
                    <a:pt x="127" y="32"/>
                  </a:lnTo>
                  <a:lnTo>
                    <a:pt x="123" y="30"/>
                  </a:lnTo>
                  <a:lnTo>
                    <a:pt x="119" y="26"/>
                  </a:lnTo>
                  <a:lnTo>
                    <a:pt x="117" y="24"/>
                  </a:lnTo>
                  <a:lnTo>
                    <a:pt x="113" y="22"/>
                  </a:lnTo>
                  <a:lnTo>
                    <a:pt x="109" y="20"/>
                  </a:lnTo>
                  <a:lnTo>
                    <a:pt x="107" y="18"/>
                  </a:lnTo>
                  <a:lnTo>
                    <a:pt x="103" y="16"/>
                  </a:lnTo>
                  <a:lnTo>
                    <a:pt x="99" y="14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8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78" y="2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1" y="4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10"/>
                  </a:lnTo>
                  <a:lnTo>
                    <a:pt x="25" y="12"/>
                  </a:lnTo>
                  <a:lnTo>
                    <a:pt x="25" y="16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20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6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3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9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3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18" y="47"/>
                  </a:lnTo>
                  <a:lnTo>
                    <a:pt x="18" y="49"/>
                  </a:lnTo>
                  <a:lnTo>
                    <a:pt x="16" y="49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4" y="55"/>
                  </a:lnTo>
                  <a:lnTo>
                    <a:pt x="14" y="57"/>
                  </a:lnTo>
                  <a:lnTo>
                    <a:pt x="10" y="59"/>
                  </a:lnTo>
                  <a:lnTo>
                    <a:pt x="8" y="61"/>
                  </a:lnTo>
                  <a:lnTo>
                    <a:pt x="6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6"/>
                  </a:lnTo>
                  <a:lnTo>
                    <a:pt x="2" y="78"/>
                  </a:lnTo>
                  <a:lnTo>
                    <a:pt x="2" y="80"/>
                  </a:lnTo>
                  <a:lnTo>
                    <a:pt x="4" y="82"/>
                  </a:lnTo>
                  <a:lnTo>
                    <a:pt x="4" y="84"/>
                  </a:lnTo>
                  <a:lnTo>
                    <a:pt x="4" y="86"/>
                  </a:lnTo>
                  <a:lnTo>
                    <a:pt x="4" y="88"/>
                  </a:lnTo>
                  <a:lnTo>
                    <a:pt x="2" y="90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4" y="96"/>
                  </a:lnTo>
                  <a:lnTo>
                    <a:pt x="4" y="98"/>
                  </a:lnTo>
                  <a:lnTo>
                    <a:pt x="6" y="102"/>
                  </a:lnTo>
                  <a:lnTo>
                    <a:pt x="8" y="104"/>
                  </a:lnTo>
                  <a:lnTo>
                    <a:pt x="10" y="106"/>
                  </a:lnTo>
                  <a:lnTo>
                    <a:pt x="12" y="109"/>
                  </a:lnTo>
                  <a:lnTo>
                    <a:pt x="14" y="109"/>
                  </a:lnTo>
                  <a:lnTo>
                    <a:pt x="14" y="111"/>
                  </a:lnTo>
                  <a:lnTo>
                    <a:pt x="16" y="113"/>
                  </a:lnTo>
                  <a:lnTo>
                    <a:pt x="16" y="117"/>
                  </a:lnTo>
                  <a:lnTo>
                    <a:pt x="16" y="119"/>
                  </a:lnTo>
                  <a:lnTo>
                    <a:pt x="18" y="121"/>
                  </a:lnTo>
                  <a:lnTo>
                    <a:pt x="21" y="125"/>
                  </a:lnTo>
                  <a:lnTo>
                    <a:pt x="21" y="127"/>
                  </a:lnTo>
                  <a:lnTo>
                    <a:pt x="23" y="129"/>
                  </a:lnTo>
                  <a:lnTo>
                    <a:pt x="23" y="131"/>
                  </a:lnTo>
                  <a:lnTo>
                    <a:pt x="23" y="133"/>
                  </a:lnTo>
                  <a:lnTo>
                    <a:pt x="25" y="135"/>
                  </a:lnTo>
                  <a:lnTo>
                    <a:pt x="25" y="137"/>
                  </a:lnTo>
                  <a:lnTo>
                    <a:pt x="27" y="137"/>
                  </a:lnTo>
                  <a:lnTo>
                    <a:pt x="27" y="139"/>
                  </a:lnTo>
                  <a:lnTo>
                    <a:pt x="29" y="139"/>
                  </a:lnTo>
                  <a:lnTo>
                    <a:pt x="33" y="139"/>
                  </a:lnTo>
                  <a:lnTo>
                    <a:pt x="33" y="139"/>
                  </a:lnTo>
                  <a:lnTo>
                    <a:pt x="35" y="141"/>
                  </a:lnTo>
                  <a:lnTo>
                    <a:pt x="35" y="143"/>
                  </a:lnTo>
                  <a:lnTo>
                    <a:pt x="37" y="143"/>
                  </a:lnTo>
                  <a:lnTo>
                    <a:pt x="37" y="146"/>
                  </a:lnTo>
                  <a:lnTo>
                    <a:pt x="37" y="146"/>
                  </a:lnTo>
                  <a:lnTo>
                    <a:pt x="39" y="146"/>
                  </a:lnTo>
                  <a:lnTo>
                    <a:pt x="39" y="146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1" y="148"/>
                  </a:lnTo>
                  <a:lnTo>
                    <a:pt x="41" y="148"/>
                  </a:lnTo>
                  <a:lnTo>
                    <a:pt x="43" y="148"/>
                  </a:lnTo>
                  <a:lnTo>
                    <a:pt x="45" y="148"/>
                  </a:lnTo>
                  <a:lnTo>
                    <a:pt x="45" y="150"/>
                  </a:lnTo>
                  <a:lnTo>
                    <a:pt x="47" y="150"/>
                  </a:lnTo>
                  <a:lnTo>
                    <a:pt x="49" y="150"/>
                  </a:lnTo>
                  <a:lnTo>
                    <a:pt x="51" y="150"/>
                  </a:lnTo>
                  <a:lnTo>
                    <a:pt x="53" y="152"/>
                  </a:lnTo>
                  <a:lnTo>
                    <a:pt x="55" y="152"/>
                  </a:lnTo>
                  <a:lnTo>
                    <a:pt x="55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62" y="156"/>
                  </a:lnTo>
                  <a:lnTo>
                    <a:pt x="62" y="156"/>
                  </a:lnTo>
                  <a:lnTo>
                    <a:pt x="64" y="156"/>
                  </a:lnTo>
                  <a:lnTo>
                    <a:pt x="66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70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6"/>
                  </a:lnTo>
                  <a:lnTo>
                    <a:pt x="74" y="156"/>
                  </a:lnTo>
                  <a:lnTo>
                    <a:pt x="74" y="156"/>
                  </a:lnTo>
                  <a:lnTo>
                    <a:pt x="76" y="156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82" y="164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4" y="168"/>
                  </a:lnTo>
                  <a:lnTo>
                    <a:pt x="84" y="170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6"/>
                  </a:lnTo>
                  <a:lnTo>
                    <a:pt x="84" y="178"/>
                  </a:lnTo>
                  <a:lnTo>
                    <a:pt x="84" y="178"/>
                  </a:lnTo>
                  <a:lnTo>
                    <a:pt x="84" y="180"/>
                  </a:lnTo>
                  <a:lnTo>
                    <a:pt x="84" y="183"/>
                  </a:lnTo>
                  <a:lnTo>
                    <a:pt x="84" y="185"/>
                  </a:lnTo>
                  <a:lnTo>
                    <a:pt x="84" y="185"/>
                  </a:lnTo>
                  <a:lnTo>
                    <a:pt x="84" y="185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8" y="189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90" y="193"/>
                  </a:lnTo>
                  <a:lnTo>
                    <a:pt x="90" y="193"/>
                  </a:lnTo>
                  <a:lnTo>
                    <a:pt x="92" y="193"/>
                  </a:lnTo>
                  <a:lnTo>
                    <a:pt x="96" y="193"/>
                  </a:lnTo>
                  <a:lnTo>
                    <a:pt x="96" y="195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101" y="193"/>
                  </a:lnTo>
                  <a:lnTo>
                    <a:pt x="101" y="193"/>
                  </a:lnTo>
                  <a:lnTo>
                    <a:pt x="103" y="191"/>
                  </a:lnTo>
                  <a:lnTo>
                    <a:pt x="105" y="191"/>
                  </a:lnTo>
                  <a:lnTo>
                    <a:pt x="107" y="193"/>
                  </a:lnTo>
                  <a:lnTo>
                    <a:pt x="109" y="195"/>
                  </a:lnTo>
                  <a:lnTo>
                    <a:pt x="109" y="195"/>
                  </a:lnTo>
                  <a:lnTo>
                    <a:pt x="111" y="197"/>
                  </a:lnTo>
                  <a:lnTo>
                    <a:pt x="115" y="197"/>
                  </a:lnTo>
                  <a:lnTo>
                    <a:pt x="117" y="195"/>
                  </a:lnTo>
                  <a:lnTo>
                    <a:pt x="119" y="195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5" y="195"/>
                  </a:lnTo>
                  <a:lnTo>
                    <a:pt x="127" y="197"/>
                  </a:lnTo>
                  <a:lnTo>
                    <a:pt x="131" y="195"/>
                  </a:lnTo>
                  <a:lnTo>
                    <a:pt x="133" y="193"/>
                  </a:lnTo>
                  <a:lnTo>
                    <a:pt x="136" y="193"/>
                  </a:lnTo>
                  <a:lnTo>
                    <a:pt x="136" y="191"/>
                  </a:lnTo>
                  <a:lnTo>
                    <a:pt x="138" y="189"/>
                  </a:lnTo>
                  <a:lnTo>
                    <a:pt x="138" y="189"/>
                  </a:lnTo>
                  <a:lnTo>
                    <a:pt x="140" y="189"/>
                  </a:lnTo>
                  <a:lnTo>
                    <a:pt x="142" y="189"/>
                  </a:lnTo>
                  <a:lnTo>
                    <a:pt x="144" y="189"/>
                  </a:lnTo>
                  <a:lnTo>
                    <a:pt x="146" y="191"/>
                  </a:lnTo>
                  <a:lnTo>
                    <a:pt x="148" y="189"/>
                  </a:lnTo>
                  <a:lnTo>
                    <a:pt x="152" y="187"/>
                  </a:lnTo>
                  <a:lnTo>
                    <a:pt x="154" y="187"/>
                  </a:lnTo>
                  <a:lnTo>
                    <a:pt x="158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4" y="183"/>
                  </a:lnTo>
                  <a:lnTo>
                    <a:pt x="166" y="183"/>
                  </a:lnTo>
                  <a:lnTo>
                    <a:pt x="168" y="180"/>
                  </a:lnTo>
                  <a:lnTo>
                    <a:pt x="170" y="180"/>
                  </a:lnTo>
                  <a:lnTo>
                    <a:pt x="175" y="176"/>
                  </a:lnTo>
                  <a:lnTo>
                    <a:pt x="177" y="174"/>
                  </a:lnTo>
                  <a:lnTo>
                    <a:pt x="179" y="172"/>
                  </a:lnTo>
                  <a:lnTo>
                    <a:pt x="179" y="17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5F17EF00-DEBD-8D45-8738-28D665782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6725" y="2719755"/>
              <a:ext cx="117650" cy="110520"/>
            </a:xfrm>
            <a:custGeom>
              <a:avLst/>
              <a:gdLst>
                <a:gd name="T0" fmla="*/ 97 w 99"/>
                <a:gd name="T1" fmla="*/ 0 h 93"/>
                <a:gd name="T2" fmla="*/ 95 w 99"/>
                <a:gd name="T3" fmla="*/ 0 h 93"/>
                <a:gd name="T4" fmla="*/ 88 w 99"/>
                <a:gd name="T5" fmla="*/ 2 h 93"/>
                <a:gd name="T6" fmla="*/ 82 w 99"/>
                <a:gd name="T7" fmla="*/ 4 h 93"/>
                <a:gd name="T8" fmla="*/ 74 w 99"/>
                <a:gd name="T9" fmla="*/ 2 h 93"/>
                <a:gd name="T10" fmla="*/ 64 w 99"/>
                <a:gd name="T11" fmla="*/ 9 h 93"/>
                <a:gd name="T12" fmla="*/ 53 w 99"/>
                <a:gd name="T13" fmla="*/ 11 h 93"/>
                <a:gd name="T14" fmla="*/ 45 w 99"/>
                <a:gd name="T15" fmla="*/ 11 h 93"/>
                <a:gd name="T16" fmla="*/ 39 w 99"/>
                <a:gd name="T17" fmla="*/ 9 h 93"/>
                <a:gd name="T18" fmla="*/ 35 w 99"/>
                <a:gd name="T19" fmla="*/ 7 h 93"/>
                <a:gd name="T20" fmla="*/ 29 w 99"/>
                <a:gd name="T21" fmla="*/ 11 h 93"/>
                <a:gd name="T22" fmla="*/ 23 w 99"/>
                <a:gd name="T23" fmla="*/ 13 h 93"/>
                <a:gd name="T24" fmla="*/ 19 w 99"/>
                <a:gd name="T25" fmla="*/ 11 h 93"/>
                <a:gd name="T26" fmla="*/ 12 w 99"/>
                <a:gd name="T27" fmla="*/ 9 h 93"/>
                <a:gd name="T28" fmla="*/ 12 w 99"/>
                <a:gd name="T29" fmla="*/ 15 h 93"/>
                <a:gd name="T30" fmla="*/ 12 w 99"/>
                <a:gd name="T31" fmla="*/ 19 h 93"/>
                <a:gd name="T32" fmla="*/ 10 w 99"/>
                <a:gd name="T33" fmla="*/ 21 h 93"/>
                <a:gd name="T34" fmla="*/ 8 w 99"/>
                <a:gd name="T35" fmla="*/ 25 h 93"/>
                <a:gd name="T36" fmla="*/ 6 w 99"/>
                <a:gd name="T37" fmla="*/ 27 h 93"/>
                <a:gd name="T38" fmla="*/ 2 w 99"/>
                <a:gd name="T39" fmla="*/ 27 h 93"/>
                <a:gd name="T40" fmla="*/ 4 w 99"/>
                <a:gd name="T41" fmla="*/ 35 h 93"/>
                <a:gd name="T42" fmla="*/ 4 w 99"/>
                <a:gd name="T43" fmla="*/ 41 h 93"/>
                <a:gd name="T44" fmla="*/ 6 w 99"/>
                <a:gd name="T45" fmla="*/ 50 h 93"/>
                <a:gd name="T46" fmla="*/ 10 w 99"/>
                <a:gd name="T47" fmla="*/ 48 h 93"/>
                <a:gd name="T48" fmla="*/ 12 w 99"/>
                <a:gd name="T49" fmla="*/ 50 h 93"/>
                <a:gd name="T50" fmla="*/ 12 w 99"/>
                <a:gd name="T51" fmla="*/ 52 h 93"/>
                <a:gd name="T52" fmla="*/ 16 w 99"/>
                <a:gd name="T53" fmla="*/ 58 h 93"/>
                <a:gd name="T54" fmla="*/ 14 w 99"/>
                <a:gd name="T55" fmla="*/ 60 h 93"/>
                <a:gd name="T56" fmla="*/ 12 w 99"/>
                <a:gd name="T57" fmla="*/ 62 h 93"/>
                <a:gd name="T58" fmla="*/ 12 w 99"/>
                <a:gd name="T59" fmla="*/ 64 h 93"/>
                <a:gd name="T60" fmla="*/ 10 w 99"/>
                <a:gd name="T61" fmla="*/ 64 h 93"/>
                <a:gd name="T62" fmla="*/ 8 w 99"/>
                <a:gd name="T63" fmla="*/ 64 h 93"/>
                <a:gd name="T64" fmla="*/ 6 w 99"/>
                <a:gd name="T65" fmla="*/ 68 h 93"/>
                <a:gd name="T66" fmla="*/ 8 w 99"/>
                <a:gd name="T67" fmla="*/ 68 h 93"/>
                <a:gd name="T68" fmla="*/ 6 w 99"/>
                <a:gd name="T69" fmla="*/ 70 h 93"/>
                <a:gd name="T70" fmla="*/ 6 w 99"/>
                <a:gd name="T71" fmla="*/ 72 h 93"/>
                <a:gd name="T72" fmla="*/ 6 w 99"/>
                <a:gd name="T73" fmla="*/ 74 h 93"/>
                <a:gd name="T74" fmla="*/ 6 w 99"/>
                <a:gd name="T75" fmla="*/ 78 h 93"/>
                <a:gd name="T76" fmla="*/ 6 w 99"/>
                <a:gd name="T77" fmla="*/ 81 h 93"/>
                <a:gd name="T78" fmla="*/ 6 w 99"/>
                <a:gd name="T79" fmla="*/ 85 h 93"/>
                <a:gd name="T80" fmla="*/ 10 w 99"/>
                <a:gd name="T81" fmla="*/ 89 h 93"/>
                <a:gd name="T82" fmla="*/ 14 w 99"/>
                <a:gd name="T83" fmla="*/ 91 h 93"/>
                <a:gd name="T84" fmla="*/ 27 w 99"/>
                <a:gd name="T85" fmla="*/ 89 h 93"/>
                <a:gd name="T86" fmla="*/ 35 w 99"/>
                <a:gd name="T87" fmla="*/ 83 h 93"/>
                <a:gd name="T88" fmla="*/ 47 w 99"/>
                <a:gd name="T89" fmla="*/ 74 h 93"/>
                <a:gd name="T90" fmla="*/ 58 w 99"/>
                <a:gd name="T91" fmla="*/ 68 h 93"/>
                <a:gd name="T92" fmla="*/ 70 w 99"/>
                <a:gd name="T93" fmla="*/ 60 h 93"/>
                <a:gd name="T94" fmla="*/ 82 w 99"/>
                <a:gd name="T95" fmla="*/ 54 h 93"/>
                <a:gd name="T96" fmla="*/ 84 w 99"/>
                <a:gd name="T97" fmla="*/ 48 h 93"/>
                <a:gd name="T98" fmla="*/ 84 w 99"/>
                <a:gd name="T99" fmla="*/ 37 h 93"/>
                <a:gd name="T100" fmla="*/ 86 w 99"/>
                <a:gd name="T101" fmla="*/ 31 h 93"/>
                <a:gd name="T102" fmla="*/ 84 w 99"/>
                <a:gd name="T103" fmla="*/ 25 h 93"/>
                <a:gd name="T104" fmla="*/ 84 w 99"/>
                <a:gd name="T105" fmla="*/ 19 h 93"/>
                <a:gd name="T106" fmla="*/ 84 w 99"/>
                <a:gd name="T107" fmla="*/ 15 h 93"/>
                <a:gd name="T108" fmla="*/ 92 w 99"/>
                <a:gd name="T109" fmla="*/ 11 h 93"/>
                <a:gd name="T110" fmla="*/ 99 w 99"/>
                <a:gd name="T111" fmla="*/ 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9" h="93">
                  <a:moveTo>
                    <a:pt x="99" y="2"/>
                  </a:move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90" y="2"/>
                  </a:lnTo>
                  <a:lnTo>
                    <a:pt x="88" y="2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4"/>
                  </a:lnTo>
                  <a:lnTo>
                    <a:pt x="78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0" y="4"/>
                  </a:lnTo>
                  <a:lnTo>
                    <a:pt x="64" y="9"/>
                  </a:lnTo>
                  <a:lnTo>
                    <a:pt x="60" y="11"/>
                  </a:lnTo>
                  <a:lnTo>
                    <a:pt x="56" y="11"/>
                  </a:lnTo>
                  <a:lnTo>
                    <a:pt x="53" y="11"/>
                  </a:lnTo>
                  <a:lnTo>
                    <a:pt x="49" y="11"/>
                  </a:lnTo>
                  <a:lnTo>
                    <a:pt x="47" y="11"/>
                  </a:lnTo>
                  <a:lnTo>
                    <a:pt x="45" y="11"/>
                  </a:lnTo>
                  <a:lnTo>
                    <a:pt x="43" y="11"/>
                  </a:lnTo>
                  <a:lnTo>
                    <a:pt x="41" y="9"/>
                  </a:lnTo>
                  <a:lnTo>
                    <a:pt x="39" y="9"/>
                  </a:lnTo>
                  <a:lnTo>
                    <a:pt x="39" y="7"/>
                  </a:lnTo>
                  <a:lnTo>
                    <a:pt x="37" y="7"/>
                  </a:lnTo>
                  <a:lnTo>
                    <a:pt x="35" y="7"/>
                  </a:lnTo>
                  <a:lnTo>
                    <a:pt x="31" y="9"/>
                  </a:lnTo>
                  <a:lnTo>
                    <a:pt x="31" y="11"/>
                  </a:lnTo>
                  <a:lnTo>
                    <a:pt x="29" y="11"/>
                  </a:lnTo>
                  <a:lnTo>
                    <a:pt x="27" y="11"/>
                  </a:lnTo>
                  <a:lnTo>
                    <a:pt x="25" y="13"/>
                  </a:lnTo>
                  <a:lnTo>
                    <a:pt x="23" y="13"/>
                  </a:lnTo>
                  <a:lnTo>
                    <a:pt x="21" y="13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16" y="11"/>
                  </a:lnTo>
                  <a:lnTo>
                    <a:pt x="14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11"/>
                  </a:lnTo>
                  <a:lnTo>
                    <a:pt x="12" y="15"/>
                  </a:lnTo>
                  <a:lnTo>
                    <a:pt x="10" y="15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0" y="19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8" y="23"/>
                  </a:lnTo>
                  <a:lnTo>
                    <a:pt x="8" y="25"/>
                  </a:lnTo>
                  <a:lnTo>
                    <a:pt x="6" y="25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4" y="25"/>
                  </a:lnTo>
                  <a:lnTo>
                    <a:pt x="2" y="25"/>
                  </a:lnTo>
                  <a:lnTo>
                    <a:pt x="2" y="27"/>
                  </a:lnTo>
                  <a:lnTo>
                    <a:pt x="0" y="31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7"/>
                  </a:lnTo>
                  <a:lnTo>
                    <a:pt x="4" y="39"/>
                  </a:lnTo>
                  <a:lnTo>
                    <a:pt x="4" y="41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4" y="54"/>
                  </a:lnTo>
                  <a:lnTo>
                    <a:pt x="16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10" y="89"/>
                  </a:lnTo>
                  <a:lnTo>
                    <a:pt x="12" y="89"/>
                  </a:lnTo>
                  <a:lnTo>
                    <a:pt x="14" y="89"/>
                  </a:lnTo>
                  <a:lnTo>
                    <a:pt x="14" y="91"/>
                  </a:lnTo>
                  <a:lnTo>
                    <a:pt x="16" y="91"/>
                  </a:lnTo>
                  <a:lnTo>
                    <a:pt x="23" y="93"/>
                  </a:lnTo>
                  <a:lnTo>
                    <a:pt x="27" y="89"/>
                  </a:lnTo>
                  <a:lnTo>
                    <a:pt x="29" y="87"/>
                  </a:lnTo>
                  <a:lnTo>
                    <a:pt x="33" y="85"/>
                  </a:lnTo>
                  <a:lnTo>
                    <a:pt x="35" y="83"/>
                  </a:lnTo>
                  <a:lnTo>
                    <a:pt x="41" y="81"/>
                  </a:lnTo>
                  <a:lnTo>
                    <a:pt x="43" y="78"/>
                  </a:lnTo>
                  <a:lnTo>
                    <a:pt x="47" y="74"/>
                  </a:lnTo>
                  <a:lnTo>
                    <a:pt x="51" y="72"/>
                  </a:lnTo>
                  <a:lnTo>
                    <a:pt x="56" y="70"/>
                  </a:lnTo>
                  <a:lnTo>
                    <a:pt x="58" y="68"/>
                  </a:lnTo>
                  <a:lnTo>
                    <a:pt x="62" y="66"/>
                  </a:lnTo>
                  <a:lnTo>
                    <a:pt x="66" y="62"/>
                  </a:lnTo>
                  <a:lnTo>
                    <a:pt x="70" y="60"/>
                  </a:lnTo>
                  <a:lnTo>
                    <a:pt x="74" y="58"/>
                  </a:lnTo>
                  <a:lnTo>
                    <a:pt x="78" y="56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4" y="46"/>
                  </a:lnTo>
                  <a:lnTo>
                    <a:pt x="84" y="41"/>
                  </a:lnTo>
                  <a:lnTo>
                    <a:pt x="84" y="37"/>
                  </a:lnTo>
                  <a:lnTo>
                    <a:pt x="84" y="35"/>
                  </a:lnTo>
                  <a:lnTo>
                    <a:pt x="86" y="33"/>
                  </a:lnTo>
                  <a:lnTo>
                    <a:pt x="86" y="31"/>
                  </a:lnTo>
                  <a:lnTo>
                    <a:pt x="86" y="29"/>
                  </a:lnTo>
                  <a:lnTo>
                    <a:pt x="86" y="27"/>
                  </a:lnTo>
                  <a:lnTo>
                    <a:pt x="84" y="25"/>
                  </a:lnTo>
                  <a:lnTo>
                    <a:pt x="84" y="23"/>
                  </a:lnTo>
                  <a:lnTo>
                    <a:pt x="84" y="21"/>
                  </a:lnTo>
                  <a:lnTo>
                    <a:pt x="84" y="19"/>
                  </a:lnTo>
                  <a:lnTo>
                    <a:pt x="84" y="17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2" y="11"/>
                  </a:lnTo>
                  <a:lnTo>
                    <a:pt x="95" y="9"/>
                  </a:lnTo>
                  <a:lnTo>
                    <a:pt x="97" y="7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99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C6BD9643-E6DA-0B46-AE2A-062DC1BAD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1951" y="2495150"/>
              <a:ext cx="78434" cy="41594"/>
            </a:xfrm>
            <a:custGeom>
              <a:avLst/>
              <a:gdLst>
                <a:gd name="T0" fmla="*/ 66 w 66"/>
                <a:gd name="T1" fmla="*/ 15 h 35"/>
                <a:gd name="T2" fmla="*/ 62 w 66"/>
                <a:gd name="T3" fmla="*/ 17 h 35"/>
                <a:gd name="T4" fmla="*/ 58 w 66"/>
                <a:gd name="T5" fmla="*/ 15 h 35"/>
                <a:gd name="T6" fmla="*/ 54 w 66"/>
                <a:gd name="T7" fmla="*/ 13 h 35"/>
                <a:gd name="T8" fmla="*/ 52 w 66"/>
                <a:gd name="T9" fmla="*/ 13 h 35"/>
                <a:gd name="T10" fmla="*/ 52 w 66"/>
                <a:gd name="T11" fmla="*/ 8 h 35"/>
                <a:gd name="T12" fmla="*/ 54 w 66"/>
                <a:gd name="T13" fmla="*/ 4 h 35"/>
                <a:gd name="T14" fmla="*/ 48 w 66"/>
                <a:gd name="T15" fmla="*/ 2 h 35"/>
                <a:gd name="T16" fmla="*/ 44 w 66"/>
                <a:gd name="T17" fmla="*/ 2 h 35"/>
                <a:gd name="T18" fmla="*/ 41 w 66"/>
                <a:gd name="T19" fmla="*/ 0 h 35"/>
                <a:gd name="T20" fmla="*/ 39 w 66"/>
                <a:gd name="T21" fmla="*/ 0 h 35"/>
                <a:gd name="T22" fmla="*/ 37 w 66"/>
                <a:gd name="T23" fmla="*/ 0 h 35"/>
                <a:gd name="T24" fmla="*/ 37 w 66"/>
                <a:gd name="T25" fmla="*/ 2 h 35"/>
                <a:gd name="T26" fmla="*/ 39 w 66"/>
                <a:gd name="T27" fmla="*/ 2 h 35"/>
                <a:gd name="T28" fmla="*/ 37 w 66"/>
                <a:gd name="T29" fmla="*/ 2 h 35"/>
                <a:gd name="T30" fmla="*/ 35 w 66"/>
                <a:gd name="T31" fmla="*/ 2 h 35"/>
                <a:gd name="T32" fmla="*/ 29 w 66"/>
                <a:gd name="T33" fmla="*/ 4 h 35"/>
                <a:gd name="T34" fmla="*/ 23 w 66"/>
                <a:gd name="T35" fmla="*/ 4 h 35"/>
                <a:gd name="T36" fmla="*/ 21 w 66"/>
                <a:gd name="T37" fmla="*/ 6 h 35"/>
                <a:gd name="T38" fmla="*/ 19 w 66"/>
                <a:gd name="T39" fmla="*/ 6 h 35"/>
                <a:gd name="T40" fmla="*/ 17 w 66"/>
                <a:gd name="T41" fmla="*/ 4 h 35"/>
                <a:gd name="T42" fmla="*/ 15 w 66"/>
                <a:gd name="T43" fmla="*/ 6 h 35"/>
                <a:gd name="T44" fmla="*/ 17 w 66"/>
                <a:gd name="T45" fmla="*/ 8 h 35"/>
                <a:gd name="T46" fmla="*/ 15 w 66"/>
                <a:gd name="T47" fmla="*/ 10 h 35"/>
                <a:gd name="T48" fmla="*/ 11 w 66"/>
                <a:gd name="T49" fmla="*/ 13 h 35"/>
                <a:gd name="T50" fmla="*/ 9 w 66"/>
                <a:gd name="T51" fmla="*/ 17 h 35"/>
                <a:gd name="T52" fmla="*/ 5 w 66"/>
                <a:gd name="T53" fmla="*/ 21 h 35"/>
                <a:gd name="T54" fmla="*/ 2 w 66"/>
                <a:gd name="T55" fmla="*/ 23 h 35"/>
                <a:gd name="T56" fmla="*/ 2 w 66"/>
                <a:gd name="T57" fmla="*/ 25 h 35"/>
                <a:gd name="T58" fmla="*/ 0 w 66"/>
                <a:gd name="T59" fmla="*/ 27 h 35"/>
                <a:gd name="T60" fmla="*/ 2 w 66"/>
                <a:gd name="T61" fmla="*/ 29 h 35"/>
                <a:gd name="T62" fmla="*/ 5 w 66"/>
                <a:gd name="T63" fmla="*/ 27 h 35"/>
                <a:gd name="T64" fmla="*/ 7 w 66"/>
                <a:gd name="T65" fmla="*/ 25 h 35"/>
                <a:gd name="T66" fmla="*/ 13 w 66"/>
                <a:gd name="T67" fmla="*/ 25 h 35"/>
                <a:gd name="T68" fmla="*/ 13 w 66"/>
                <a:gd name="T69" fmla="*/ 25 h 35"/>
                <a:gd name="T70" fmla="*/ 13 w 66"/>
                <a:gd name="T71" fmla="*/ 29 h 35"/>
                <a:gd name="T72" fmla="*/ 15 w 66"/>
                <a:gd name="T73" fmla="*/ 31 h 35"/>
                <a:gd name="T74" fmla="*/ 17 w 66"/>
                <a:gd name="T75" fmla="*/ 33 h 35"/>
                <a:gd name="T76" fmla="*/ 23 w 66"/>
                <a:gd name="T77" fmla="*/ 33 h 35"/>
                <a:gd name="T78" fmla="*/ 27 w 66"/>
                <a:gd name="T79" fmla="*/ 33 h 35"/>
                <a:gd name="T80" fmla="*/ 31 w 66"/>
                <a:gd name="T81" fmla="*/ 31 h 35"/>
                <a:gd name="T82" fmla="*/ 31 w 66"/>
                <a:gd name="T83" fmla="*/ 27 h 35"/>
                <a:gd name="T84" fmla="*/ 35 w 66"/>
                <a:gd name="T85" fmla="*/ 25 h 35"/>
                <a:gd name="T86" fmla="*/ 37 w 66"/>
                <a:gd name="T87" fmla="*/ 23 h 35"/>
                <a:gd name="T88" fmla="*/ 37 w 66"/>
                <a:gd name="T89" fmla="*/ 27 h 35"/>
                <a:gd name="T90" fmla="*/ 41 w 66"/>
                <a:gd name="T91" fmla="*/ 31 h 35"/>
                <a:gd name="T92" fmla="*/ 44 w 66"/>
                <a:gd name="T93" fmla="*/ 33 h 35"/>
                <a:gd name="T94" fmla="*/ 46 w 66"/>
                <a:gd name="T95" fmla="*/ 35 h 35"/>
                <a:gd name="T96" fmla="*/ 46 w 66"/>
                <a:gd name="T97" fmla="*/ 31 h 35"/>
                <a:gd name="T98" fmla="*/ 46 w 66"/>
                <a:gd name="T99" fmla="*/ 29 h 35"/>
                <a:gd name="T100" fmla="*/ 50 w 66"/>
                <a:gd name="T101" fmla="*/ 25 h 35"/>
                <a:gd name="T102" fmla="*/ 52 w 66"/>
                <a:gd name="T103" fmla="*/ 23 h 35"/>
                <a:gd name="T104" fmla="*/ 52 w 66"/>
                <a:gd name="T105" fmla="*/ 25 h 35"/>
                <a:gd name="T106" fmla="*/ 54 w 66"/>
                <a:gd name="T107" fmla="*/ 27 h 35"/>
                <a:gd name="T108" fmla="*/ 58 w 66"/>
                <a:gd name="T109" fmla="*/ 25 h 35"/>
                <a:gd name="T110" fmla="*/ 60 w 66"/>
                <a:gd name="T111" fmla="*/ 27 h 35"/>
                <a:gd name="T112" fmla="*/ 62 w 66"/>
                <a:gd name="T113" fmla="*/ 27 h 35"/>
                <a:gd name="T114" fmla="*/ 60 w 66"/>
                <a:gd name="T115" fmla="*/ 23 h 35"/>
                <a:gd name="T116" fmla="*/ 60 w 66"/>
                <a:gd name="T117" fmla="*/ 21 h 35"/>
                <a:gd name="T118" fmla="*/ 64 w 66"/>
                <a:gd name="T119" fmla="*/ 21 h 35"/>
                <a:gd name="T120" fmla="*/ 66 w 66"/>
                <a:gd name="T121" fmla="*/ 21 h 35"/>
                <a:gd name="T122" fmla="*/ 66 w 66"/>
                <a:gd name="T12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" h="35">
                  <a:moveTo>
                    <a:pt x="66" y="17"/>
                  </a:moveTo>
                  <a:lnTo>
                    <a:pt x="66" y="15"/>
                  </a:lnTo>
                  <a:lnTo>
                    <a:pt x="66" y="15"/>
                  </a:lnTo>
                  <a:lnTo>
                    <a:pt x="64" y="15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0" y="15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8" y="13"/>
                  </a:lnTo>
                  <a:lnTo>
                    <a:pt x="56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0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5" y="2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5" y="8"/>
                  </a:lnTo>
                  <a:lnTo>
                    <a:pt x="15" y="10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7"/>
                  </a:lnTo>
                  <a:lnTo>
                    <a:pt x="9" y="19"/>
                  </a:lnTo>
                  <a:lnTo>
                    <a:pt x="7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5" y="25"/>
                  </a:lnTo>
                  <a:lnTo>
                    <a:pt x="2" y="25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5" y="29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7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5" y="29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1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3" y="25"/>
                  </a:lnTo>
                  <a:lnTo>
                    <a:pt x="35" y="25"/>
                  </a:lnTo>
                  <a:lnTo>
                    <a:pt x="35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6" y="35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5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6" y="1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11DB4991-DFF9-4742-8B0B-3EBB5BACC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2268" y="2067330"/>
              <a:ext cx="187765" cy="269764"/>
            </a:xfrm>
            <a:custGeom>
              <a:avLst/>
              <a:gdLst>
                <a:gd name="T0" fmla="*/ 70 w 158"/>
                <a:gd name="T1" fmla="*/ 206 h 227"/>
                <a:gd name="T2" fmla="*/ 78 w 158"/>
                <a:gd name="T3" fmla="*/ 194 h 227"/>
                <a:gd name="T4" fmla="*/ 93 w 158"/>
                <a:gd name="T5" fmla="*/ 187 h 227"/>
                <a:gd name="T6" fmla="*/ 95 w 158"/>
                <a:gd name="T7" fmla="*/ 198 h 227"/>
                <a:gd name="T8" fmla="*/ 101 w 158"/>
                <a:gd name="T9" fmla="*/ 190 h 227"/>
                <a:gd name="T10" fmla="*/ 105 w 158"/>
                <a:gd name="T11" fmla="*/ 183 h 227"/>
                <a:gd name="T12" fmla="*/ 93 w 158"/>
                <a:gd name="T13" fmla="*/ 163 h 227"/>
                <a:gd name="T14" fmla="*/ 97 w 158"/>
                <a:gd name="T15" fmla="*/ 155 h 227"/>
                <a:gd name="T16" fmla="*/ 152 w 158"/>
                <a:gd name="T17" fmla="*/ 44 h 227"/>
                <a:gd name="T18" fmla="*/ 154 w 158"/>
                <a:gd name="T19" fmla="*/ 35 h 227"/>
                <a:gd name="T20" fmla="*/ 150 w 158"/>
                <a:gd name="T21" fmla="*/ 27 h 227"/>
                <a:gd name="T22" fmla="*/ 148 w 158"/>
                <a:gd name="T23" fmla="*/ 23 h 227"/>
                <a:gd name="T24" fmla="*/ 142 w 158"/>
                <a:gd name="T25" fmla="*/ 13 h 227"/>
                <a:gd name="T26" fmla="*/ 122 w 158"/>
                <a:gd name="T27" fmla="*/ 7 h 227"/>
                <a:gd name="T28" fmla="*/ 105 w 158"/>
                <a:gd name="T29" fmla="*/ 0 h 227"/>
                <a:gd name="T30" fmla="*/ 105 w 158"/>
                <a:gd name="T31" fmla="*/ 11 h 227"/>
                <a:gd name="T32" fmla="*/ 83 w 158"/>
                <a:gd name="T33" fmla="*/ 9 h 227"/>
                <a:gd name="T34" fmla="*/ 64 w 158"/>
                <a:gd name="T35" fmla="*/ 23 h 227"/>
                <a:gd name="T36" fmla="*/ 62 w 158"/>
                <a:gd name="T37" fmla="*/ 31 h 227"/>
                <a:gd name="T38" fmla="*/ 41 w 158"/>
                <a:gd name="T39" fmla="*/ 46 h 227"/>
                <a:gd name="T40" fmla="*/ 33 w 158"/>
                <a:gd name="T41" fmla="*/ 68 h 227"/>
                <a:gd name="T42" fmla="*/ 31 w 158"/>
                <a:gd name="T43" fmla="*/ 81 h 227"/>
                <a:gd name="T44" fmla="*/ 13 w 158"/>
                <a:gd name="T45" fmla="*/ 89 h 227"/>
                <a:gd name="T46" fmla="*/ 13 w 158"/>
                <a:gd name="T47" fmla="*/ 103 h 227"/>
                <a:gd name="T48" fmla="*/ 21 w 158"/>
                <a:gd name="T49" fmla="*/ 124 h 227"/>
                <a:gd name="T50" fmla="*/ 15 w 158"/>
                <a:gd name="T51" fmla="*/ 132 h 227"/>
                <a:gd name="T52" fmla="*/ 13 w 158"/>
                <a:gd name="T53" fmla="*/ 148 h 227"/>
                <a:gd name="T54" fmla="*/ 7 w 158"/>
                <a:gd name="T55" fmla="*/ 161 h 227"/>
                <a:gd name="T56" fmla="*/ 0 w 158"/>
                <a:gd name="T57" fmla="*/ 165 h 227"/>
                <a:gd name="T58" fmla="*/ 7 w 158"/>
                <a:gd name="T59" fmla="*/ 181 h 227"/>
                <a:gd name="T60" fmla="*/ 19 w 158"/>
                <a:gd name="T61" fmla="*/ 200 h 227"/>
                <a:gd name="T62" fmla="*/ 21 w 158"/>
                <a:gd name="T63" fmla="*/ 210 h 227"/>
                <a:gd name="T64" fmla="*/ 25 w 158"/>
                <a:gd name="T65" fmla="*/ 220 h 227"/>
                <a:gd name="T66" fmla="*/ 41 w 158"/>
                <a:gd name="T67" fmla="*/ 220 h 227"/>
                <a:gd name="T68" fmla="*/ 48 w 158"/>
                <a:gd name="T69" fmla="*/ 212 h 227"/>
                <a:gd name="T70" fmla="*/ 68 w 158"/>
                <a:gd name="T71" fmla="*/ 204 h 227"/>
                <a:gd name="T72" fmla="*/ 72 w 158"/>
                <a:gd name="T73" fmla="*/ 187 h 227"/>
                <a:gd name="T74" fmla="*/ 74 w 158"/>
                <a:gd name="T75" fmla="*/ 173 h 227"/>
                <a:gd name="T76" fmla="*/ 76 w 158"/>
                <a:gd name="T77" fmla="*/ 169 h 227"/>
                <a:gd name="T78" fmla="*/ 93 w 158"/>
                <a:gd name="T79" fmla="*/ 161 h 227"/>
                <a:gd name="T80" fmla="*/ 93 w 158"/>
                <a:gd name="T81" fmla="*/ 157 h 227"/>
                <a:gd name="T82" fmla="*/ 97 w 158"/>
                <a:gd name="T83" fmla="*/ 155 h 227"/>
                <a:gd name="T84" fmla="*/ 97 w 158"/>
                <a:gd name="T85" fmla="*/ 144 h 227"/>
                <a:gd name="T86" fmla="*/ 83 w 158"/>
                <a:gd name="T87" fmla="*/ 138 h 227"/>
                <a:gd name="T88" fmla="*/ 76 w 158"/>
                <a:gd name="T89" fmla="*/ 130 h 227"/>
                <a:gd name="T90" fmla="*/ 76 w 158"/>
                <a:gd name="T91" fmla="*/ 120 h 227"/>
                <a:gd name="T92" fmla="*/ 80 w 158"/>
                <a:gd name="T93" fmla="*/ 109 h 227"/>
                <a:gd name="T94" fmla="*/ 83 w 158"/>
                <a:gd name="T95" fmla="*/ 105 h 227"/>
                <a:gd name="T96" fmla="*/ 85 w 158"/>
                <a:gd name="T97" fmla="*/ 99 h 227"/>
                <a:gd name="T98" fmla="*/ 91 w 158"/>
                <a:gd name="T99" fmla="*/ 99 h 227"/>
                <a:gd name="T100" fmla="*/ 95 w 158"/>
                <a:gd name="T101" fmla="*/ 93 h 227"/>
                <a:gd name="T102" fmla="*/ 103 w 158"/>
                <a:gd name="T103" fmla="*/ 89 h 227"/>
                <a:gd name="T104" fmla="*/ 115 w 158"/>
                <a:gd name="T105" fmla="*/ 85 h 227"/>
                <a:gd name="T106" fmla="*/ 126 w 158"/>
                <a:gd name="T107" fmla="*/ 70 h 227"/>
                <a:gd name="T108" fmla="*/ 128 w 158"/>
                <a:gd name="T109" fmla="*/ 60 h 227"/>
                <a:gd name="T110" fmla="*/ 128 w 158"/>
                <a:gd name="T111" fmla="*/ 58 h 227"/>
                <a:gd name="T112" fmla="*/ 134 w 158"/>
                <a:gd name="T113" fmla="*/ 56 h 227"/>
                <a:gd name="T114" fmla="*/ 138 w 158"/>
                <a:gd name="T115" fmla="*/ 50 h 227"/>
                <a:gd name="T116" fmla="*/ 152 w 158"/>
                <a:gd name="T117" fmla="*/ 5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8" h="227">
                  <a:moveTo>
                    <a:pt x="78" y="192"/>
                  </a:moveTo>
                  <a:lnTo>
                    <a:pt x="78" y="192"/>
                  </a:lnTo>
                  <a:lnTo>
                    <a:pt x="76" y="192"/>
                  </a:lnTo>
                  <a:lnTo>
                    <a:pt x="76" y="194"/>
                  </a:lnTo>
                  <a:lnTo>
                    <a:pt x="76" y="194"/>
                  </a:lnTo>
                  <a:lnTo>
                    <a:pt x="76" y="196"/>
                  </a:lnTo>
                  <a:lnTo>
                    <a:pt x="74" y="200"/>
                  </a:lnTo>
                  <a:lnTo>
                    <a:pt x="72" y="200"/>
                  </a:lnTo>
                  <a:lnTo>
                    <a:pt x="70" y="204"/>
                  </a:lnTo>
                  <a:lnTo>
                    <a:pt x="70" y="206"/>
                  </a:lnTo>
                  <a:lnTo>
                    <a:pt x="70" y="210"/>
                  </a:lnTo>
                  <a:lnTo>
                    <a:pt x="70" y="210"/>
                  </a:lnTo>
                  <a:lnTo>
                    <a:pt x="70" y="210"/>
                  </a:lnTo>
                  <a:lnTo>
                    <a:pt x="72" y="210"/>
                  </a:lnTo>
                  <a:lnTo>
                    <a:pt x="74" y="202"/>
                  </a:lnTo>
                  <a:lnTo>
                    <a:pt x="76" y="200"/>
                  </a:lnTo>
                  <a:lnTo>
                    <a:pt x="76" y="198"/>
                  </a:lnTo>
                  <a:lnTo>
                    <a:pt x="78" y="194"/>
                  </a:lnTo>
                  <a:lnTo>
                    <a:pt x="78" y="194"/>
                  </a:lnTo>
                  <a:lnTo>
                    <a:pt x="78" y="194"/>
                  </a:lnTo>
                  <a:lnTo>
                    <a:pt x="78" y="192"/>
                  </a:lnTo>
                  <a:lnTo>
                    <a:pt x="78" y="192"/>
                  </a:lnTo>
                  <a:close/>
                  <a:moveTo>
                    <a:pt x="101" y="181"/>
                  </a:moveTo>
                  <a:lnTo>
                    <a:pt x="101" y="181"/>
                  </a:lnTo>
                  <a:lnTo>
                    <a:pt x="101" y="183"/>
                  </a:lnTo>
                  <a:lnTo>
                    <a:pt x="99" y="183"/>
                  </a:lnTo>
                  <a:lnTo>
                    <a:pt x="97" y="183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3" y="187"/>
                  </a:lnTo>
                  <a:lnTo>
                    <a:pt x="93" y="187"/>
                  </a:lnTo>
                  <a:lnTo>
                    <a:pt x="93" y="190"/>
                  </a:lnTo>
                  <a:lnTo>
                    <a:pt x="93" y="192"/>
                  </a:lnTo>
                  <a:lnTo>
                    <a:pt x="93" y="194"/>
                  </a:lnTo>
                  <a:lnTo>
                    <a:pt x="93" y="194"/>
                  </a:lnTo>
                  <a:lnTo>
                    <a:pt x="93" y="196"/>
                  </a:lnTo>
                  <a:lnTo>
                    <a:pt x="95" y="196"/>
                  </a:lnTo>
                  <a:lnTo>
                    <a:pt x="93" y="198"/>
                  </a:lnTo>
                  <a:lnTo>
                    <a:pt x="93" y="200"/>
                  </a:lnTo>
                  <a:lnTo>
                    <a:pt x="95" y="198"/>
                  </a:lnTo>
                  <a:lnTo>
                    <a:pt x="95" y="198"/>
                  </a:lnTo>
                  <a:lnTo>
                    <a:pt x="97" y="196"/>
                  </a:lnTo>
                  <a:lnTo>
                    <a:pt x="97" y="196"/>
                  </a:lnTo>
                  <a:lnTo>
                    <a:pt x="97" y="194"/>
                  </a:lnTo>
                  <a:lnTo>
                    <a:pt x="99" y="194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3" y="192"/>
                  </a:lnTo>
                  <a:lnTo>
                    <a:pt x="101" y="190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3" y="185"/>
                  </a:lnTo>
                  <a:lnTo>
                    <a:pt x="103" y="183"/>
                  </a:lnTo>
                  <a:lnTo>
                    <a:pt x="105" y="183"/>
                  </a:lnTo>
                  <a:lnTo>
                    <a:pt x="103" y="181"/>
                  </a:lnTo>
                  <a:lnTo>
                    <a:pt x="101" y="181"/>
                  </a:lnTo>
                  <a:close/>
                  <a:moveTo>
                    <a:pt x="105" y="181"/>
                  </a:moveTo>
                  <a:lnTo>
                    <a:pt x="103" y="181"/>
                  </a:lnTo>
                  <a:lnTo>
                    <a:pt x="105" y="183"/>
                  </a:lnTo>
                  <a:lnTo>
                    <a:pt x="105" y="183"/>
                  </a:lnTo>
                  <a:lnTo>
                    <a:pt x="105" y="181"/>
                  </a:lnTo>
                  <a:lnTo>
                    <a:pt x="107" y="181"/>
                  </a:lnTo>
                  <a:lnTo>
                    <a:pt x="107" y="181"/>
                  </a:lnTo>
                  <a:lnTo>
                    <a:pt x="105" y="181"/>
                  </a:lnTo>
                  <a:close/>
                  <a:moveTo>
                    <a:pt x="95" y="161"/>
                  </a:moveTo>
                  <a:lnTo>
                    <a:pt x="95" y="161"/>
                  </a:lnTo>
                  <a:lnTo>
                    <a:pt x="95" y="163"/>
                  </a:lnTo>
                  <a:lnTo>
                    <a:pt x="95" y="163"/>
                  </a:lnTo>
                  <a:lnTo>
                    <a:pt x="93" y="163"/>
                  </a:lnTo>
                  <a:lnTo>
                    <a:pt x="95" y="163"/>
                  </a:lnTo>
                  <a:lnTo>
                    <a:pt x="95" y="163"/>
                  </a:lnTo>
                  <a:lnTo>
                    <a:pt x="95" y="161"/>
                  </a:lnTo>
                  <a:close/>
                  <a:moveTo>
                    <a:pt x="97" y="155"/>
                  </a:moveTo>
                  <a:lnTo>
                    <a:pt x="97" y="155"/>
                  </a:lnTo>
                  <a:lnTo>
                    <a:pt x="97" y="155"/>
                  </a:lnTo>
                  <a:lnTo>
                    <a:pt x="95" y="155"/>
                  </a:lnTo>
                  <a:lnTo>
                    <a:pt x="97" y="157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close/>
                  <a:moveTo>
                    <a:pt x="156" y="48"/>
                  </a:moveTo>
                  <a:lnTo>
                    <a:pt x="156" y="48"/>
                  </a:lnTo>
                  <a:lnTo>
                    <a:pt x="154" y="46"/>
                  </a:lnTo>
                  <a:lnTo>
                    <a:pt x="152" y="46"/>
                  </a:lnTo>
                  <a:lnTo>
                    <a:pt x="152" y="44"/>
                  </a:lnTo>
                  <a:lnTo>
                    <a:pt x="152" y="44"/>
                  </a:lnTo>
                  <a:lnTo>
                    <a:pt x="152" y="44"/>
                  </a:lnTo>
                  <a:lnTo>
                    <a:pt x="152" y="41"/>
                  </a:lnTo>
                  <a:lnTo>
                    <a:pt x="152" y="41"/>
                  </a:lnTo>
                  <a:lnTo>
                    <a:pt x="152" y="39"/>
                  </a:lnTo>
                  <a:lnTo>
                    <a:pt x="152" y="39"/>
                  </a:lnTo>
                  <a:lnTo>
                    <a:pt x="154" y="39"/>
                  </a:lnTo>
                  <a:lnTo>
                    <a:pt x="154" y="37"/>
                  </a:lnTo>
                  <a:lnTo>
                    <a:pt x="154" y="37"/>
                  </a:lnTo>
                  <a:lnTo>
                    <a:pt x="154" y="35"/>
                  </a:lnTo>
                  <a:lnTo>
                    <a:pt x="154" y="35"/>
                  </a:lnTo>
                  <a:lnTo>
                    <a:pt x="154" y="35"/>
                  </a:lnTo>
                  <a:lnTo>
                    <a:pt x="154" y="33"/>
                  </a:lnTo>
                  <a:lnTo>
                    <a:pt x="152" y="33"/>
                  </a:lnTo>
                  <a:lnTo>
                    <a:pt x="152" y="31"/>
                  </a:lnTo>
                  <a:lnTo>
                    <a:pt x="150" y="31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50" y="27"/>
                  </a:lnTo>
                  <a:lnTo>
                    <a:pt x="150" y="27"/>
                  </a:lnTo>
                  <a:lnTo>
                    <a:pt x="150" y="27"/>
                  </a:lnTo>
                  <a:lnTo>
                    <a:pt x="150" y="25"/>
                  </a:lnTo>
                  <a:lnTo>
                    <a:pt x="150" y="25"/>
                  </a:lnTo>
                  <a:lnTo>
                    <a:pt x="148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3"/>
                  </a:lnTo>
                  <a:lnTo>
                    <a:pt x="148" y="23"/>
                  </a:lnTo>
                  <a:lnTo>
                    <a:pt x="148" y="23"/>
                  </a:lnTo>
                  <a:lnTo>
                    <a:pt x="148" y="23"/>
                  </a:lnTo>
                  <a:lnTo>
                    <a:pt x="146" y="21"/>
                  </a:lnTo>
                  <a:lnTo>
                    <a:pt x="146" y="19"/>
                  </a:lnTo>
                  <a:lnTo>
                    <a:pt x="146" y="19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146" y="17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2" y="15"/>
                  </a:lnTo>
                  <a:lnTo>
                    <a:pt x="142" y="13"/>
                  </a:lnTo>
                  <a:lnTo>
                    <a:pt x="140" y="11"/>
                  </a:lnTo>
                  <a:lnTo>
                    <a:pt x="138" y="11"/>
                  </a:lnTo>
                  <a:lnTo>
                    <a:pt x="138" y="11"/>
                  </a:lnTo>
                  <a:lnTo>
                    <a:pt x="132" y="9"/>
                  </a:lnTo>
                  <a:lnTo>
                    <a:pt x="130" y="9"/>
                  </a:lnTo>
                  <a:lnTo>
                    <a:pt x="128" y="9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4" y="7"/>
                  </a:lnTo>
                  <a:lnTo>
                    <a:pt x="122" y="7"/>
                  </a:lnTo>
                  <a:lnTo>
                    <a:pt x="122" y="4"/>
                  </a:lnTo>
                  <a:lnTo>
                    <a:pt x="119" y="4"/>
                  </a:lnTo>
                  <a:lnTo>
                    <a:pt x="117" y="2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5" y="0"/>
                  </a:lnTo>
                  <a:lnTo>
                    <a:pt x="113" y="0"/>
                  </a:lnTo>
                  <a:lnTo>
                    <a:pt x="111" y="0"/>
                  </a:lnTo>
                  <a:lnTo>
                    <a:pt x="109" y="0"/>
                  </a:lnTo>
                  <a:lnTo>
                    <a:pt x="105" y="0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7" y="4"/>
                  </a:lnTo>
                  <a:lnTo>
                    <a:pt x="107" y="7"/>
                  </a:lnTo>
                  <a:lnTo>
                    <a:pt x="105" y="7"/>
                  </a:lnTo>
                  <a:lnTo>
                    <a:pt x="103" y="9"/>
                  </a:lnTo>
                  <a:lnTo>
                    <a:pt x="107" y="9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3" y="11"/>
                  </a:lnTo>
                  <a:lnTo>
                    <a:pt x="101" y="11"/>
                  </a:lnTo>
                  <a:lnTo>
                    <a:pt x="95" y="9"/>
                  </a:lnTo>
                  <a:lnTo>
                    <a:pt x="93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85" y="7"/>
                  </a:lnTo>
                  <a:lnTo>
                    <a:pt x="85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0" y="17"/>
                  </a:lnTo>
                  <a:lnTo>
                    <a:pt x="76" y="15"/>
                  </a:lnTo>
                  <a:lnTo>
                    <a:pt x="72" y="15"/>
                  </a:lnTo>
                  <a:lnTo>
                    <a:pt x="72" y="17"/>
                  </a:lnTo>
                  <a:lnTo>
                    <a:pt x="66" y="19"/>
                  </a:lnTo>
                  <a:lnTo>
                    <a:pt x="64" y="23"/>
                  </a:lnTo>
                  <a:lnTo>
                    <a:pt x="64" y="23"/>
                  </a:lnTo>
                  <a:lnTo>
                    <a:pt x="64" y="23"/>
                  </a:lnTo>
                  <a:lnTo>
                    <a:pt x="62" y="23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4" y="29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0" y="33"/>
                  </a:lnTo>
                  <a:lnTo>
                    <a:pt x="56" y="35"/>
                  </a:lnTo>
                  <a:lnTo>
                    <a:pt x="54" y="39"/>
                  </a:lnTo>
                  <a:lnTo>
                    <a:pt x="52" y="39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6" y="46"/>
                  </a:lnTo>
                  <a:lnTo>
                    <a:pt x="41" y="46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1" y="54"/>
                  </a:lnTo>
                  <a:lnTo>
                    <a:pt x="41" y="60"/>
                  </a:lnTo>
                  <a:lnTo>
                    <a:pt x="39" y="60"/>
                  </a:lnTo>
                  <a:lnTo>
                    <a:pt x="39" y="62"/>
                  </a:lnTo>
                  <a:lnTo>
                    <a:pt x="35" y="64"/>
                  </a:lnTo>
                  <a:lnTo>
                    <a:pt x="33" y="68"/>
                  </a:lnTo>
                  <a:lnTo>
                    <a:pt x="31" y="70"/>
                  </a:lnTo>
                  <a:lnTo>
                    <a:pt x="33" y="72"/>
                  </a:lnTo>
                  <a:lnTo>
                    <a:pt x="35" y="72"/>
                  </a:lnTo>
                  <a:lnTo>
                    <a:pt x="37" y="74"/>
                  </a:lnTo>
                  <a:lnTo>
                    <a:pt x="37" y="76"/>
                  </a:lnTo>
                  <a:lnTo>
                    <a:pt x="37" y="79"/>
                  </a:lnTo>
                  <a:lnTo>
                    <a:pt x="35" y="79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1" y="81"/>
                  </a:lnTo>
                  <a:lnTo>
                    <a:pt x="27" y="79"/>
                  </a:lnTo>
                  <a:lnTo>
                    <a:pt x="25" y="79"/>
                  </a:lnTo>
                  <a:lnTo>
                    <a:pt x="23" y="79"/>
                  </a:lnTo>
                  <a:lnTo>
                    <a:pt x="21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7" y="83"/>
                  </a:lnTo>
                  <a:lnTo>
                    <a:pt x="15" y="85"/>
                  </a:lnTo>
                  <a:lnTo>
                    <a:pt x="13" y="87"/>
                  </a:lnTo>
                  <a:lnTo>
                    <a:pt x="13" y="89"/>
                  </a:lnTo>
                  <a:lnTo>
                    <a:pt x="11" y="93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9"/>
                  </a:lnTo>
                  <a:lnTo>
                    <a:pt x="13" y="101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5" y="111"/>
                  </a:lnTo>
                  <a:lnTo>
                    <a:pt x="13" y="113"/>
                  </a:lnTo>
                  <a:lnTo>
                    <a:pt x="13" y="118"/>
                  </a:lnTo>
                  <a:lnTo>
                    <a:pt x="15" y="120"/>
                  </a:lnTo>
                  <a:lnTo>
                    <a:pt x="17" y="120"/>
                  </a:lnTo>
                  <a:lnTo>
                    <a:pt x="19" y="122"/>
                  </a:lnTo>
                  <a:lnTo>
                    <a:pt x="21" y="122"/>
                  </a:lnTo>
                  <a:lnTo>
                    <a:pt x="21" y="124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1" y="128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19" y="130"/>
                  </a:lnTo>
                  <a:lnTo>
                    <a:pt x="17" y="130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32"/>
                  </a:lnTo>
                  <a:lnTo>
                    <a:pt x="17" y="134"/>
                  </a:lnTo>
                  <a:lnTo>
                    <a:pt x="17" y="138"/>
                  </a:lnTo>
                  <a:lnTo>
                    <a:pt x="19" y="138"/>
                  </a:lnTo>
                  <a:lnTo>
                    <a:pt x="17" y="140"/>
                  </a:lnTo>
                  <a:lnTo>
                    <a:pt x="17" y="142"/>
                  </a:lnTo>
                  <a:lnTo>
                    <a:pt x="17" y="142"/>
                  </a:lnTo>
                  <a:lnTo>
                    <a:pt x="17" y="144"/>
                  </a:lnTo>
                  <a:lnTo>
                    <a:pt x="17" y="146"/>
                  </a:lnTo>
                  <a:lnTo>
                    <a:pt x="15" y="146"/>
                  </a:lnTo>
                  <a:lnTo>
                    <a:pt x="13" y="148"/>
                  </a:lnTo>
                  <a:lnTo>
                    <a:pt x="11" y="148"/>
                  </a:lnTo>
                  <a:lnTo>
                    <a:pt x="11" y="148"/>
                  </a:lnTo>
                  <a:lnTo>
                    <a:pt x="11" y="148"/>
                  </a:lnTo>
                  <a:lnTo>
                    <a:pt x="9" y="150"/>
                  </a:lnTo>
                  <a:lnTo>
                    <a:pt x="9" y="153"/>
                  </a:lnTo>
                  <a:lnTo>
                    <a:pt x="7" y="153"/>
                  </a:lnTo>
                  <a:lnTo>
                    <a:pt x="7" y="155"/>
                  </a:lnTo>
                  <a:lnTo>
                    <a:pt x="7" y="157"/>
                  </a:lnTo>
                  <a:lnTo>
                    <a:pt x="9" y="159"/>
                  </a:lnTo>
                  <a:lnTo>
                    <a:pt x="7" y="161"/>
                  </a:lnTo>
                  <a:lnTo>
                    <a:pt x="7" y="163"/>
                  </a:lnTo>
                  <a:lnTo>
                    <a:pt x="7" y="165"/>
                  </a:lnTo>
                  <a:lnTo>
                    <a:pt x="5" y="165"/>
                  </a:lnTo>
                  <a:lnTo>
                    <a:pt x="5" y="165"/>
                  </a:lnTo>
                  <a:lnTo>
                    <a:pt x="2" y="163"/>
                  </a:lnTo>
                  <a:lnTo>
                    <a:pt x="2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0" y="169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2" y="173"/>
                  </a:lnTo>
                  <a:lnTo>
                    <a:pt x="2" y="175"/>
                  </a:lnTo>
                  <a:lnTo>
                    <a:pt x="5" y="179"/>
                  </a:lnTo>
                  <a:lnTo>
                    <a:pt x="5" y="181"/>
                  </a:lnTo>
                  <a:lnTo>
                    <a:pt x="7" y="181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9" y="185"/>
                  </a:lnTo>
                  <a:lnTo>
                    <a:pt x="9" y="187"/>
                  </a:lnTo>
                  <a:lnTo>
                    <a:pt x="11" y="190"/>
                  </a:lnTo>
                  <a:lnTo>
                    <a:pt x="11" y="190"/>
                  </a:lnTo>
                  <a:lnTo>
                    <a:pt x="13" y="190"/>
                  </a:lnTo>
                  <a:lnTo>
                    <a:pt x="13" y="194"/>
                  </a:lnTo>
                  <a:lnTo>
                    <a:pt x="17" y="200"/>
                  </a:lnTo>
                  <a:lnTo>
                    <a:pt x="19" y="200"/>
                  </a:lnTo>
                  <a:lnTo>
                    <a:pt x="21" y="204"/>
                  </a:lnTo>
                  <a:lnTo>
                    <a:pt x="21" y="204"/>
                  </a:lnTo>
                  <a:lnTo>
                    <a:pt x="23" y="204"/>
                  </a:lnTo>
                  <a:lnTo>
                    <a:pt x="23" y="206"/>
                  </a:lnTo>
                  <a:lnTo>
                    <a:pt x="23" y="206"/>
                  </a:lnTo>
                  <a:lnTo>
                    <a:pt x="21" y="206"/>
                  </a:lnTo>
                  <a:lnTo>
                    <a:pt x="19" y="208"/>
                  </a:lnTo>
                  <a:lnTo>
                    <a:pt x="21" y="208"/>
                  </a:lnTo>
                  <a:lnTo>
                    <a:pt x="21" y="208"/>
                  </a:lnTo>
                  <a:lnTo>
                    <a:pt x="21" y="210"/>
                  </a:lnTo>
                  <a:lnTo>
                    <a:pt x="21" y="210"/>
                  </a:lnTo>
                  <a:lnTo>
                    <a:pt x="21" y="210"/>
                  </a:lnTo>
                  <a:lnTo>
                    <a:pt x="19" y="210"/>
                  </a:lnTo>
                  <a:lnTo>
                    <a:pt x="17" y="210"/>
                  </a:lnTo>
                  <a:lnTo>
                    <a:pt x="19" y="210"/>
                  </a:lnTo>
                  <a:lnTo>
                    <a:pt x="19" y="212"/>
                  </a:lnTo>
                  <a:lnTo>
                    <a:pt x="23" y="216"/>
                  </a:lnTo>
                  <a:lnTo>
                    <a:pt x="23" y="218"/>
                  </a:lnTo>
                  <a:lnTo>
                    <a:pt x="25" y="218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3" y="222"/>
                  </a:lnTo>
                  <a:lnTo>
                    <a:pt x="23" y="224"/>
                  </a:lnTo>
                  <a:lnTo>
                    <a:pt x="23" y="224"/>
                  </a:lnTo>
                  <a:lnTo>
                    <a:pt x="29" y="227"/>
                  </a:lnTo>
                  <a:lnTo>
                    <a:pt x="35" y="224"/>
                  </a:lnTo>
                  <a:lnTo>
                    <a:pt x="39" y="224"/>
                  </a:lnTo>
                  <a:lnTo>
                    <a:pt x="41" y="224"/>
                  </a:lnTo>
                  <a:lnTo>
                    <a:pt x="44" y="222"/>
                  </a:lnTo>
                  <a:lnTo>
                    <a:pt x="41" y="220"/>
                  </a:lnTo>
                  <a:lnTo>
                    <a:pt x="41" y="220"/>
                  </a:lnTo>
                  <a:lnTo>
                    <a:pt x="41" y="218"/>
                  </a:lnTo>
                  <a:lnTo>
                    <a:pt x="41" y="216"/>
                  </a:lnTo>
                  <a:lnTo>
                    <a:pt x="44" y="214"/>
                  </a:lnTo>
                  <a:lnTo>
                    <a:pt x="44" y="214"/>
                  </a:lnTo>
                  <a:lnTo>
                    <a:pt x="46" y="214"/>
                  </a:lnTo>
                  <a:lnTo>
                    <a:pt x="48" y="214"/>
                  </a:lnTo>
                  <a:lnTo>
                    <a:pt x="48" y="214"/>
                  </a:lnTo>
                  <a:lnTo>
                    <a:pt x="48" y="212"/>
                  </a:lnTo>
                  <a:lnTo>
                    <a:pt x="48" y="212"/>
                  </a:lnTo>
                  <a:lnTo>
                    <a:pt x="52" y="212"/>
                  </a:lnTo>
                  <a:lnTo>
                    <a:pt x="56" y="212"/>
                  </a:lnTo>
                  <a:lnTo>
                    <a:pt x="58" y="212"/>
                  </a:lnTo>
                  <a:lnTo>
                    <a:pt x="60" y="212"/>
                  </a:lnTo>
                  <a:lnTo>
                    <a:pt x="62" y="212"/>
                  </a:lnTo>
                  <a:lnTo>
                    <a:pt x="62" y="212"/>
                  </a:lnTo>
                  <a:lnTo>
                    <a:pt x="64" y="212"/>
                  </a:lnTo>
                  <a:lnTo>
                    <a:pt x="64" y="210"/>
                  </a:lnTo>
                  <a:lnTo>
                    <a:pt x="66" y="206"/>
                  </a:lnTo>
                  <a:lnTo>
                    <a:pt x="68" y="204"/>
                  </a:lnTo>
                  <a:lnTo>
                    <a:pt x="68" y="202"/>
                  </a:lnTo>
                  <a:lnTo>
                    <a:pt x="70" y="200"/>
                  </a:lnTo>
                  <a:lnTo>
                    <a:pt x="70" y="198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4"/>
                  </a:lnTo>
                  <a:lnTo>
                    <a:pt x="70" y="194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72" y="185"/>
                  </a:lnTo>
                  <a:lnTo>
                    <a:pt x="70" y="183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77"/>
                  </a:lnTo>
                  <a:lnTo>
                    <a:pt x="74" y="177"/>
                  </a:lnTo>
                  <a:lnTo>
                    <a:pt x="72" y="175"/>
                  </a:lnTo>
                  <a:lnTo>
                    <a:pt x="72" y="173"/>
                  </a:lnTo>
                  <a:lnTo>
                    <a:pt x="74" y="173"/>
                  </a:lnTo>
                  <a:lnTo>
                    <a:pt x="76" y="171"/>
                  </a:lnTo>
                  <a:lnTo>
                    <a:pt x="74" y="171"/>
                  </a:lnTo>
                  <a:lnTo>
                    <a:pt x="72" y="171"/>
                  </a:lnTo>
                  <a:lnTo>
                    <a:pt x="70" y="169"/>
                  </a:lnTo>
                  <a:lnTo>
                    <a:pt x="68" y="171"/>
                  </a:lnTo>
                  <a:lnTo>
                    <a:pt x="68" y="169"/>
                  </a:lnTo>
                  <a:lnTo>
                    <a:pt x="66" y="169"/>
                  </a:lnTo>
                  <a:lnTo>
                    <a:pt x="68" y="169"/>
                  </a:lnTo>
                  <a:lnTo>
                    <a:pt x="72" y="169"/>
                  </a:lnTo>
                  <a:lnTo>
                    <a:pt x="76" y="169"/>
                  </a:lnTo>
                  <a:lnTo>
                    <a:pt x="78" y="169"/>
                  </a:lnTo>
                  <a:lnTo>
                    <a:pt x="80" y="167"/>
                  </a:lnTo>
                  <a:lnTo>
                    <a:pt x="83" y="165"/>
                  </a:lnTo>
                  <a:lnTo>
                    <a:pt x="85" y="165"/>
                  </a:lnTo>
                  <a:lnTo>
                    <a:pt x="87" y="165"/>
                  </a:lnTo>
                  <a:lnTo>
                    <a:pt x="87" y="165"/>
                  </a:lnTo>
                  <a:lnTo>
                    <a:pt x="89" y="163"/>
                  </a:lnTo>
                  <a:lnTo>
                    <a:pt x="91" y="163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5" y="161"/>
                  </a:lnTo>
                  <a:lnTo>
                    <a:pt x="95" y="159"/>
                  </a:lnTo>
                  <a:lnTo>
                    <a:pt x="95" y="159"/>
                  </a:lnTo>
                  <a:lnTo>
                    <a:pt x="97" y="159"/>
                  </a:lnTo>
                  <a:lnTo>
                    <a:pt x="97" y="157"/>
                  </a:lnTo>
                  <a:lnTo>
                    <a:pt x="95" y="157"/>
                  </a:lnTo>
                  <a:lnTo>
                    <a:pt x="95" y="157"/>
                  </a:lnTo>
                  <a:lnTo>
                    <a:pt x="95" y="157"/>
                  </a:lnTo>
                  <a:lnTo>
                    <a:pt x="93" y="157"/>
                  </a:lnTo>
                  <a:lnTo>
                    <a:pt x="93" y="157"/>
                  </a:lnTo>
                  <a:lnTo>
                    <a:pt x="91" y="159"/>
                  </a:lnTo>
                  <a:lnTo>
                    <a:pt x="91" y="159"/>
                  </a:lnTo>
                  <a:lnTo>
                    <a:pt x="89" y="159"/>
                  </a:lnTo>
                  <a:lnTo>
                    <a:pt x="89" y="157"/>
                  </a:lnTo>
                  <a:lnTo>
                    <a:pt x="91" y="157"/>
                  </a:lnTo>
                  <a:lnTo>
                    <a:pt x="91" y="157"/>
                  </a:lnTo>
                  <a:lnTo>
                    <a:pt x="93" y="157"/>
                  </a:lnTo>
                  <a:lnTo>
                    <a:pt x="93" y="155"/>
                  </a:lnTo>
                  <a:lnTo>
                    <a:pt x="95" y="155"/>
                  </a:lnTo>
                  <a:lnTo>
                    <a:pt x="97" y="155"/>
                  </a:lnTo>
                  <a:lnTo>
                    <a:pt x="97" y="153"/>
                  </a:lnTo>
                  <a:lnTo>
                    <a:pt x="99" y="153"/>
                  </a:lnTo>
                  <a:lnTo>
                    <a:pt x="101" y="150"/>
                  </a:lnTo>
                  <a:lnTo>
                    <a:pt x="101" y="150"/>
                  </a:lnTo>
                  <a:lnTo>
                    <a:pt x="101" y="150"/>
                  </a:lnTo>
                  <a:lnTo>
                    <a:pt x="101" y="148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7" y="144"/>
                  </a:lnTo>
                  <a:lnTo>
                    <a:pt x="95" y="144"/>
                  </a:lnTo>
                  <a:lnTo>
                    <a:pt x="95" y="142"/>
                  </a:lnTo>
                  <a:lnTo>
                    <a:pt x="93" y="140"/>
                  </a:lnTo>
                  <a:lnTo>
                    <a:pt x="91" y="140"/>
                  </a:lnTo>
                  <a:lnTo>
                    <a:pt x="91" y="140"/>
                  </a:lnTo>
                  <a:lnTo>
                    <a:pt x="89" y="138"/>
                  </a:lnTo>
                  <a:lnTo>
                    <a:pt x="87" y="136"/>
                  </a:lnTo>
                  <a:lnTo>
                    <a:pt x="87" y="136"/>
                  </a:lnTo>
                  <a:lnTo>
                    <a:pt x="85" y="138"/>
                  </a:lnTo>
                  <a:lnTo>
                    <a:pt x="83" y="138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0" y="136"/>
                  </a:lnTo>
                  <a:lnTo>
                    <a:pt x="80" y="136"/>
                  </a:lnTo>
                  <a:lnTo>
                    <a:pt x="78" y="134"/>
                  </a:lnTo>
                  <a:lnTo>
                    <a:pt x="78" y="134"/>
                  </a:lnTo>
                  <a:lnTo>
                    <a:pt x="78" y="132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6" y="128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18"/>
                  </a:lnTo>
                  <a:lnTo>
                    <a:pt x="78" y="118"/>
                  </a:lnTo>
                  <a:lnTo>
                    <a:pt x="80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6"/>
                  </a:lnTo>
                  <a:lnTo>
                    <a:pt x="78" y="113"/>
                  </a:lnTo>
                  <a:lnTo>
                    <a:pt x="80" y="113"/>
                  </a:lnTo>
                  <a:lnTo>
                    <a:pt x="80" y="111"/>
                  </a:lnTo>
                  <a:lnTo>
                    <a:pt x="80" y="109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8" y="107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80" y="105"/>
                  </a:lnTo>
                  <a:lnTo>
                    <a:pt x="80" y="105"/>
                  </a:lnTo>
                  <a:lnTo>
                    <a:pt x="83" y="105"/>
                  </a:lnTo>
                  <a:lnTo>
                    <a:pt x="83" y="105"/>
                  </a:lnTo>
                  <a:lnTo>
                    <a:pt x="85" y="105"/>
                  </a:lnTo>
                  <a:lnTo>
                    <a:pt x="85" y="103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85" y="103"/>
                  </a:lnTo>
                  <a:lnTo>
                    <a:pt x="85" y="103"/>
                  </a:lnTo>
                  <a:lnTo>
                    <a:pt x="85" y="101"/>
                  </a:lnTo>
                  <a:lnTo>
                    <a:pt x="87" y="101"/>
                  </a:lnTo>
                  <a:lnTo>
                    <a:pt x="85" y="101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7" y="99"/>
                  </a:lnTo>
                  <a:lnTo>
                    <a:pt x="87" y="99"/>
                  </a:lnTo>
                  <a:lnTo>
                    <a:pt x="87" y="101"/>
                  </a:lnTo>
                  <a:lnTo>
                    <a:pt x="89" y="101"/>
                  </a:lnTo>
                  <a:lnTo>
                    <a:pt x="89" y="99"/>
                  </a:lnTo>
                  <a:lnTo>
                    <a:pt x="89" y="99"/>
                  </a:lnTo>
                  <a:lnTo>
                    <a:pt x="91" y="99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89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3" y="95"/>
                  </a:lnTo>
                  <a:lnTo>
                    <a:pt x="93" y="95"/>
                  </a:lnTo>
                  <a:lnTo>
                    <a:pt x="93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7" y="93"/>
                  </a:lnTo>
                  <a:lnTo>
                    <a:pt x="97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9" y="93"/>
                  </a:lnTo>
                  <a:lnTo>
                    <a:pt x="101" y="91"/>
                  </a:lnTo>
                  <a:lnTo>
                    <a:pt x="101" y="89"/>
                  </a:lnTo>
                  <a:lnTo>
                    <a:pt x="103" y="89"/>
                  </a:lnTo>
                  <a:lnTo>
                    <a:pt x="103" y="89"/>
                  </a:lnTo>
                  <a:lnTo>
                    <a:pt x="103" y="89"/>
                  </a:lnTo>
                  <a:lnTo>
                    <a:pt x="103" y="89"/>
                  </a:lnTo>
                  <a:lnTo>
                    <a:pt x="105" y="89"/>
                  </a:lnTo>
                  <a:lnTo>
                    <a:pt x="105" y="89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09" y="87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5"/>
                  </a:lnTo>
                  <a:lnTo>
                    <a:pt x="117" y="83"/>
                  </a:lnTo>
                  <a:lnTo>
                    <a:pt x="119" y="83"/>
                  </a:lnTo>
                  <a:lnTo>
                    <a:pt x="122" y="76"/>
                  </a:lnTo>
                  <a:lnTo>
                    <a:pt x="126" y="76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2"/>
                  </a:lnTo>
                  <a:lnTo>
                    <a:pt x="126" y="72"/>
                  </a:lnTo>
                  <a:lnTo>
                    <a:pt x="126" y="70"/>
                  </a:lnTo>
                  <a:lnTo>
                    <a:pt x="126" y="68"/>
                  </a:lnTo>
                  <a:lnTo>
                    <a:pt x="124" y="68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4"/>
                  </a:lnTo>
                  <a:lnTo>
                    <a:pt x="126" y="64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6" y="58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32" y="58"/>
                  </a:lnTo>
                  <a:lnTo>
                    <a:pt x="132" y="58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6" y="54"/>
                  </a:lnTo>
                  <a:lnTo>
                    <a:pt x="136" y="52"/>
                  </a:lnTo>
                  <a:lnTo>
                    <a:pt x="136" y="52"/>
                  </a:lnTo>
                  <a:lnTo>
                    <a:pt x="136" y="52"/>
                  </a:lnTo>
                  <a:lnTo>
                    <a:pt x="136" y="50"/>
                  </a:lnTo>
                  <a:lnTo>
                    <a:pt x="136" y="50"/>
                  </a:lnTo>
                  <a:lnTo>
                    <a:pt x="138" y="50"/>
                  </a:lnTo>
                  <a:lnTo>
                    <a:pt x="138" y="52"/>
                  </a:lnTo>
                  <a:lnTo>
                    <a:pt x="140" y="52"/>
                  </a:lnTo>
                  <a:lnTo>
                    <a:pt x="140" y="50"/>
                  </a:lnTo>
                  <a:lnTo>
                    <a:pt x="144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50" y="52"/>
                  </a:lnTo>
                  <a:lnTo>
                    <a:pt x="152" y="52"/>
                  </a:lnTo>
                  <a:lnTo>
                    <a:pt x="152" y="52"/>
                  </a:lnTo>
                  <a:lnTo>
                    <a:pt x="154" y="52"/>
                  </a:lnTo>
                  <a:lnTo>
                    <a:pt x="158" y="52"/>
                  </a:lnTo>
                  <a:lnTo>
                    <a:pt x="156" y="4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045AB304-93E5-434E-A411-275CFBBDA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292" y="4095908"/>
              <a:ext cx="24956" cy="34463"/>
            </a:xfrm>
            <a:custGeom>
              <a:avLst/>
              <a:gdLst>
                <a:gd name="T0" fmla="*/ 21 w 21"/>
                <a:gd name="T1" fmla="*/ 12 h 29"/>
                <a:gd name="T2" fmla="*/ 21 w 21"/>
                <a:gd name="T3" fmla="*/ 10 h 29"/>
                <a:gd name="T4" fmla="*/ 21 w 21"/>
                <a:gd name="T5" fmla="*/ 10 h 29"/>
                <a:gd name="T6" fmla="*/ 21 w 21"/>
                <a:gd name="T7" fmla="*/ 8 h 29"/>
                <a:gd name="T8" fmla="*/ 21 w 21"/>
                <a:gd name="T9" fmla="*/ 6 h 29"/>
                <a:gd name="T10" fmla="*/ 21 w 21"/>
                <a:gd name="T11" fmla="*/ 4 h 29"/>
                <a:gd name="T12" fmla="*/ 19 w 21"/>
                <a:gd name="T13" fmla="*/ 4 h 29"/>
                <a:gd name="T14" fmla="*/ 19 w 21"/>
                <a:gd name="T15" fmla="*/ 4 h 29"/>
                <a:gd name="T16" fmla="*/ 19 w 21"/>
                <a:gd name="T17" fmla="*/ 4 h 29"/>
                <a:gd name="T18" fmla="*/ 19 w 21"/>
                <a:gd name="T19" fmla="*/ 4 h 29"/>
                <a:gd name="T20" fmla="*/ 15 w 21"/>
                <a:gd name="T21" fmla="*/ 2 h 29"/>
                <a:gd name="T22" fmla="*/ 11 w 21"/>
                <a:gd name="T23" fmla="*/ 0 h 29"/>
                <a:gd name="T24" fmla="*/ 11 w 21"/>
                <a:gd name="T25" fmla="*/ 0 h 29"/>
                <a:gd name="T26" fmla="*/ 11 w 21"/>
                <a:gd name="T27" fmla="*/ 0 h 29"/>
                <a:gd name="T28" fmla="*/ 9 w 21"/>
                <a:gd name="T29" fmla="*/ 2 h 29"/>
                <a:gd name="T30" fmla="*/ 7 w 21"/>
                <a:gd name="T31" fmla="*/ 4 h 29"/>
                <a:gd name="T32" fmla="*/ 4 w 21"/>
                <a:gd name="T33" fmla="*/ 6 h 29"/>
                <a:gd name="T34" fmla="*/ 2 w 21"/>
                <a:gd name="T35" fmla="*/ 8 h 29"/>
                <a:gd name="T36" fmla="*/ 0 w 21"/>
                <a:gd name="T37" fmla="*/ 12 h 29"/>
                <a:gd name="T38" fmla="*/ 0 w 21"/>
                <a:gd name="T39" fmla="*/ 12 h 29"/>
                <a:gd name="T40" fmla="*/ 0 w 21"/>
                <a:gd name="T41" fmla="*/ 16 h 29"/>
                <a:gd name="T42" fmla="*/ 0 w 21"/>
                <a:gd name="T43" fmla="*/ 18 h 29"/>
                <a:gd name="T44" fmla="*/ 0 w 21"/>
                <a:gd name="T45" fmla="*/ 18 h 29"/>
                <a:gd name="T46" fmla="*/ 2 w 21"/>
                <a:gd name="T47" fmla="*/ 18 h 29"/>
                <a:gd name="T48" fmla="*/ 2 w 21"/>
                <a:gd name="T49" fmla="*/ 21 h 29"/>
                <a:gd name="T50" fmla="*/ 4 w 21"/>
                <a:gd name="T51" fmla="*/ 25 h 29"/>
                <a:gd name="T52" fmla="*/ 7 w 21"/>
                <a:gd name="T53" fmla="*/ 27 h 29"/>
                <a:gd name="T54" fmla="*/ 11 w 21"/>
                <a:gd name="T55" fmla="*/ 29 h 29"/>
                <a:gd name="T56" fmla="*/ 15 w 21"/>
                <a:gd name="T57" fmla="*/ 29 h 29"/>
                <a:gd name="T58" fmla="*/ 19 w 21"/>
                <a:gd name="T59" fmla="*/ 29 h 29"/>
                <a:gd name="T60" fmla="*/ 19 w 21"/>
                <a:gd name="T61" fmla="*/ 27 h 29"/>
                <a:gd name="T62" fmla="*/ 19 w 21"/>
                <a:gd name="T63" fmla="*/ 23 h 29"/>
                <a:gd name="T64" fmla="*/ 19 w 21"/>
                <a:gd name="T65" fmla="*/ 18 h 29"/>
                <a:gd name="T66" fmla="*/ 19 w 21"/>
                <a:gd name="T67" fmla="*/ 18 h 29"/>
                <a:gd name="T68" fmla="*/ 21 w 21"/>
                <a:gd name="T69" fmla="*/ 21 h 29"/>
                <a:gd name="T70" fmla="*/ 21 w 21"/>
                <a:gd name="T71" fmla="*/ 21 h 29"/>
                <a:gd name="T72" fmla="*/ 21 w 21"/>
                <a:gd name="T73" fmla="*/ 14 h 29"/>
                <a:gd name="T74" fmla="*/ 21 w 21"/>
                <a:gd name="T75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" h="29">
                  <a:moveTo>
                    <a:pt x="21" y="12"/>
                  </a:moveTo>
                  <a:lnTo>
                    <a:pt x="21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1" y="6"/>
                  </a:lnTo>
                  <a:lnTo>
                    <a:pt x="21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5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2"/>
                  </a:lnTo>
                  <a:lnTo>
                    <a:pt x="7" y="4"/>
                  </a:lnTo>
                  <a:lnTo>
                    <a:pt x="4" y="6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21"/>
                  </a:lnTo>
                  <a:lnTo>
                    <a:pt x="4" y="25"/>
                  </a:lnTo>
                  <a:lnTo>
                    <a:pt x="7" y="27"/>
                  </a:lnTo>
                  <a:lnTo>
                    <a:pt x="11" y="29"/>
                  </a:lnTo>
                  <a:lnTo>
                    <a:pt x="15" y="29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9" y="23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14"/>
                  </a:lnTo>
                  <a:lnTo>
                    <a:pt x="21" y="1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9" name="Freeform 38">
              <a:extLst>
                <a:ext uri="{FF2B5EF4-FFF2-40B4-BE49-F238E27FC236}">
                  <a16:creationId xmlns:a16="http://schemas.microsoft.com/office/drawing/2014/main" id="{E480ECBA-0AB2-F24B-81D9-7CB137FD2B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5482" y="3050127"/>
              <a:ext cx="317300" cy="295909"/>
            </a:xfrm>
            <a:custGeom>
              <a:avLst/>
              <a:gdLst>
                <a:gd name="T0" fmla="*/ 259 w 267"/>
                <a:gd name="T1" fmla="*/ 70 h 249"/>
                <a:gd name="T2" fmla="*/ 244 w 267"/>
                <a:gd name="T3" fmla="*/ 47 h 249"/>
                <a:gd name="T4" fmla="*/ 242 w 267"/>
                <a:gd name="T5" fmla="*/ 23 h 249"/>
                <a:gd name="T6" fmla="*/ 240 w 267"/>
                <a:gd name="T7" fmla="*/ 16 h 249"/>
                <a:gd name="T8" fmla="*/ 215 w 267"/>
                <a:gd name="T9" fmla="*/ 4 h 249"/>
                <a:gd name="T10" fmla="*/ 170 w 267"/>
                <a:gd name="T11" fmla="*/ 4 h 249"/>
                <a:gd name="T12" fmla="*/ 152 w 267"/>
                <a:gd name="T13" fmla="*/ 0 h 249"/>
                <a:gd name="T14" fmla="*/ 133 w 267"/>
                <a:gd name="T15" fmla="*/ 4 h 249"/>
                <a:gd name="T16" fmla="*/ 90 w 267"/>
                <a:gd name="T17" fmla="*/ 4 h 249"/>
                <a:gd name="T18" fmla="*/ 49 w 267"/>
                <a:gd name="T19" fmla="*/ 23 h 249"/>
                <a:gd name="T20" fmla="*/ 45 w 267"/>
                <a:gd name="T21" fmla="*/ 41 h 249"/>
                <a:gd name="T22" fmla="*/ 33 w 267"/>
                <a:gd name="T23" fmla="*/ 49 h 249"/>
                <a:gd name="T24" fmla="*/ 35 w 267"/>
                <a:gd name="T25" fmla="*/ 107 h 249"/>
                <a:gd name="T26" fmla="*/ 29 w 267"/>
                <a:gd name="T27" fmla="*/ 117 h 249"/>
                <a:gd name="T28" fmla="*/ 18 w 267"/>
                <a:gd name="T29" fmla="*/ 127 h 249"/>
                <a:gd name="T30" fmla="*/ 14 w 267"/>
                <a:gd name="T31" fmla="*/ 136 h 249"/>
                <a:gd name="T32" fmla="*/ 10 w 267"/>
                <a:gd name="T33" fmla="*/ 142 h 249"/>
                <a:gd name="T34" fmla="*/ 12 w 267"/>
                <a:gd name="T35" fmla="*/ 148 h 249"/>
                <a:gd name="T36" fmla="*/ 6 w 267"/>
                <a:gd name="T37" fmla="*/ 154 h 249"/>
                <a:gd name="T38" fmla="*/ 6 w 267"/>
                <a:gd name="T39" fmla="*/ 164 h 249"/>
                <a:gd name="T40" fmla="*/ 2 w 267"/>
                <a:gd name="T41" fmla="*/ 175 h 249"/>
                <a:gd name="T42" fmla="*/ 10 w 267"/>
                <a:gd name="T43" fmla="*/ 179 h 249"/>
                <a:gd name="T44" fmla="*/ 12 w 267"/>
                <a:gd name="T45" fmla="*/ 193 h 249"/>
                <a:gd name="T46" fmla="*/ 18 w 267"/>
                <a:gd name="T47" fmla="*/ 199 h 249"/>
                <a:gd name="T48" fmla="*/ 24 w 267"/>
                <a:gd name="T49" fmla="*/ 216 h 249"/>
                <a:gd name="T50" fmla="*/ 31 w 267"/>
                <a:gd name="T51" fmla="*/ 236 h 249"/>
                <a:gd name="T52" fmla="*/ 29 w 267"/>
                <a:gd name="T53" fmla="*/ 245 h 249"/>
                <a:gd name="T54" fmla="*/ 41 w 267"/>
                <a:gd name="T55" fmla="*/ 247 h 249"/>
                <a:gd name="T56" fmla="*/ 47 w 267"/>
                <a:gd name="T57" fmla="*/ 238 h 249"/>
                <a:gd name="T58" fmla="*/ 49 w 267"/>
                <a:gd name="T59" fmla="*/ 228 h 249"/>
                <a:gd name="T60" fmla="*/ 53 w 267"/>
                <a:gd name="T61" fmla="*/ 218 h 249"/>
                <a:gd name="T62" fmla="*/ 68 w 267"/>
                <a:gd name="T63" fmla="*/ 220 h 249"/>
                <a:gd name="T64" fmla="*/ 78 w 267"/>
                <a:gd name="T65" fmla="*/ 232 h 249"/>
                <a:gd name="T66" fmla="*/ 98 w 267"/>
                <a:gd name="T67" fmla="*/ 230 h 249"/>
                <a:gd name="T68" fmla="*/ 117 w 267"/>
                <a:gd name="T69" fmla="*/ 230 h 249"/>
                <a:gd name="T70" fmla="*/ 127 w 267"/>
                <a:gd name="T71" fmla="*/ 224 h 249"/>
                <a:gd name="T72" fmla="*/ 146 w 267"/>
                <a:gd name="T73" fmla="*/ 228 h 249"/>
                <a:gd name="T74" fmla="*/ 148 w 267"/>
                <a:gd name="T75" fmla="*/ 228 h 249"/>
                <a:gd name="T76" fmla="*/ 164 w 267"/>
                <a:gd name="T77" fmla="*/ 212 h 249"/>
                <a:gd name="T78" fmla="*/ 170 w 267"/>
                <a:gd name="T79" fmla="*/ 197 h 249"/>
                <a:gd name="T80" fmla="*/ 176 w 267"/>
                <a:gd name="T81" fmla="*/ 187 h 249"/>
                <a:gd name="T82" fmla="*/ 176 w 267"/>
                <a:gd name="T83" fmla="*/ 183 h 249"/>
                <a:gd name="T84" fmla="*/ 185 w 267"/>
                <a:gd name="T85" fmla="*/ 183 h 249"/>
                <a:gd name="T86" fmla="*/ 183 w 267"/>
                <a:gd name="T87" fmla="*/ 193 h 249"/>
                <a:gd name="T88" fmla="*/ 185 w 267"/>
                <a:gd name="T89" fmla="*/ 208 h 249"/>
                <a:gd name="T90" fmla="*/ 187 w 267"/>
                <a:gd name="T91" fmla="*/ 212 h 249"/>
                <a:gd name="T92" fmla="*/ 197 w 267"/>
                <a:gd name="T93" fmla="*/ 224 h 249"/>
                <a:gd name="T94" fmla="*/ 197 w 267"/>
                <a:gd name="T95" fmla="*/ 226 h 249"/>
                <a:gd name="T96" fmla="*/ 197 w 267"/>
                <a:gd name="T97" fmla="*/ 234 h 249"/>
                <a:gd name="T98" fmla="*/ 201 w 267"/>
                <a:gd name="T99" fmla="*/ 226 h 249"/>
                <a:gd name="T100" fmla="*/ 205 w 267"/>
                <a:gd name="T101" fmla="*/ 210 h 249"/>
                <a:gd name="T102" fmla="*/ 211 w 267"/>
                <a:gd name="T103" fmla="*/ 210 h 249"/>
                <a:gd name="T104" fmla="*/ 215 w 267"/>
                <a:gd name="T105" fmla="*/ 191 h 249"/>
                <a:gd name="T106" fmla="*/ 224 w 267"/>
                <a:gd name="T107" fmla="*/ 175 h 249"/>
                <a:gd name="T108" fmla="*/ 232 w 267"/>
                <a:gd name="T109" fmla="*/ 166 h 249"/>
                <a:gd name="T110" fmla="*/ 236 w 267"/>
                <a:gd name="T111" fmla="*/ 150 h 249"/>
                <a:gd name="T112" fmla="*/ 236 w 267"/>
                <a:gd name="T113" fmla="*/ 125 h 249"/>
                <a:gd name="T114" fmla="*/ 240 w 267"/>
                <a:gd name="T115" fmla="*/ 103 h 249"/>
                <a:gd name="T116" fmla="*/ 244 w 267"/>
                <a:gd name="T117" fmla="*/ 95 h 249"/>
                <a:gd name="T118" fmla="*/ 252 w 267"/>
                <a:gd name="T119" fmla="*/ 88 h 249"/>
                <a:gd name="T120" fmla="*/ 256 w 267"/>
                <a:gd name="T121" fmla="*/ 86 h 249"/>
                <a:gd name="T122" fmla="*/ 263 w 267"/>
                <a:gd name="T123" fmla="*/ 84 h 249"/>
                <a:gd name="T124" fmla="*/ 267 w 267"/>
                <a:gd name="T125" fmla="*/ 78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7" h="249">
                  <a:moveTo>
                    <a:pt x="267" y="76"/>
                  </a:moveTo>
                  <a:lnTo>
                    <a:pt x="263" y="72"/>
                  </a:lnTo>
                  <a:lnTo>
                    <a:pt x="263" y="72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61" y="70"/>
                  </a:lnTo>
                  <a:lnTo>
                    <a:pt x="259" y="70"/>
                  </a:lnTo>
                  <a:lnTo>
                    <a:pt x="256" y="66"/>
                  </a:lnTo>
                  <a:lnTo>
                    <a:pt x="252" y="64"/>
                  </a:lnTo>
                  <a:lnTo>
                    <a:pt x="250" y="64"/>
                  </a:lnTo>
                  <a:lnTo>
                    <a:pt x="250" y="64"/>
                  </a:lnTo>
                  <a:lnTo>
                    <a:pt x="248" y="62"/>
                  </a:lnTo>
                  <a:lnTo>
                    <a:pt x="246" y="57"/>
                  </a:lnTo>
                  <a:lnTo>
                    <a:pt x="244" y="47"/>
                  </a:lnTo>
                  <a:lnTo>
                    <a:pt x="244" y="43"/>
                  </a:lnTo>
                  <a:lnTo>
                    <a:pt x="244" y="37"/>
                  </a:lnTo>
                  <a:lnTo>
                    <a:pt x="242" y="33"/>
                  </a:lnTo>
                  <a:lnTo>
                    <a:pt x="244" y="29"/>
                  </a:lnTo>
                  <a:lnTo>
                    <a:pt x="242" y="27"/>
                  </a:lnTo>
                  <a:lnTo>
                    <a:pt x="242" y="23"/>
                  </a:lnTo>
                  <a:lnTo>
                    <a:pt x="242" y="23"/>
                  </a:lnTo>
                  <a:lnTo>
                    <a:pt x="242" y="20"/>
                  </a:lnTo>
                  <a:lnTo>
                    <a:pt x="242" y="20"/>
                  </a:lnTo>
                  <a:lnTo>
                    <a:pt x="244" y="20"/>
                  </a:lnTo>
                  <a:lnTo>
                    <a:pt x="244" y="20"/>
                  </a:lnTo>
                  <a:lnTo>
                    <a:pt x="244" y="20"/>
                  </a:lnTo>
                  <a:lnTo>
                    <a:pt x="242" y="18"/>
                  </a:lnTo>
                  <a:lnTo>
                    <a:pt x="240" y="16"/>
                  </a:lnTo>
                  <a:lnTo>
                    <a:pt x="238" y="10"/>
                  </a:lnTo>
                  <a:lnTo>
                    <a:pt x="238" y="8"/>
                  </a:lnTo>
                  <a:lnTo>
                    <a:pt x="236" y="4"/>
                  </a:lnTo>
                  <a:lnTo>
                    <a:pt x="232" y="4"/>
                  </a:lnTo>
                  <a:lnTo>
                    <a:pt x="226" y="4"/>
                  </a:lnTo>
                  <a:lnTo>
                    <a:pt x="222" y="4"/>
                  </a:lnTo>
                  <a:lnTo>
                    <a:pt x="215" y="4"/>
                  </a:lnTo>
                  <a:lnTo>
                    <a:pt x="211" y="4"/>
                  </a:lnTo>
                  <a:lnTo>
                    <a:pt x="205" y="4"/>
                  </a:lnTo>
                  <a:lnTo>
                    <a:pt x="201" y="4"/>
                  </a:lnTo>
                  <a:lnTo>
                    <a:pt x="195" y="4"/>
                  </a:lnTo>
                  <a:lnTo>
                    <a:pt x="191" y="4"/>
                  </a:lnTo>
                  <a:lnTo>
                    <a:pt x="174" y="4"/>
                  </a:lnTo>
                  <a:lnTo>
                    <a:pt x="170" y="4"/>
                  </a:lnTo>
                  <a:lnTo>
                    <a:pt x="164" y="4"/>
                  </a:lnTo>
                  <a:lnTo>
                    <a:pt x="158" y="4"/>
                  </a:lnTo>
                  <a:lnTo>
                    <a:pt x="154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8" y="4"/>
                  </a:lnTo>
                  <a:lnTo>
                    <a:pt x="148" y="4"/>
                  </a:lnTo>
                  <a:lnTo>
                    <a:pt x="146" y="4"/>
                  </a:lnTo>
                  <a:lnTo>
                    <a:pt x="139" y="4"/>
                  </a:lnTo>
                  <a:lnTo>
                    <a:pt x="133" y="4"/>
                  </a:lnTo>
                  <a:lnTo>
                    <a:pt x="127" y="4"/>
                  </a:lnTo>
                  <a:lnTo>
                    <a:pt x="121" y="4"/>
                  </a:lnTo>
                  <a:lnTo>
                    <a:pt x="115" y="4"/>
                  </a:lnTo>
                  <a:lnTo>
                    <a:pt x="109" y="4"/>
                  </a:lnTo>
                  <a:lnTo>
                    <a:pt x="102" y="4"/>
                  </a:lnTo>
                  <a:lnTo>
                    <a:pt x="96" y="4"/>
                  </a:lnTo>
                  <a:lnTo>
                    <a:pt x="90" y="4"/>
                  </a:lnTo>
                  <a:lnTo>
                    <a:pt x="78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1" y="4"/>
                  </a:lnTo>
                  <a:lnTo>
                    <a:pt x="49" y="4"/>
                  </a:lnTo>
                  <a:lnTo>
                    <a:pt x="49" y="12"/>
                  </a:lnTo>
                  <a:lnTo>
                    <a:pt x="49" y="23"/>
                  </a:lnTo>
                  <a:lnTo>
                    <a:pt x="49" y="31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49" y="41"/>
                  </a:lnTo>
                  <a:lnTo>
                    <a:pt x="45" y="41"/>
                  </a:lnTo>
                  <a:lnTo>
                    <a:pt x="41" y="41"/>
                  </a:lnTo>
                  <a:lnTo>
                    <a:pt x="37" y="41"/>
                  </a:lnTo>
                  <a:lnTo>
                    <a:pt x="33" y="41"/>
                  </a:lnTo>
                  <a:lnTo>
                    <a:pt x="33" y="43"/>
                  </a:lnTo>
                  <a:lnTo>
                    <a:pt x="33" y="45"/>
                  </a:lnTo>
                  <a:lnTo>
                    <a:pt x="33" y="47"/>
                  </a:lnTo>
                  <a:lnTo>
                    <a:pt x="33" y="49"/>
                  </a:lnTo>
                  <a:lnTo>
                    <a:pt x="33" y="57"/>
                  </a:lnTo>
                  <a:lnTo>
                    <a:pt x="35" y="66"/>
                  </a:lnTo>
                  <a:lnTo>
                    <a:pt x="35" y="74"/>
                  </a:lnTo>
                  <a:lnTo>
                    <a:pt x="35" y="82"/>
                  </a:lnTo>
                  <a:lnTo>
                    <a:pt x="35" y="90"/>
                  </a:lnTo>
                  <a:lnTo>
                    <a:pt x="35" y="99"/>
                  </a:lnTo>
                  <a:lnTo>
                    <a:pt x="35" y="107"/>
                  </a:lnTo>
                  <a:lnTo>
                    <a:pt x="35" y="115"/>
                  </a:lnTo>
                  <a:lnTo>
                    <a:pt x="35" y="117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1" y="117"/>
                  </a:lnTo>
                  <a:lnTo>
                    <a:pt x="29" y="117"/>
                  </a:lnTo>
                  <a:lnTo>
                    <a:pt x="27" y="119"/>
                  </a:lnTo>
                  <a:lnTo>
                    <a:pt x="22" y="119"/>
                  </a:lnTo>
                  <a:lnTo>
                    <a:pt x="20" y="119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5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6" y="132"/>
                  </a:lnTo>
                  <a:lnTo>
                    <a:pt x="16" y="132"/>
                  </a:lnTo>
                  <a:lnTo>
                    <a:pt x="14" y="134"/>
                  </a:lnTo>
                  <a:lnTo>
                    <a:pt x="14" y="134"/>
                  </a:lnTo>
                  <a:lnTo>
                    <a:pt x="14" y="136"/>
                  </a:lnTo>
                  <a:lnTo>
                    <a:pt x="14" y="138"/>
                  </a:lnTo>
                  <a:lnTo>
                    <a:pt x="14" y="138"/>
                  </a:lnTo>
                  <a:lnTo>
                    <a:pt x="12" y="138"/>
                  </a:lnTo>
                  <a:lnTo>
                    <a:pt x="10" y="138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2" y="146"/>
                  </a:lnTo>
                  <a:lnTo>
                    <a:pt x="12" y="146"/>
                  </a:lnTo>
                  <a:lnTo>
                    <a:pt x="12" y="148"/>
                  </a:lnTo>
                  <a:lnTo>
                    <a:pt x="12" y="148"/>
                  </a:lnTo>
                  <a:lnTo>
                    <a:pt x="10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6" y="152"/>
                  </a:lnTo>
                  <a:lnTo>
                    <a:pt x="6" y="152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6" y="156"/>
                  </a:lnTo>
                  <a:lnTo>
                    <a:pt x="6" y="158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2"/>
                  </a:lnTo>
                  <a:lnTo>
                    <a:pt x="6" y="164"/>
                  </a:lnTo>
                  <a:lnTo>
                    <a:pt x="6" y="164"/>
                  </a:lnTo>
                  <a:lnTo>
                    <a:pt x="4" y="166"/>
                  </a:lnTo>
                  <a:lnTo>
                    <a:pt x="2" y="169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2" y="173"/>
                  </a:lnTo>
                  <a:lnTo>
                    <a:pt x="2" y="175"/>
                  </a:lnTo>
                  <a:lnTo>
                    <a:pt x="2" y="175"/>
                  </a:lnTo>
                  <a:lnTo>
                    <a:pt x="4" y="175"/>
                  </a:lnTo>
                  <a:lnTo>
                    <a:pt x="6" y="175"/>
                  </a:lnTo>
                  <a:lnTo>
                    <a:pt x="8" y="175"/>
                  </a:lnTo>
                  <a:lnTo>
                    <a:pt x="10" y="175"/>
                  </a:lnTo>
                  <a:lnTo>
                    <a:pt x="10" y="177"/>
                  </a:lnTo>
                  <a:lnTo>
                    <a:pt x="10" y="179"/>
                  </a:lnTo>
                  <a:lnTo>
                    <a:pt x="10" y="181"/>
                  </a:lnTo>
                  <a:lnTo>
                    <a:pt x="12" y="185"/>
                  </a:lnTo>
                  <a:lnTo>
                    <a:pt x="12" y="185"/>
                  </a:lnTo>
                  <a:lnTo>
                    <a:pt x="12" y="185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93"/>
                  </a:lnTo>
                  <a:lnTo>
                    <a:pt x="14" y="195"/>
                  </a:lnTo>
                  <a:lnTo>
                    <a:pt x="14" y="195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18" y="201"/>
                  </a:lnTo>
                  <a:lnTo>
                    <a:pt x="18" y="206"/>
                  </a:lnTo>
                  <a:lnTo>
                    <a:pt x="18" y="208"/>
                  </a:lnTo>
                  <a:lnTo>
                    <a:pt x="18" y="210"/>
                  </a:lnTo>
                  <a:lnTo>
                    <a:pt x="20" y="210"/>
                  </a:lnTo>
                  <a:lnTo>
                    <a:pt x="24" y="216"/>
                  </a:lnTo>
                  <a:lnTo>
                    <a:pt x="24" y="216"/>
                  </a:lnTo>
                  <a:lnTo>
                    <a:pt x="29" y="220"/>
                  </a:lnTo>
                  <a:lnTo>
                    <a:pt x="29" y="222"/>
                  </a:lnTo>
                  <a:lnTo>
                    <a:pt x="31" y="226"/>
                  </a:lnTo>
                  <a:lnTo>
                    <a:pt x="31" y="228"/>
                  </a:lnTo>
                  <a:lnTo>
                    <a:pt x="31" y="230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29" y="240"/>
                  </a:lnTo>
                  <a:lnTo>
                    <a:pt x="29" y="240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5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7"/>
                  </a:lnTo>
                  <a:lnTo>
                    <a:pt x="37" y="247"/>
                  </a:lnTo>
                  <a:lnTo>
                    <a:pt x="39" y="249"/>
                  </a:lnTo>
                  <a:lnTo>
                    <a:pt x="39" y="247"/>
                  </a:lnTo>
                  <a:lnTo>
                    <a:pt x="41" y="247"/>
                  </a:lnTo>
                  <a:lnTo>
                    <a:pt x="41" y="245"/>
                  </a:lnTo>
                  <a:lnTo>
                    <a:pt x="45" y="245"/>
                  </a:lnTo>
                  <a:lnTo>
                    <a:pt x="45" y="243"/>
                  </a:lnTo>
                  <a:lnTo>
                    <a:pt x="45" y="243"/>
                  </a:lnTo>
                  <a:lnTo>
                    <a:pt x="45" y="240"/>
                  </a:lnTo>
                  <a:lnTo>
                    <a:pt x="47" y="238"/>
                  </a:lnTo>
                  <a:lnTo>
                    <a:pt x="47" y="238"/>
                  </a:lnTo>
                  <a:lnTo>
                    <a:pt x="47" y="236"/>
                  </a:lnTo>
                  <a:lnTo>
                    <a:pt x="47" y="234"/>
                  </a:lnTo>
                  <a:lnTo>
                    <a:pt x="47" y="234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49" y="230"/>
                  </a:lnTo>
                  <a:lnTo>
                    <a:pt x="49" y="228"/>
                  </a:lnTo>
                  <a:lnTo>
                    <a:pt x="49" y="226"/>
                  </a:lnTo>
                  <a:lnTo>
                    <a:pt x="51" y="224"/>
                  </a:lnTo>
                  <a:lnTo>
                    <a:pt x="53" y="222"/>
                  </a:lnTo>
                  <a:lnTo>
                    <a:pt x="53" y="222"/>
                  </a:lnTo>
                  <a:lnTo>
                    <a:pt x="53" y="220"/>
                  </a:lnTo>
                  <a:lnTo>
                    <a:pt x="53" y="220"/>
                  </a:lnTo>
                  <a:lnTo>
                    <a:pt x="53" y="218"/>
                  </a:lnTo>
                  <a:lnTo>
                    <a:pt x="53" y="218"/>
                  </a:lnTo>
                  <a:lnTo>
                    <a:pt x="55" y="218"/>
                  </a:lnTo>
                  <a:lnTo>
                    <a:pt x="57" y="218"/>
                  </a:lnTo>
                  <a:lnTo>
                    <a:pt x="66" y="216"/>
                  </a:lnTo>
                  <a:lnTo>
                    <a:pt x="66" y="216"/>
                  </a:lnTo>
                  <a:lnTo>
                    <a:pt x="68" y="218"/>
                  </a:lnTo>
                  <a:lnTo>
                    <a:pt x="68" y="220"/>
                  </a:lnTo>
                  <a:lnTo>
                    <a:pt x="68" y="220"/>
                  </a:lnTo>
                  <a:lnTo>
                    <a:pt x="68" y="220"/>
                  </a:lnTo>
                  <a:lnTo>
                    <a:pt x="70" y="222"/>
                  </a:lnTo>
                  <a:lnTo>
                    <a:pt x="70" y="222"/>
                  </a:lnTo>
                  <a:lnTo>
                    <a:pt x="70" y="224"/>
                  </a:lnTo>
                  <a:lnTo>
                    <a:pt x="72" y="224"/>
                  </a:lnTo>
                  <a:lnTo>
                    <a:pt x="78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4" y="230"/>
                  </a:lnTo>
                  <a:lnTo>
                    <a:pt x="86" y="230"/>
                  </a:lnTo>
                  <a:lnTo>
                    <a:pt x="98" y="230"/>
                  </a:lnTo>
                  <a:lnTo>
                    <a:pt x="98" y="230"/>
                  </a:lnTo>
                  <a:lnTo>
                    <a:pt x="98" y="230"/>
                  </a:lnTo>
                  <a:lnTo>
                    <a:pt x="100" y="234"/>
                  </a:lnTo>
                  <a:lnTo>
                    <a:pt x="102" y="236"/>
                  </a:lnTo>
                  <a:lnTo>
                    <a:pt x="115" y="236"/>
                  </a:lnTo>
                  <a:lnTo>
                    <a:pt x="115" y="234"/>
                  </a:lnTo>
                  <a:lnTo>
                    <a:pt x="115" y="234"/>
                  </a:lnTo>
                  <a:lnTo>
                    <a:pt x="117" y="232"/>
                  </a:lnTo>
                  <a:lnTo>
                    <a:pt x="117" y="230"/>
                  </a:lnTo>
                  <a:lnTo>
                    <a:pt x="117" y="230"/>
                  </a:lnTo>
                  <a:lnTo>
                    <a:pt x="117" y="230"/>
                  </a:lnTo>
                  <a:lnTo>
                    <a:pt x="119" y="230"/>
                  </a:lnTo>
                  <a:lnTo>
                    <a:pt x="121" y="228"/>
                  </a:lnTo>
                  <a:lnTo>
                    <a:pt x="125" y="228"/>
                  </a:lnTo>
                  <a:lnTo>
                    <a:pt x="125" y="226"/>
                  </a:lnTo>
                  <a:lnTo>
                    <a:pt x="127" y="224"/>
                  </a:lnTo>
                  <a:lnTo>
                    <a:pt x="127" y="222"/>
                  </a:lnTo>
                  <a:lnTo>
                    <a:pt x="127" y="222"/>
                  </a:lnTo>
                  <a:lnTo>
                    <a:pt x="127" y="222"/>
                  </a:lnTo>
                  <a:lnTo>
                    <a:pt x="133" y="220"/>
                  </a:lnTo>
                  <a:lnTo>
                    <a:pt x="133" y="218"/>
                  </a:lnTo>
                  <a:lnTo>
                    <a:pt x="141" y="224"/>
                  </a:lnTo>
                  <a:lnTo>
                    <a:pt x="146" y="228"/>
                  </a:lnTo>
                  <a:lnTo>
                    <a:pt x="146" y="228"/>
                  </a:lnTo>
                  <a:lnTo>
                    <a:pt x="146" y="228"/>
                  </a:lnTo>
                  <a:lnTo>
                    <a:pt x="146" y="228"/>
                  </a:lnTo>
                  <a:lnTo>
                    <a:pt x="146" y="228"/>
                  </a:lnTo>
                  <a:lnTo>
                    <a:pt x="146" y="228"/>
                  </a:lnTo>
                  <a:lnTo>
                    <a:pt x="146" y="228"/>
                  </a:lnTo>
                  <a:lnTo>
                    <a:pt x="148" y="228"/>
                  </a:lnTo>
                  <a:lnTo>
                    <a:pt x="152" y="228"/>
                  </a:lnTo>
                  <a:lnTo>
                    <a:pt x="154" y="228"/>
                  </a:lnTo>
                  <a:lnTo>
                    <a:pt x="160" y="220"/>
                  </a:lnTo>
                  <a:lnTo>
                    <a:pt x="162" y="218"/>
                  </a:lnTo>
                  <a:lnTo>
                    <a:pt x="162" y="216"/>
                  </a:lnTo>
                  <a:lnTo>
                    <a:pt x="162" y="214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72" y="203"/>
                  </a:lnTo>
                  <a:lnTo>
                    <a:pt x="172" y="203"/>
                  </a:lnTo>
                  <a:lnTo>
                    <a:pt x="172" y="203"/>
                  </a:lnTo>
                  <a:lnTo>
                    <a:pt x="170" y="201"/>
                  </a:lnTo>
                  <a:lnTo>
                    <a:pt x="170" y="199"/>
                  </a:lnTo>
                  <a:lnTo>
                    <a:pt x="170" y="197"/>
                  </a:lnTo>
                  <a:lnTo>
                    <a:pt x="170" y="195"/>
                  </a:lnTo>
                  <a:lnTo>
                    <a:pt x="170" y="193"/>
                  </a:lnTo>
                  <a:lnTo>
                    <a:pt x="170" y="193"/>
                  </a:lnTo>
                  <a:lnTo>
                    <a:pt x="170" y="191"/>
                  </a:lnTo>
                  <a:lnTo>
                    <a:pt x="170" y="191"/>
                  </a:lnTo>
                  <a:lnTo>
                    <a:pt x="166" y="187"/>
                  </a:lnTo>
                  <a:lnTo>
                    <a:pt x="176" y="187"/>
                  </a:lnTo>
                  <a:lnTo>
                    <a:pt x="176" y="187"/>
                  </a:lnTo>
                  <a:lnTo>
                    <a:pt x="176" y="185"/>
                  </a:lnTo>
                  <a:lnTo>
                    <a:pt x="176" y="185"/>
                  </a:lnTo>
                  <a:lnTo>
                    <a:pt x="176" y="185"/>
                  </a:lnTo>
                  <a:lnTo>
                    <a:pt x="176" y="185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3"/>
                  </a:lnTo>
                  <a:lnTo>
                    <a:pt x="176" y="183"/>
                  </a:lnTo>
                  <a:lnTo>
                    <a:pt x="176" y="183"/>
                  </a:lnTo>
                  <a:lnTo>
                    <a:pt x="176" y="183"/>
                  </a:lnTo>
                  <a:lnTo>
                    <a:pt x="176" y="183"/>
                  </a:lnTo>
                  <a:lnTo>
                    <a:pt x="176" y="183"/>
                  </a:lnTo>
                  <a:lnTo>
                    <a:pt x="185" y="183"/>
                  </a:lnTo>
                  <a:lnTo>
                    <a:pt x="185" y="185"/>
                  </a:lnTo>
                  <a:lnTo>
                    <a:pt x="183" y="187"/>
                  </a:lnTo>
                  <a:lnTo>
                    <a:pt x="183" y="189"/>
                  </a:lnTo>
                  <a:lnTo>
                    <a:pt x="183" y="193"/>
                  </a:lnTo>
                  <a:lnTo>
                    <a:pt x="183" y="193"/>
                  </a:lnTo>
                  <a:lnTo>
                    <a:pt x="183" y="193"/>
                  </a:lnTo>
                  <a:lnTo>
                    <a:pt x="183" y="193"/>
                  </a:lnTo>
                  <a:lnTo>
                    <a:pt x="183" y="193"/>
                  </a:lnTo>
                  <a:lnTo>
                    <a:pt x="183" y="193"/>
                  </a:lnTo>
                  <a:lnTo>
                    <a:pt x="183" y="193"/>
                  </a:lnTo>
                  <a:lnTo>
                    <a:pt x="183" y="195"/>
                  </a:lnTo>
                  <a:lnTo>
                    <a:pt x="185" y="208"/>
                  </a:lnTo>
                  <a:lnTo>
                    <a:pt x="185" y="208"/>
                  </a:lnTo>
                  <a:lnTo>
                    <a:pt x="185" y="208"/>
                  </a:lnTo>
                  <a:lnTo>
                    <a:pt x="183" y="210"/>
                  </a:lnTo>
                  <a:lnTo>
                    <a:pt x="183" y="210"/>
                  </a:lnTo>
                  <a:lnTo>
                    <a:pt x="183" y="210"/>
                  </a:lnTo>
                  <a:lnTo>
                    <a:pt x="183" y="210"/>
                  </a:lnTo>
                  <a:lnTo>
                    <a:pt x="187" y="212"/>
                  </a:lnTo>
                  <a:lnTo>
                    <a:pt x="187" y="212"/>
                  </a:lnTo>
                  <a:lnTo>
                    <a:pt x="187" y="212"/>
                  </a:lnTo>
                  <a:lnTo>
                    <a:pt x="189" y="214"/>
                  </a:lnTo>
                  <a:lnTo>
                    <a:pt x="195" y="220"/>
                  </a:lnTo>
                  <a:lnTo>
                    <a:pt x="197" y="220"/>
                  </a:lnTo>
                  <a:lnTo>
                    <a:pt x="197" y="222"/>
                  </a:lnTo>
                  <a:lnTo>
                    <a:pt x="197" y="222"/>
                  </a:lnTo>
                  <a:lnTo>
                    <a:pt x="197" y="222"/>
                  </a:lnTo>
                  <a:lnTo>
                    <a:pt x="197" y="224"/>
                  </a:lnTo>
                  <a:lnTo>
                    <a:pt x="197" y="224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8"/>
                  </a:lnTo>
                  <a:lnTo>
                    <a:pt x="195" y="230"/>
                  </a:lnTo>
                  <a:lnTo>
                    <a:pt x="195" y="232"/>
                  </a:lnTo>
                  <a:lnTo>
                    <a:pt x="195" y="232"/>
                  </a:lnTo>
                  <a:lnTo>
                    <a:pt x="195" y="232"/>
                  </a:lnTo>
                  <a:lnTo>
                    <a:pt x="195" y="232"/>
                  </a:lnTo>
                  <a:lnTo>
                    <a:pt x="197" y="234"/>
                  </a:lnTo>
                  <a:lnTo>
                    <a:pt x="197" y="234"/>
                  </a:lnTo>
                  <a:lnTo>
                    <a:pt x="197" y="234"/>
                  </a:lnTo>
                  <a:lnTo>
                    <a:pt x="199" y="234"/>
                  </a:lnTo>
                  <a:lnTo>
                    <a:pt x="199" y="234"/>
                  </a:lnTo>
                  <a:lnTo>
                    <a:pt x="199" y="232"/>
                  </a:lnTo>
                  <a:lnTo>
                    <a:pt x="199" y="228"/>
                  </a:lnTo>
                  <a:lnTo>
                    <a:pt x="201" y="226"/>
                  </a:lnTo>
                  <a:lnTo>
                    <a:pt x="201" y="224"/>
                  </a:lnTo>
                  <a:lnTo>
                    <a:pt x="203" y="222"/>
                  </a:lnTo>
                  <a:lnTo>
                    <a:pt x="203" y="220"/>
                  </a:lnTo>
                  <a:lnTo>
                    <a:pt x="203" y="220"/>
                  </a:lnTo>
                  <a:lnTo>
                    <a:pt x="201" y="214"/>
                  </a:lnTo>
                  <a:lnTo>
                    <a:pt x="203" y="212"/>
                  </a:lnTo>
                  <a:lnTo>
                    <a:pt x="205" y="210"/>
                  </a:lnTo>
                  <a:lnTo>
                    <a:pt x="205" y="208"/>
                  </a:lnTo>
                  <a:lnTo>
                    <a:pt x="207" y="208"/>
                  </a:lnTo>
                  <a:lnTo>
                    <a:pt x="207" y="208"/>
                  </a:lnTo>
                  <a:lnTo>
                    <a:pt x="207" y="210"/>
                  </a:lnTo>
                  <a:lnTo>
                    <a:pt x="209" y="210"/>
                  </a:lnTo>
                  <a:lnTo>
                    <a:pt x="211" y="210"/>
                  </a:lnTo>
                  <a:lnTo>
                    <a:pt x="211" y="210"/>
                  </a:lnTo>
                  <a:lnTo>
                    <a:pt x="213" y="208"/>
                  </a:lnTo>
                  <a:lnTo>
                    <a:pt x="211" y="206"/>
                  </a:lnTo>
                  <a:lnTo>
                    <a:pt x="213" y="201"/>
                  </a:lnTo>
                  <a:lnTo>
                    <a:pt x="213" y="199"/>
                  </a:lnTo>
                  <a:lnTo>
                    <a:pt x="213" y="197"/>
                  </a:lnTo>
                  <a:lnTo>
                    <a:pt x="213" y="193"/>
                  </a:lnTo>
                  <a:lnTo>
                    <a:pt x="215" y="191"/>
                  </a:lnTo>
                  <a:lnTo>
                    <a:pt x="215" y="191"/>
                  </a:lnTo>
                  <a:lnTo>
                    <a:pt x="217" y="187"/>
                  </a:lnTo>
                  <a:lnTo>
                    <a:pt x="219" y="185"/>
                  </a:lnTo>
                  <a:lnTo>
                    <a:pt x="219" y="181"/>
                  </a:lnTo>
                  <a:lnTo>
                    <a:pt x="222" y="177"/>
                  </a:lnTo>
                  <a:lnTo>
                    <a:pt x="224" y="175"/>
                  </a:lnTo>
                  <a:lnTo>
                    <a:pt x="224" y="175"/>
                  </a:lnTo>
                  <a:lnTo>
                    <a:pt x="226" y="175"/>
                  </a:lnTo>
                  <a:lnTo>
                    <a:pt x="228" y="175"/>
                  </a:lnTo>
                  <a:lnTo>
                    <a:pt x="230" y="173"/>
                  </a:lnTo>
                  <a:lnTo>
                    <a:pt x="230" y="173"/>
                  </a:lnTo>
                  <a:lnTo>
                    <a:pt x="232" y="173"/>
                  </a:lnTo>
                  <a:lnTo>
                    <a:pt x="232" y="171"/>
                  </a:lnTo>
                  <a:lnTo>
                    <a:pt x="232" y="166"/>
                  </a:lnTo>
                  <a:lnTo>
                    <a:pt x="232" y="164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58"/>
                  </a:lnTo>
                  <a:lnTo>
                    <a:pt x="234" y="156"/>
                  </a:lnTo>
                  <a:lnTo>
                    <a:pt x="236" y="152"/>
                  </a:lnTo>
                  <a:lnTo>
                    <a:pt x="236" y="150"/>
                  </a:lnTo>
                  <a:lnTo>
                    <a:pt x="236" y="146"/>
                  </a:lnTo>
                  <a:lnTo>
                    <a:pt x="236" y="140"/>
                  </a:lnTo>
                  <a:lnTo>
                    <a:pt x="236" y="136"/>
                  </a:lnTo>
                  <a:lnTo>
                    <a:pt x="234" y="134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6" y="125"/>
                  </a:lnTo>
                  <a:lnTo>
                    <a:pt x="238" y="119"/>
                  </a:lnTo>
                  <a:lnTo>
                    <a:pt x="238" y="117"/>
                  </a:lnTo>
                  <a:lnTo>
                    <a:pt x="240" y="113"/>
                  </a:lnTo>
                  <a:lnTo>
                    <a:pt x="240" y="113"/>
                  </a:lnTo>
                  <a:lnTo>
                    <a:pt x="242" y="109"/>
                  </a:lnTo>
                  <a:lnTo>
                    <a:pt x="242" y="105"/>
                  </a:lnTo>
                  <a:lnTo>
                    <a:pt x="240" y="103"/>
                  </a:lnTo>
                  <a:lnTo>
                    <a:pt x="242" y="101"/>
                  </a:lnTo>
                  <a:lnTo>
                    <a:pt x="242" y="99"/>
                  </a:lnTo>
                  <a:lnTo>
                    <a:pt x="242" y="97"/>
                  </a:lnTo>
                  <a:lnTo>
                    <a:pt x="242" y="95"/>
                  </a:lnTo>
                  <a:lnTo>
                    <a:pt x="242" y="95"/>
                  </a:lnTo>
                  <a:lnTo>
                    <a:pt x="244" y="95"/>
                  </a:lnTo>
                  <a:lnTo>
                    <a:pt x="244" y="95"/>
                  </a:lnTo>
                  <a:lnTo>
                    <a:pt x="246" y="95"/>
                  </a:lnTo>
                  <a:lnTo>
                    <a:pt x="248" y="95"/>
                  </a:lnTo>
                  <a:lnTo>
                    <a:pt x="248" y="95"/>
                  </a:lnTo>
                  <a:lnTo>
                    <a:pt x="250" y="92"/>
                  </a:lnTo>
                  <a:lnTo>
                    <a:pt x="250" y="90"/>
                  </a:lnTo>
                  <a:lnTo>
                    <a:pt x="250" y="88"/>
                  </a:lnTo>
                  <a:lnTo>
                    <a:pt x="252" y="88"/>
                  </a:lnTo>
                  <a:lnTo>
                    <a:pt x="252" y="88"/>
                  </a:lnTo>
                  <a:lnTo>
                    <a:pt x="254" y="86"/>
                  </a:lnTo>
                  <a:lnTo>
                    <a:pt x="254" y="86"/>
                  </a:lnTo>
                  <a:lnTo>
                    <a:pt x="254" y="86"/>
                  </a:lnTo>
                  <a:lnTo>
                    <a:pt x="256" y="86"/>
                  </a:lnTo>
                  <a:lnTo>
                    <a:pt x="256" y="86"/>
                  </a:lnTo>
                  <a:lnTo>
                    <a:pt x="256" y="86"/>
                  </a:lnTo>
                  <a:lnTo>
                    <a:pt x="259" y="84"/>
                  </a:lnTo>
                  <a:lnTo>
                    <a:pt x="261" y="86"/>
                  </a:lnTo>
                  <a:lnTo>
                    <a:pt x="261" y="84"/>
                  </a:lnTo>
                  <a:lnTo>
                    <a:pt x="261" y="84"/>
                  </a:lnTo>
                  <a:lnTo>
                    <a:pt x="261" y="84"/>
                  </a:lnTo>
                  <a:lnTo>
                    <a:pt x="263" y="84"/>
                  </a:lnTo>
                  <a:lnTo>
                    <a:pt x="263" y="84"/>
                  </a:lnTo>
                  <a:lnTo>
                    <a:pt x="263" y="84"/>
                  </a:lnTo>
                  <a:lnTo>
                    <a:pt x="263" y="82"/>
                  </a:lnTo>
                  <a:lnTo>
                    <a:pt x="265" y="82"/>
                  </a:lnTo>
                  <a:lnTo>
                    <a:pt x="265" y="82"/>
                  </a:lnTo>
                  <a:lnTo>
                    <a:pt x="265" y="80"/>
                  </a:lnTo>
                  <a:lnTo>
                    <a:pt x="265" y="80"/>
                  </a:lnTo>
                  <a:lnTo>
                    <a:pt x="267" y="78"/>
                  </a:lnTo>
                  <a:lnTo>
                    <a:pt x="267" y="76"/>
                  </a:lnTo>
                  <a:lnTo>
                    <a:pt x="267" y="7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0" name="Freeform 39">
              <a:extLst>
                <a:ext uri="{FF2B5EF4-FFF2-40B4-BE49-F238E27FC236}">
                  <a16:creationId xmlns:a16="http://schemas.microsoft.com/office/drawing/2014/main" id="{EDEC0BD6-FCD6-1E45-81A1-8093944DFE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9595" y="2832652"/>
              <a:ext cx="400487" cy="344632"/>
            </a:xfrm>
            <a:custGeom>
              <a:avLst/>
              <a:gdLst>
                <a:gd name="T0" fmla="*/ 125 w 337"/>
                <a:gd name="T1" fmla="*/ 282 h 290"/>
                <a:gd name="T2" fmla="*/ 123 w 337"/>
                <a:gd name="T3" fmla="*/ 280 h 290"/>
                <a:gd name="T4" fmla="*/ 127 w 337"/>
                <a:gd name="T5" fmla="*/ 286 h 290"/>
                <a:gd name="T6" fmla="*/ 33 w 337"/>
                <a:gd name="T7" fmla="*/ 119 h 290"/>
                <a:gd name="T8" fmla="*/ 37 w 337"/>
                <a:gd name="T9" fmla="*/ 123 h 290"/>
                <a:gd name="T10" fmla="*/ 33 w 337"/>
                <a:gd name="T11" fmla="*/ 117 h 290"/>
                <a:gd name="T12" fmla="*/ 337 w 337"/>
                <a:gd name="T13" fmla="*/ 185 h 290"/>
                <a:gd name="T14" fmla="*/ 328 w 337"/>
                <a:gd name="T15" fmla="*/ 175 h 290"/>
                <a:gd name="T16" fmla="*/ 314 w 337"/>
                <a:gd name="T17" fmla="*/ 173 h 290"/>
                <a:gd name="T18" fmla="*/ 291 w 337"/>
                <a:gd name="T19" fmla="*/ 171 h 290"/>
                <a:gd name="T20" fmla="*/ 285 w 337"/>
                <a:gd name="T21" fmla="*/ 166 h 290"/>
                <a:gd name="T22" fmla="*/ 277 w 337"/>
                <a:gd name="T23" fmla="*/ 156 h 290"/>
                <a:gd name="T24" fmla="*/ 271 w 337"/>
                <a:gd name="T25" fmla="*/ 148 h 290"/>
                <a:gd name="T26" fmla="*/ 267 w 337"/>
                <a:gd name="T27" fmla="*/ 144 h 290"/>
                <a:gd name="T28" fmla="*/ 263 w 337"/>
                <a:gd name="T29" fmla="*/ 140 h 290"/>
                <a:gd name="T30" fmla="*/ 255 w 337"/>
                <a:gd name="T31" fmla="*/ 132 h 290"/>
                <a:gd name="T32" fmla="*/ 244 w 337"/>
                <a:gd name="T33" fmla="*/ 115 h 290"/>
                <a:gd name="T34" fmla="*/ 246 w 337"/>
                <a:gd name="T35" fmla="*/ 107 h 290"/>
                <a:gd name="T36" fmla="*/ 244 w 337"/>
                <a:gd name="T37" fmla="*/ 101 h 290"/>
                <a:gd name="T38" fmla="*/ 230 w 337"/>
                <a:gd name="T39" fmla="*/ 88 h 290"/>
                <a:gd name="T40" fmla="*/ 222 w 337"/>
                <a:gd name="T41" fmla="*/ 80 h 290"/>
                <a:gd name="T42" fmla="*/ 215 w 337"/>
                <a:gd name="T43" fmla="*/ 66 h 290"/>
                <a:gd name="T44" fmla="*/ 199 w 337"/>
                <a:gd name="T45" fmla="*/ 62 h 290"/>
                <a:gd name="T46" fmla="*/ 174 w 337"/>
                <a:gd name="T47" fmla="*/ 55 h 290"/>
                <a:gd name="T48" fmla="*/ 140 w 337"/>
                <a:gd name="T49" fmla="*/ 43 h 290"/>
                <a:gd name="T50" fmla="*/ 107 w 337"/>
                <a:gd name="T51" fmla="*/ 16 h 290"/>
                <a:gd name="T52" fmla="*/ 78 w 337"/>
                <a:gd name="T53" fmla="*/ 2 h 290"/>
                <a:gd name="T54" fmla="*/ 53 w 337"/>
                <a:gd name="T55" fmla="*/ 6 h 290"/>
                <a:gd name="T56" fmla="*/ 37 w 337"/>
                <a:gd name="T57" fmla="*/ 18 h 290"/>
                <a:gd name="T58" fmla="*/ 43 w 337"/>
                <a:gd name="T59" fmla="*/ 33 h 290"/>
                <a:gd name="T60" fmla="*/ 31 w 337"/>
                <a:gd name="T61" fmla="*/ 41 h 290"/>
                <a:gd name="T62" fmla="*/ 16 w 337"/>
                <a:gd name="T63" fmla="*/ 53 h 290"/>
                <a:gd name="T64" fmla="*/ 0 w 337"/>
                <a:gd name="T65" fmla="*/ 72 h 290"/>
                <a:gd name="T66" fmla="*/ 12 w 337"/>
                <a:gd name="T67" fmla="*/ 80 h 290"/>
                <a:gd name="T68" fmla="*/ 31 w 337"/>
                <a:gd name="T69" fmla="*/ 111 h 290"/>
                <a:gd name="T70" fmla="*/ 43 w 337"/>
                <a:gd name="T71" fmla="*/ 127 h 290"/>
                <a:gd name="T72" fmla="*/ 49 w 337"/>
                <a:gd name="T73" fmla="*/ 144 h 290"/>
                <a:gd name="T74" fmla="*/ 62 w 337"/>
                <a:gd name="T75" fmla="*/ 152 h 290"/>
                <a:gd name="T76" fmla="*/ 72 w 337"/>
                <a:gd name="T77" fmla="*/ 171 h 290"/>
                <a:gd name="T78" fmla="*/ 74 w 337"/>
                <a:gd name="T79" fmla="*/ 181 h 290"/>
                <a:gd name="T80" fmla="*/ 76 w 337"/>
                <a:gd name="T81" fmla="*/ 197 h 290"/>
                <a:gd name="T82" fmla="*/ 92 w 337"/>
                <a:gd name="T83" fmla="*/ 218 h 290"/>
                <a:gd name="T84" fmla="*/ 107 w 337"/>
                <a:gd name="T85" fmla="*/ 232 h 290"/>
                <a:gd name="T86" fmla="*/ 117 w 337"/>
                <a:gd name="T87" fmla="*/ 255 h 290"/>
                <a:gd name="T88" fmla="*/ 133 w 337"/>
                <a:gd name="T89" fmla="*/ 278 h 290"/>
                <a:gd name="T90" fmla="*/ 137 w 337"/>
                <a:gd name="T91" fmla="*/ 288 h 290"/>
                <a:gd name="T92" fmla="*/ 144 w 337"/>
                <a:gd name="T93" fmla="*/ 282 h 290"/>
                <a:gd name="T94" fmla="*/ 146 w 337"/>
                <a:gd name="T95" fmla="*/ 273 h 290"/>
                <a:gd name="T96" fmla="*/ 148 w 337"/>
                <a:gd name="T97" fmla="*/ 269 h 290"/>
                <a:gd name="T98" fmla="*/ 156 w 337"/>
                <a:gd name="T99" fmla="*/ 271 h 290"/>
                <a:gd name="T100" fmla="*/ 168 w 337"/>
                <a:gd name="T101" fmla="*/ 269 h 290"/>
                <a:gd name="T102" fmla="*/ 187 w 337"/>
                <a:gd name="T103" fmla="*/ 273 h 290"/>
                <a:gd name="T104" fmla="*/ 203 w 337"/>
                <a:gd name="T105" fmla="*/ 278 h 290"/>
                <a:gd name="T106" fmla="*/ 213 w 337"/>
                <a:gd name="T107" fmla="*/ 269 h 290"/>
                <a:gd name="T108" fmla="*/ 230 w 337"/>
                <a:gd name="T109" fmla="*/ 253 h 290"/>
                <a:gd name="T110" fmla="*/ 257 w 337"/>
                <a:gd name="T111" fmla="*/ 245 h 290"/>
                <a:gd name="T112" fmla="*/ 285 w 337"/>
                <a:gd name="T113" fmla="*/ 240 h 290"/>
                <a:gd name="T114" fmla="*/ 304 w 337"/>
                <a:gd name="T115" fmla="*/ 232 h 290"/>
                <a:gd name="T116" fmla="*/ 322 w 337"/>
                <a:gd name="T117" fmla="*/ 226 h 290"/>
                <a:gd name="T118" fmla="*/ 330 w 337"/>
                <a:gd name="T119" fmla="*/ 214 h 290"/>
                <a:gd name="T120" fmla="*/ 335 w 337"/>
                <a:gd name="T121" fmla="*/ 199 h 290"/>
                <a:gd name="T122" fmla="*/ 337 w 337"/>
                <a:gd name="T123" fmla="*/ 185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" h="290">
                  <a:moveTo>
                    <a:pt x="127" y="282"/>
                  </a:moveTo>
                  <a:lnTo>
                    <a:pt x="125" y="282"/>
                  </a:lnTo>
                  <a:lnTo>
                    <a:pt x="125" y="284"/>
                  </a:lnTo>
                  <a:lnTo>
                    <a:pt x="127" y="284"/>
                  </a:lnTo>
                  <a:lnTo>
                    <a:pt x="125" y="284"/>
                  </a:lnTo>
                  <a:lnTo>
                    <a:pt x="125" y="282"/>
                  </a:lnTo>
                  <a:lnTo>
                    <a:pt x="125" y="282"/>
                  </a:lnTo>
                  <a:lnTo>
                    <a:pt x="125" y="282"/>
                  </a:lnTo>
                  <a:lnTo>
                    <a:pt x="125" y="280"/>
                  </a:lnTo>
                  <a:lnTo>
                    <a:pt x="123" y="278"/>
                  </a:lnTo>
                  <a:lnTo>
                    <a:pt x="123" y="278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21" y="282"/>
                  </a:lnTo>
                  <a:lnTo>
                    <a:pt x="123" y="282"/>
                  </a:lnTo>
                  <a:lnTo>
                    <a:pt x="123" y="284"/>
                  </a:lnTo>
                  <a:lnTo>
                    <a:pt x="125" y="284"/>
                  </a:lnTo>
                  <a:lnTo>
                    <a:pt x="127" y="284"/>
                  </a:lnTo>
                  <a:lnTo>
                    <a:pt x="127" y="284"/>
                  </a:lnTo>
                  <a:lnTo>
                    <a:pt x="127" y="286"/>
                  </a:lnTo>
                  <a:lnTo>
                    <a:pt x="127" y="286"/>
                  </a:lnTo>
                  <a:lnTo>
                    <a:pt x="129" y="286"/>
                  </a:lnTo>
                  <a:lnTo>
                    <a:pt x="129" y="286"/>
                  </a:lnTo>
                  <a:lnTo>
                    <a:pt x="129" y="284"/>
                  </a:lnTo>
                  <a:lnTo>
                    <a:pt x="127" y="282"/>
                  </a:lnTo>
                  <a:close/>
                  <a:moveTo>
                    <a:pt x="35" y="121"/>
                  </a:moveTo>
                  <a:lnTo>
                    <a:pt x="33" y="119"/>
                  </a:lnTo>
                  <a:lnTo>
                    <a:pt x="33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5" y="121"/>
                  </a:lnTo>
                  <a:lnTo>
                    <a:pt x="35" y="121"/>
                  </a:lnTo>
                  <a:lnTo>
                    <a:pt x="37" y="123"/>
                  </a:lnTo>
                  <a:lnTo>
                    <a:pt x="37" y="123"/>
                  </a:lnTo>
                  <a:lnTo>
                    <a:pt x="37" y="123"/>
                  </a:lnTo>
                  <a:lnTo>
                    <a:pt x="39" y="123"/>
                  </a:lnTo>
                  <a:lnTo>
                    <a:pt x="39" y="123"/>
                  </a:lnTo>
                  <a:lnTo>
                    <a:pt x="35" y="121"/>
                  </a:lnTo>
                  <a:close/>
                  <a:moveTo>
                    <a:pt x="33" y="117"/>
                  </a:moveTo>
                  <a:lnTo>
                    <a:pt x="33" y="117"/>
                  </a:lnTo>
                  <a:lnTo>
                    <a:pt x="33" y="117"/>
                  </a:lnTo>
                  <a:lnTo>
                    <a:pt x="33" y="115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3" y="119"/>
                  </a:lnTo>
                  <a:lnTo>
                    <a:pt x="33" y="117"/>
                  </a:lnTo>
                  <a:close/>
                  <a:moveTo>
                    <a:pt x="337" y="185"/>
                  </a:moveTo>
                  <a:lnTo>
                    <a:pt x="335" y="183"/>
                  </a:lnTo>
                  <a:lnTo>
                    <a:pt x="333" y="179"/>
                  </a:lnTo>
                  <a:lnTo>
                    <a:pt x="333" y="177"/>
                  </a:lnTo>
                  <a:lnTo>
                    <a:pt x="330" y="175"/>
                  </a:lnTo>
                  <a:lnTo>
                    <a:pt x="328" y="173"/>
                  </a:lnTo>
                  <a:lnTo>
                    <a:pt x="328" y="175"/>
                  </a:lnTo>
                  <a:lnTo>
                    <a:pt x="328" y="175"/>
                  </a:lnTo>
                  <a:lnTo>
                    <a:pt x="326" y="175"/>
                  </a:lnTo>
                  <a:lnTo>
                    <a:pt x="326" y="175"/>
                  </a:lnTo>
                  <a:lnTo>
                    <a:pt x="324" y="175"/>
                  </a:lnTo>
                  <a:lnTo>
                    <a:pt x="324" y="175"/>
                  </a:lnTo>
                  <a:lnTo>
                    <a:pt x="320" y="175"/>
                  </a:lnTo>
                  <a:lnTo>
                    <a:pt x="318" y="173"/>
                  </a:lnTo>
                  <a:lnTo>
                    <a:pt x="314" y="173"/>
                  </a:lnTo>
                  <a:lnTo>
                    <a:pt x="312" y="173"/>
                  </a:lnTo>
                  <a:lnTo>
                    <a:pt x="308" y="173"/>
                  </a:lnTo>
                  <a:lnTo>
                    <a:pt x="304" y="171"/>
                  </a:lnTo>
                  <a:lnTo>
                    <a:pt x="302" y="171"/>
                  </a:lnTo>
                  <a:lnTo>
                    <a:pt x="298" y="171"/>
                  </a:lnTo>
                  <a:lnTo>
                    <a:pt x="296" y="171"/>
                  </a:lnTo>
                  <a:lnTo>
                    <a:pt x="291" y="171"/>
                  </a:lnTo>
                  <a:lnTo>
                    <a:pt x="289" y="169"/>
                  </a:lnTo>
                  <a:lnTo>
                    <a:pt x="289" y="169"/>
                  </a:lnTo>
                  <a:lnTo>
                    <a:pt x="289" y="169"/>
                  </a:lnTo>
                  <a:lnTo>
                    <a:pt x="287" y="169"/>
                  </a:lnTo>
                  <a:lnTo>
                    <a:pt x="287" y="169"/>
                  </a:lnTo>
                  <a:lnTo>
                    <a:pt x="285" y="166"/>
                  </a:lnTo>
                  <a:lnTo>
                    <a:pt x="285" y="166"/>
                  </a:lnTo>
                  <a:lnTo>
                    <a:pt x="283" y="164"/>
                  </a:lnTo>
                  <a:lnTo>
                    <a:pt x="281" y="162"/>
                  </a:lnTo>
                  <a:lnTo>
                    <a:pt x="281" y="160"/>
                  </a:lnTo>
                  <a:lnTo>
                    <a:pt x="279" y="160"/>
                  </a:lnTo>
                  <a:lnTo>
                    <a:pt x="279" y="158"/>
                  </a:lnTo>
                  <a:lnTo>
                    <a:pt x="277" y="158"/>
                  </a:lnTo>
                  <a:lnTo>
                    <a:pt x="277" y="156"/>
                  </a:lnTo>
                  <a:lnTo>
                    <a:pt x="277" y="154"/>
                  </a:lnTo>
                  <a:lnTo>
                    <a:pt x="275" y="154"/>
                  </a:lnTo>
                  <a:lnTo>
                    <a:pt x="275" y="152"/>
                  </a:lnTo>
                  <a:lnTo>
                    <a:pt x="273" y="152"/>
                  </a:lnTo>
                  <a:lnTo>
                    <a:pt x="273" y="150"/>
                  </a:lnTo>
                  <a:lnTo>
                    <a:pt x="271" y="148"/>
                  </a:lnTo>
                  <a:lnTo>
                    <a:pt x="271" y="148"/>
                  </a:lnTo>
                  <a:lnTo>
                    <a:pt x="271" y="148"/>
                  </a:lnTo>
                  <a:lnTo>
                    <a:pt x="271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4"/>
                  </a:lnTo>
                  <a:lnTo>
                    <a:pt x="267" y="144"/>
                  </a:lnTo>
                  <a:lnTo>
                    <a:pt x="267" y="144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5" y="138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61" y="140"/>
                  </a:lnTo>
                  <a:lnTo>
                    <a:pt x="259" y="138"/>
                  </a:lnTo>
                  <a:lnTo>
                    <a:pt x="259" y="138"/>
                  </a:lnTo>
                  <a:lnTo>
                    <a:pt x="257" y="136"/>
                  </a:lnTo>
                  <a:lnTo>
                    <a:pt x="257" y="134"/>
                  </a:lnTo>
                  <a:lnTo>
                    <a:pt x="255" y="132"/>
                  </a:lnTo>
                  <a:lnTo>
                    <a:pt x="252" y="129"/>
                  </a:lnTo>
                  <a:lnTo>
                    <a:pt x="252" y="125"/>
                  </a:lnTo>
                  <a:lnTo>
                    <a:pt x="250" y="123"/>
                  </a:lnTo>
                  <a:lnTo>
                    <a:pt x="248" y="121"/>
                  </a:lnTo>
                  <a:lnTo>
                    <a:pt x="246" y="119"/>
                  </a:lnTo>
                  <a:lnTo>
                    <a:pt x="246" y="117"/>
                  </a:lnTo>
                  <a:lnTo>
                    <a:pt x="244" y="115"/>
                  </a:lnTo>
                  <a:lnTo>
                    <a:pt x="244" y="113"/>
                  </a:lnTo>
                  <a:lnTo>
                    <a:pt x="244" y="111"/>
                  </a:lnTo>
                  <a:lnTo>
                    <a:pt x="244" y="111"/>
                  </a:lnTo>
                  <a:lnTo>
                    <a:pt x="244" y="111"/>
                  </a:lnTo>
                  <a:lnTo>
                    <a:pt x="244" y="111"/>
                  </a:lnTo>
                  <a:lnTo>
                    <a:pt x="246" y="111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4" y="105"/>
                  </a:lnTo>
                  <a:lnTo>
                    <a:pt x="242" y="103"/>
                  </a:lnTo>
                  <a:lnTo>
                    <a:pt x="242" y="101"/>
                  </a:lnTo>
                  <a:lnTo>
                    <a:pt x="242" y="101"/>
                  </a:lnTo>
                  <a:lnTo>
                    <a:pt x="242" y="101"/>
                  </a:lnTo>
                  <a:lnTo>
                    <a:pt x="244" y="101"/>
                  </a:lnTo>
                  <a:lnTo>
                    <a:pt x="244" y="101"/>
                  </a:lnTo>
                  <a:lnTo>
                    <a:pt x="244" y="101"/>
                  </a:lnTo>
                  <a:lnTo>
                    <a:pt x="242" y="97"/>
                  </a:lnTo>
                  <a:lnTo>
                    <a:pt x="238" y="95"/>
                  </a:lnTo>
                  <a:lnTo>
                    <a:pt x="234" y="92"/>
                  </a:lnTo>
                  <a:lnTo>
                    <a:pt x="232" y="90"/>
                  </a:lnTo>
                  <a:lnTo>
                    <a:pt x="230" y="88"/>
                  </a:lnTo>
                  <a:lnTo>
                    <a:pt x="228" y="86"/>
                  </a:lnTo>
                  <a:lnTo>
                    <a:pt x="228" y="86"/>
                  </a:lnTo>
                  <a:lnTo>
                    <a:pt x="228" y="84"/>
                  </a:lnTo>
                  <a:lnTo>
                    <a:pt x="226" y="84"/>
                  </a:lnTo>
                  <a:lnTo>
                    <a:pt x="224" y="82"/>
                  </a:lnTo>
                  <a:lnTo>
                    <a:pt x="222" y="80"/>
                  </a:lnTo>
                  <a:lnTo>
                    <a:pt x="222" y="80"/>
                  </a:lnTo>
                  <a:lnTo>
                    <a:pt x="222" y="80"/>
                  </a:lnTo>
                  <a:lnTo>
                    <a:pt x="222" y="78"/>
                  </a:lnTo>
                  <a:lnTo>
                    <a:pt x="222" y="76"/>
                  </a:lnTo>
                  <a:lnTo>
                    <a:pt x="218" y="74"/>
                  </a:lnTo>
                  <a:lnTo>
                    <a:pt x="215" y="70"/>
                  </a:lnTo>
                  <a:lnTo>
                    <a:pt x="215" y="68"/>
                  </a:lnTo>
                  <a:lnTo>
                    <a:pt x="215" y="66"/>
                  </a:lnTo>
                  <a:lnTo>
                    <a:pt x="211" y="66"/>
                  </a:lnTo>
                  <a:lnTo>
                    <a:pt x="209" y="66"/>
                  </a:lnTo>
                  <a:lnTo>
                    <a:pt x="205" y="66"/>
                  </a:lnTo>
                  <a:lnTo>
                    <a:pt x="203" y="66"/>
                  </a:lnTo>
                  <a:lnTo>
                    <a:pt x="201" y="64"/>
                  </a:lnTo>
                  <a:lnTo>
                    <a:pt x="201" y="62"/>
                  </a:lnTo>
                  <a:lnTo>
                    <a:pt x="199" y="62"/>
                  </a:lnTo>
                  <a:lnTo>
                    <a:pt x="199" y="58"/>
                  </a:lnTo>
                  <a:lnTo>
                    <a:pt x="193" y="58"/>
                  </a:lnTo>
                  <a:lnTo>
                    <a:pt x="191" y="58"/>
                  </a:lnTo>
                  <a:lnTo>
                    <a:pt x="187" y="55"/>
                  </a:lnTo>
                  <a:lnTo>
                    <a:pt x="185" y="55"/>
                  </a:lnTo>
                  <a:lnTo>
                    <a:pt x="181" y="58"/>
                  </a:lnTo>
                  <a:lnTo>
                    <a:pt x="174" y="55"/>
                  </a:lnTo>
                  <a:lnTo>
                    <a:pt x="168" y="55"/>
                  </a:lnTo>
                  <a:lnTo>
                    <a:pt x="160" y="55"/>
                  </a:lnTo>
                  <a:lnTo>
                    <a:pt x="156" y="53"/>
                  </a:lnTo>
                  <a:lnTo>
                    <a:pt x="156" y="53"/>
                  </a:lnTo>
                  <a:lnTo>
                    <a:pt x="150" y="49"/>
                  </a:lnTo>
                  <a:lnTo>
                    <a:pt x="146" y="47"/>
                  </a:lnTo>
                  <a:lnTo>
                    <a:pt x="140" y="43"/>
                  </a:lnTo>
                  <a:lnTo>
                    <a:pt x="133" y="37"/>
                  </a:lnTo>
                  <a:lnTo>
                    <a:pt x="129" y="33"/>
                  </a:lnTo>
                  <a:lnTo>
                    <a:pt x="125" y="31"/>
                  </a:lnTo>
                  <a:lnTo>
                    <a:pt x="119" y="27"/>
                  </a:lnTo>
                  <a:lnTo>
                    <a:pt x="115" y="23"/>
                  </a:lnTo>
                  <a:lnTo>
                    <a:pt x="111" y="20"/>
                  </a:lnTo>
                  <a:lnTo>
                    <a:pt x="107" y="16"/>
                  </a:lnTo>
                  <a:lnTo>
                    <a:pt x="103" y="14"/>
                  </a:lnTo>
                  <a:lnTo>
                    <a:pt x="98" y="12"/>
                  </a:lnTo>
                  <a:lnTo>
                    <a:pt x="94" y="10"/>
                  </a:lnTo>
                  <a:lnTo>
                    <a:pt x="90" y="8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78" y="2"/>
                  </a:lnTo>
                  <a:lnTo>
                    <a:pt x="74" y="2"/>
                  </a:lnTo>
                  <a:lnTo>
                    <a:pt x="68" y="2"/>
                  </a:lnTo>
                  <a:lnTo>
                    <a:pt x="64" y="0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59" y="4"/>
                  </a:lnTo>
                  <a:lnTo>
                    <a:pt x="53" y="6"/>
                  </a:lnTo>
                  <a:lnTo>
                    <a:pt x="49" y="6"/>
                  </a:lnTo>
                  <a:lnTo>
                    <a:pt x="43" y="8"/>
                  </a:lnTo>
                  <a:lnTo>
                    <a:pt x="39" y="10"/>
                  </a:lnTo>
                  <a:lnTo>
                    <a:pt x="35" y="10"/>
                  </a:lnTo>
                  <a:lnTo>
                    <a:pt x="31" y="12"/>
                  </a:lnTo>
                  <a:lnTo>
                    <a:pt x="35" y="14"/>
                  </a:lnTo>
                  <a:lnTo>
                    <a:pt x="37" y="18"/>
                  </a:lnTo>
                  <a:lnTo>
                    <a:pt x="41" y="20"/>
                  </a:lnTo>
                  <a:lnTo>
                    <a:pt x="43" y="25"/>
                  </a:lnTo>
                  <a:lnTo>
                    <a:pt x="45" y="27"/>
                  </a:lnTo>
                  <a:lnTo>
                    <a:pt x="49" y="31"/>
                  </a:lnTo>
                  <a:lnTo>
                    <a:pt x="47" y="31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7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37" y="41"/>
                  </a:lnTo>
                  <a:lnTo>
                    <a:pt x="33" y="41"/>
                  </a:lnTo>
                  <a:lnTo>
                    <a:pt x="31" y="41"/>
                  </a:lnTo>
                  <a:lnTo>
                    <a:pt x="29" y="43"/>
                  </a:lnTo>
                  <a:lnTo>
                    <a:pt x="29" y="45"/>
                  </a:lnTo>
                  <a:lnTo>
                    <a:pt x="27" y="49"/>
                  </a:lnTo>
                  <a:lnTo>
                    <a:pt x="25" y="51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16" y="53"/>
                  </a:lnTo>
                  <a:lnTo>
                    <a:pt x="12" y="53"/>
                  </a:lnTo>
                  <a:lnTo>
                    <a:pt x="8" y="51"/>
                  </a:lnTo>
                  <a:lnTo>
                    <a:pt x="6" y="51"/>
                  </a:lnTo>
                  <a:lnTo>
                    <a:pt x="2" y="51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6" y="74"/>
                  </a:lnTo>
                  <a:lnTo>
                    <a:pt x="8" y="76"/>
                  </a:lnTo>
                  <a:lnTo>
                    <a:pt x="12" y="80"/>
                  </a:lnTo>
                  <a:lnTo>
                    <a:pt x="14" y="86"/>
                  </a:lnTo>
                  <a:lnTo>
                    <a:pt x="18" y="90"/>
                  </a:lnTo>
                  <a:lnTo>
                    <a:pt x="20" y="92"/>
                  </a:lnTo>
                  <a:lnTo>
                    <a:pt x="22" y="97"/>
                  </a:lnTo>
                  <a:lnTo>
                    <a:pt x="25" y="99"/>
                  </a:lnTo>
                  <a:lnTo>
                    <a:pt x="27" y="103"/>
                  </a:lnTo>
                  <a:lnTo>
                    <a:pt x="31" y="111"/>
                  </a:lnTo>
                  <a:lnTo>
                    <a:pt x="33" y="113"/>
                  </a:lnTo>
                  <a:lnTo>
                    <a:pt x="35" y="115"/>
                  </a:lnTo>
                  <a:lnTo>
                    <a:pt x="35" y="117"/>
                  </a:lnTo>
                  <a:lnTo>
                    <a:pt x="37" y="119"/>
                  </a:lnTo>
                  <a:lnTo>
                    <a:pt x="37" y="119"/>
                  </a:lnTo>
                  <a:lnTo>
                    <a:pt x="41" y="125"/>
                  </a:lnTo>
                  <a:lnTo>
                    <a:pt x="43" y="127"/>
                  </a:lnTo>
                  <a:lnTo>
                    <a:pt x="43" y="129"/>
                  </a:lnTo>
                  <a:lnTo>
                    <a:pt x="43" y="132"/>
                  </a:lnTo>
                  <a:lnTo>
                    <a:pt x="43" y="134"/>
                  </a:lnTo>
                  <a:lnTo>
                    <a:pt x="43" y="134"/>
                  </a:lnTo>
                  <a:lnTo>
                    <a:pt x="45" y="138"/>
                  </a:lnTo>
                  <a:lnTo>
                    <a:pt x="47" y="142"/>
                  </a:lnTo>
                  <a:lnTo>
                    <a:pt x="49" y="144"/>
                  </a:lnTo>
                  <a:lnTo>
                    <a:pt x="51" y="144"/>
                  </a:lnTo>
                  <a:lnTo>
                    <a:pt x="51" y="144"/>
                  </a:lnTo>
                  <a:lnTo>
                    <a:pt x="53" y="146"/>
                  </a:lnTo>
                  <a:lnTo>
                    <a:pt x="55" y="146"/>
                  </a:lnTo>
                  <a:lnTo>
                    <a:pt x="55" y="148"/>
                  </a:lnTo>
                  <a:lnTo>
                    <a:pt x="57" y="148"/>
                  </a:lnTo>
                  <a:lnTo>
                    <a:pt x="62" y="152"/>
                  </a:lnTo>
                  <a:lnTo>
                    <a:pt x="64" y="154"/>
                  </a:lnTo>
                  <a:lnTo>
                    <a:pt x="66" y="158"/>
                  </a:lnTo>
                  <a:lnTo>
                    <a:pt x="68" y="162"/>
                  </a:lnTo>
                  <a:lnTo>
                    <a:pt x="70" y="164"/>
                  </a:lnTo>
                  <a:lnTo>
                    <a:pt x="70" y="166"/>
                  </a:lnTo>
                  <a:lnTo>
                    <a:pt x="70" y="169"/>
                  </a:lnTo>
                  <a:lnTo>
                    <a:pt x="72" y="171"/>
                  </a:lnTo>
                  <a:lnTo>
                    <a:pt x="72" y="171"/>
                  </a:lnTo>
                  <a:lnTo>
                    <a:pt x="72" y="171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4" y="175"/>
                  </a:lnTo>
                  <a:lnTo>
                    <a:pt x="76" y="179"/>
                  </a:lnTo>
                  <a:lnTo>
                    <a:pt x="74" y="181"/>
                  </a:lnTo>
                  <a:lnTo>
                    <a:pt x="74" y="183"/>
                  </a:lnTo>
                  <a:lnTo>
                    <a:pt x="74" y="185"/>
                  </a:lnTo>
                  <a:lnTo>
                    <a:pt x="74" y="189"/>
                  </a:lnTo>
                  <a:lnTo>
                    <a:pt x="74" y="191"/>
                  </a:lnTo>
                  <a:lnTo>
                    <a:pt x="76" y="193"/>
                  </a:lnTo>
                  <a:lnTo>
                    <a:pt x="76" y="195"/>
                  </a:lnTo>
                  <a:lnTo>
                    <a:pt x="76" y="197"/>
                  </a:lnTo>
                  <a:lnTo>
                    <a:pt x="76" y="199"/>
                  </a:lnTo>
                  <a:lnTo>
                    <a:pt x="78" y="206"/>
                  </a:lnTo>
                  <a:lnTo>
                    <a:pt x="82" y="210"/>
                  </a:lnTo>
                  <a:lnTo>
                    <a:pt x="84" y="214"/>
                  </a:lnTo>
                  <a:lnTo>
                    <a:pt x="86" y="216"/>
                  </a:lnTo>
                  <a:lnTo>
                    <a:pt x="88" y="218"/>
                  </a:lnTo>
                  <a:lnTo>
                    <a:pt x="92" y="218"/>
                  </a:lnTo>
                  <a:lnTo>
                    <a:pt x="98" y="224"/>
                  </a:lnTo>
                  <a:lnTo>
                    <a:pt x="101" y="226"/>
                  </a:lnTo>
                  <a:lnTo>
                    <a:pt x="103" y="228"/>
                  </a:lnTo>
                  <a:lnTo>
                    <a:pt x="105" y="228"/>
                  </a:lnTo>
                  <a:lnTo>
                    <a:pt x="105" y="230"/>
                  </a:lnTo>
                  <a:lnTo>
                    <a:pt x="105" y="230"/>
                  </a:lnTo>
                  <a:lnTo>
                    <a:pt x="107" y="232"/>
                  </a:lnTo>
                  <a:lnTo>
                    <a:pt x="109" y="240"/>
                  </a:lnTo>
                  <a:lnTo>
                    <a:pt x="111" y="240"/>
                  </a:lnTo>
                  <a:lnTo>
                    <a:pt x="111" y="245"/>
                  </a:lnTo>
                  <a:lnTo>
                    <a:pt x="111" y="245"/>
                  </a:lnTo>
                  <a:lnTo>
                    <a:pt x="111" y="247"/>
                  </a:lnTo>
                  <a:lnTo>
                    <a:pt x="115" y="251"/>
                  </a:lnTo>
                  <a:lnTo>
                    <a:pt x="117" y="255"/>
                  </a:lnTo>
                  <a:lnTo>
                    <a:pt x="119" y="259"/>
                  </a:lnTo>
                  <a:lnTo>
                    <a:pt x="121" y="261"/>
                  </a:lnTo>
                  <a:lnTo>
                    <a:pt x="125" y="265"/>
                  </a:lnTo>
                  <a:lnTo>
                    <a:pt x="129" y="269"/>
                  </a:lnTo>
                  <a:lnTo>
                    <a:pt x="131" y="273"/>
                  </a:lnTo>
                  <a:lnTo>
                    <a:pt x="131" y="275"/>
                  </a:lnTo>
                  <a:lnTo>
                    <a:pt x="133" y="278"/>
                  </a:lnTo>
                  <a:lnTo>
                    <a:pt x="133" y="280"/>
                  </a:lnTo>
                  <a:lnTo>
                    <a:pt x="133" y="280"/>
                  </a:lnTo>
                  <a:lnTo>
                    <a:pt x="135" y="282"/>
                  </a:lnTo>
                  <a:lnTo>
                    <a:pt x="137" y="284"/>
                  </a:lnTo>
                  <a:lnTo>
                    <a:pt x="137" y="284"/>
                  </a:lnTo>
                  <a:lnTo>
                    <a:pt x="137" y="286"/>
                  </a:lnTo>
                  <a:lnTo>
                    <a:pt x="137" y="288"/>
                  </a:lnTo>
                  <a:lnTo>
                    <a:pt x="140" y="290"/>
                  </a:lnTo>
                  <a:lnTo>
                    <a:pt x="142" y="288"/>
                  </a:lnTo>
                  <a:lnTo>
                    <a:pt x="142" y="286"/>
                  </a:lnTo>
                  <a:lnTo>
                    <a:pt x="144" y="286"/>
                  </a:lnTo>
                  <a:lnTo>
                    <a:pt x="144" y="284"/>
                  </a:lnTo>
                  <a:lnTo>
                    <a:pt x="144" y="284"/>
                  </a:lnTo>
                  <a:lnTo>
                    <a:pt x="144" y="282"/>
                  </a:lnTo>
                  <a:lnTo>
                    <a:pt x="144" y="282"/>
                  </a:lnTo>
                  <a:lnTo>
                    <a:pt x="144" y="282"/>
                  </a:lnTo>
                  <a:lnTo>
                    <a:pt x="144" y="280"/>
                  </a:lnTo>
                  <a:lnTo>
                    <a:pt x="144" y="278"/>
                  </a:lnTo>
                  <a:lnTo>
                    <a:pt x="144" y="275"/>
                  </a:lnTo>
                  <a:lnTo>
                    <a:pt x="144" y="273"/>
                  </a:lnTo>
                  <a:lnTo>
                    <a:pt x="146" y="273"/>
                  </a:lnTo>
                  <a:lnTo>
                    <a:pt x="146" y="273"/>
                  </a:lnTo>
                  <a:lnTo>
                    <a:pt x="144" y="271"/>
                  </a:lnTo>
                  <a:lnTo>
                    <a:pt x="144" y="271"/>
                  </a:lnTo>
                  <a:lnTo>
                    <a:pt x="146" y="269"/>
                  </a:lnTo>
                  <a:lnTo>
                    <a:pt x="146" y="269"/>
                  </a:lnTo>
                  <a:lnTo>
                    <a:pt x="148" y="269"/>
                  </a:lnTo>
                  <a:lnTo>
                    <a:pt x="148" y="269"/>
                  </a:lnTo>
                  <a:lnTo>
                    <a:pt x="150" y="269"/>
                  </a:lnTo>
                  <a:lnTo>
                    <a:pt x="150" y="269"/>
                  </a:lnTo>
                  <a:lnTo>
                    <a:pt x="152" y="269"/>
                  </a:lnTo>
                  <a:lnTo>
                    <a:pt x="152" y="271"/>
                  </a:lnTo>
                  <a:lnTo>
                    <a:pt x="154" y="271"/>
                  </a:lnTo>
                  <a:lnTo>
                    <a:pt x="156" y="271"/>
                  </a:lnTo>
                  <a:lnTo>
                    <a:pt x="156" y="271"/>
                  </a:lnTo>
                  <a:lnTo>
                    <a:pt x="156" y="271"/>
                  </a:lnTo>
                  <a:lnTo>
                    <a:pt x="158" y="271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2" y="271"/>
                  </a:lnTo>
                  <a:lnTo>
                    <a:pt x="166" y="271"/>
                  </a:lnTo>
                  <a:lnTo>
                    <a:pt x="168" y="269"/>
                  </a:lnTo>
                  <a:lnTo>
                    <a:pt x="172" y="269"/>
                  </a:lnTo>
                  <a:lnTo>
                    <a:pt x="174" y="269"/>
                  </a:lnTo>
                  <a:lnTo>
                    <a:pt x="176" y="269"/>
                  </a:lnTo>
                  <a:lnTo>
                    <a:pt x="176" y="271"/>
                  </a:lnTo>
                  <a:lnTo>
                    <a:pt x="181" y="271"/>
                  </a:lnTo>
                  <a:lnTo>
                    <a:pt x="183" y="273"/>
                  </a:lnTo>
                  <a:lnTo>
                    <a:pt x="187" y="273"/>
                  </a:lnTo>
                  <a:lnTo>
                    <a:pt x="191" y="273"/>
                  </a:lnTo>
                  <a:lnTo>
                    <a:pt x="195" y="273"/>
                  </a:lnTo>
                  <a:lnTo>
                    <a:pt x="197" y="273"/>
                  </a:lnTo>
                  <a:lnTo>
                    <a:pt x="199" y="273"/>
                  </a:lnTo>
                  <a:lnTo>
                    <a:pt x="201" y="273"/>
                  </a:lnTo>
                  <a:lnTo>
                    <a:pt x="201" y="273"/>
                  </a:lnTo>
                  <a:lnTo>
                    <a:pt x="203" y="278"/>
                  </a:lnTo>
                  <a:lnTo>
                    <a:pt x="205" y="280"/>
                  </a:lnTo>
                  <a:lnTo>
                    <a:pt x="207" y="280"/>
                  </a:lnTo>
                  <a:lnTo>
                    <a:pt x="209" y="278"/>
                  </a:lnTo>
                  <a:lnTo>
                    <a:pt x="211" y="278"/>
                  </a:lnTo>
                  <a:lnTo>
                    <a:pt x="211" y="275"/>
                  </a:lnTo>
                  <a:lnTo>
                    <a:pt x="213" y="271"/>
                  </a:lnTo>
                  <a:lnTo>
                    <a:pt x="213" y="269"/>
                  </a:lnTo>
                  <a:lnTo>
                    <a:pt x="215" y="267"/>
                  </a:lnTo>
                  <a:lnTo>
                    <a:pt x="218" y="265"/>
                  </a:lnTo>
                  <a:lnTo>
                    <a:pt x="220" y="261"/>
                  </a:lnTo>
                  <a:lnTo>
                    <a:pt x="222" y="261"/>
                  </a:lnTo>
                  <a:lnTo>
                    <a:pt x="224" y="257"/>
                  </a:lnTo>
                  <a:lnTo>
                    <a:pt x="226" y="255"/>
                  </a:lnTo>
                  <a:lnTo>
                    <a:pt x="230" y="253"/>
                  </a:lnTo>
                  <a:lnTo>
                    <a:pt x="234" y="251"/>
                  </a:lnTo>
                  <a:lnTo>
                    <a:pt x="236" y="249"/>
                  </a:lnTo>
                  <a:lnTo>
                    <a:pt x="238" y="249"/>
                  </a:lnTo>
                  <a:lnTo>
                    <a:pt x="242" y="247"/>
                  </a:lnTo>
                  <a:lnTo>
                    <a:pt x="248" y="247"/>
                  </a:lnTo>
                  <a:lnTo>
                    <a:pt x="252" y="247"/>
                  </a:lnTo>
                  <a:lnTo>
                    <a:pt x="257" y="245"/>
                  </a:lnTo>
                  <a:lnTo>
                    <a:pt x="263" y="245"/>
                  </a:lnTo>
                  <a:lnTo>
                    <a:pt x="267" y="245"/>
                  </a:lnTo>
                  <a:lnTo>
                    <a:pt x="271" y="243"/>
                  </a:lnTo>
                  <a:lnTo>
                    <a:pt x="275" y="243"/>
                  </a:lnTo>
                  <a:lnTo>
                    <a:pt x="279" y="243"/>
                  </a:lnTo>
                  <a:lnTo>
                    <a:pt x="283" y="240"/>
                  </a:lnTo>
                  <a:lnTo>
                    <a:pt x="285" y="240"/>
                  </a:lnTo>
                  <a:lnTo>
                    <a:pt x="287" y="238"/>
                  </a:lnTo>
                  <a:lnTo>
                    <a:pt x="289" y="238"/>
                  </a:lnTo>
                  <a:lnTo>
                    <a:pt x="294" y="236"/>
                  </a:lnTo>
                  <a:lnTo>
                    <a:pt x="296" y="236"/>
                  </a:lnTo>
                  <a:lnTo>
                    <a:pt x="298" y="234"/>
                  </a:lnTo>
                  <a:lnTo>
                    <a:pt x="302" y="234"/>
                  </a:lnTo>
                  <a:lnTo>
                    <a:pt x="304" y="232"/>
                  </a:lnTo>
                  <a:lnTo>
                    <a:pt x="306" y="232"/>
                  </a:lnTo>
                  <a:lnTo>
                    <a:pt x="310" y="230"/>
                  </a:lnTo>
                  <a:lnTo>
                    <a:pt x="312" y="230"/>
                  </a:lnTo>
                  <a:lnTo>
                    <a:pt x="314" y="228"/>
                  </a:lnTo>
                  <a:lnTo>
                    <a:pt x="316" y="228"/>
                  </a:lnTo>
                  <a:lnTo>
                    <a:pt x="320" y="226"/>
                  </a:lnTo>
                  <a:lnTo>
                    <a:pt x="322" y="226"/>
                  </a:lnTo>
                  <a:lnTo>
                    <a:pt x="324" y="224"/>
                  </a:lnTo>
                  <a:lnTo>
                    <a:pt x="328" y="224"/>
                  </a:lnTo>
                  <a:lnTo>
                    <a:pt x="328" y="224"/>
                  </a:lnTo>
                  <a:lnTo>
                    <a:pt x="330" y="220"/>
                  </a:lnTo>
                  <a:lnTo>
                    <a:pt x="330" y="218"/>
                  </a:lnTo>
                  <a:lnTo>
                    <a:pt x="330" y="216"/>
                  </a:lnTo>
                  <a:lnTo>
                    <a:pt x="330" y="214"/>
                  </a:lnTo>
                  <a:lnTo>
                    <a:pt x="333" y="212"/>
                  </a:lnTo>
                  <a:lnTo>
                    <a:pt x="333" y="210"/>
                  </a:lnTo>
                  <a:lnTo>
                    <a:pt x="333" y="208"/>
                  </a:lnTo>
                  <a:lnTo>
                    <a:pt x="333" y="206"/>
                  </a:lnTo>
                  <a:lnTo>
                    <a:pt x="333" y="203"/>
                  </a:lnTo>
                  <a:lnTo>
                    <a:pt x="335" y="201"/>
                  </a:lnTo>
                  <a:lnTo>
                    <a:pt x="335" y="199"/>
                  </a:lnTo>
                  <a:lnTo>
                    <a:pt x="335" y="197"/>
                  </a:lnTo>
                  <a:lnTo>
                    <a:pt x="337" y="193"/>
                  </a:lnTo>
                  <a:lnTo>
                    <a:pt x="337" y="191"/>
                  </a:lnTo>
                  <a:lnTo>
                    <a:pt x="337" y="189"/>
                  </a:lnTo>
                  <a:lnTo>
                    <a:pt x="337" y="189"/>
                  </a:lnTo>
                  <a:lnTo>
                    <a:pt x="337" y="187"/>
                  </a:lnTo>
                  <a:lnTo>
                    <a:pt x="337" y="18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1" name="Freeform 46">
              <a:extLst>
                <a:ext uri="{FF2B5EF4-FFF2-40B4-BE49-F238E27FC236}">
                  <a16:creationId xmlns:a16="http://schemas.microsoft.com/office/drawing/2014/main" id="{1D8FA06E-D0D0-4E4D-B1F0-78750C5082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2652" y="3704929"/>
              <a:ext cx="169939" cy="178258"/>
            </a:xfrm>
            <a:custGeom>
              <a:avLst/>
              <a:gdLst>
                <a:gd name="T0" fmla="*/ 143 w 143"/>
                <a:gd name="T1" fmla="*/ 148 h 150"/>
                <a:gd name="T2" fmla="*/ 141 w 143"/>
                <a:gd name="T3" fmla="*/ 148 h 150"/>
                <a:gd name="T4" fmla="*/ 141 w 143"/>
                <a:gd name="T5" fmla="*/ 148 h 150"/>
                <a:gd name="T6" fmla="*/ 141 w 143"/>
                <a:gd name="T7" fmla="*/ 150 h 150"/>
                <a:gd name="T8" fmla="*/ 143 w 143"/>
                <a:gd name="T9" fmla="*/ 150 h 150"/>
                <a:gd name="T10" fmla="*/ 143 w 143"/>
                <a:gd name="T11" fmla="*/ 150 h 150"/>
                <a:gd name="T12" fmla="*/ 143 w 143"/>
                <a:gd name="T13" fmla="*/ 148 h 150"/>
                <a:gd name="T14" fmla="*/ 0 w 143"/>
                <a:gd name="T15" fmla="*/ 0 h 150"/>
                <a:gd name="T16" fmla="*/ 0 w 143"/>
                <a:gd name="T17" fmla="*/ 0 h 150"/>
                <a:gd name="T18" fmla="*/ 0 w 143"/>
                <a:gd name="T19" fmla="*/ 2 h 150"/>
                <a:gd name="T20" fmla="*/ 0 w 143"/>
                <a:gd name="T21" fmla="*/ 2 h 150"/>
                <a:gd name="T22" fmla="*/ 0 w 143"/>
                <a:gd name="T23" fmla="*/ 2 h 150"/>
                <a:gd name="T24" fmla="*/ 0 w 143"/>
                <a:gd name="T25" fmla="*/ 2 h 150"/>
                <a:gd name="T26" fmla="*/ 0 w 143"/>
                <a:gd name="T27" fmla="*/ 2 h 150"/>
                <a:gd name="T28" fmla="*/ 2 w 143"/>
                <a:gd name="T29" fmla="*/ 2 h 150"/>
                <a:gd name="T30" fmla="*/ 2 w 143"/>
                <a:gd name="T31" fmla="*/ 2 h 150"/>
                <a:gd name="T32" fmla="*/ 2 w 143"/>
                <a:gd name="T33" fmla="*/ 2 h 150"/>
                <a:gd name="T34" fmla="*/ 0 w 143"/>
                <a:gd name="T35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3" h="150">
                  <a:moveTo>
                    <a:pt x="143" y="148"/>
                  </a:moveTo>
                  <a:lnTo>
                    <a:pt x="141" y="148"/>
                  </a:lnTo>
                  <a:lnTo>
                    <a:pt x="141" y="148"/>
                  </a:lnTo>
                  <a:lnTo>
                    <a:pt x="141" y="150"/>
                  </a:lnTo>
                  <a:lnTo>
                    <a:pt x="143" y="150"/>
                  </a:lnTo>
                  <a:lnTo>
                    <a:pt x="143" y="150"/>
                  </a:lnTo>
                  <a:lnTo>
                    <a:pt x="143" y="14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2" name="Freeform 50">
              <a:extLst>
                <a:ext uri="{FF2B5EF4-FFF2-40B4-BE49-F238E27FC236}">
                  <a16:creationId xmlns:a16="http://schemas.microsoft.com/office/drawing/2014/main" id="{CD8FDB19-CB7E-2B4A-BBEF-B7B362F9ED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6798" y="2580714"/>
              <a:ext cx="424254" cy="349386"/>
            </a:xfrm>
            <a:custGeom>
              <a:avLst/>
              <a:gdLst>
                <a:gd name="T0" fmla="*/ 45 w 357"/>
                <a:gd name="T1" fmla="*/ 286 h 294"/>
                <a:gd name="T2" fmla="*/ 41 w 357"/>
                <a:gd name="T3" fmla="*/ 292 h 294"/>
                <a:gd name="T4" fmla="*/ 16 w 357"/>
                <a:gd name="T5" fmla="*/ 284 h 294"/>
                <a:gd name="T6" fmla="*/ 30 w 357"/>
                <a:gd name="T7" fmla="*/ 278 h 294"/>
                <a:gd name="T8" fmla="*/ 26 w 357"/>
                <a:gd name="T9" fmla="*/ 288 h 294"/>
                <a:gd name="T10" fmla="*/ 67 w 357"/>
                <a:gd name="T11" fmla="*/ 276 h 294"/>
                <a:gd name="T12" fmla="*/ 67 w 357"/>
                <a:gd name="T13" fmla="*/ 284 h 294"/>
                <a:gd name="T14" fmla="*/ 4 w 357"/>
                <a:gd name="T15" fmla="*/ 274 h 294"/>
                <a:gd name="T16" fmla="*/ 75 w 357"/>
                <a:gd name="T17" fmla="*/ 265 h 294"/>
                <a:gd name="T18" fmla="*/ 75 w 357"/>
                <a:gd name="T19" fmla="*/ 270 h 294"/>
                <a:gd name="T20" fmla="*/ 314 w 357"/>
                <a:gd name="T21" fmla="*/ 91 h 294"/>
                <a:gd name="T22" fmla="*/ 312 w 357"/>
                <a:gd name="T23" fmla="*/ 84 h 294"/>
                <a:gd name="T24" fmla="*/ 316 w 357"/>
                <a:gd name="T25" fmla="*/ 82 h 294"/>
                <a:gd name="T26" fmla="*/ 340 w 357"/>
                <a:gd name="T27" fmla="*/ 68 h 294"/>
                <a:gd name="T28" fmla="*/ 330 w 357"/>
                <a:gd name="T29" fmla="*/ 76 h 294"/>
                <a:gd name="T30" fmla="*/ 338 w 357"/>
                <a:gd name="T31" fmla="*/ 78 h 294"/>
                <a:gd name="T32" fmla="*/ 351 w 357"/>
                <a:gd name="T33" fmla="*/ 68 h 294"/>
                <a:gd name="T34" fmla="*/ 353 w 357"/>
                <a:gd name="T35" fmla="*/ 68 h 294"/>
                <a:gd name="T36" fmla="*/ 342 w 357"/>
                <a:gd name="T37" fmla="*/ 31 h 294"/>
                <a:gd name="T38" fmla="*/ 340 w 357"/>
                <a:gd name="T39" fmla="*/ 25 h 294"/>
                <a:gd name="T40" fmla="*/ 334 w 357"/>
                <a:gd name="T41" fmla="*/ 27 h 294"/>
                <a:gd name="T42" fmla="*/ 322 w 357"/>
                <a:gd name="T43" fmla="*/ 25 h 294"/>
                <a:gd name="T44" fmla="*/ 316 w 357"/>
                <a:gd name="T45" fmla="*/ 23 h 294"/>
                <a:gd name="T46" fmla="*/ 305 w 357"/>
                <a:gd name="T47" fmla="*/ 17 h 294"/>
                <a:gd name="T48" fmla="*/ 297 w 357"/>
                <a:gd name="T49" fmla="*/ 19 h 294"/>
                <a:gd name="T50" fmla="*/ 287 w 357"/>
                <a:gd name="T51" fmla="*/ 19 h 294"/>
                <a:gd name="T52" fmla="*/ 277 w 357"/>
                <a:gd name="T53" fmla="*/ 12 h 294"/>
                <a:gd name="T54" fmla="*/ 275 w 357"/>
                <a:gd name="T55" fmla="*/ 12 h 294"/>
                <a:gd name="T56" fmla="*/ 268 w 357"/>
                <a:gd name="T57" fmla="*/ 8 h 294"/>
                <a:gd name="T58" fmla="*/ 250 w 357"/>
                <a:gd name="T59" fmla="*/ 8 h 294"/>
                <a:gd name="T60" fmla="*/ 221 w 357"/>
                <a:gd name="T61" fmla="*/ 6 h 294"/>
                <a:gd name="T62" fmla="*/ 192 w 357"/>
                <a:gd name="T63" fmla="*/ 4 h 294"/>
                <a:gd name="T64" fmla="*/ 174 w 357"/>
                <a:gd name="T65" fmla="*/ 4 h 294"/>
                <a:gd name="T66" fmla="*/ 164 w 357"/>
                <a:gd name="T67" fmla="*/ 10 h 294"/>
                <a:gd name="T68" fmla="*/ 164 w 357"/>
                <a:gd name="T69" fmla="*/ 19 h 294"/>
                <a:gd name="T70" fmla="*/ 166 w 357"/>
                <a:gd name="T71" fmla="*/ 25 h 294"/>
                <a:gd name="T72" fmla="*/ 164 w 357"/>
                <a:gd name="T73" fmla="*/ 33 h 294"/>
                <a:gd name="T74" fmla="*/ 174 w 357"/>
                <a:gd name="T75" fmla="*/ 31 h 294"/>
                <a:gd name="T76" fmla="*/ 176 w 357"/>
                <a:gd name="T77" fmla="*/ 35 h 294"/>
                <a:gd name="T78" fmla="*/ 188 w 357"/>
                <a:gd name="T79" fmla="*/ 33 h 294"/>
                <a:gd name="T80" fmla="*/ 195 w 357"/>
                <a:gd name="T81" fmla="*/ 33 h 294"/>
                <a:gd name="T82" fmla="*/ 199 w 357"/>
                <a:gd name="T83" fmla="*/ 37 h 294"/>
                <a:gd name="T84" fmla="*/ 195 w 357"/>
                <a:gd name="T85" fmla="*/ 45 h 294"/>
                <a:gd name="T86" fmla="*/ 190 w 357"/>
                <a:gd name="T87" fmla="*/ 60 h 294"/>
                <a:gd name="T88" fmla="*/ 188 w 357"/>
                <a:gd name="T89" fmla="*/ 66 h 294"/>
                <a:gd name="T90" fmla="*/ 180 w 357"/>
                <a:gd name="T91" fmla="*/ 72 h 294"/>
                <a:gd name="T92" fmla="*/ 186 w 357"/>
                <a:gd name="T93" fmla="*/ 84 h 294"/>
                <a:gd name="T94" fmla="*/ 184 w 357"/>
                <a:gd name="T95" fmla="*/ 101 h 294"/>
                <a:gd name="T96" fmla="*/ 178 w 357"/>
                <a:gd name="T97" fmla="*/ 109 h 294"/>
                <a:gd name="T98" fmla="*/ 186 w 357"/>
                <a:gd name="T99" fmla="*/ 117 h 294"/>
                <a:gd name="T100" fmla="*/ 192 w 357"/>
                <a:gd name="T101" fmla="*/ 130 h 294"/>
                <a:gd name="T102" fmla="*/ 205 w 357"/>
                <a:gd name="T103" fmla="*/ 140 h 294"/>
                <a:gd name="T104" fmla="*/ 211 w 357"/>
                <a:gd name="T105" fmla="*/ 134 h 294"/>
                <a:gd name="T106" fmla="*/ 240 w 357"/>
                <a:gd name="T107" fmla="*/ 128 h 294"/>
                <a:gd name="T108" fmla="*/ 258 w 357"/>
                <a:gd name="T109" fmla="*/ 126 h 294"/>
                <a:gd name="T110" fmla="*/ 279 w 357"/>
                <a:gd name="T111" fmla="*/ 109 h 294"/>
                <a:gd name="T112" fmla="*/ 291 w 357"/>
                <a:gd name="T113" fmla="*/ 93 h 294"/>
                <a:gd name="T114" fmla="*/ 291 w 357"/>
                <a:gd name="T115" fmla="*/ 68 h 294"/>
                <a:gd name="T116" fmla="*/ 305 w 357"/>
                <a:gd name="T117" fmla="*/ 56 h 294"/>
                <a:gd name="T118" fmla="*/ 328 w 357"/>
                <a:gd name="T119" fmla="*/ 4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7" h="294">
                  <a:moveTo>
                    <a:pt x="2" y="292"/>
                  </a:moveTo>
                  <a:lnTo>
                    <a:pt x="0" y="292"/>
                  </a:lnTo>
                  <a:lnTo>
                    <a:pt x="2" y="292"/>
                  </a:lnTo>
                  <a:lnTo>
                    <a:pt x="2" y="294"/>
                  </a:lnTo>
                  <a:lnTo>
                    <a:pt x="4" y="294"/>
                  </a:lnTo>
                  <a:lnTo>
                    <a:pt x="6" y="292"/>
                  </a:lnTo>
                  <a:lnTo>
                    <a:pt x="4" y="290"/>
                  </a:lnTo>
                  <a:lnTo>
                    <a:pt x="2" y="292"/>
                  </a:lnTo>
                  <a:close/>
                  <a:moveTo>
                    <a:pt x="45" y="286"/>
                  </a:moveTo>
                  <a:lnTo>
                    <a:pt x="45" y="286"/>
                  </a:lnTo>
                  <a:lnTo>
                    <a:pt x="43" y="286"/>
                  </a:lnTo>
                  <a:lnTo>
                    <a:pt x="43" y="286"/>
                  </a:lnTo>
                  <a:lnTo>
                    <a:pt x="41" y="286"/>
                  </a:lnTo>
                  <a:lnTo>
                    <a:pt x="39" y="286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9" y="292"/>
                  </a:lnTo>
                  <a:lnTo>
                    <a:pt x="41" y="292"/>
                  </a:lnTo>
                  <a:lnTo>
                    <a:pt x="41" y="292"/>
                  </a:lnTo>
                  <a:lnTo>
                    <a:pt x="43" y="292"/>
                  </a:lnTo>
                  <a:lnTo>
                    <a:pt x="45" y="290"/>
                  </a:lnTo>
                  <a:lnTo>
                    <a:pt x="45" y="288"/>
                  </a:lnTo>
                  <a:lnTo>
                    <a:pt x="45" y="286"/>
                  </a:lnTo>
                  <a:lnTo>
                    <a:pt x="45" y="286"/>
                  </a:lnTo>
                  <a:close/>
                  <a:moveTo>
                    <a:pt x="18" y="286"/>
                  </a:moveTo>
                  <a:lnTo>
                    <a:pt x="16" y="284"/>
                  </a:lnTo>
                  <a:lnTo>
                    <a:pt x="16" y="284"/>
                  </a:lnTo>
                  <a:lnTo>
                    <a:pt x="14" y="284"/>
                  </a:lnTo>
                  <a:lnTo>
                    <a:pt x="14" y="286"/>
                  </a:lnTo>
                  <a:lnTo>
                    <a:pt x="14" y="288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close/>
                  <a:moveTo>
                    <a:pt x="30" y="278"/>
                  </a:moveTo>
                  <a:lnTo>
                    <a:pt x="26" y="280"/>
                  </a:lnTo>
                  <a:lnTo>
                    <a:pt x="26" y="280"/>
                  </a:lnTo>
                  <a:lnTo>
                    <a:pt x="24" y="282"/>
                  </a:lnTo>
                  <a:lnTo>
                    <a:pt x="22" y="282"/>
                  </a:lnTo>
                  <a:lnTo>
                    <a:pt x="20" y="282"/>
                  </a:lnTo>
                  <a:lnTo>
                    <a:pt x="22" y="282"/>
                  </a:lnTo>
                  <a:lnTo>
                    <a:pt x="22" y="286"/>
                  </a:lnTo>
                  <a:lnTo>
                    <a:pt x="24" y="288"/>
                  </a:lnTo>
                  <a:lnTo>
                    <a:pt x="26" y="288"/>
                  </a:lnTo>
                  <a:lnTo>
                    <a:pt x="26" y="286"/>
                  </a:lnTo>
                  <a:lnTo>
                    <a:pt x="28" y="286"/>
                  </a:lnTo>
                  <a:lnTo>
                    <a:pt x="30" y="282"/>
                  </a:lnTo>
                  <a:lnTo>
                    <a:pt x="32" y="278"/>
                  </a:lnTo>
                  <a:lnTo>
                    <a:pt x="32" y="278"/>
                  </a:lnTo>
                  <a:lnTo>
                    <a:pt x="30" y="278"/>
                  </a:lnTo>
                  <a:close/>
                  <a:moveTo>
                    <a:pt x="69" y="274"/>
                  </a:moveTo>
                  <a:lnTo>
                    <a:pt x="67" y="274"/>
                  </a:lnTo>
                  <a:lnTo>
                    <a:pt x="67" y="276"/>
                  </a:lnTo>
                  <a:lnTo>
                    <a:pt x="65" y="278"/>
                  </a:lnTo>
                  <a:lnTo>
                    <a:pt x="63" y="280"/>
                  </a:lnTo>
                  <a:lnTo>
                    <a:pt x="63" y="284"/>
                  </a:lnTo>
                  <a:lnTo>
                    <a:pt x="61" y="286"/>
                  </a:lnTo>
                  <a:lnTo>
                    <a:pt x="59" y="286"/>
                  </a:lnTo>
                  <a:lnTo>
                    <a:pt x="59" y="286"/>
                  </a:lnTo>
                  <a:lnTo>
                    <a:pt x="61" y="288"/>
                  </a:lnTo>
                  <a:lnTo>
                    <a:pt x="63" y="286"/>
                  </a:lnTo>
                  <a:lnTo>
                    <a:pt x="67" y="284"/>
                  </a:lnTo>
                  <a:lnTo>
                    <a:pt x="69" y="280"/>
                  </a:lnTo>
                  <a:lnTo>
                    <a:pt x="69" y="278"/>
                  </a:lnTo>
                  <a:lnTo>
                    <a:pt x="69" y="276"/>
                  </a:lnTo>
                  <a:lnTo>
                    <a:pt x="69" y="274"/>
                  </a:lnTo>
                  <a:lnTo>
                    <a:pt x="69" y="274"/>
                  </a:lnTo>
                  <a:close/>
                  <a:moveTo>
                    <a:pt x="8" y="274"/>
                  </a:moveTo>
                  <a:lnTo>
                    <a:pt x="8" y="272"/>
                  </a:lnTo>
                  <a:lnTo>
                    <a:pt x="6" y="272"/>
                  </a:lnTo>
                  <a:lnTo>
                    <a:pt x="4" y="274"/>
                  </a:lnTo>
                  <a:lnTo>
                    <a:pt x="6" y="278"/>
                  </a:lnTo>
                  <a:lnTo>
                    <a:pt x="6" y="280"/>
                  </a:lnTo>
                  <a:lnTo>
                    <a:pt x="6" y="280"/>
                  </a:lnTo>
                  <a:lnTo>
                    <a:pt x="8" y="278"/>
                  </a:lnTo>
                  <a:lnTo>
                    <a:pt x="8" y="278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4"/>
                  </a:lnTo>
                  <a:close/>
                  <a:moveTo>
                    <a:pt x="75" y="265"/>
                  </a:moveTo>
                  <a:lnTo>
                    <a:pt x="73" y="267"/>
                  </a:lnTo>
                  <a:lnTo>
                    <a:pt x="73" y="267"/>
                  </a:lnTo>
                  <a:lnTo>
                    <a:pt x="69" y="270"/>
                  </a:lnTo>
                  <a:lnTo>
                    <a:pt x="69" y="270"/>
                  </a:lnTo>
                  <a:lnTo>
                    <a:pt x="69" y="272"/>
                  </a:lnTo>
                  <a:lnTo>
                    <a:pt x="69" y="272"/>
                  </a:lnTo>
                  <a:lnTo>
                    <a:pt x="71" y="272"/>
                  </a:lnTo>
                  <a:lnTo>
                    <a:pt x="73" y="270"/>
                  </a:lnTo>
                  <a:lnTo>
                    <a:pt x="75" y="270"/>
                  </a:lnTo>
                  <a:lnTo>
                    <a:pt x="75" y="267"/>
                  </a:lnTo>
                  <a:lnTo>
                    <a:pt x="75" y="265"/>
                  </a:lnTo>
                  <a:lnTo>
                    <a:pt x="75" y="265"/>
                  </a:lnTo>
                  <a:lnTo>
                    <a:pt x="75" y="265"/>
                  </a:lnTo>
                  <a:close/>
                  <a:moveTo>
                    <a:pt x="314" y="89"/>
                  </a:moveTo>
                  <a:lnTo>
                    <a:pt x="314" y="91"/>
                  </a:lnTo>
                  <a:lnTo>
                    <a:pt x="312" y="91"/>
                  </a:lnTo>
                  <a:lnTo>
                    <a:pt x="314" y="91"/>
                  </a:lnTo>
                  <a:lnTo>
                    <a:pt x="314" y="91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4" y="91"/>
                  </a:lnTo>
                  <a:lnTo>
                    <a:pt x="314" y="89"/>
                  </a:lnTo>
                  <a:close/>
                  <a:moveTo>
                    <a:pt x="316" y="82"/>
                  </a:moveTo>
                  <a:lnTo>
                    <a:pt x="312" y="84"/>
                  </a:lnTo>
                  <a:lnTo>
                    <a:pt x="312" y="84"/>
                  </a:lnTo>
                  <a:lnTo>
                    <a:pt x="312" y="84"/>
                  </a:lnTo>
                  <a:lnTo>
                    <a:pt x="312" y="84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4" y="89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6" y="84"/>
                  </a:lnTo>
                  <a:lnTo>
                    <a:pt x="316" y="82"/>
                  </a:lnTo>
                  <a:lnTo>
                    <a:pt x="316" y="82"/>
                  </a:lnTo>
                  <a:close/>
                  <a:moveTo>
                    <a:pt x="342" y="70"/>
                  </a:moveTo>
                  <a:lnTo>
                    <a:pt x="342" y="70"/>
                  </a:lnTo>
                  <a:lnTo>
                    <a:pt x="340" y="70"/>
                  </a:lnTo>
                  <a:lnTo>
                    <a:pt x="340" y="70"/>
                  </a:lnTo>
                  <a:lnTo>
                    <a:pt x="340" y="70"/>
                  </a:lnTo>
                  <a:lnTo>
                    <a:pt x="340" y="70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36" y="68"/>
                  </a:lnTo>
                  <a:lnTo>
                    <a:pt x="334" y="70"/>
                  </a:lnTo>
                  <a:lnTo>
                    <a:pt x="328" y="74"/>
                  </a:lnTo>
                  <a:lnTo>
                    <a:pt x="328" y="74"/>
                  </a:lnTo>
                  <a:lnTo>
                    <a:pt x="328" y="74"/>
                  </a:lnTo>
                  <a:lnTo>
                    <a:pt x="328" y="76"/>
                  </a:lnTo>
                  <a:lnTo>
                    <a:pt x="330" y="76"/>
                  </a:lnTo>
                  <a:lnTo>
                    <a:pt x="330" y="74"/>
                  </a:lnTo>
                  <a:lnTo>
                    <a:pt x="332" y="74"/>
                  </a:lnTo>
                  <a:lnTo>
                    <a:pt x="332" y="74"/>
                  </a:lnTo>
                  <a:lnTo>
                    <a:pt x="334" y="76"/>
                  </a:lnTo>
                  <a:lnTo>
                    <a:pt x="334" y="78"/>
                  </a:lnTo>
                  <a:lnTo>
                    <a:pt x="334" y="78"/>
                  </a:lnTo>
                  <a:lnTo>
                    <a:pt x="336" y="78"/>
                  </a:lnTo>
                  <a:lnTo>
                    <a:pt x="338" y="80"/>
                  </a:lnTo>
                  <a:lnTo>
                    <a:pt x="338" y="78"/>
                  </a:lnTo>
                  <a:lnTo>
                    <a:pt x="340" y="78"/>
                  </a:lnTo>
                  <a:lnTo>
                    <a:pt x="342" y="76"/>
                  </a:lnTo>
                  <a:lnTo>
                    <a:pt x="342" y="74"/>
                  </a:lnTo>
                  <a:lnTo>
                    <a:pt x="342" y="74"/>
                  </a:lnTo>
                  <a:lnTo>
                    <a:pt x="344" y="72"/>
                  </a:lnTo>
                  <a:lnTo>
                    <a:pt x="344" y="70"/>
                  </a:lnTo>
                  <a:lnTo>
                    <a:pt x="342" y="70"/>
                  </a:lnTo>
                  <a:close/>
                  <a:moveTo>
                    <a:pt x="351" y="68"/>
                  </a:moveTo>
                  <a:lnTo>
                    <a:pt x="351" y="68"/>
                  </a:lnTo>
                  <a:lnTo>
                    <a:pt x="351" y="68"/>
                  </a:lnTo>
                  <a:lnTo>
                    <a:pt x="351" y="68"/>
                  </a:lnTo>
                  <a:close/>
                  <a:moveTo>
                    <a:pt x="357" y="68"/>
                  </a:moveTo>
                  <a:lnTo>
                    <a:pt x="355" y="68"/>
                  </a:lnTo>
                  <a:lnTo>
                    <a:pt x="353" y="66"/>
                  </a:lnTo>
                  <a:lnTo>
                    <a:pt x="351" y="66"/>
                  </a:lnTo>
                  <a:lnTo>
                    <a:pt x="351" y="68"/>
                  </a:lnTo>
                  <a:lnTo>
                    <a:pt x="351" y="68"/>
                  </a:lnTo>
                  <a:lnTo>
                    <a:pt x="353" y="68"/>
                  </a:lnTo>
                  <a:lnTo>
                    <a:pt x="357" y="70"/>
                  </a:lnTo>
                  <a:lnTo>
                    <a:pt x="357" y="70"/>
                  </a:lnTo>
                  <a:lnTo>
                    <a:pt x="357" y="68"/>
                  </a:lnTo>
                  <a:lnTo>
                    <a:pt x="357" y="68"/>
                  </a:lnTo>
                  <a:close/>
                  <a:moveTo>
                    <a:pt x="338" y="37"/>
                  </a:moveTo>
                  <a:lnTo>
                    <a:pt x="340" y="35"/>
                  </a:lnTo>
                  <a:lnTo>
                    <a:pt x="342" y="33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0" y="29"/>
                  </a:lnTo>
                  <a:lnTo>
                    <a:pt x="340" y="29"/>
                  </a:lnTo>
                  <a:lnTo>
                    <a:pt x="340" y="27"/>
                  </a:lnTo>
                  <a:lnTo>
                    <a:pt x="342" y="27"/>
                  </a:lnTo>
                  <a:lnTo>
                    <a:pt x="342" y="27"/>
                  </a:lnTo>
                  <a:lnTo>
                    <a:pt x="342" y="27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40" y="25"/>
                  </a:lnTo>
                  <a:lnTo>
                    <a:pt x="340" y="25"/>
                  </a:lnTo>
                  <a:lnTo>
                    <a:pt x="338" y="23"/>
                  </a:lnTo>
                  <a:lnTo>
                    <a:pt x="338" y="25"/>
                  </a:lnTo>
                  <a:lnTo>
                    <a:pt x="336" y="25"/>
                  </a:lnTo>
                  <a:lnTo>
                    <a:pt x="336" y="25"/>
                  </a:lnTo>
                  <a:lnTo>
                    <a:pt x="334" y="25"/>
                  </a:lnTo>
                  <a:lnTo>
                    <a:pt x="334" y="25"/>
                  </a:lnTo>
                  <a:lnTo>
                    <a:pt x="334" y="25"/>
                  </a:lnTo>
                  <a:lnTo>
                    <a:pt x="334" y="27"/>
                  </a:lnTo>
                  <a:lnTo>
                    <a:pt x="332" y="27"/>
                  </a:lnTo>
                  <a:lnTo>
                    <a:pt x="330" y="25"/>
                  </a:lnTo>
                  <a:lnTo>
                    <a:pt x="328" y="25"/>
                  </a:lnTo>
                  <a:lnTo>
                    <a:pt x="326" y="25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2" y="25"/>
                  </a:lnTo>
                  <a:lnTo>
                    <a:pt x="320" y="23"/>
                  </a:lnTo>
                  <a:lnTo>
                    <a:pt x="320" y="23"/>
                  </a:lnTo>
                  <a:lnTo>
                    <a:pt x="318" y="25"/>
                  </a:lnTo>
                  <a:lnTo>
                    <a:pt x="318" y="25"/>
                  </a:lnTo>
                  <a:lnTo>
                    <a:pt x="316" y="25"/>
                  </a:lnTo>
                  <a:lnTo>
                    <a:pt x="316" y="25"/>
                  </a:lnTo>
                  <a:lnTo>
                    <a:pt x="316" y="25"/>
                  </a:lnTo>
                  <a:lnTo>
                    <a:pt x="316" y="23"/>
                  </a:lnTo>
                  <a:lnTo>
                    <a:pt x="316" y="23"/>
                  </a:lnTo>
                  <a:lnTo>
                    <a:pt x="316" y="23"/>
                  </a:lnTo>
                  <a:lnTo>
                    <a:pt x="316" y="21"/>
                  </a:lnTo>
                  <a:lnTo>
                    <a:pt x="316" y="21"/>
                  </a:lnTo>
                  <a:lnTo>
                    <a:pt x="314" y="19"/>
                  </a:lnTo>
                  <a:lnTo>
                    <a:pt x="314" y="19"/>
                  </a:lnTo>
                  <a:lnTo>
                    <a:pt x="312" y="19"/>
                  </a:lnTo>
                  <a:lnTo>
                    <a:pt x="310" y="19"/>
                  </a:lnTo>
                  <a:lnTo>
                    <a:pt x="305" y="17"/>
                  </a:lnTo>
                  <a:lnTo>
                    <a:pt x="305" y="17"/>
                  </a:lnTo>
                  <a:lnTo>
                    <a:pt x="305" y="17"/>
                  </a:lnTo>
                  <a:lnTo>
                    <a:pt x="305" y="19"/>
                  </a:lnTo>
                  <a:lnTo>
                    <a:pt x="303" y="19"/>
                  </a:lnTo>
                  <a:lnTo>
                    <a:pt x="303" y="21"/>
                  </a:lnTo>
                  <a:lnTo>
                    <a:pt x="303" y="21"/>
                  </a:lnTo>
                  <a:lnTo>
                    <a:pt x="301" y="19"/>
                  </a:lnTo>
                  <a:lnTo>
                    <a:pt x="299" y="21"/>
                  </a:lnTo>
                  <a:lnTo>
                    <a:pt x="299" y="21"/>
                  </a:lnTo>
                  <a:lnTo>
                    <a:pt x="297" y="19"/>
                  </a:lnTo>
                  <a:lnTo>
                    <a:pt x="295" y="21"/>
                  </a:lnTo>
                  <a:lnTo>
                    <a:pt x="293" y="19"/>
                  </a:lnTo>
                  <a:lnTo>
                    <a:pt x="293" y="19"/>
                  </a:lnTo>
                  <a:lnTo>
                    <a:pt x="291" y="19"/>
                  </a:lnTo>
                  <a:lnTo>
                    <a:pt x="291" y="19"/>
                  </a:lnTo>
                  <a:lnTo>
                    <a:pt x="291" y="17"/>
                  </a:lnTo>
                  <a:lnTo>
                    <a:pt x="291" y="17"/>
                  </a:lnTo>
                  <a:lnTo>
                    <a:pt x="289" y="19"/>
                  </a:lnTo>
                  <a:lnTo>
                    <a:pt x="287" y="19"/>
                  </a:lnTo>
                  <a:lnTo>
                    <a:pt x="287" y="19"/>
                  </a:lnTo>
                  <a:lnTo>
                    <a:pt x="287" y="19"/>
                  </a:lnTo>
                  <a:lnTo>
                    <a:pt x="285" y="17"/>
                  </a:lnTo>
                  <a:lnTo>
                    <a:pt x="285" y="15"/>
                  </a:lnTo>
                  <a:lnTo>
                    <a:pt x="283" y="15"/>
                  </a:lnTo>
                  <a:lnTo>
                    <a:pt x="281" y="15"/>
                  </a:lnTo>
                  <a:lnTo>
                    <a:pt x="279" y="15"/>
                  </a:lnTo>
                  <a:lnTo>
                    <a:pt x="277" y="12"/>
                  </a:lnTo>
                  <a:lnTo>
                    <a:pt x="277" y="12"/>
                  </a:lnTo>
                  <a:lnTo>
                    <a:pt x="277" y="12"/>
                  </a:lnTo>
                  <a:lnTo>
                    <a:pt x="277" y="12"/>
                  </a:lnTo>
                  <a:lnTo>
                    <a:pt x="275" y="12"/>
                  </a:lnTo>
                  <a:lnTo>
                    <a:pt x="275" y="15"/>
                  </a:lnTo>
                  <a:lnTo>
                    <a:pt x="275" y="15"/>
                  </a:lnTo>
                  <a:lnTo>
                    <a:pt x="275" y="15"/>
                  </a:lnTo>
                  <a:lnTo>
                    <a:pt x="275" y="12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5" y="12"/>
                  </a:lnTo>
                  <a:lnTo>
                    <a:pt x="275" y="10"/>
                  </a:lnTo>
                  <a:lnTo>
                    <a:pt x="275" y="10"/>
                  </a:lnTo>
                  <a:lnTo>
                    <a:pt x="275" y="10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1" y="8"/>
                  </a:lnTo>
                  <a:lnTo>
                    <a:pt x="271" y="8"/>
                  </a:lnTo>
                  <a:lnTo>
                    <a:pt x="268" y="8"/>
                  </a:lnTo>
                  <a:lnTo>
                    <a:pt x="268" y="6"/>
                  </a:lnTo>
                  <a:lnTo>
                    <a:pt x="268" y="6"/>
                  </a:lnTo>
                  <a:lnTo>
                    <a:pt x="266" y="8"/>
                  </a:lnTo>
                  <a:lnTo>
                    <a:pt x="262" y="8"/>
                  </a:lnTo>
                  <a:lnTo>
                    <a:pt x="260" y="8"/>
                  </a:lnTo>
                  <a:lnTo>
                    <a:pt x="258" y="6"/>
                  </a:lnTo>
                  <a:lnTo>
                    <a:pt x="254" y="6"/>
                  </a:lnTo>
                  <a:lnTo>
                    <a:pt x="252" y="6"/>
                  </a:lnTo>
                  <a:lnTo>
                    <a:pt x="250" y="8"/>
                  </a:lnTo>
                  <a:lnTo>
                    <a:pt x="246" y="6"/>
                  </a:lnTo>
                  <a:lnTo>
                    <a:pt x="244" y="4"/>
                  </a:lnTo>
                  <a:lnTo>
                    <a:pt x="244" y="4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38" y="6"/>
                  </a:lnTo>
                  <a:lnTo>
                    <a:pt x="232" y="6"/>
                  </a:lnTo>
                  <a:lnTo>
                    <a:pt x="229" y="6"/>
                  </a:lnTo>
                  <a:lnTo>
                    <a:pt x="221" y="6"/>
                  </a:lnTo>
                  <a:lnTo>
                    <a:pt x="217" y="4"/>
                  </a:lnTo>
                  <a:lnTo>
                    <a:pt x="213" y="4"/>
                  </a:lnTo>
                  <a:lnTo>
                    <a:pt x="211" y="2"/>
                  </a:lnTo>
                  <a:lnTo>
                    <a:pt x="207" y="4"/>
                  </a:lnTo>
                  <a:lnTo>
                    <a:pt x="205" y="4"/>
                  </a:lnTo>
                  <a:lnTo>
                    <a:pt x="201" y="4"/>
                  </a:lnTo>
                  <a:lnTo>
                    <a:pt x="199" y="4"/>
                  </a:lnTo>
                  <a:lnTo>
                    <a:pt x="195" y="4"/>
                  </a:lnTo>
                  <a:lnTo>
                    <a:pt x="192" y="4"/>
                  </a:lnTo>
                  <a:lnTo>
                    <a:pt x="190" y="4"/>
                  </a:lnTo>
                  <a:lnTo>
                    <a:pt x="188" y="2"/>
                  </a:lnTo>
                  <a:lnTo>
                    <a:pt x="186" y="2"/>
                  </a:lnTo>
                  <a:lnTo>
                    <a:pt x="184" y="2"/>
                  </a:lnTo>
                  <a:lnTo>
                    <a:pt x="184" y="0"/>
                  </a:lnTo>
                  <a:lnTo>
                    <a:pt x="180" y="2"/>
                  </a:lnTo>
                  <a:lnTo>
                    <a:pt x="178" y="2"/>
                  </a:lnTo>
                  <a:lnTo>
                    <a:pt x="176" y="2"/>
                  </a:lnTo>
                  <a:lnTo>
                    <a:pt x="174" y="4"/>
                  </a:lnTo>
                  <a:lnTo>
                    <a:pt x="174" y="4"/>
                  </a:lnTo>
                  <a:lnTo>
                    <a:pt x="174" y="6"/>
                  </a:lnTo>
                  <a:lnTo>
                    <a:pt x="174" y="6"/>
                  </a:lnTo>
                  <a:lnTo>
                    <a:pt x="174" y="6"/>
                  </a:lnTo>
                  <a:lnTo>
                    <a:pt x="172" y="8"/>
                  </a:lnTo>
                  <a:lnTo>
                    <a:pt x="170" y="8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4" y="10"/>
                  </a:lnTo>
                  <a:lnTo>
                    <a:pt x="162" y="10"/>
                  </a:lnTo>
                  <a:lnTo>
                    <a:pt x="162" y="10"/>
                  </a:lnTo>
                  <a:lnTo>
                    <a:pt x="160" y="15"/>
                  </a:lnTo>
                  <a:lnTo>
                    <a:pt x="160" y="15"/>
                  </a:lnTo>
                  <a:lnTo>
                    <a:pt x="160" y="17"/>
                  </a:lnTo>
                  <a:lnTo>
                    <a:pt x="162" y="17"/>
                  </a:lnTo>
                  <a:lnTo>
                    <a:pt x="162" y="17"/>
                  </a:lnTo>
                  <a:lnTo>
                    <a:pt x="164" y="19"/>
                  </a:lnTo>
                  <a:lnTo>
                    <a:pt x="164" y="19"/>
                  </a:lnTo>
                  <a:lnTo>
                    <a:pt x="162" y="21"/>
                  </a:lnTo>
                  <a:lnTo>
                    <a:pt x="162" y="21"/>
                  </a:lnTo>
                  <a:lnTo>
                    <a:pt x="162" y="21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66" y="23"/>
                  </a:lnTo>
                  <a:lnTo>
                    <a:pt x="166" y="23"/>
                  </a:lnTo>
                  <a:lnTo>
                    <a:pt x="166" y="25"/>
                  </a:lnTo>
                  <a:lnTo>
                    <a:pt x="166" y="25"/>
                  </a:lnTo>
                  <a:lnTo>
                    <a:pt x="166" y="25"/>
                  </a:lnTo>
                  <a:lnTo>
                    <a:pt x="164" y="27"/>
                  </a:lnTo>
                  <a:lnTo>
                    <a:pt x="164" y="27"/>
                  </a:lnTo>
                  <a:lnTo>
                    <a:pt x="166" y="27"/>
                  </a:lnTo>
                  <a:lnTo>
                    <a:pt x="166" y="27"/>
                  </a:lnTo>
                  <a:lnTo>
                    <a:pt x="166" y="29"/>
                  </a:lnTo>
                  <a:lnTo>
                    <a:pt x="164" y="31"/>
                  </a:lnTo>
                  <a:lnTo>
                    <a:pt x="164" y="33"/>
                  </a:lnTo>
                  <a:lnTo>
                    <a:pt x="164" y="33"/>
                  </a:lnTo>
                  <a:lnTo>
                    <a:pt x="164" y="33"/>
                  </a:lnTo>
                  <a:lnTo>
                    <a:pt x="166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72" y="31"/>
                  </a:lnTo>
                  <a:lnTo>
                    <a:pt x="172" y="29"/>
                  </a:lnTo>
                  <a:lnTo>
                    <a:pt x="174" y="29"/>
                  </a:lnTo>
                  <a:lnTo>
                    <a:pt x="174" y="31"/>
                  </a:lnTo>
                  <a:lnTo>
                    <a:pt x="174" y="31"/>
                  </a:lnTo>
                  <a:lnTo>
                    <a:pt x="174" y="31"/>
                  </a:lnTo>
                  <a:lnTo>
                    <a:pt x="174" y="31"/>
                  </a:lnTo>
                  <a:lnTo>
                    <a:pt x="172" y="33"/>
                  </a:lnTo>
                  <a:lnTo>
                    <a:pt x="172" y="33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6" y="35"/>
                  </a:lnTo>
                  <a:lnTo>
                    <a:pt x="178" y="35"/>
                  </a:lnTo>
                  <a:lnTo>
                    <a:pt x="178" y="35"/>
                  </a:lnTo>
                  <a:lnTo>
                    <a:pt x="180" y="33"/>
                  </a:lnTo>
                  <a:lnTo>
                    <a:pt x="182" y="35"/>
                  </a:lnTo>
                  <a:lnTo>
                    <a:pt x="182" y="35"/>
                  </a:lnTo>
                  <a:lnTo>
                    <a:pt x="182" y="35"/>
                  </a:lnTo>
                  <a:lnTo>
                    <a:pt x="184" y="35"/>
                  </a:lnTo>
                  <a:lnTo>
                    <a:pt x="186" y="35"/>
                  </a:lnTo>
                  <a:lnTo>
                    <a:pt x="188" y="33"/>
                  </a:lnTo>
                  <a:lnTo>
                    <a:pt x="188" y="33"/>
                  </a:lnTo>
                  <a:lnTo>
                    <a:pt x="188" y="33"/>
                  </a:lnTo>
                  <a:lnTo>
                    <a:pt x="188" y="33"/>
                  </a:lnTo>
                  <a:lnTo>
                    <a:pt x="188" y="33"/>
                  </a:lnTo>
                  <a:lnTo>
                    <a:pt x="188" y="33"/>
                  </a:lnTo>
                  <a:lnTo>
                    <a:pt x="190" y="33"/>
                  </a:lnTo>
                  <a:lnTo>
                    <a:pt x="192" y="33"/>
                  </a:lnTo>
                  <a:lnTo>
                    <a:pt x="192" y="33"/>
                  </a:lnTo>
                  <a:lnTo>
                    <a:pt x="195" y="33"/>
                  </a:lnTo>
                  <a:lnTo>
                    <a:pt x="195" y="33"/>
                  </a:lnTo>
                  <a:lnTo>
                    <a:pt x="197" y="33"/>
                  </a:lnTo>
                  <a:lnTo>
                    <a:pt x="197" y="33"/>
                  </a:lnTo>
                  <a:lnTo>
                    <a:pt x="197" y="35"/>
                  </a:lnTo>
                  <a:lnTo>
                    <a:pt x="197" y="35"/>
                  </a:lnTo>
                  <a:lnTo>
                    <a:pt x="197" y="37"/>
                  </a:lnTo>
                  <a:lnTo>
                    <a:pt x="197" y="37"/>
                  </a:lnTo>
                  <a:lnTo>
                    <a:pt x="199" y="37"/>
                  </a:lnTo>
                  <a:lnTo>
                    <a:pt x="199" y="37"/>
                  </a:lnTo>
                  <a:lnTo>
                    <a:pt x="201" y="39"/>
                  </a:lnTo>
                  <a:lnTo>
                    <a:pt x="201" y="39"/>
                  </a:lnTo>
                  <a:lnTo>
                    <a:pt x="203" y="39"/>
                  </a:lnTo>
                  <a:lnTo>
                    <a:pt x="203" y="41"/>
                  </a:lnTo>
                  <a:lnTo>
                    <a:pt x="201" y="41"/>
                  </a:lnTo>
                  <a:lnTo>
                    <a:pt x="201" y="41"/>
                  </a:lnTo>
                  <a:lnTo>
                    <a:pt x="199" y="43"/>
                  </a:lnTo>
                  <a:lnTo>
                    <a:pt x="197" y="45"/>
                  </a:lnTo>
                  <a:lnTo>
                    <a:pt x="195" y="45"/>
                  </a:lnTo>
                  <a:lnTo>
                    <a:pt x="192" y="47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2"/>
                  </a:lnTo>
                  <a:lnTo>
                    <a:pt x="192" y="54"/>
                  </a:lnTo>
                  <a:lnTo>
                    <a:pt x="192" y="56"/>
                  </a:lnTo>
                  <a:lnTo>
                    <a:pt x="190" y="58"/>
                  </a:lnTo>
                  <a:lnTo>
                    <a:pt x="190" y="60"/>
                  </a:lnTo>
                  <a:lnTo>
                    <a:pt x="190" y="60"/>
                  </a:lnTo>
                  <a:lnTo>
                    <a:pt x="190" y="60"/>
                  </a:lnTo>
                  <a:lnTo>
                    <a:pt x="190" y="62"/>
                  </a:lnTo>
                  <a:lnTo>
                    <a:pt x="190" y="62"/>
                  </a:lnTo>
                  <a:lnTo>
                    <a:pt x="190" y="62"/>
                  </a:lnTo>
                  <a:lnTo>
                    <a:pt x="188" y="64"/>
                  </a:lnTo>
                  <a:lnTo>
                    <a:pt x="188" y="64"/>
                  </a:lnTo>
                  <a:lnTo>
                    <a:pt x="188" y="66"/>
                  </a:lnTo>
                  <a:lnTo>
                    <a:pt x="188" y="66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88" y="68"/>
                  </a:lnTo>
                  <a:lnTo>
                    <a:pt x="188" y="70"/>
                  </a:lnTo>
                  <a:lnTo>
                    <a:pt x="186" y="72"/>
                  </a:lnTo>
                  <a:lnTo>
                    <a:pt x="186" y="72"/>
                  </a:lnTo>
                  <a:lnTo>
                    <a:pt x="186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4"/>
                  </a:lnTo>
                  <a:lnTo>
                    <a:pt x="182" y="76"/>
                  </a:lnTo>
                  <a:lnTo>
                    <a:pt x="182" y="76"/>
                  </a:lnTo>
                  <a:lnTo>
                    <a:pt x="182" y="78"/>
                  </a:lnTo>
                  <a:lnTo>
                    <a:pt x="184" y="82"/>
                  </a:lnTo>
                  <a:lnTo>
                    <a:pt x="186" y="82"/>
                  </a:lnTo>
                  <a:lnTo>
                    <a:pt x="186" y="84"/>
                  </a:lnTo>
                  <a:lnTo>
                    <a:pt x="186" y="84"/>
                  </a:lnTo>
                  <a:lnTo>
                    <a:pt x="186" y="87"/>
                  </a:lnTo>
                  <a:lnTo>
                    <a:pt x="184" y="89"/>
                  </a:lnTo>
                  <a:lnTo>
                    <a:pt x="182" y="89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3"/>
                  </a:lnTo>
                  <a:lnTo>
                    <a:pt x="180" y="95"/>
                  </a:lnTo>
                  <a:lnTo>
                    <a:pt x="180" y="95"/>
                  </a:lnTo>
                  <a:lnTo>
                    <a:pt x="184" y="101"/>
                  </a:lnTo>
                  <a:lnTo>
                    <a:pt x="186" y="101"/>
                  </a:lnTo>
                  <a:lnTo>
                    <a:pt x="186" y="101"/>
                  </a:lnTo>
                  <a:lnTo>
                    <a:pt x="186" y="101"/>
                  </a:lnTo>
                  <a:lnTo>
                    <a:pt x="184" y="103"/>
                  </a:lnTo>
                  <a:lnTo>
                    <a:pt x="184" y="103"/>
                  </a:lnTo>
                  <a:lnTo>
                    <a:pt x="182" y="103"/>
                  </a:lnTo>
                  <a:lnTo>
                    <a:pt x="180" y="105"/>
                  </a:lnTo>
                  <a:lnTo>
                    <a:pt x="180" y="107"/>
                  </a:lnTo>
                  <a:lnTo>
                    <a:pt x="178" y="109"/>
                  </a:lnTo>
                  <a:lnTo>
                    <a:pt x="178" y="111"/>
                  </a:lnTo>
                  <a:lnTo>
                    <a:pt x="178" y="113"/>
                  </a:lnTo>
                  <a:lnTo>
                    <a:pt x="178" y="113"/>
                  </a:lnTo>
                  <a:lnTo>
                    <a:pt x="178" y="119"/>
                  </a:lnTo>
                  <a:lnTo>
                    <a:pt x="182" y="117"/>
                  </a:lnTo>
                  <a:lnTo>
                    <a:pt x="184" y="119"/>
                  </a:lnTo>
                  <a:lnTo>
                    <a:pt x="186" y="117"/>
                  </a:lnTo>
                  <a:lnTo>
                    <a:pt x="186" y="117"/>
                  </a:lnTo>
                  <a:lnTo>
                    <a:pt x="186" y="117"/>
                  </a:lnTo>
                  <a:lnTo>
                    <a:pt x="186" y="119"/>
                  </a:lnTo>
                  <a:lnTo>
                    <a:pt x="192" y="124"/>
                  </a:lnTo>
                  <a:lnTo>
                    <a:pt x="192" y="126"/>
                  </a:lnTo>
                  <a:lnTo>
                    <a:pt x="195" y="124"/>
                  </a:lnTo>
                  <a:lnTo>
                    <a:pt x="197" y="124"/>
                  </a:lnTo>
                  <a:lnTo>
                    <a:pt x="195" y="124"/>
                  </a:lnTo>
                  <a:lnTo>
                    <a:pt x="195" y="126"/>
                  </a:lnTo>
                  <a:lnTo>
                    <a:pt x="192" y="128"/>
                  </a:lnTo>
                  <a:lnTo>
                    <a:pt x="192" y="130"/>
                  </a:lnTo>
                  <a:lnTo>
                    <a:pt x="195" y="130"/>
                  </a:lnTo>
                  <a:lnTo>
                    <a:pt x="195" y="130"/>
                  </a:lnTo>
                  <a:lnTo>
                    <a:pt x="195" y="132"/>
                  </a:lnTo>
                  <a:lnTo>
                    <a:pt x="195" y="134"/>
                  </a:lnTo>
                  <a:lnTo>
                    <a:pt x="197" y="134"/>
                  </a:lnTo>
                  <a:lnTo>
                    <a:pt x="199" y="138"/>
                  </a:lnTo>
                  <a:lnTo>
                    <a:pt x="199" y="138"/>
                  </a:lnTo>
                  <a:lnTo>
                    <a:pt x="201" y="140"/>
                  </a:lnTo>
                  <a:lnTo>
                    <a:pt x="205" y="140"/>
                  </a:lnTo>
                  <a:lnTo>
                    <a:pt x="205" y="140"/>
                  </a:lnTo>
                  <a:lnTo>
                    <a:pt x="207" y="140"/>
                  </a:lnTo>
                  <a:lnTo>
                    <a:pt x="207" y="138"/>
                  </a:lnTo>
                  <a:lnTo>
                    <a:pt x="207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11" y="134"/>
                  </a:lnTo>
                  <a:lnTo>
                    <a:pt x="211" y="134"/>
                  </a:lnTo>
                  <a:lnTo>
                    <a:pt x="215" y="132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3" y="128"/>
                  </a:lnTo>
                  <a:lnTo>
                    <a:pt x="232" y="128"/>
                  </a:lnTo>
                  <a:lnTo>
                    <a:pt x="236" y="128"/>
                  </a:lnTo>
                  <a:lnTo>
                    <a:pt x="238" y="128"/>
                  </a:lnTo>
                  <a:lnTo>
                    <a:pt x="240" y="128"/>
                  </a:lnTo>
                  <a:lnTo>
                    <a:pt x="242" y="128"/>
                  </a:lnTo>
                  <a:lnTo>
                    <a:pt x="246" y="128"/>
                  </a:lnTo>
                  <a:lnTo>
                    <a:pt x="248" y="128"/>
                  </a:lnTo>
                  <a:lnTo>
                    <a:pt x="250" y="128"/>
                  </a:lnTo>
                  <a:lnTo>
                    <a:pt x="250" y="126"/>
                  </a:lnTo>
                  <a:lnTo>
                    <a:pt x="252" y="126"/>
                  </a:lnTo>
                  <a:lnTo>
                    <a:pt x="256" y="126"/>
                  </a:lnTo>
                  <a:lnTo>
                    <a:pt x="256" y="128"/>
                  </a:lnTo>
                  <a:lnTo>
                    <a:pt x="258" y="126"/>
                  </a:lnTo>
                  <a:lnTo>
                    <a:pt x="260" y="124"/>
                  </a:lnTo>
                  <a:lnTo>
                    <a:pt x="262" y="117"/>
                  </a:lnTo>
                  <a:lnTo>
                    <a:pt x="266" y="115"/>
                  </a:lnTo>
                  <a:lnTo>
                    <a:pt x="271" y="111"/>
                  </a:lnTo>
                  <a:lnTo>
                    <a:pt x="277" y="111"/>
                  </a:lnTo>
                  <a:lnTo>
                    <a:pt x="279" y="111"/>
                  </a:lnTo>
                  <a:lnTo>
                    <a:pt x="279" y="111"/>
                  </a:lnTo>
                  <a:lnTo>
                    <a:pt x="281" y="111"/>
                  </a:lnTo>
                  <a:lnTo>
                    <a:pt x="279" y="109"/>
                  </a:lnTo>
                  <a:lnTo>
                    <a:pt x="279" y="107"/>
                  </a:lnTo>
                  <a:lnTo>
                    <a:pt x="279" y="107"/>
                  </a:lnTo>
                  <a:lnTo>
                    <a:pt x="279" y="105"/>
                  </a:lnTo>
                  <a:lnTo>
                    <a:pt x="281" y="103"/>
                  </a:lnTo>
                  <a:lnTo>
                    <a:pt x="281" y="101"/>
                  </a:lnTo>
                  <a:lnTo>
                    <a:pt x="283" y="99"/>
                  </a:lnTo>
                  <a:lnTo>
                    <a:pt x="283" y="97"/>
                  </a:lnTo>
                  <a:lnTo>
                    <a:pt x="285" y="95"/>
                  </a:lnTo>
                  <a:lnTo>
                    <a:pt x="291" y="93"/>
                  </a:lnTo>
                  <a:lnTo>
                    <a:pt x="293" y="91"/>
                  </a:lnTo>
                  <a:lnTo>
                    <a:pt x="295" y="89"/>
                  </a:lnTo>
                  <a:lnTo>
                    <a:pt x="293" y="89"/>
                  </a:lnTo>
                  <a:lnTo>
                    <a:pt x="291" y="87"/>
                  </a:lnTo>
                  <a:lnTo>
                    <a:pt x="289" y="87"/>
                  </a:lnTo>
                  <a:lnTo>
                    <a:pt x="289" y="84"/>
                  </a:lnTo>
                  <a:lnTo>
                    <a:pt x="287" y="78"/>
                  </a:lnTo>
                  <a:lnTo>
                    <a:pt x="287" y="76"/>
                  </a:lnTo>
                  <a:lnTo>
                    <a:pt x="291" y="68"/>
                  </a:lnTo>
                  <a:lnTo>
                    <a:pt x="293" y="68"/>
                  </a:lnTo>
                  <a:lnTo>
                    <a:pt x="295" y="66"/>
                  </a:lnTo>
                  <a:lnTo>
                    <a:pt x="299" y="62"/>
                  </a:lnTo>
                  <a:lnTo>
                    <a:pt x="301" y="58"/>
                  </a:lnTo>
                  <a:lnTo>
                    <a:pt x="303" y="58"/>
                  </a:lnTo>
                  <a:lnTo>
                    <a:pt x="303" y="58"/>
                  </a:lnTo>
                  <a:lnTo>
                    <a:pt x="303" y="56"/>
                  </a:lnTo>
                  <a:lnTo>
                    <a:pt x="305" y="56"/>
                  </a:lnTo>
                  <a:lnTo>
                    <a:pt x="305" y="56"/>
                  </a:lnTo>
                  <a:lnTo>
                    <a:pt x="305" y="54"/>
                  </a:lnTo>
                  <a:lnTo>
                    <a:pt x="303" y="54"/>
                  </a:lnTo>
                  <a:lnTo>
                    <a:pt x="305" y="52"/>
                  </a:lnTo>
                  <a:lnTo>
                    <a:pt x="310" y="50"/>
                  </a:lnTo>
                  <a:lnTo>
                    <a:pt x="312" y="47"/>
                  </a:lnTo>
                  <a:lnTo>
                    <a:pt x="318" y="47"/>
                  </a:lnTo>
                  <a:lnTo>
                    <a:pt x="324" y="45"/>
                  </a:lnTo>
                  <a:lnTo>
                    <a:pt x="326" y="43"/>
                  </a:lnTo>
                  <a:lnTo>
                    <a:pt x="328" y="41"/>
                  </a:lnTo>
                  <a:lnTo>
                    <a:pt x="338" y="3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3" name="Freeform 51">
              <a:extLst>
                <a:ext uri="{FF2B5EF4-FFF2-40B4-BE49-F238E27FC236}">
                  <a16:creationId xmlns:a16="http://schemas.microsoft.com/office/drawing/2014/main" id="{BA0066D6-2057-F54A-8776-0834B943B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830" y="3267602"/>
              <a:ext cx="213910" cy="190142"/>
            </a:xfrm>
            <a:custGeom>
              <a:avLst/>
              <a:gdLst>
                <a:gd name="T0" fmla="*/ 174 w 180"/>
                <a:gd name="T1" fmla="*/ 113 h 160"/>
                <a:gd name="T2" fmla="*/ 168 w 180"/>
                <a:gd name="T3" fmla="*/ 99 h 160"/>
                <a:gd name="T4" fmla="*/ 160 w 180"/>
                <a:gd name="T5" fmla="*/ 88 h 160"/>
                <a:gd name="T6" fmla="*/ 150 w 180"/>
                <a:gd name="T7" fmla="*/ 82 h 160"/>
                <a:gd name="T8" fmla="*/ 144 w 180"/>
                <a:gd name="T9" fmla="*/ 76 h 160"/>
                <a:gd name="T10" fmla="*/ 154 w 180"/>
                <a:gd name="T11" fmla="*/ 70 h 160"/>
                <a:gd name="T12" fmla="*/ 160 w 180"/>
                <a:gd name="T13" fmla="*/ 66 h 160"/>
                <a:gd name="T14" fmla="*/ 160 w 180"/>
                <a:gd name="T15" fmla="*/ 51 h 160"/>
                <a:gd name="T16" fmla="*/ 156 w 180"/>
                <a:gd name="T17" fmla="*/ 49 h 160"/>
                <a:gd name="T18" fmla="*/ 158 w 180"/>
                <a:gd name="T19" fmla="*/ 43 h 160"/>
                <a:gd name="T20" fmla="*/ 158 w 180"/>
                <a:gd name="T21" fmla="*/ 39 h 160"/>
                <a:gd name="T22" fmla="*/ 148 w 180"/>
                <a:gd name="T23" fmla="*/ 29 h 160"/>
                <a:gd name="T24" fmla="*/ 144 w 180"/>
                <a:gd name="T25" fmla="*/ 27 h 160"/>
                <a:gd name="T26" fmla="*/ 144 w 180"/>
                <a:gd name="T27" fmla="*/ 10 h 160"/>
                <a:gd name="T28" fmla="*/ 144 w 180"/>
                <a:gd name="T29" fmla="*/ 6 h 160"/>
                <a:gd name="T30" fmla="*/ 137 w 180"/>
                <a:gd name="T31" fmla="*/ 0 h 160"/>
                <a:gd name="T32" fmla="*/ 137 w 180"/>
                <a:gd name="T33" fmla="*/ 2 h 160"/>
                <a:gd name="T34" fmla="*/ 127 w 180"/>
                <a:gd name="T35" fmla="*/ 4 h 160"/>
                <a:gd name="T36" fmla="*/ 131 w 180"/>
                <a:gd name="T37" fmla="*/ 14 h 160"/>
                <a:gd name="T38" fmla="*/ 125 w 180"/>
                <a:gd name="T39" fmla="*/ 29 h 160"/>
                <a:gd name="T40" fmla="*/ 115 w 180"/>
                <a:gd name="T41" fmla="*/ 45 h 160"/>
                <a:gd name="T42" fmla="*/ 107 w 180"/>
                <a:gd name="T43" fmla="*/ 45 h 160"/>
                <a:gd name="T44" fmla="*/ 94 w 180"/>
                <a:gd name="T45" fmla="*/ 37 h 160"/>
                <a:gd name="T46" fmla="*/ 86 w 180"/>
                <a:gd name="T47" fmla="*/ 45 h 160"/>
                <a:gd name="T48" fmla="*/ 78 w 180"/>
                <a:gd name="T49" fmla="*/ 49 h 160"/>
                <a:gd name="T50" fmla="*/ 59 w 180"/>
                <a:gd name="T51" fmla="*/ 47 h 160"/>
                <a:gd name="T52" fmla="*/ 41 w 180"/>
                <a:gd name="T53" fmla="*/ 49 h 160"/>
                <a:gd name="T54" fmla="*/ 29 w 180"/>
                <a:gd name="T55" fmla="*/ 37 h 160"/>
                <a:gd name="T56" fmla="*/ 18 w 180"/>
                <a:gd name="T57" fmla="*/ 35 h 160"/>
                <a:gd name="T58" fmla="*/ 14 w 180"/>
                <a:gd name="T59" fmla="*/ 39 h 160"/>
                <a:gd name="T60" fmla="*/ 10 w 180"/>
                <a:gd name="T61" fmla="*/ 49 h 160"/>
                <a:gd name="T62" fmla="*/ 8 w 180"/>
                <a:gd name="T63" fmla="*/ 55 h 160"/>
                <a:gd name="T64" fmla="*/ 2 w 180"/>
                <a:gd name="T65" fmla="*/ 64 h 160"/>
                <a:gd name="T66" fmla="*/ 2 w 180"/>
                <a:gd name="T67" fmla="*/ 70 h 160"/>
                <a:gd name="T68" fmla="*/ 14 w 180"/>
                <a:gd name="T69" fmla="*/ 78 h 160"/>
                <a:gd name="T70" fmla="*/ 18 w 180"/>
                <a:gd name="T71" fmla="*/ 88 h 160"/>
                <a:gd name="T72" fmla="*/ 33 w 180"/>
                <a:gd name="T73" fmla="*/ 99 h 160"/>
                <a:gd name="T74" fmla="*/ 37 w 180"/>
                <a:gd name="T75" fmla="*/ 109 h 160"/>
                <a:gd name="T76" fmla="*/ 45 w 180"/>
                <a:gd name="T77" fmla="*/ 117 h 160"/>
                <a:gd name="T78" fmla="*/ 51 w 180"/>
                <a:gd name="T79" fmla="*/ 123 h 160"/>
                <a:gd name="T80" fmla="*/ 57 w 180"/>
                <a:gd name="T81" fmla="*/ 136 h 160"/>
                <a:gd name="T82" fmla="*/ 63 w 180"/>
                <a:gd name="T83" fmla="*/ 142 h 160"/>
                <a:gd name="T84" fmla="*/ 70 w 180"/>
                <a:gd name="T85" fmla="*/ 144 h 160"/>
                <a:gd name="T86" fmla="*/ 80 w 180"/>
                <a:gd name="T87" fmla="*/ 142 h 160"/>
                <a:gd name="T88" fmla="*/ 90 w 180"/>
                <a:gd name="T89" fmla="*/ 140 h 160"/>
                <a:gd name="T90" fmla="*/ 102 w 180"/>
                <a:gd name="T91" fmla="*/ 152 h 160"/>
                <a:gd name="T92" fmla="*/ 107 w 180"/>
                <a:gd name="T93" fmla="*/ 158 h 160"/>
                <a:gd name="T94" fmla="*/ 109 w 180"/>
                <a:gd name="T95" fmla="*/ 158 h 160"/>
                <a:gd name="T96" fmla="*/ 119 w 180"/>
                <a:gd name="T97" fmla="*/ 156 h 160"/>
                <a:gd name="T98" fmla="*/ 127 w 180"/>
                <a:gd name="T99" fmla="*/ 158 h 160"/>
                <a:gd name="T100" fmla="*/ 131 w 180"/>
                <a:gd name="T101" fmla="*/ 156 h 160"/>
                <a:gd name="T102" fmla="*/ 144 w 180"/>
                <a:gd name="T103" fmla="*/ 152 h 160"/>
                <a:gd name="T104" fmla="*/ 156 w 180"/>
                <a:gd name="T105" fmla="*/ 150 h 160"/>
                <a:gd name="T106" fmla="*/ 176 w 180"/>
                <a:gd name="T107" fmla="*/ 12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0" h="160">
                  <a:moveTo>
                    <a:pt x="180" y="123"/>
                  </a:moveTo>
                  <a:lnTo>
                    <a:pt x="178" y="121"/>
                  </a:lnTo>
                  <a:lnTo>
                    <a:pt x="176" y="119"/>
                  </a:lnTo>
                  <a:lnTo>
                    <a:pt x="176" y="117"/>
                  </a:lnTo>
                  <a:lnTo>
                    <a:pt x="176" y="117"/>
                  </a:lnTo>
                  <a:lnTo>
                    <a:pt x="174" y="113"/>
                  </a:lnTo>
                  <a:lnTo>
                    <a:pt x="174" y="111"/>
                  </a:lnTo>
                  <a:lnTo>
                    <a:pt x="172" y="109"/>
                  </a:lnTo>
                  <a:lnTo>
                    <a:pt x="172" y="103"/>
                  </a:lnTo>
                  <a:lnTo>
                    <a:pt x="170" y="103"/>
                  </a:lnTo>
                  <a:lnTo>
                    <a:pt x="170" y="101"/>
                  </a:lnTo>
                  <a:lnTo>
                    <a:pt x="168" y="99"/>
                  </a:lnTo>
                  <a:lnTo>
                    <a:pt x="168" y="97"/>
                  </a:lnTo>
                  <a:lnTo>
                    <a:pt x="164" y="97"/>
                  </a:lnTo>
                  <a:lnTo>
                    <a:pt x="162" y="95"/>
                  </a:lnTo>
                  <a:lnTo>
                    <a:pt x="160" y="92"/>
                  </a:lnTo>
                  <a:lnTo>
                    <a:pt x="160" y="90"/>
                  </a:lnTo>
                  <a:lnTo>
                    <a:pt x="160" y="88"/>
                  </a:lnTo>
                  <a:lnTo>
                    <a:pt x="158" y="88"/>
                  </a:lnTo>
                  <a:lnTo>
                    <a:pt x="158" y="86"/>
                  </a:lnTo>
                  <a:lnTo>
                    <a:pt x="154" y="84"/>
                  </a:lnTo>
                  <a:lnTo>
                    <a:pt x="152" y="82"/>
                  </a:lnTo>
                  <a:lnTo>
                    <a:pt x="152" y="82"/>
                  </a:lnTo>
                  <a:lnTo>
                    <a:pt x="150" y="82"/>
                  </a:lnTo>
                  <a:lnTo>
                    <a:pt x="148" y="82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4" y="78"/>
                  </a:lnTo>
                  <a:lnTo>
                    <a:pt x="144" y="76"/>
                  </a:lnTo>
                  <a:lnTo>
                    <a:pt x="146" y="72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50" y="70"/>
                  </a:lnTo>
                  <a:lnTo>
                    <a:pt x="152" y="70"/>
                  </a:lnTo>
                  <a:lnTo>
                    <a:pt x="154" y="70"/>
                  </a:lnTo>
                  <a:lnTo>
                    <a:pt x="156" y="70"/>
                  </a:lnTo>
                  <a:lnTo>
                    <a:pt x="158" y="70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4"/>
                  </a:lnTo>
                  <a:lnTo>
                    <a:pt x="160" y="57"/>
                  </a:lnTo>
                  <a:lnTo>
                    <a:pt x="160" y="55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6" y="49"/>
                  </a:lnTo>
                  <a:lnTo>
                    <a:pt x="156" y="49"/>
                  </a:lnTo>
                  <a:lnTo>
                    <a:pt x="156" y="49"/>
                  </a:lnTo>
                  <a:lnTo>
                    <a:pt x="156" y="49"/>
                  </a:lnTo>
                  <a:lnTo>
                    <a:pt x="156" y="47"/>
                  </a:lnTo>
                  <a:lnTo>
                    <a:pt x="158" y="45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58" y="41"/>
                  </a:lnTo>
                  <a:lnTo>
                    <a:pt x="158" y="41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7"/>
                  </a:lnTo>
                  <a:lnTo>
                    <a:pt x="156" y="37"/>
                  </a:lnTo>
                  <a:lnTo>
                    <a:pt x="150" y="31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4" y="12"/>
                  </a:lnTo>
                  <a:lnTo>
                    <a:pt x="144" y="10"/>
                  </a:lnTo>
                  <a:lnTo>
                    <a:pt x="144" y="10"/>
                  </a:lnTo>
                  <a:lnTo>
                    <a:pt x="144" y="10"/>
                  </a:lnTo>
                  <a:lnTo>
                    <a:pt x="144" y="10"/>
                  </a:lnTo>
                  <a:lnTo>
                    <a:pt x="144" y="10"/>
                  </a:lnTo>
                  <a:lnTo>
                    <a:pt x="144" y="10"/>
                  </a:lnTo>
                  <a:lnTo>
                    <a:pt x="144" y="10"/>
                  </a:lnTo>
                  <a:lnTo>
                    <a:pt x="144" y="6"/>
                  </a:lnTo>
                  <a:lnTo>
                    <a:pt x="144" y="4"/>
                  </a:lnTo>
                  <a:lnTo>
                    <a:pt x="146" y="2"/>
                  </a:lnTo>
                  <a:lnTo>
                    <a:pt x="146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2"/>
                  </a:lnTo>
                  <a:lnTo>
                    <a:pt x="137" y="2"/>
                  </a:lnTo>
                  <a:lnTo>
                    <a:pt x="137" y="2"/>
                  </a:lnTo>
                  <a:lnTo>
                    <a:pt x="137" y="2"/>
                  </a:lnTo>
                  <a:lnTo>
                    <a:pt x="137" y="2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27" y="4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2"/>
                  </a:lnTo>
                  <a:lnTo>
                    <a:pt x="131" y="14"/>
                  </a:lnTo>
                  <a:lnTo>
                    <a:pt x="131" y="16"/>
                  </a:lnTo>
                  <a:lnTo>
                    <a:pt x="131" y="18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25" y="29"/>
                  </a:lnTo>
                  <a:lnTo>
                    <a:pt x="125" y="29"/>
                  </a:lnTo>
                  <a:lnTo>
                    <a:pt x="123" y="31"/>
                  </a:lnTo>
                  <a:lnTo>
                    <a:pt x="123" y="33"/>
                  </a:lnTo>
                  <a:lnTo>
                    <a:pt x="123" y="35"/>
                  </a:lnTo>
                  <a:lnTo>
                    <a:pt x="121" y="37"/>
                  </a:lnTo>
                  <a:lnTo>
                    <a:pt x="115" y="45"/>
                  </a:lnTo>
                  <a:lnTo>
                    <a:pt x="113" y="45"/>
                  </a:lnTo>
                  <a:lnTo>
                    <a:pt x="109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2" y="41"/>
                  </a:lnTo>
                  <a:lnTo>
                    <a:pt x="94" y="35"/>
                  </a:lnTo>
                  <a:lnTo>
                    <a:pt x="94" y="37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41"/>
                  </a:lnTo>
                  <a:lnTo>
                    <a:pt x="86" y="43"/>
                  </a:lnTo>
                  <a:lnTo>
                    <a:pt x="86" y="45"/>
                  </a:lnTo>
                  <a:lnTo>
                    <a:pt x="82" y="45"/>
                  </a:lnTo>
                  <a:lnTo>
                    <a:pt x="80" y="47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8" y="49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3"/>
                  </a:lnTo>
                  <a:lnTo>
                    <a:pt x="63" y="53"/>
                  </a:lnTo>
                  <a:lnTo>
                    <a:pt x="61" y="51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47" y="47"/>
                  </a:lnTo>
                  <a:lnTo>
                    <a:pt x="45" y="47"/>
                  </a:lnTo>
                  <a:lnTo>
                    <a:pt x="43" y="49"/>
                  </a:lnTo>
                  <a:lnTo>
                    <a:pt x="41" y="49"/>
                  </a:lnTo>
                  <a:lnTo>
                    <a:pt x="39" y="49"/>
                  </a:lnTo>
                  <a:lnTo>
                    <a:pt x="33" y="41"/>
                  </a:lnTo>
                  <a:lnTo>
                    <a:pt x="31" y="41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5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18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2" y="41"/>
                  </a:lnTo>
                  <a:lnTo>
                    <a:pt x="10" y="43"/>
                  </a:lnTo>
                  <a:lnTo>
                    <a:pt x="10" y="45"/>
                  </a:lnTo>
                  <a:lnTo>
                    <a:pt x="10" y="47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3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6" y="57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66"/>
                  </a:lnTo>
                  <a:lnTo>
                    <a:pt x="0" y="68"/>
                  </a:lnTo>
                  <a:lnTo>
                    <a:pt x="2" y="70"/>
                  </a:lnTo>
                  <a:lnTo>
                    <a:pt x="2" y="72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10" y="74"/>
                  </a:lnTo>
                  <a:lnTo>
                    <a:pt x="12" y="74"/>
                  </a:lnTo>
                  <a:lnTo>
                    <a:pt x="14" y="78"/>
                  </a:lnTo>
                  <a:lnTo>
                    <a:pt x="16" y="80"/>
                  </a:lnTo>
                  <a:lnTo>
                    <a:pt x="18" y="82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8" y="88"/>
                  </a:lnTo>
                  <a:lnTo>
                    <a:pt x="20" y="90"/>
                  </a:lnTo>
                  <a:lnTo>
                    <a:pt x="22" y="90"/>
                  </a:lnTo>
                  <a:lnTo>
                    <a:pt x="29" y="95"/>
                  </a:lnTo>
                  <a:lnTo>
                    <a:pt x="31" y="97"/>
                  </a:lnTo>
                  <a:lnTo>
                    <a:pt x="31" y="99"/>
                  </a:lnTo>
                  <a:lnTo>
                    <a:pt x="33" y="99"/>
                  </a:lnTo>
                  <a:lnTo>
                    <a:pt x="35" y="101"/>
                  </a:lnTo>
                  <a:lnTo>
                    <a:pt x="37" y="103"/>
                  </a:lnTo>
                  <a:lnTo>
                    <a:pt x="35" y="105"/>
                  </a:lnTo>
                  <a:lnTo>
                    <a:pt x="35" y="107"/>
                  </a:lnTo>
                  <a:lnTo>
                    <a:pt x="37" y="107"/>
                  </a:lnTo>
                  <a:lnTo>
                    <a:pt x="37" y="109"/>
                  </a:lnTo>
                  <a:lnTo>
                    <a:pt x="37" y="111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43" y="113"/>
                  </a:lnTo>
                  <a:lnTo>
                    <a:pt x="43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9" y="121"/>
                  </a:lnTo>
                  <a:lnTo>
                    <a:pt x="51" y="121"/>
                  </a:lnTo>
                  <a:lnTo>
                    <a:pt x="51" y="123"/>
                  </a:lnTo>
                  <a:lnTo>
                    <a:pt x="51" y="127"/>
                  </a:lnTo>
                  <a:lnTo>
                    <a:pt x="51" y="129"/>
                  </a:lnTo>
                  <a:lnTo>
                    <a:pt x="53" y="129"/>
                  </a:lnTo>
                  <a:lnTo>
                    <a:pt x="53" y="132"/>
                  </a:lnTo>
                  <a:lnTo>
                    <a:pt x="55" y="134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9" y="138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61" y="140"/>
                  </a:lnTo>
                  <a:lnTo>
                    <a:pt x="63" y="142"/>
                  </a:lnTo>
                  <a:lnTo>
                    <a:pt x="63" y="142"/>
                  </a:lnTo>
                  <a:lnTo>
                    <a:pt x="63" y="144"/>
                  </a:lnTo>
                  <a:lnTo>
                    <a:pt x="66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72" y="14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8" y="142"/>
                  </a:lnTo>
                  <a:lnTo>
                    <a:pt x="80" y="142"/>
                  </a:lnTo>
                  <a:lnTo>
                    <a:pt x="82" y="144"/>
                  </a:lnTo>
                  <a:lnTo>
                    <a:pt x="82" y="144"/>
                  </a:lnTo>
                  <a:lnTo>
                    <a:pt x="86" y="142"/>
                  </a:lnTo>
                  <a:lnTo>
                    <a:pt x="86" y="140"/>
                  </a:lnTo>
                  <a:lnTo>
                    <a:pt x="88" y="140"/>
                  </a:lnTo>
                  <a:lnTo>
                    <a:pt x="90" y="140"/>
                  </a:lnTo>
                  <a:lnTo>
                    <a:pt x="92" y="142"/>
                  </a:lnTo>
                  <a:lnTo>
                    <a:pt x="92" y="144"/>
                  </a:lnTo>
                  <a:lnTo>
                    <a:pt x="94" y="146"/>
                  </a:lnTo>
                  <a:lnTo>
                    <a:pt x="96" y="148"/>
                  </a:lnTo>
                  <a:lnTo>
                    <a:pt x="98" y="150"/>
                  </a:lnTo>
                  <a:lnTo>
                    <a:pt x="102" y="152"/>
                  </a:lnTo>
                  <a:lnTo>
                    <a:pt x="102" y="154"/>
                  </a:lnTo>
                  <a:lnTo>
                    <a:pt x="105" y="154"/>
                  </a:lnTo>
                  <a:lnTo>
                    <a:pt x="105" y="156"/>
                  </a:lnTo>
                  <a:lnTo>
                    <a:pt x="105" y="156"/>
                  </a:lnTo>
                  <a:lnTo>
                    <a:pt x="105" y="158"/>
                  </a:lnTo>
                  <a:lnTo>
                    <a:pt x="107" y="158"/>
                  </a:lnTo>
                  <a:lnTo>
                    <a:pt x="107" y="156"/>
                  </a:lnTo>
                  <a:lnTo>
                    <a:pt x="107" y="158"/>
                  </a:lnTo>
                  <a:lnTo>
                    <a:pt x="109" y="158"/>
                  </a:lnTo>
                  <a:lnTo>
                    <a:pt x="109" y="158"/>
                  </a:lnTo>
                  <a:lnTo>
                    <a:pt x="109" y="160"/>
                  </a:lnTo>
                  <a:lnTo>
                    <a:pt x="109" y="158"/>
                  </a:lnTo>
                  <a:lnTo>
                    <a:pt x="111" y="158"/>
                  </a:lnTo>
                  <a:lnTo>
                    <a:pt x="113" y="156"/>
                  </a:lnTo>
                  <a:lnTo>
                    <a:pt x="115" y="154"/>
                  </a:lnTo>
                  <a:lnTo>
                    <a:pt x="115" y="154"/>
                  </a:lnTo>
                  <a:lnTo>
                    <a:pt x="117" y="156"/>
                  </a:lnTo>
                  <a:lnTo>
                    <a:pt x="119" y="156"/>
                  </a:lnTo>
                  <a:lnTo>
                    <a:pt x="121" y="156"/>
                  </a:lnTo>
                  <a:lnTo>
                    <a:pt x="121" y="156"/>
                  </a:lnTo>
                  <a:lnTo>
                    <a:pt x="125" y="154"/>
                  </a:lnTo>
                  <a:lnTo>
                    <a:pt x="125" y="154"/>
                  </a:lnTo>
                  <a:lnTo>
                    <a:pt x="125" y="156"/>
                  </a:lnTo>
                  <a:lnTo>
                    <a:pt x="127" y="158"/>
                  </a:lnTo>
                  <a:lnTo>
                    <a:pt x="129" y="158"/>
                  </a:lnTo>
                  <a:lnTo>
                    <a:pt x="129" y="160"/>
                  </a:lnTo>
                  <a:lnTo>
                    <a:pt x="129" y="160"/>
                  </a:lnTo>
                  <a:lnTo>
                    <a:pt x="129" y="160"/>
                  </a:lnTo>
                  <a:lnTo>
                    <a:pt x="131" y="158"/>
                  </a:lnTo>
                  <a:lnTo>
                    <a:pt x="131" y="156"/>
                  </a:lnTo>
                  <a:lnTo>
                    <a:pt x="133" y="156"/>
                  </a:lnTo>
                  <a:lnTo>
                    <a:pt x="135" y="156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41" y="154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6"/>
                  </a:lnTo>
                  <a:lnTo>
                    <a:pt x="152" y="156"/>
                  </a:lnTo>
                  <a:lnTo>
                    <a:pt x="152" y="154"/>
                  </a:lnTo>
                  <a:lnTo>
                    <a:pt x="154" y="154"/>
                  </a:lnTo>
                  <a:lnTo>
                    <a:pt x="156" y="150"/>
                  </a:lnTo>
                  <a:lnTo>
                    <a:pt x="160" y="146"/>
                  </a:lnTo>
                  <a:lnTo>
                    <a:pt x="162" y="144"/>
                  </a:lnTo>
                  <a:lnTo>
                    <a:pt x="166" y="140"/>
                  </a:lnTo>
                  <a:lnTo>
                    <a:pt x="170" y="136"/>
                  </a:lnTo>
                  <a:lnTo>
                    <a:pt x="174" y="129"/>
                  </a:lnTo>
                  <a:lnTo>
                    <a:pt x="176" y="127"/>
                  </a:lnTo>
                  <a:lnTo>
                    <a:pt x="180" y="123"/>
                  </a:lnTo>
                  <a:lnTo>
                    <a:pt x="180" y="12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4" name="Freeform 54">
              <a:extLst>
                <a:ext uri="{FF2B5EF4-FFF2-40B4-BE49-F238E27FC236}">
                  <a16:creationId xmlns:a16="http://schemas.microsoft.com/office/drawing/2014/main" id="{2D0F5FC6-255E-214C-8801-CD3D2D0DD7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0904" y="4017475"/>
              <a:ext cx="357705" cy="537151"/>
            </a:xfrm>
            <a:custGeom>
              <a:avLst/>
              <a:gdLst>
                <a:gd name="T0" fmla="*/ 299 w 301"/>
                <a:gd name="T1" fmla="*/ 452 h 452"/>
                <a:gd name="T2" fmla="*/ 248 w 301"/>
                <a:gd name="T3" fmla="*/ 87 h 452"/>
                <a:gd name="T4" fmla="*/ 244 w 301"/>
                <a:gd name="T5" fmla="*/ 95 h 452"/>
                <a:gd name="T6" fmla="*/ 225 w 301"/>
                <a:gd name="T7" fmla="*/ 84 h 452"/>
                <a:gd name="T8" fmla="*/ 232 w 301"/>
                <a:gd name="T9" fmla="*/ 70 h 452"/>
                <a:gd name="T10" fmla="*/ 244 w 301"/>
                <a:gd name="T11" fmla="*/ 70 h 452"/>
                <a:gd name="T12" fmla="*/ 246 w 301"/>
                <a:gd name="T13" fmla="*/ 54 h 452"/>
                <a:gd name="T14" fmla="*/ 244 w 301"/>
                <a:gd name="T15" fmla="*/ 35 h 452"/>
                <a:gd name="T16" fmla="*/ 240 w 301"/>
                <a:gd name="T17" fmla="*/ 23 h 452"/>
                <a:gd name="T18" fmla="*/ 236 w 301"/>
                <a:gd name="T19" fmla="*/ 4 h 452"/>
                <a:gd name="T20" fmla="*/ 215 w 301"/>
                <a:gd name="T21" fmla="*/ 0 h 452"/>
                <a:gd name="T22" fmla="*/ 197 w 301"/>
                <a:gd name="T23" fmla="*/ 6 h 452"/>
                <a:gd name="T24" fmla="*/ 182 w 301"/>
                <a:gd name="T25" fmla="*/ 17 h 452"/>
                <a:gd name="T26" fmla="*/ 178 w 301"/>
                <a:gd name="T27" fmla="*/ 21 h 452"/>
                <a:gd name="T28" fmla="*/ 170 w 301"/>
                <a:gd name="T29" fmla="*/ 25 h 452"/>
                <a:gd name="T30" fmla="*/ 160 w 301"/>
                <a:gd name="T31" fmla="*/ 43 h 452"/>
                <a:gd name="T32" fmla="*/ 149 w 301"/>
                <a:gd name="T33" fmla="*/ 52 h 452"/>
                <a:gd name="T34" fmla="*/ 141 w 301"/>
                <a:gd name="T35" fmla="*/ 66 h 452"/>
                <a:gd name="T36" fmla="*/ 125 w 301"/>
                <a:gd name="T37" fmla="*/ 66 h 452"/>
                <a:gd name="T38" fmla="*/ 115 w 301"/>
                <a:gd name="T39" fmla="*/ 60 h 452"/>
                <a:gd name="T40" fmla="*/ 102 w 301"/>
                <a:gd name="T41" fmla="*/ 60 h 452"/>
                <a:gd name="T42" fmla="*/ 96 w 301"/>
                <a:gd name="T43" fmla="*/ 74 h 452"/>
                <a:gd name="T44" fmla="*/ 84 w 301"/>
                <a:gd name="T45" fmla="*/ 84 h 452"/>
                <a:gd name="T46" fmla="*/ 71 w 301"/>
                <a:gd name="T47" fmla="*/ 87 h 452"/>
                <a:gd name="T48" fmla="*/ 67 w 301"/>
                <a:gd name="T49" fmla="*/ 76 h 452"/>
                <a:gd name="T50" fmla="*/ 67 w 301"/>
                <a:gd name="T51" fmla="*/ 66 h 452"/>
                <a:gd name="T52" fmla="*/ 57 w 301"/>
                <a:gd name="T53" fmla="*/ 56 h 452"/>
                <a:gd name="T54" fmla="*/ 55 w 301"/>
                <a:gd name="T55" fmla="*/ 113 h 452"/>
                <a:gd name="T56" fmla="*/ 45 w 301"/>
                <a:gd name="T57" fmla="*/ 121 h 452"/>
                <a:gd name="T58" fmla="*/ 32 w 301"/>
                <a:gd name="T59" fmla="*/ 124 h 452"/>
                <a:gd name="T60" fmla="*/ 16 w 301"/>
                <a:gd name="T61" fmla="*/ 119 h 452"/>
                <a:gd name="T62" fmla="*/ 14 w 301"/>
                <a:gd name="T63" fmla="*/ 111 h 452"/>
                <a:gd name="T64" fmla="*/ 8 w 301"/>
                <a:gd name="T65" fmla="*/ 109 h 452"/>
                <a:gd name="T66" fmla="*/ 4 w 301"/>
                <a:gd name="T67" fmla="*/ 115 h 452"/>
                <a:gd name="T68" fmla="*/ 8 w 301"/>
                <a:gd name="T69" fmla="*/ 134 h 452"/>
                <a:gd name="T70" fmla="*/ 28 w 301"/>
                <a:gd name="T71" fmla="*/ 183 h 452"/>
                <a:gd name="T72" fmla="*/ 20 w 301"/>
                <a:gd name="T73" fmla="*/ 193 h 452"/>
                <a:gd name="T74" fmla="*/ 26 w 301"/>
                <a:gd name="T75" fmla="*/ 206 h 452"/>
                <a:gd name="T76" fmla="*/ 28 w 301"/>
                <a:gd name="T77" fmla="*/ 220 h 452"/>
                <a:gd name="T78" fmla="*/ 32 w 301"/>
                <a:gd name="T79" fmla="*/ 218 h 452"/>
                <a:gd name="T80" fmla="*/ 36 w 301"/>
                <a:gd name="T81" fmla="*/ 224 h 452"/>
                <a:gd name="T82" fmla="*/ 43 w 301"/>
                <a:gd name="T83" fmla="*/ 228 h 452"/>
                <a:gd name="T84" fmla="*/ 59 w 301"/>
                <a:gd name="T85" fmla="*/ 226 h 452"/>
                <a:gd name="T86" fmla="*/ 73 w 301"/>
                <a:gd name="T87" fmla="*/ 224 h 452"/>
                <a:gd name="T88" fmla="*/ 98 w 301"/>
                <a:gd name="T89" fmla="*/ 218 h 452"/>
                <a:gd name="T90" fmla="*/ 127 w 301"/>
                <a:gd name="T91" fmla="*/ 220 h 452"/>
                <a:gd name="T92" fmla="*/ 139 w 301"/>
                <a:gd name="T93" fmla="*/ 214 h 452"/>
                <a:gd name="T94" fmla="*/ 172 w 301"/>
                <a:gd name="T95" fmla="*/ 200 h 452"/>
                <a:gd name="T96" fmla="*/ 205 w 301"/>
                <a:gd name="T97" fmla="*/ 171 h 452"/>
                <a:gd name="T98" fmla="*/ 225 w 301"/>
                <a:gd name="T99" fmla="*/ 142 h 452"/>
                <a:gd name="T100" fmla="*/ 248 w 301"/>
                <a:gd name="T101" fmla="*/ 119 h 452"/>
                <a:gd name="T102" fmla="*/ 256 w 301"/>
                <a:gd name="T103" fmla="*/ 87 h 452"/>
                <a:gd name="T104" fmla="*/ 197 w 301"/>
                <a:gd name="T105" fmla="*/ 138 h 452"/>
                <a:gd name="T106" fmla="*/ 188 w 301"/>
                <a:gd name="T107" fmla="*/ 146 h 452"/>
                <a:gd name="T108" fmla="*/ 182 w 301"/>
                <a:gd name="T109" fmla="*/ 152 h 452"/>
                <a:gd name="T110" fmla="*/ 174 w 301"/>
                <a:gd name="T111" fmla="*/ 154 h 452"/>
                <a:gd name="T112" fmla="*/ 170 w 301"/>
                <a:gd name="T113" fmla="*/ 150 h 452"/>
                <a:gd name="T114" fmla="*/ 166 w 301"/>
                <a:gd name="T115" fmla="*/ 142 h 452"/>
                <a:gd name="T116" fmla="*/ 168 w 301"/>
                <a:gd name="T117" fmla="*/ 136 h 452"/>
                <a:gd name="T118" fmla="*/ 174 w 301"/>
                <a:gd name="T119" fmla="*/ 126 h 452"/>
                <a:gd name="T120" fmla="*/ 188 w 301"/>
                <a:gd name="T121" fmla="*/ 117 h 452"/>
                <a:gd name="T122" fmla="*/ 195 w 301"/>
                <a:gd name="T123" fmla="*/ 124 h 452"/>
                <a:gd name="T124" fmla="*/ 201 w 301"/>
                <a:gd name="T125" fmla="*/ 13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1" h="452">
                  <a:moveTo>
                    <a:pt x="301" y="452"/>
                  </a:moveTo>
                  <a:lnTo>
                    <a:pt x="299" y="450"/>
                  </a:lnTo>
                  <a:lnTo>
                    <a:pt x="297" y="450"/>
                  </a:lnTo>
                  <a:lnTo>
                    <a:pt x="297" y="450"/>
                  </a:lnTo>
                  <a:lnTo>
                    <a:pt x="297" y="452"/>
                  </a:lnTo>
                  <a:lnTo>
                    <a:pt x="297" y="452"/>
                  </a:lnTo>
                  <a:lnTo>
                    <a:pt x="299" y="452"/>
                  </a:lnTo>
                  <a:lnTo>
                    <a:pt x="299" y="452"/>
                  </a:lnTo>
                  <a:lnTo>
                    <a:pt x="301" y="452"/>
                  </a:lnTo>
                  <a:lnTo>
                    <a:pt x="301" y="452"/>
                  </a:lnTo>
                  <a:close/>
                  <a:moveTo>
                    <a:pt x="254" y="87"/>
                  </a:moveTo>
                  <a:lnTo>
                    <a:pt x="252" y="87"/>
                  </a:lnTo>
                  <a:lnTo>
                    <a:pt x="250" y="87"/>
                  </a:lnTo>
                  <a:lnTo>
                    <a:pt x="248" y="87"/>
                  </a:lnTo>
                  <a:lnTo>
                    <a:pt x="246" y="87"/>
                  </a:lnTo>
                  <a:lnTo>
                    <a:pt x="246" y="87"/>
                  </a:lnTo>
                  <a:lnTo>
                    <a:pt x="244" y="84"/>
                  </a:lnTo>
                  <a:lnTo>
                    <a:pt x="244" y="84"/>
                  </a:lnTo>
                  <a:lnTo>
                    <a:pt x="244" y="89"/>
                  </a:lnTo>
                  <a:lnTo>
                    <a:pt x="244" y="93"/>
                  </a:lnTo>
                  <a:lnTo>
                    <a:pt x="244" y="95"/>
                  </a:lnTo>
                  <a:lnTo>
                    <a:pt x="240" y="95"/>
                  </a:lnTo>
                  <a:lnTo>
                    <a:pt x="236" y="95"/>
                  </a:lnTo>
                  <a:lnTo>
                    <a:pt x="232" y="93"/>
                  </a:lnTo>
                  <a:lnTo>
                    <a:pt x="229" y="91"/>
                  </a:lnTo>
                  <a:lnTo>
                    <a:pt x="227" y="87"/>
                  </a:lnTo>
                  <a:lnTo>
                    <a:pt x="227" y="84"/>
                  </a:lnTo>
                  <a:lnTo>
                    <a:pt x="225" y="84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5" y="78"/>
                  </a:lnTo>
                  <a:lnTo>
                    <a:pt x="225" y="78"/>
                  </a:lnTo>
                  <a:lnTo>
                    <a:pt x="227" y="74"/>
                  </a:lnTo>
                  <a:lnTo>
                    <a:pt x="229" y="72"/>
                  </a:lnTo>
                  <a:lnTo>
                    <a:pt x="232" y="70"/>
                  </a:lnTo>
                  <a:lnTo>
                    <a:pt x="234" y="68"/>
                  </a:lnTo>
                  <a:lnTo>
                    <a:pt x="236" y="66"/>
                  </a:lnTo>
                  <a:lnTo>
                    <a:pt x="236" y="66"/>
                  </a:lnTo>
                  <a:lnTo>
                    <a:pt x="236" y="66"/>
                  </a:lnTo>
                  <a:lnTo>
                    <a:pt x="240" y="68"/>
                  </a:lnTo>
                  <a:lnTo>
                    <a:pt x="244" y="70"/>
                  </a:lnTo>
                  <a:lnTo>
                    <a:pt x="244" y="70"/>
                  </a:lnTo>
                  <a:lnTo>
                    <a:pt x="244" y="70"/>
                  </a:lnTo>
                  <a:lnTo>
                    <a:pt x="244" y="68"/>
                  </a:lnTo>
                  <a:lnTo>
                    <a:pt x="244" y="66"/>
                  </a:lnTo>
                  <a:lnTo>
                    <a:pt x="246" y="64"/>
                  </a:lnTo>
                  <a:lnTo>
                    <a:pt x="246" y="58"/>
                  </a:lnTo>
                  <a:lnTo>
                    <a:pt x="246" y="58"/>
                  </a:lnTo>
                  <a:lnTo>
                    <a:pt x="246" y="54"/>
                  </a:lnTo>
                  <a:lnTo>
                    <a:pt x="246" y="49"/>
                  </a:lnTo>
                  <a:lnTo>
                    <a:pt x="246" y="45"/>
                  </a:lnTo>
                  <a:lnTo>
                    <a:pt x="246" y="41"/>
                  </a:lnTo>
                  <a:lnTo>
                    <a:pt x="246" y="41"/>
                  </a:lnTo>
                  <a:lnTo>
                    <a:pt x="246" y="39"/>
                  </a:lnTo>
                  <a:lnTo>
                    <a:pt x="244" y="37"/>
                  </a:lnTo>
                  <a:lnTo>
                    <a:pt x="244" y="35"/>
                  </a:lnTo>
                  <a:lnTo>
                    <a:pt x="244" y="31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2" y="27"/>
                  </a:lnTo>
                  <a:lnTo>
                    <a:pt x="240" y="25"/>
                  </a:lnTo>
                  <a:lnTo>
                    <a:pt x="240" y="25"/>
                  </a:lnTo>
                  <a:lnTo>
                    <a:pt x="240" y="23"/>
                  </a:lnTo>
                  <a:lnTo>
                    <a:pt x="240" y="21"/>
                  </a:lnTo>
                  <a:lnTo>
                    <a:pt x="238" y="17"/>
                  </a:lnTo>
                  <a:lnTo>
                    <a:pt x="238" y="12"/>
                  </a:lnTo>
                  <a:lnTo>
                    <a:pt x="238" y="8"/>
                  </a:lnTo>
                  <a:lnTo>
                    <a:pt x="236" y="6"/>
                  </a:lnTo>
                  <a:lnTo>
                    <a:pt x="236" y="6"/>
                  </a:lnTo>
                  <a:lnTo>
                    <a:pt x="236" y="4"/>
                  </a:lnTo>
                  <a:lnTo>
                    <a:pt x="236" y="4"/>
                  </a:lnTo>
                  <a:lnTo>
                    <a:pt x="234" y="2"/>
                  </a:lnTo>
                  <a:lnTo>
                    <a:pt x="229" y="2"/>
                  </a:lnTo>
                  <a:lnTo>
                    <a:pt x="227" y="2"/>
                  </a:lnTo>
                  <a:lnTo>
                    <a:pt x="223" y="2"/>
                  </a:lnTo>
                  <a:lnTo>
                    <a:pt x="219" y="2"/>
                  </a:lnTo>
                  <a:lnTo>
                    <a:pt x="215" y="0"/>
                  </a:lnTo>
                  <a:lnTo>
                    <a:pt x="211" y="0"/>
                  </a:lnTo>
                  <a:lnTo>
                    <a:pt x="207" y="0"/>
                  </a:lnTo>
                  <a:lnTo>
                    <a:pt x="205" y="0"/>
                  </a:lnTo>
                  <a:lnTo>
                    <a:pt x="203" y="0"/>
                  </a:lnTo>
                  <a:lnTo>
                    <a:pt x="201" y="2"/>
                  </a:lnTo>
                  <a:lnTo>
                    <a:pt x="199" y="4"/>
                  </a:lnTo>
                  <a:lnTo>
                    <a:pt x="197" y="6"/>
                  </a:lnTo>
                  <a:lnTo>
                    <a:pt x="195" y="6"/>
                  </a:lnTo>
                  <a:lnTo>
                    <a:pt x="193" y="8"/>
                  </a:lnTo>
                  <a:lnTo>
                    <a:pt x="190" y="8"/>
                  </a:lnTo>
                  <a:lnTo>
                    <a:pt x="186" y="10"/>
                  </a:lnTo>
                  <a:lnTo>
                    <a:pt x="184" y="12"/>
                  </a:lnTo>
                  <a:lnTo>
                    <a:pt x="182" y="15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0" y="17"/>
                  </a:lnTo>
                  <a:lnTo>
                    <a:pt x="180" y="19"/>
                  </a:lnTo>
                  <a:lnTo>
                    <a:pt x="180" y="19"/>
                  </a:lnTo>
                  <a:lnTo>
                    <a:pt x="180" y="19"/>
                  </a:lnTo>
                  <a:lnTo>
                    <a:pt x="178" y="19"/>
                  </a:lnTo>
                  <a:lnTo>
                    <a:pt x="178" y="21"/>
                  </a:lnTo>
                  <a:lnTo>
                    <a:pt x="176" y="21"/>
                  </a:lnTo>
                  <a:lnTo>
                    <a:pt x="176" y="23"/>
                  </a:lnTo>
                  <a:lnTo>
                    <a:pt x="174" y="23"/>
                  </a:lnTo>
                  <a:lnTo>
                    <a:pt x="172" y="23"/>
                  </a:lnTo>
                  <a:lnTo>
                    <a:pt x="172" y="25"/>
                  </a:lnTo>
                  <a:lnTo>
                    <a:pt x="170" y="25"/>
                  </a:lnTo>
                  <a:lnTo>
                    <a:pt x="170" y="25"/>
                  </a:lnTo>
                  <a:lnTo>
                    <a:pt x="170" y="27"/>
                  </a:lnTo>
                  <a:lnTo>
                    <a:pt x="168" y="29"/>
                  </a:lnTo>
                  <a:lnTo>
                    <a:pt x="168" y="29"/>
                  </a:lnTo>
                  <a:lnTo>
                    <a:pt x="164" y="37"/>
                  </a:lnTo>
                  <a:lnTo>
                    <a:pt x="164" y="39"/>
                  </a:lnTo>
                  <a:lnTo>
                    <a:pt x="162" y="41"/>
                  </a:lnTo>
                  <a:lnTo>
                    <a:pt x="160" y="43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4" y="45"/>
                  </a:lnTo>
                  <a:lnTo>
                    <a:pt x="151" y="47"/>
                  </a:lnTo>
                  <a:lnTo>
                    <a:pt x="149" y="47"/>
                  </a:lnTo>
                  <a:lnTo>
                    <a:pt x="149" y="47"/>
                  </a:lnTo>
                  <a:lnTo>
                    <a:pt x="149" y="52"/>
                  </a:lnTo>
                  <a:lnTo>
                    <a:pt x="147" y="56"/>
                  </a:lnTo>
                  <a:lnTo>
                    <a:pt x="145" y="58"/>
                  </a:lnTo>
                  <a:lnTo>
                    <a:pt x="145" y="60"/>
                  </a:lnTo>
                  <a:lnTo>
                    <a:pt x="145" y="64"/>
                  </a:lnTo>
                  <a:lnTo>
                    <a:pt x="143" y="64"/>
                  </a:lnTo>
                  <a:lnTo>
                    <a:pt x="141" y="66"/>
                  </a:lnTo>
                  <a:lnTo>
                    <a:pt x="141" y="66"/>
                  </a:lnTo>
                  <a:lnTo>
                    <a:pt x="139" y="66"/>
                  </a:lnTo>
                  <a:lnTo>
                    <a:pt x="137" y="66"/>
                  </a:lnTo>
                  <a:lnTo>
                    <a:pt x="135" y="66"/>
                  </a:lnTo>
                  <a:lnTo>
                    <a:pt x="133" y="68"/>
                  </a:lnTo>
                  <a:lnTo>
                    <a:pt x="131" y="68"/>
                  </a:lnTo>
                  <a:lnTo>
                    <a:pt x="129" y="66"/>
                  </a:lnTo>
                  <a:lnTo>
                    <a:pt x="125" y="66"/>
                  </a:lnTo>
                  <a:lnTo>
                    <a:pt x="125" y="66"/>
                  </a:lnTo>
                  <a:lnTo>
                    <a:pt x="123" y="64"/>
                  </a:lnTo>
                  <a:lnTo>
                    <a:pt x="121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7" y="62"/>
                  </a:lnTo>
                  <a:lnTo>
                    <a:pt x="115" y="60"/>
                  </a:lnTo>
                  <a:lnTo>
                    <a:pt x="112" y="58"/>
                  </a:lnTo>
                  <a:lnTo>
                    <a:pt x="110" y="58"/>
                  </a:lnTo>
                  <a:lnTo>
                    <a:pt x="108" y="58"/>
                  </a:lnTo>
                  <a:lnTo>
                    <a:pt x="106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8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2" y="78"/>
                  </a:lnTo>
                  <a:lnTo>
                    <a:pt x="90" y="80"/>
                  </a:lnTo>
                  <a:lnTo>
                    <a:pt x="88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73" y="87"/>
                  </a:lnTo>
                  <a:lnTo>
                    <a:pt x="71" y="87"/>
                  </a:lnTo>
                  <a:lnTo>
                    <a:pt x="69" y="84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5" y="84"/>
                  </a:lnTo>
                  <a:lnTo>
                    <a:pt x="65" y="80"/>
                  </a:lnTo>
                  <a:lnTo>
                    <a:pt x="65" y="78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9" y="74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70"/>
                  </a:lnTo>
                  <a:lnTo>
                    <a:pt x="69" y="68"/>
                  </a:lnTo>
                  <a:lnTo>
                    <a:pt x="67" y="66"/>
                  </a:lnTo>
                  <a:lnTo>
                    <a:pt x="65" y="62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1" y="54"/>
                  </a:lnTo>
                  <a:lnTo>
                    <a:pt x="57" y="49"/>
                  </a:lnTo>
                  <a:lnTo>
                    <a:pt x="57" y="47"/>
                  </a:lnTo>
                  <a:lnTo>
                    <a:pt x="57" y="56"/>
                  </a:lnTo>
                  <a:lnTo>
                    <a:pt x="57" y="64"/>
                  </a:lnTo>
                  <a:lnTo>
                    <a:pt x="55" y="72"/>
                  </a:lnTo>
                  <a:lnTo>
                    <a:pt x="55" y="80"/>
                  </a:lnTo>
                  <a:lnTo>
                    <a:pt x="55" y="89"/>
                  </a:lnTo>
                  <a:lnTo>
                    <a:pt x="55" y="97"/>
                  </a:lnTo>
                  <a:lnTo>
                    <a:pt x="55" y="105"/>
                  </a:lnTo>
                  <a:lnTo>
                    <a:pt x="55" y="113"/>
                  </a:lnTo>
                  <a:lnTo>
                    <a:pt x="55" y="115"/>
                  </a:lnTo>
                  <a:lnTo>
                    <a:pt x="53" y="115"/>
                  </a:lnTo>
                  <a:lnTo>
                    <a:pt x="51" y="117"/>
                  </a:lnTo>
                  <a:lnTo>
                    <a:pt x="49" y="117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4"/>
                  </a:lnTo>
                  <a:lnTo>
                    <a:pt x="43" y="124"/>
                  </a:lnTo>
                  <a:lnTo>
                    <a:pt x="43" y="124"/>
                  </a:lnTo>
                  <a:lnTo>
                    <a:pt x="41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6" y="124"/>
                  </a:lnTo>
                  <a:lnTo>
                    <a:pt x="24" y="121"/>
                  </a:lnTo>
                  <a:lnTo>
                    <a:pt x="22" y="121"/>
                  </a:lnTo>
                  <a:lnTo>
                    <a:pt x="20" y="121"/>
                  </a:lnTo>
                  <a:lnTo>
                    <a:pt x="18" y="121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4" y="117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2" y="111"/>
                  </a:lnTo>
                  <a:lnTo>
                    <a:pt x="12" y="111"/>
                  </a:lnTo>
                  <a:lnTo>
                    <a:pt x="12" y="109"/>
                  </a:lnTo>
                  <a:lnTo>
                    <a:pt x="12" y="109"/>
                  </a:lnTo>
                  <a:lnTo>
                    <a:pt x="10" y="107"/>
                  </a:lnTo>
                  <a:lnTo>
                    <a:pt x="8" y="109"/>
                  </a:lnTo>
                  <a:lnTo>
                    <a:pt x="6" y="109"/>
                  </a:lnTo>
                  <a:lnTo>
                    <a:pt x="6" y="111"/>
                  </a:lnTo>
                  <a:lnTo>
                    <a:pt x="6" y="111"/>
                  </a:lnTo>
                  <a:lnTo>
                    <a:pt x="6" y="113"/>
                  </a:lnTo>
                  <a:lnTo>
                    <a:pt x="6" y="115"/>
                  </a:lnTo>
                  <a:lnTo>
                    <a:pt x="6" y="115"/>
                  </a:lnTo>
                  <a:lnTo>
                    <a:pt x="4" y="115"/>
                  </a:lnTo>
                  <a:lnTo>
                    <a:pt x="4" y="115"/>
                  </a:lnTo>
                  <a:lnTo>
                    <a:pt x="4" y="115"/>
                  </a:lnTo>
                  <a:lnTo>
                    <a:pt x="0" y="117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4" y="126"/>
                  </a:lnTo>
                  <a:lnTo>
                    <a:pt x="8" y="134"/>
                  </a:lnTo>
                  <a:lnTo>
                    <a:pt x="12" y="146"/>
                  </a:lnTo>
                  <a:lnTo>
                    <a:pt x="14" y="152"/>
                  </a:lnTo>
                  <a:lnTo>
                    <a:pt x="18" y="163"/>
                  </a:lnTo>
                  <a:lnTo>
                    <a:pt x="22" y="169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8" y="183"/>
                  </a:lnTo>
                  <a:lnTo>
                    <a:pt x="28" y="185"/>
                  </a:lnTo>
                  <a:lnTo>
                    <a:pt x="28" y="189"/>
                  </a:lnTo>
                  <a:lnTo>
                    <a:pt x="26" y="191"/>
                  </a:lnTo>
                  <a:lnTo>
                    <a:pt x="24" y="193"/>
                  </a:lnTo>
                  <a:lnTo>
                    <a:pt x="24" y="195"/>
                  </a:lnTo>
                  <a:lnTo>
                    <a:pt x="22" y="193"/>
                  </a:lnTo>
                  <a:lnTo>
                    <a:pt x="20" y="193"/>
                  </a:lnTo>
                  <a:lnTo>
                    <a:pt x="20" y="195"/>
                  </a:lnTo>
                  <a:lnTo>
                    <a:pt x="20" y="198"/>
                  </a:lnTo>
                  <a:lnTo>
                    <a:pt x="22" y="200"/>
                  </a:lnTo>
                  <a:lnTo>
                    <a:pt x="22" y="202"/>
                  </a:lnTo>
                  <a:lnTo>
                    <a:pt x="24" y="202"/>
                  </a:lnTo>
                  <a:lnTo>
                    <a:pt x="24" y="206"/>
                  </a:lnTo>
                  <a:lnTo>
                    <a:pt x="26" y="206"/>
                  </a:lnTo>
                  <a:lnTo>
                    <a:pt x="26" y="208"/>
                  </a:lnTo>
                  <a:lnTo>
                    <a:pt x="28" y="212"/>
                  </a:lnTo>
                  <a:lnTo>
                    <a:pt x="28" y="214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6" y="218"/>
                  </a:lnTo>
                  <a:lnTo>
                    <a:pt x="28" y="220"/>
                  </a:lnTo>
                  <a:lnTo>
                    <a:pt x="28" y="222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0" y="220"/>
                  </a:lnTo>
                  <a:lnTo>
                    <a:pt x="30" y="218"/>
                  </a:lnTo>
                  <a:lnTo>
                    <a:pt x="30" y="218"/>
                  </a:lnTo>
                  <a:lnTo>
                    <a:pt x="32" y="218"/>
                  </a:lnTo>
                  <a:lnTo>
                    <a:pt x="34" y="218"/>
                  </a:lnTo>
                  <a:lnTo>
                    <a:pt x="34" y="218"/>
                  </a:lnTo>
                  <a:lnTo>
                    <a:pt x="34" y="220"/>
                  </a:lnTo>
                  <a:lnTo>
                    <a:pt x="34" y="222"/>
                  </a:lnTo>
                  <a:lnTo>
                    <a:pt x="34" y="222"/>
                  </a:lnTo>
                  <a:lnTo>
                    <a:pt x="34" y="224"/>
                  </a:lnTo>
                  <a:lnTo>
                    <a:pt x="36" y="224"/>
                  </a:lnTo>
                  <a:lnTo>
                    <a:pt x="36" y="224"/>
                  </a:lnTo>
                  <a:lnTo>
                    <a:pt x="39" y="224"/>
                  </a:lnTo>
                  <a:lnTo>
                    <a:pt x="39" y="224"/>
                  </a:lnTo>
                  <a:lnTo>
                    <a:pt x="41" y="224"/>
                  </a:lnTo>
                  <a:lnTo>
                    <a:pt x="41" y="224"/>
                  </a:lnTo>
                  <a:lnTo>
                    <a:pt x="43" y="226"/>
                  </a:lnTo>
                  <a:lnTo>
                    <a:pt x="43" y="228"/>
                  </a:lnTo>
                  <a:lnTo>
                    <a:pt x="43" y="228"/>
                  </a:lnTo>
                  <a:lnTo>
                    <a:pt x="43" y="228"/>
                  </a:lnTo>
                  <a:lnTo>
                    <a:pt x="47" y="230"/>
                  </a:lnTo>
                  <a:lnTo>
                    <a:pt x="51" y="230"/>
                  </a:lnTo>
                  <a:lnTo>
                    <a:pt x="51" y="230"/>
                  </a:lnTo>
                  <a:lnTo>
                    <a:pt x="53" y="232"/>
                  </a:lnTo>
                  <a:lnTo>
                    <a:pt x="59" y="226"/>
                  </a:lnTo>
                  <a:lnTo>
                    <a:pt x="61" y="226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7" y="224"/>
                  </a:lnTo>
                  <a:lnTo>
                    <a:pt x="69" y="224"/>
                  </a:lnTo>
                  <a:lnTo>
                    <a:pt x="71" y="224"/>
                  </a:lnTo>
                  <a:lnTo>
                    <a:pt x="73" y="224"/>
                  </a:lnTo>
                  <a:lnTo>
                    <a:pt x="75" y="224"/>
                  </a:lnTo>
                  <a:lnTo>
                    <a:pt x="80" y="224"/>
                  </a:lnTo>
                  <a:lnTo>
                    <a:pt x="88" y="218"/>
                  </a:lnTo>
                  <a:lnTo>
                    <a:pt x="90" y="218"/>
                  </a:lnTo>
                  <a:lnTo>
                    <a:pt x="92" y="218"/>
                  </a:lnTo>
                  <a:lnTo>
                    <a:pt x="94" y="218"/>
                  </a:lnTo>
                  <a:lnTo>
                    <a:pt x="98" y="218"/>
                  </a:lnTo>
                  <a:lnTo>
                    <a:pt x="102" y="218"/>
                  </a:lnTo>
                  <a:lnTo>
                    <a:pt x="104" y="218"/>
                  </a:lnTo>
                  <a:lnTo>
                    <a:pt x="108" y="216"/>
                  </a:lnTo>
                  <a:lnTo>
                    <a:pt x="110" y="216"/>
                  </a:lnTo>
                  <a:lnTo>
                    <a:pt x="117" y="218"/>
                  </a:lnTo>
                  <a:lnTo>
                    <a:pt x="123" y="220"/>
                  </a:lnTo>
                  <a:lnTo>
                    <a:pt x="127" y="220"/>
                  </a:lnTo>
                  <a:lnTo>
                    <a:pt x="129" y="218"/>
                  </a:lnTo>
                  <a:lnTo>
                    <a:pt x="129" y="216"/>
                  </a:lnTo>
                  <a:lnTo>
                    <a:pt x="133" y="216"/>
                  </a:lnTo>
                  <a:lnTo>
                    <a:pt x="137" y="218"/>
                  </a:lnTo>
                  <a:lnTo>
                    <a:pt x="139" y="218"/>
                  </a:lnTo>
                  <a:lnTo>
                    <a:pt x="139" y="218"/>
                  </a:lnTo>
                  <a:lnTo>
                    <a:pt x="139" y="214"/>
                  </a:lnTo>
                  <a:lnTo>
                    <a:pt x="141" y="212"/>
                  </a:lnTo>
                  <a:lnTo>
                    <a:pt x="145" y="212"/>
                  </a:lnTo>
                  <a:lnTo>
                    <a:pt x="151" y="212"/>
                  </a:lnTo>
                  <a:lnTo>
                    <a:pt x="154" y="212"/>
                  </a:lnTo>
                  <a:lnTo>
                    <a:pt x="162" y="208"/>
                  </a:lnTo>
                  <a:lnTo>
                    <a:pt x="166" y="206"/>
                  </a:lnTo>
                  <a:lnTo>
                    <a:pt x="172" y="200"/>
                  </a:lnTo>
                  <a:lnTo>
                    <a:pt x="174" y="200"/>
                  </a:lnTo>
                  <a:lnTo>
                    <a:pt x="180" y="195"/>
                  </a:lnTo>
                  <a:lnTo>
                    <a:pt x="184" y="191"/>
                  </a:lnTo>
                  <a:lnTo>
                    <a:pt x="190" y="185"/>
                  </a:lnTo>
                  <a:lnTo>
                    <a:pt x="195" y="181"/>
                  </a:lnTo>
                  <a:lnTo>
                    <a:pt x="201" y="175"/>
                  </a:lnTo>
                  <a:lnTo>
                    <a:pt x="205" y="171"/>
                  </a:lnTo>
                  <a:lnTo>
                    <a:pt x="207" y="171"/>
                  </a:lnTo>
                  <a:lnTo>
                    <a:pt x="209" y="169"/>
                  </a:lnTo>
                  <a:lnTo>
                    <a:pt x="213" y="163"/>
                  </a:lnTo>
                  <a:lnTo>
                    <a:pt x="217" y="156"/>
                  </a:lnTo>
                  <a:lnTo>
                    <a:pt x="219" y="152"/>
                  </a:lnTo>
                  <a:lnTo>
                    <a:pt x="223" y="146"/>
                  </a:lnTo>
                  <a:lnTo>
                    <a:pt x="225" y="142"/>
                  </a:lnTo>
                  <a:lnTo>
                    <a:pt x="229" y="136"/>
                  </a:lnTo>
                  <a:lnTo>
                    <a:pt x="232" y="132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42" y="124"/>
                  </a:lnTo>
                  <a:lnTo>
                    <a:pt x="244" y="124"/>
                  </a:lnTo>
                  <a:lnTo>
                    <a:pt x="248" y="119"/>
                  </a:lnTo>
                  <a:lnTo>
                    <a:pt x="248" y="115"/>
                  </a:lnTo>
                  <a:lnTo>
                    <a:pt x="252" y="111"/>
                  </a:lnTo>
                  <a:lnTo>
                    <a:pt x="254" y="101"/>
                  </a:lnTo>
                  <a:lnTo>
                    <a:pt x="254" y="97"/>
                  </a:lnTo>
                  <a:lnTo>
                    <a:pt x="258" y="91"/>
                  </a:lnTo>
                  <a:lnTo>
                    <a:pt x="258" y="87"/>
                  </a:lnTo>
                  <a:lnTo>
                    <a:pt x="256" y="87"/>
                  </a:lnTo>
                  <a:lnTo>
                    <a:pt x="254" y="87"/>
                  </a:lnTo>
                  <a:close/>
                  <a:moveTo>
                    <a:pt x="201" y="132"/>
                  </a:moveTo>
                  <a:lnTo>
                    <a:pt x="201" y="134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7" y="138"/>
                  </a:lnTo>
                  <a:lnTo>
                    <a:pt x="197" y="140"/>
                  </a:lnTo>
                  <a:lnTo>
                    <a:pt x="197" y="142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3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8" y="146"/>
                  </a:lnTo>
                  <a:lnTo>
                    <a:pt x="188" y="146"/>
                  </a:lnTo>
                  <a:lnTo>
                    <a:pt x="186" y="146"/>
                  </a:lnTo>
                  <a:lnTo>
                    <a:pt x="186" y="146"/>
                  </a:lnTo>
                  <a:lnTo>
                    <a:pt x="184" y="146"/>
                  </a:lnTo>
                  <a:lnTo>
                    <a:pt x="184" y="148"/>
                  </a:lnTo>
                  <a:lnTo>
                    <a:pt x="182" y="152"/>
                  </a:lnTo>
                  <a:lnTo>
                    <a:pt x="180" y="152"/>
                  </a:lnTo>
                  <a:lnTo>
                    <a:pt x="180" y="154"/>
                  </a:lnTo>
                  <a:lnTo>
                    <a:pt x="180" y="154"/>
                  </a:lnTo>
                  <a:lnTo>
                    <a:pt x="180" y="154"/>
                  </a:lnTo>
                  <a:lnTo>
                    <a:pt x="178" y="156"/>
                  </a:lnTo>
                  <a:lnTo>
                    <a:pt x="176" y="154"/>
                  </a:lnTo>
                  <a:lnTo>
                    <a:pt x="174" y="154"/>
                  </a:lnTo>
                  <a:lnTo>
                    <a:pt x="174" y="154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72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148"/>
                  </a:lnTo>
                  <a:lnTo>
                    <a:pt x="168" y="148"/>
                  </a:lnTo>
                  <a:lnTo>
                    <a:pt x="170" y="146"/>
                  </a:lnTo>
                  <a:lnTo>
                    <a:pt x="168" y="146"/>
                  </a:lnTo>
                  <a:lnTo>
                    <a:pt x="168" y="144"/>
                  </a:lnTo>
                  <a:lnTo>
                    <a:pt x="166" y="142"/>
                  </a:lnTo>
                  <a:lnTo>
                    <a:pt x="166" y="140"/>
                  </a:lnTo>
                  <a:lnTo>
                    <a:pt x="166" y="140"/>
                  </a:lnTo>
                  <a:lnTo>
                    <a:pt x="164" y="138"/>
                  </a:lnTo>
                  <a:lnTo>
                    <a:pt x="164" y="138"/>
                  </a:lnTo>
                  <a:lnTo>
                    <a:pt x="166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70" y="134"/>
                  </a:lnTo>
                  <a:lnTo>
                    <a:pt x="170" y="132"/>
                  </a:lnTo>
                  <a:lnTo>
                    <a:pt x="172" y="132"/>
                  </a:lnTo>
                  <a:lnTo>
                    <a:pt x="172" y="130"/>
                  </a:lnTo>
                  <a:lnTo>
                    <a:pt x="172" y="130"/>
                  </a:lnTo>
                  <a:lnTo>
                    <a:pt x="174" y="128"/>
                  </a:lnTo>
                  <a:lnTo>
                    <a:pt x="174" y="126"/>
                  </a:lnTo>
                  <a:lnTo>
                    <a:pt x="176" y="124"/>
                  </a:lnTo>
                  <a:lnTo>
                    <a:pt x="178" y="124"/>
                  </a:lnTo>
                  <a:lnTo>
                    <a:pt x="180" y="124"/>
                  </a:lnTo>
                  <a:lnTo>
                    <a:pt x="182" y="121"/>
                  </a:lnTo>
                  <a:lnTo>
                    <a:pt x="184" y="119"/>
                  </a:lnTo>
                  <a:lnTo>
                    <a:pt x="188" y="119"/>
                  </a:lnTo>
                  <a:lnTo>
                    <a:pt x="188" y="117"/>
                  </a:lnTo>
                  <a:lnTo>
                    <a:pt x="190" y="117"/>
                  </a:lnTo>
                  <a:lnTo>
                    <a:pt x="190" y="117"/>
                  </a:lnTo>
                  <a:lnTo>
                    <a:pt x="190" y="119"/>
                  </a:lnTo>
                  <a:lnTo>
                    <a:pt x="190" y="119"/>
                  </a:lnTo>
                  <a:lnTo>
                    <a:pt x="193" y="121"/>
                  </a:lnTo>
                  <a:lnTo>
                    <a:pt x="193" y="121"/>
                  </a:lnTo>
                  <a:lnTo>
                    <a:pt x="195" y="124"/>
                  </a:lnTo>
                  <a:lnTo>
                    <a:pt x="197" y="126"/>
                  </a:lnTo>
                  <a:lnTo>
                    <a:pt x="199" y="126"/>
                  </a:lnTo>
                  <a:lnTo>
                    <a:pt x="199" y="128"/>
                  </a:lnTo>
                  <a:lnTo>
                    <a:pt x="201" y="128"/>
                  </a:lnTo>
                  <a:lnTo>
                    <a:pt x="201" y="128"/>
                  </a:lnTo>
                  <a:lnTo>
                    <a:pt x="201" y="130"/>
                  </a:lnTo>
                  <a:lnTo>
                    <a:pt x="201" y="130"/>
                  </a:lnTo>
                  <a:lnTo>
                    <a:pt x="201" y="13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5" name="Freeform 55">
              <a:extLst>
                <a:ext uri="{FF2B5EF4-FFF2-40B4-BE49-F238E27FC236}">
                  <a16:creationId xmlns:a16="http://schemas.microsoft.com/office/drawing/2014/main" id="{229563F8-3112-104C-93AC-D3866DCB6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259" y="3272356"/>
              <a:ext cx="197272" cy="298285"/>
            </a:xfrm>
            <a:custGeom>
              <a:avLst/>
              <a:gdLst>
                <a:gd name="T0" fmla="*/ 162 w 166"/>
                <a:gd name="T1" fmla="*/ 27 h 251"/>
                <a:gd name="T2" fmla="*/ 160 w 166"/>
                <a:gd name="T3" fmla="*/ 29 h 251"/>
                <a:gd name="T4" fmla="*/ 162 w 166"/>
                <a:gd name="T5" fmla="*/ 25 h 251"/>
                <a:gd name="T6" fmla="*/ 162 w 166"/>
                <a:gd name="T7" fmla="*/ 6 h 251"/>
                <a:gd name="T8" fmla="*/ 156 w 166"/>
                <a:gd name="T9" fmla="*/ 0 h 251"/>
                <a:gd name="T10" fmla="*/ 144 w 166"/>
                <a:gd name="T11" fmla="*/ 8 h 251"/>
                <a:gd name="T12" fmla="*/ 125 w 166"/>
                <a:gd name="T13" fmla="*/ 14 h 251"/>
                <a:gd name="T14" fmla="*/ 117 w 166"/>
                <a:gd name="T15" fmla="*/ 12 h 251"/>
                <a:gd name="T16" fmla="*/ 100 w 166"/>
                <a:gd name="T17" fmla="*/ 14 h 251"/>
                <a:gd name="T18" fmla="*/ 86 w 166"/>
                <a:gd name="T19" fmla="*/ 23 h 251"/>
                <a:gd name="T20" fmla="*/ 74 w 166"/>
                <a:gd name="T21" fmla="*/ 23 h 251"/>
                <a:gd name="T22" fmla="*/ 51 w 166"/>
                <a:gd name="T23" fmla="*/ 29 h 251"/>
                <a:gd name="T24" fmla="*/ 37 w 166"/>
                <a:gd name="T25" fmla="*/ 12 h 251"/>
                <a:gd name="T26" fmla="*/ 29 w 166"/>
                <a:gd name="T27" fmla="*/ 19 h 251"/>
                <a:gd name="T28" fmla="*/ 27 w 166"/>
                <a:gd name="T29" fmla="*/ 23 h 251"/>
                <a:gd name="T30" fmla="*/ 27 w 166"/>
                <a:gd name="T31" fmla="*/ 27 h 251"/>
                <a:gd name="T32" fmla="*/ 29 w 166"/>
                <a:gd name="T33" fmla="*/ 33 h 251"/>
                <a:gd name="T34" fmla="*/ 35 w 166"/>
                <a:gd name="T35" fmla="*/ 41 h 251"/>
                <a:gd name="T36" fmla="*/ 41 w 166"/>
                <a:gd name="T37" fmla="*/ 49 h 251"/>
                <a:gd name="T38" fmla="*/ 47 w 166"/>
                <a:gd name="T39" fmla="*/ 56 h 251"/>
                <a:gd name="T40" fmla="*/ 68 w 166"/>
                <a:gd name="T41" fmla="*/ 62 h 251"/>
                <a:gd name="T42" fmla="*/ 90 w 166"/>
                <a:gd name="T43" fmla="*/ 72 h 251"/>
                <a:gd name="T44" fmla="*/ 109 w 166"/>
                <a:gd name="T45" fmla="*/ 78 h 251"/>
                <a:gd name="T46" fmla="*/ 90 w 166"/>
                <a:gd name="T47" fmla="*/ 97 h 251"/>
                <a:gd name="T48" fmla="*/ 74 w 166"/>
                <a:gd name="T49" fmla="*/ 115 h 251"/>
                <a:gd name="T50" fmla="*/ 64 w 166"/>
                <a:gd name="T51" fmla="*/ 130 h 251"/>
                <a:gd name="T52" fmla="*/ 49 w 166"/>
                <a:gd name="T53" fmla="*/ 130 h 251"/>
                <a:gd name="T54" fmla="*/ 41 w 166"/>
                <a:gd name="T55" fmla="*/ 132 h 251"/>
                <a:gd name="T56" fmla="*/ 31 w 166"/>
                <a:gd name="T57" fmla="*/ 138 h 251"/>
                <a:gd name="T58" fmla="*/ 22 w 166"/>
                <a:gd name="T59" fmla="*/ 142 h 251"/>
                <a:gd name="T60" fmla="*/ 14 w 166"/>
                <a:gd name="T61" fmla="*/ 148 h 251"/>
                <a:gd name="T62" fmla="*/ 2 w 166"/>
                <a:gd name="T63" fmla="*/ 165 h 251"/>
                <a:gd name="T64" fmla="*/ 0 w 166"/>
                <a:gd name="T65" fmla="*/ 179 h 251"/>
                <a:gd name="T66" fmla="*/ 0 w 166"/>
                <a:gd name="T67" fmla="*/ 234 h 251"/>
                <a:gd name="T68" fmla="*/ 8 w 166"/>
                <a:gd name="T69" fmla="*/ 247 h 251"/>
                <a:gd name="T70" fmla="*/ 10 w 166"/>
                <a:gd name="T71" fmla="*/ 249 h 251"/>
                <a:gd name="T72" fmla="*/ 16 w 166"/>
                <a:gd name="T73" fmla="*/ 239 h 251"/>
                <a:gd name="T74" fmla="*/ 22 w 166"/>
                <a:gd name="T75" fmla="*/ 230 h 251"/>
                <a:gd name="T76" fmla="*/ 29 w 166"/>
                <a:gd name="T77" fmla="*/ 224 h 251"/>
                <a:gd name="T78" fmla="*/ 55 w 166"/>
                <a:gd name="T79" fmla="*/ 195 h 251"/>
                <a:gd name="T80" fmla="*/ 96 w 166"/>
                <a:gd name="T81" fmla="*/ 160 h 251"/>
                <a:gd name="T82" fmla="*/ 123 w 166"/>
                <a:gd name="T83" fmla="*/ 119 h 251"/>
                <a:gd name="T84" fmla="*/ 135 w 166"/>
                <a:gd name="T85" fmla="*/ 93 h 251"/>
                <a:gd name="T86" fmla="*/ 142 w 166"/>
                <a:gd name="T87" fmla="*/ 74 h 251"/>
                <a:gd name="T88" fmla="*/ 152 w 166"/>
                <a:gd name="T89" fmla="*/ 58 h 251"/>
                <a:gd name="T90" fmla="*/ 158 w 166"/>
                <a:gd name="T91" fmla="*/ 41 h 251"/>
                <a:gd name="T92" fmla="*/ 160 w 166"/>
                <a:gd name="T93" fmla="*/ 29 h 251"/>
                <a:gd name="T94" fmla="*/ 166 w 166"/>
                <a:gd name="T95" fmla="*/ 29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6" h="251">
                  <a:moveTo>
                    <a:pt x="166" y="29"/>
                  </a:moveTo>
                  <a:lnTo>
                    <a:pt x="164" y="27"/>
                  </a:lnTo>
                  <a:lnTo>
                    <a:pt x="162" y="27"/>
                  </a:lnTo>
                  <a:lnTo>
                    <a:pt x="162" y="27"/>
                  </a:lnTo>
                  <a:lnTo>
                    <a:pt x="162" y="27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7"/>
                  </a:lnTo>
                  <a:lnTo>
                    <a:pt x="162" y="27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0" y="8"/>
                  </a:lnTo>
                  <a:lnTo>
                    <a:pt x="162" y="6"/>
                  </a:lnTo>
                  <a:lnTo>
                    <a:pt x="162" y="4"/>
                  </a:lnTo>
                  <a:lnTo>
                    <a:pt x="162" y="2"/>
                  </a:lnTo>
                  <a:lnTo>
                    <a:pt x="162" y="2"/>
                  </a:lnTo>
                  <a:lnTo>
                    <a:pt x="156" y="0"/>
                  </a:lnTo>
                  <a:lnTo>
                    <a:pt x="152" y="0"/>
                  </a:lnTo>
                  <a:lnTo>
                    <a:pt x="152" y="2"/>
                  </a:lnTo>
                  <a:lnTo>
                    <a:pt x="150" y="4"/>
                  </a:lnTo>
                  <a:lnTo>
                    <a:pt x="144" y="8"/>
                  </a:lnTo>
                  <a:lnTo>
                    <a:pt x="137" y="10"/>
                  </a:lnTo>
                  <a:lnTo>
                    <a:pt x="133" y="12"/>
                  </a:lnTo>
                  <a:lnTo>
                    <a:pt x="127" y="12"/>
                  </a:lnTo>
                  <a:lnTo>
                    <a:pt x="125" y="14"/>
                  </a:lnTo>
                  <a:lnTo>
                    <a:pt x="125" y="14"/>
                  </a:lnTo>
                  <a:lnTo>
                    <a:pt x="121" y="12"/>
                  </a:lnTo>
                  <a:lnTo>
                    <a:pt x="119" y="12"/>
                  </a:lnTo>
                  <a:lnTo>
                    <a:pt x="117" y="12"/>
                  </a:lnTo>
                  <a:lnTo>
                    <a:pt x="111" y="16"/>
                  </a:lnTo>
                  <a:lnTo>
                    <a:pt x="107" y="16"/>
                  </a:lnTo>
                  <a:lnTo>
                    <a:pt x="103" y="14"/>
                  </a:lnTo>
                  <a:lnTo>
                    <a:pt x="100" y="14"/>
                  </a:lnTo>
                  <a:lnTo>
                    <a:pt x="98" y="16"/>
                  </a:lnTo>
                  <a:lnTo>
                    <a:pt x="94" y="19"/>
                  </a:lnTo>
                  <a:lnTo>
                    <a:pt x="88" y="23"/>
                  </a:lnTo>
                  <a:lnTo>
                    <a:pt x="86" y="23"/>
                  </a:lnTo>
                  <a:lnTo>
                    <a:pt x="82" y="23"/>
                  </a:lnTo>
                  <a:lnTo>
                    <a:pt x="80" y="23"/>
                  </a:lnTo>
                  <a:lnTo>
                    <a:pt x="76" y="21"/>
                  </a:lnTo>
                  <a:lnTo>
                    <a:pt x="74" y="23"/>
                  </a:lnTo>
                  <a:lnTo>
                    <a:pt x="68" y="25"/>
                  </a:lnTo>
                  <a:lnTo>
                    <a:pt x="61" y="29"/>
                  </a:lnTo>
                  <a:lnTo>
                    <a:pt x="53" y="29"/>
                  </a:lnTo>
                  <a:lnTo>
                    <a:pt x="51" y="29"/>
                  </a:lnTo>
                  <a:lnTo>
                    <a:pt x="49" y="27"/>
                  </a:lnTo>
                  <a:lnTo>
                    <a:pt x="45" y="23"/>
                  </a:lnTo>
                  <a:lnTo>
                    <a:pt x="41" y="19"/>
                  </a:lnTo>
                  <a:lnTo>
                    <a:pt x="37" y="12"/>
                  </a:lnTo>
                  <a:lnTo>
                    <a:pt x="35" y="8"/>
                  </a:lnTo>
                  <a:lnTo>
                    <a:pt x="33" y="12"/>
                  </a:lnTo>
                  <a:lnTo>
                    <a:pt x="31" y="14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1"/>
                  </a:lnTo>
                  <a:lnTo>
                    <a:pt x="27" y="21"/>
                  </a:lnTo>
                  <a:lnTo>
                    <a:pt x="27" y="2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7" y="27"/>
                  </a:lnTo>
                  <a:lnTo>
                    <a:pt x="27" y="29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9"/>
                  </a:lnTo>
                  <a:lnTo>
                    <a:pt x="35" y="41"/>
                  </a:lnTo>
                  <a:lnTo>
                    <a:pt x="35" y="43"/>
                  </a:lnTo>
                  <a:lnTo>
                    <a:pt x="37" y="45"/>
                  </a:lnTo>
                  <a:lnTo>
                    <a:pt x="39" y="47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5" y="51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51" y="58"/>
                  </a:lnTo>
                  <a:lnTo>
                    <a:pt x="57" y="60"/>
                  </a:lnTo>
                  <a:lnTo>
                    <a:pt x="61" y="60"/>
                  </a:lnTo>
                  <a:lnTo>
                    <a:pt x="68" y="62"/>
                  </a:lnTo>
                  <a:lnTo>
                    <a:pt x="72" y="64"/>
                  </a:lnTo>
                  <a:lnTo>
                    <a:pt x="78" y="66"/>
                  </a:lnTo>
                  <a:lnTo>
                    <a:pt x="84" y="70"/>
                  </a:lnTo>
                  <a:lnTo>
                    <a:pt x="90" y="72"/>
                  </a:lnTo>
                  <a:lnTo>
                    <a:pt x="94" y="72"/>
                  </a:lnTo>
                  <a:lnTo>
                    <a:pt x="96" y="74"/>
                  </a:lnTo>
                  <a:lnTo>
                    <a:pt x="113" y="74"/>
                  </a:lnTo>
                  <a:lnTo>
                    <a:pt x="109" y="78"/>
                  </a:lnTo>
                  <a:lnTo>
                    <a:pt x="103" y="82"/>
                  </a:lnTo>
                  <a:lnTo>
                    <a:pt x="98" y="88"/>
                  </a:lnTo>
                  <a:lnTo>
                    <a:pt x="96" y="91"/>
                  </a:lnTo>
                  <a:lnTo>
                    <a:pt x="90" y="97"/>
                  </a:lnTo>
                  <a:lnTo>
                    <a:pt x="88" y="101"/>
                  </a:lnTo>
                  <a:lnTo>
                    <a:pt x="84" y="105"/>
                  </a:lnTo>
                  <a:lnTo>
                    <a:pt x="80" y="109"/>
                  </a:lnTo>
                  <a:lnTo>
                    <a:pt x="74" y="115"/>
                  </a:lnTo>
                  <a:lnTo>
                    <a:pt x="72" y="119"/>
                  </a:lnTo>
                  <a:lnTo>
                    <a:pt x="68" y="125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59" y="130"/>
                  </a:lnTo>
                  <a:lnTo>
                    <a:pt x="55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47" y="130"/>
                  </a:lnTo>
                  <a:lnTo>
                    <a:pt x="45" y="130"/>
                  </a:lnTo>
                  <a:lnTo>
                    <a:pt x="41" y="132"/>
                  </a:lnTo>
                  <a:lnTo>
                    <a:pt x="41" y="132"/>
                  </a:lnTo>
                  <a:lnTo>
                    <a:pt x="37" y="134"/>
                  </a:lnTo>
                  <a:lnTo>
                    <a:pt x="35" y="136"/>
                  </a:lnTo>
                  <a:lnTo>
                    <a:pt x="33" y="136"/>
                  </a:lnTo>
                  <a:lnTo>
                    <a:pt x="31" y="138"/>
                  </a:lnTo>
                  <a:lnTo>
                    <a:pt x="31" y="140"/>
                  </a:lnTo>
                  <a:lnTo>
                    <a:pt x="31" y="140"/>
                  </a:lnTo>
                  <a:lnTo>
                    <a:pt x="29" y="142"/>
                  </a:lnTo>
                  <a:lnTo>
                    <a:pt x="22" y="142"/>
                  </a:lnTo>
                  <a:lnTo>
                    <a:pt x="20" y="144"/>
                  </a:lnTo>
                  <a:lnTo>
                    <a:pt x="16" y="144"/>
                  </a:lnTo>
                  <a:lnTo>
                    <a:pt x="14" y="146"/>
                  </a:lnTo>
                  <a:lnTo>
                    <a:pt x="14" y="148"/>
                  </a:lnTo>
                  <a:lnTo>
                    <a:pt x="12" y="150"/>
                  </a:lnTo>
                  <a:lnTo>
                    <a:pt x="10" y="154"/>
                  </a:lnTo>
                  <a:lnTo>
                    <a:pt x="6" y="160"/>
                  </a:lnTo>
                  <a:lnTo>
                    <a:pt x="2" y="165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0" y="171"/>
                  </a:lnTo>
                  <a:lnTo>
                    <a:pt x="0" y="179"/>
                  </a:lnTo>
                  <a:lnTo>
                    <a:pt x="0" y="195"/>
                  </a:lnTo>
                  <a:lnTo>
                    <a:pt x="0" y="210"/>
                  </a:lnTo>
                  <a:lnTo>
                    <a:pt x="0" y="226"/>
                  </a:lnTo>
                  <a:lnTo>
                    <a:pt x="0" y="234"/>
                  </a:lnTo>
                  <a:lnTo>
                    <a:pt x="0" y="236"/>
                  </a:lnTo>
                  <a:lnTo>
                    <a:pt x="2" y="239"/>
                  </a:lnTo>
                  <a:lnTo>
                    <a:pt x="4" y="243"/>
                  </a:lnTo>
                  <a:lnTo>
                    <a:pt x="8" y="247"/>
                  </a:lnTo>
                  <a:lnTo>
                    <a:pt x="8" y="249"/>
                  </a:lnTo>
                  <a:lnTo>
                    <a:pt x="10" y="249"/>
                  </a:lnTo>
                  <a:lnTo>
                    <a:pt x="10" y="251"/>
                  </a:lnTo>
                  <a:lnTo>
                    <a:pt x="10" y="249"/>
                  </a:lnTo>
                  <a:lnTo>
                    <a:pt x="12" y="247"/>
                  </a:lnTo>
                  <a:lnTo>
                    <a:pt x="14" y="243"/>
                  </a:lnTo>
                  <a:lnTo>
                    <a:pt x="14" y="241"/>
                  </a:lnTo>
                  <a:lnTo>
                    <a:pt x="16" y="239"/>
                  </a:lnTo>
                  <a:lnTo>
                    <a:pt x="16" y="239"/>
                  </a:lnTo>
                  <a:lnTo>
                    <a:pt x="18" y="236"/>
                  </a:lnTo>
                  <a:lnTo>
                    <a:pt x="20" y="234"/>
                  </a:lnTo>
                  <a:lnTo>
                    <a:pt x="22" y="230"/>
                  </a:lnTo>
                  <a:lnTo>
                    <a:pt x="25" y="228"/>
                  </a:lnTo>
                  <a:lnTo>
                    <a:pt x="27" y="226"/>
                  </a:lnTo>
                  <a:lnTo>
                    <a:pt x="27" y="224"/>
                  </a:lnTo>
                  <a:lnTo>
                    <a:pt x="29" y="224"/>
                  </a:lnTo>
                  <a:lnTo>
                    <a:pt x="41" y="208"/>
                  </a:lnTo>
                  <a:lnTo>
                    <a:pt x="45" y="204"/>
                  </a:lnTo>
                  <a:lnTo>
                    <a:pt x="49" y="199"/>
                  </a:lnTo>
                  <a:lnTo>
                    <a:pt x="55" y="195"/>
                  </a:lnTo>
                  <a:lnTo>
                    <a:pt x="64" y="18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96" y="160"/>
                  </a:lnTo>
                  <a:lnTo>
                    <a:pt x="105" y="148"/>
                  </a:lnTo>
                  <a:lnTo>
                    <a:pt x="113" y="138"/>
                  </a:lnTo>
                  <a:lnTo>
                    <a:pt x="117" y="130"/>
                  </a:lnTo>
                  <a:lnTo>
                    <a:pt x="123" y="119"/>
                  </a:lnTo>
                  <a:lnTo>
                    <a:pt x="129" y="107"/>
                  </a:lnTo>
                  <a:lnTo>
                    <a:pt x="131" y="103"/>
                  </a:lnTo>
                  <a:lnTo>
                    <a:pt x="133" y="97"/>
                  </a:lnTo>
                  <a:lnTo>
                    <a:pt x="135" y="93"/>
                  </a:lnTo>
                  <a:lnTo>
                    <a:pt x="137" y="86"/>
                  </a:lnTo>
                  <a:lnTo>
                    <a:pt x="140" y="82"/>
                  </a:lnTo>
                  <a:lnTo>
                    <a:pt x="142" y="80"/>
                  </a:lnTo>
                  <a:lnTo>
                    <a:pt x="142" y="74"/>
                  </a:lnTo>
                  <a:lnTo>
                    <a:pt x="146" y="70"/>
                  </a:lnTo>
                  <a:lnTo>
                    <a:pt x="150" y="64"/>
                  </a:lnTo>
                  <a:lnTo>
                    <a:pt x="150" y="62"/>
                  </a:lnTo>
                  <a:lnTo>
                    <a:pt x="152" y="58"/>
                  </a:lnTo>
                  <a:lnTo>
                    <a:pt x="154" y="53"/>
                  </a:lnTo>
                  <a:lnTo>
                    <a:pt x="156" y="51"/>
                  </a:lnTo>
                  <a:lnTo>
                    <a:pt x="158" y="47"/>
                  </a:lnTo>
                  <a:lnTo>
                    <a:pt x="158" y="41"/>
                  </a:lnTo>
                  <a:lnTo>
                    <a:pt x="158" y="37"/>
                  </a:lnTo>
                  <a:lnTo>
                    <a:pt x="158" y="31"/>
                  </a:lnTo>
                  <a:lnTo>
                    <a:pt x="158" y="31"/>
                  </a:lnTo>
                  <a:lnTo>
                    <a:pt x="160" y="29"/>
                  </a:lnTo>
                  <a:lnTo>
                    <a:pt x="162" y="29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6" name="Freeform 57">
              <a:extLst>
                <a:ext uri="{FF2B5EF4-FFF2-40B4-BE49-F238E27FC236}">
                  <a16:creationId xmlns:a16="http://schemas.microsoft.com/office/drawing/2014/main" id="{37CCC626-34BE-AC41-BEF0-171118F357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9108" y="2515353"/>
              <a:ext cx="53477" cy="28521"/>
            </a:xfrm>
            <a:custGeom>
              <a:avLst/>
              <a:gdLst>
                <a:gd name="T0" fmla="*/ 43 w 45"/>
                <a:gd name="T1" fmla="*/ 4 h 24"/>
                <a:gd name="T2" fmla="*/ 43 w 45"/>
                <a:gd name="T3" fmla="*/ 2 h 24"/>
                <a:gd name="T4" fmla="*/ 43 w 45"/>
                <a:gd name="T5" fmla="*/ 0 h 24"/>
                <a:gd name="T6" fmla="*/ 39 w 45"/>
                <a:gd name="T7" fmla="*/ 0 h 24"/>
                <a:gd name="T8" fmla="*/ 37 w 45"/>
                <a:gd name="T9" fmla="*/ 2 h 24"/>
                <a:gd name="T10" fmla="*/ 33 w 45"/>
                <a:gd name="T11" fmla="*/ 2 h 24"/>
                <a:gd name="T12" fmla="*/ 27 w 45"/>
                <a:gd name="T13" fmla="*/ 4 h 24"/>
                <a:gd name="T14" fmla="*/ 23 w 45"/>
                <a:gd name="T15" fmla="*/ 4 h 24"/>
                <a:gd name="T16" fmla="*/ 21 w 45"/>
                <a:gd name="T17" fmla="*/ 6 h 24"/>
                <a:gd name="T18" fmla="*/ 19 w 45"/>
                <a:gd name="T19" fmla="*/ 8 h 24"/>
                <a:gd name="T20" fmla="*/ 17 w 45"/>
                <a:gd name="T21" fmla="*/ 8 h 24"/>
                <a:gd name="T22" fmla="*/ 10 w 45"/>
                <a:gd name="T23" fmla="*/ 6 h 24"/>
                <a:gd name="T24" fmla="*/ 8 w 45"/>
                <a:gd name="T25" fmla="*/ 6 h 24"/>
                <a:gd name="T26" fmla="*/ 4 w 45"/>
                <a:gd name="T27" fmla="*/ 6 h 24"/>
                <a:gd name="T28" fmla="*/ 2 w 45"/>
                <a:gd name="T29" fmla="*/ 8 h 24"/>
                <a:gd name="T30" fmla="*/ 2 w 45"/>
                <a:gd name="T31" fmla="*/ 10 h 24"/>
                <a:gd name="T32" fmla="*/ 2 w 45"/>
                <a:gd name="T33" fmla="*/ 10 h 24"/>
                <a:gd name="T34" fmla="*/ 4 w 45"/>
                <a:gd name="T35" fmla="*/ 12 h 24"/>
                <a:gd name="T36" fmla="*/ 2 w 45"/>
                <a:gd name="T37" fmla="*/ 14 h 24"/>
                <a:gd name="T38" fmla="*/ 2 w 45"/>
                <a:gd name="T39" fmla="*/ 14 h 24"/>
                <a:gd name="T40" fmla="*/ 4 w 45"/>
                <a:gd name="T41" fmla="*/ 18 h 24"/>
                <a:gd name="T42" fmla="*/ 6 w 45"/>
                <a:gd name="T43" fmla="*/ 18 h 24"/>
                <a:gd name="T44" fmla="*/ 8 w 45"/>
                <a:gd name="T45" fmla="*/ 22 h 24"/>
                <a:gd name="T46" fmla="*/ 4 w 45"/>
                <a:gd name="T47" fmla="*/ 22 h 24"/>
                <a:gd name="T48" fmla="*/ 8 w 45"/>
                <a:gd name="T49" fmla="*/ 24 h 24"/>
                <a:gd name="T50" fmla="*/ 10 w 45"/>
                <a:gd name="T51" fmla="*/ 24 h 24"/>
                <a:gd name="T52" fmla="*/ 13 w 45"/>
                <a:gd name="T53" fmla="*/ 24 h 24"/>
                <a:gd name="T54" fmla="*/ 17 w 45"/>
                <a:gd name="T55" fmla="*/ 24 h 24"/>
                <a:gd name="T56" fmla="*/ 19 w 45"/>
                <a:gd name="T57" fmla="*/ 20 h 24"/>
                <a:gd name="T58" fmla="*/ 19 w 45"/>
                <a:gd name="T59" fmla="*/ 22 h 24"/>
                <a:gd name="T60" fmla="*/ 23 w 45"/>
                <a:gd name="T61" fmla="*/ 24 h 24"/>
                <a:gd name="T62" fmla="*/ 27 w 45"/>
                <a:gd name="T63" fmla="*/ 24 h 24"/>
                <a:gd name="T64" fmla="*/ 29 w 45"/>
                <a:gd name="T65" fmla="*/ 24 h 24"/>
                <a:gd name="T66" fmla="*/ 29 w 45"/>
                <a:gd name="T67" fmla="*/ 22 h 24"/>
                <a:gd name="T68" fmla="*/ 29 w 45"/>
                <a:gd name="T69" fmla="*/ 20 h 24"/>
                <a:gd name="T70" fmla="*/ 33 w 45"/>
                <a:gd name="T71" fmla="*/ 18 h 24"/>
                <a:gd name="T72" fmla="*/ 35 w 45"/>
                <a:gd name="T73" fmla="*/ 14 h 24"/>
                <a:gd name="T74" fmla="*/ 33 w 45"/>
                <a:gd name="T75" fmla="*/ 12 h 24"/>
                <a:gd name="T76" fmla="*/ 35 w 45"/>
                <a:gd name="T77" fmla="*/ 10 h 24"/>
                <a:gd name="T78" fmla="*/ 37 w 45"/>
                <a:gd name="T79" fmla="*/ 10 h 24"/>
                <a:gd name="T80" fmla="*/ 41 w 45"/>
                <a:gd name="T81" fmla="*/ 8 h 24"/>
                <a:gd name="T82" fmla="*/ 41 w 45"/>
                <a:gd name="T83" fmla="*/ 6 h 24"/>
                <a:gd name="T84" fmla="*/ 43 w 45"/>
                <a:gd name="T85" fmla="*/ 6 h 24"/>
                <a:gd name="T86" fmla="*/ 45 w 45"/>
                <a:gd name="T8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" h="24">
                  <a:moveTo>
                    <a:pt x="45" y="6"/>
                  </a:moveTo>
                  <a:lnTo>
                    <a:pt x="45" y="4"/>
                  </a:lnTo>
                  <a:lnTo>
                    <a:pt x="43" y="4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3" y="2"/>
                  </a:lnTo>
                  <a:lnTo>
                    <a:pt x="33" y="4"/>
                  </a:lnTo>
                  <a:lnTo>
                    <a:pt x="31" y="4"/>
                  </a:lnTo>
                  <a:lnTo>
                    <a:pt x="27" y="4"/>
                  </a:lnTo>
                  <a:lnTo>
                    <a:pt x="25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13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7" y="24"/>
                  </a:lnTo>
                  <a:lnTo>
                    <a:pt x="17" y="22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21" y="22"/>
                  </a:lnTo>
                  <a:lnTo>
                    <a:pt x="21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5" y="24"/>
                  </a:lnTo>
                  <a:lnTo>
                    <a:pt x="27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31" y="18"/>
                  </a:lnTo>
                  <a:lnTo>
                    <a:pt x="33" y="18"/>
                  </a:lnTo>
                  <a:lnTo>
                    <a:pt x="33" y="16"/>
                  </a:lnTo>
                  <a:lnTo>
                    <a:pt x="35" y="16"/>
                  </a:lnTo>
                  <a:lnTo>
                    <a:pt x="35" y="14"/>
                  </a:lnTo>
                  <a:lnTo>
                    <a:pt x="33" y="14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9" y="10"/>
                  </a:lnTo>
                  <a:lnTo>
                    <a:pt x="39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3" y="8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7" name="Freeform 58">
              <a:extLst>
                <a:ext uri="{FF2B5EF4-FFF2-40B4-BE49-F238E27FC236}">
                  <a16:creationId xmlns:a16="http://schemas.microsoft.com/office/drawing/2014/main" id="{071D03E3-D88D-D647-ADD8-43328F5D0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7339" y="2455933"/>
              <a:ext cx="96259" cy="39217"/>
            </a:xfrm>
            <a:custGeom>
              <a:avLst/>
              <a:gdLst>
                <a:gd name="T0" fmla="*/ 74 w 81"/>
                <a:gd name="T1" fmla="*/ 6 h 33"/>
                <a:gd name="T2" fmla="*/ 72 w 81"/>
                <a:gd name="T3" fmla="*/ 4 h 33"/>
                <a:gd name="T4" fmla="*/ 64 w 81"/>
                <a:gd name="T5" fmla="*/ 2 h 33"/>
                <a:gd name="T6" fmla="*/ 60 w 81"/>
                <a:gd name="T7" fmla="*/ 2 h 33"/>
                <a:gd name="T8" fmla="*/ 58 w 81"/>
                <a:gd name="T9" fmla="*/ 4 h 33"/>
                <a:gd name="T10" fmla="*/ 54 w 81"/>
                <a:gd name="T11" fmla="*/ 4 h 33"/>
                <a:gd name="T12" fmla="*/ 52 w 81"/>
                <a:gd name="T13" fmla="*/ 4 h 33"/>
                <a:gd name="T14" fmla="*/ 50 w 81"/>
                <a:gd name="T15" fmla="*/ 4 h 33"/>
                <a:gd name="T16" fmla="*/ 46 w 81"/>
                <a:gd name="T17" fmla="*/ 6 h 33"/>
                <a:gd name="T18" fmla="*/ 44 w 81"/>
                <a:gd name="T19" fmla="*/ 6 h 33"/>
                <a:gd name="T20" fmla="*/ 42 w 81"/>
                <a:gd name="T21" fmla="*/ 6 h 33"/>
                <a:gd name="T22" fmla="*/ 42 w 81"/>
                <a:gd name="T23" fmla="*/ 4 h 33"/>
                <a:gd name="T24" fmla="*/ 39 w 81"/>
                <a:gd name="T25" fmla="*/ 2 h 33"/>
                <a:gd name="T26" fmla="*/ 37 w 81"/>
                <a:gd name="T27" fmla="*/ 2 h 33"/>
                <a:gd name="T28" fmla="*/ 35 w 81"/>
                <a:gd name="T29" fmla="*/ 0 h 33"/>
                <a:gd name="T30" fmla="*/ 33 w 81"/>
                <a:gd name="T31" fmla="*/ 4 h 33"/>
                <a:gd name="T32" fmla="*/ 29 w 81"/>
                <a:gd name="T33" fmla="*/ 2 h 33"/>
                <a:gd name="T34" fmla="*/ 27 w 81"/>
                <a:gd name="T35" fmla="*/ 2 h 33"/>
                <a:gd name="T36" fmla="*/ 23 w 81"/>
                <a:gd name="T37" fmla="*/ 2 h 33"/>
                <a:gd name="T38" fmla="*/ 21 w 81"/>
                <a:gd name="T39" fmla="*/ 4 h 33"/>
                <a:gd name="T40" fmla="*/ 19 w 81"/>
                <a:gd name="T41" fmla="*/ 6 h 33"/>
                <a:gd name="T42" fmla="*/ 19 w 81"/>
                <a:gd name="T43" fmla="*/ 9 h 33"/>
                <a:gd name="T44" fmla="*/ 15 w 81"/>
                <a:gd name="T45" fmla="*/ 11 h 33"/>
                <a:gd name="T46" fmla="*/ 13 w 81"/>
                <a:gd name="T47" fmla="*/ 13 h 33"/>
                <a:gd name="T48" fmla="*/ 7 w 81"/>
                <a:gd name="T49" fmla="*/ 13 h 33"/>
                <a:gd name="T50" fmla="*/ 5 w 81"/>
                <a:gd name="T51" fmla="*/ 15 h 33"/>
                <a:gd name="T52" fmla="*/ 3 w 81"/>
                <a:gd name="T53" fmla="*/ 19 h 33"/>
                <a:gd name="T54" fmla="*/ 0 w 81"/>
                <a:gd name="T55" fmla="*/ 21 h 33"/>
                <a:gd name="T56" fmla="*/ 5 w 81"/>
                <a:gd name="T57" fmla="*/ 27 h 33"/>
                <a:gd name="T58" fmla="*/ 7 w 81"/>
                <a:gd name="T59" fmla="*/ 29 h 33"/>
                <a:gd name="T60" fmla="*/ 9 w 81"/>
                <a:gd name="T61" fmla="*/ 29 h 33"/>
                <a:gd name="T62" fmla="*/ 15 w 81"/>
                <a:gd name="T63" fmla="*/ 33 h 33"/>
                <a:gd name="T64" fmla="*/ 25 w 81"/>
                <a:gd name="T65" fmla="*/ 33 h 33"/>
                <a:gd name="T66" fmla="*/ 29 w 81"/>
                <a:gd name="T67" fmla="*/ 31 h 33"/>
                <a:gd name="T68" fmla="*/ 29 w 81"/>
                <a:gd name="T69" fmla="*/ 29 h 33"/>
                <a:gd name="T70" fmla="*/ 37 w 81"/>
                <a:gd name="T71" fmla="*/ 27 h 33"/>
                <a:gd name="T72" fmla="*/ 39 w 81"/>
                <a:gd name="T73" fmla="*/ 25 h 33"/>
                <a:gd name="T74" fmla="*/ 44 w 81"/>
                <a:gd name="T75" fmla="*/ 27 h 33"/>
                <a:gd name="T76" fmla="*/ 50 w 81"/>
                <a:gd name="T77" fmla="*/ 23 h 33"/>
                <a:gd name="T78" fmla="*/ 54 w 81"/>
                <a:gd name="T79" fmla="*/ 19 h 33"/>
                <a:gd name="T80" fmla="*/ 60 w 81"/>
                <a:gd name="T81" fmla="*/ 19 h 33"/>
                <a:gd name="T82" fmla="*/ 66 w 81"/>
                <a:gd name="T83" fmla="*/ 19 h 33"/>
                <a:gd name="T84" fmla="*/ 68 w 81"/>
                <a:gd name="T85" fmla="*/ 21 h 33"/>
                <a:gd name="T86" fmla="*/ 70 w 81"/>
                <a:gd name="T87" fmla="*/ 21 h 33"/>
                <a:gd name="T88" fmla="*/ 76 w 81"/>
                <a:gd name="T89" fmla="*/ 21 h 33"/>
                <a:gd name="T90" fmla="*/ 78 w 81"/>
                <a:gd name="T91" fmla="*/ 17 h 33"/>
                <a:gd name="T92" fmla="*/ 81 w 81"/>
                <a:gd name="T93" fmla="*/ 13 h 33"/>
                <a:gd name="T94" fmla="*/ 81 w 81"/>
                <a:gd name="T95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1" h="33">
                  <a:moveTo>
                    <a:pt x="81" y="9"/>
                  </a:moveTo>
                  <a:lnTo>
                    <a:pt x="76" y="9"/>
                  </a:lnTo>
                  <a:lnTo>
                    <a:pt x="74" y="6"/>
                  </a:lnTo>
                  <a:lnTo>
                    <a:pt x="72" y="6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39" y="4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3" y="2"/>
                  </a:lnTo>
                  <a:lnTo>
                    <a:pt x="33" y="4"/>
                  </a:lnTo>
                  <a:lnTo>
                    <a:pt x="31" y="4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5"/>
                  </a:lnTo>
                  <a:lnTo>
                    <a:pt x="3" y="17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3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11" y="31"/>
                  </a:lnTo>
                  <a:lnTo>
                    <a:pt x="13" y="31"/>
                  </a:lnTo>
                  <a:lnTo>
                    <a:pt x="15" y="33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25" y="33"/>
                  </a:lnTo>
                  <a:lnTo>
                    <a:pt x="27" y="33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37" y="27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42" y="25"/>
                  </a:lnTo>
                  <a:lnTo>
                    <a:pt x="44" y="25"/>
                  </a:lnTo>
                  <a:lnTo>
                    <a:pt x="44" y="27"/>
                  </a:lnTo>
                  <a:lnTo>
                    <a:pt x="46" y="25"/>
                  </a:lnTo>
                  <a:lnTo>
                    <a:pt x="48" y="25"/>
                  </a:lnTo>
                  <a:lnTo>
                    <a:pt x="50" y="23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8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8" y="19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70" y="21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6" y="21"/>
                  </a:lnTo>
                  <a:lnTo>
                    <a:pt x="76" y="21"/>
                  </a:lnTo>
                  <a:lnTo>
                    <a:pt x="76" y="19"/>
                  </a:lnTo>
                  <a:lnTo>
                    <a:pt x="78" y="17"/>
                  </a:lnTo>
                  <a:lnTo>
                    <a:pt x="78" y="15"/>
                  </a:lnTo>
                  <a:lnTo>
                    <a:pt x="78" y="13"/>
                  </a:lnTo>
                  <a:lnTo>
                    <a:pt x="81" y="13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9"/>
                  </a:lnTo>
                  <a:lnTo>
                    <a:pt x="81" y="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8" name="Freeform 60">
              <a:extLst>
                <a:ext uri="{FF2B5EF4-FFF2-40B4-BE49-F238E27FC236}">
                  <a16:creationId xmlns:a16="http://schemas.microsoft.com/office/drawing/2014/main" id="{6C2758CF-909A-7A40-9250-436F65473D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4043" y="3316326"/>
              <a:ext cx="55854" cy="66550"/>
            </a:xfrm>
            <a:custGeom>
              <a:avLst/>
              <a:gdLst>
                <a:gd name="T0" fmla="*/ 10 w 47"/>
                <a:gd name="T1" fmla="*/ 43 h 56"/>
                <a:gd name="T2" fmla="*/ 4 w 47"/>
                <a:gd name="T3" fmla="*/ 43 h 56"/>
                <a:gd name="T4" fmla="*/ 13 w 47"/>
                <a:gd name="T5" fmla="*/ 47 h 56"/>
                <a:gd name="T6" fmla="*/ 13 w 47"/>
                <a:gd name="T7" fmla="*/ 45 h 56"/>
                <a:gd name="T8" fmla="*/ 13 w 47"/>
                <a:gd name="T9" fmla="*/ 43 h 56"/>
                <a:gd name="T10" fmla="*/ 45 w 47"/>
                <a:gd name="T11" fmla="*/ 29 h 56"/>
                <a:gd name="T12" fmla="*/ 43 w 47"/>
                <a:gd name="T13" fmla="*/ 31 h 56"/>
                <a:gd name="T14" fmla="*/ 41 w 47"/>
                <a:gd name="T15" fmla="*/ 31 h 56"/>
                <a:gd name="T16" fmla="*/ 41 w 47"/>
                <a:gd name="T17" fmla="*/ 29 h 56"/>
                <a:gd name="T18" fmla="*/ 43 w 47"/>
                <a:gd name="T19" fmla="*/ 27 h 56"/>
                <a:gd name="T20" fmla="*/ 45 w 47"/>
                <a:gd name="T21" fmla="*/ 23 h 56"/>
                <a:gd name="T22" fmla="*/ 43 w 47"/>
                <a:gd name="T23" fmla="*/ 21 h 56"/>
                <a:gd name="T24" fmla="*/ 43 w 47"/>
                <a:gd name="T25" fmla="*/ 16 h 56"/>
                <a:gd name="T26" fmla="*/ 41 w 47"/>
                <a:gd name="T27" fmla="*/ 16 h 56"/>
                <a:gd name="T28" fmla="*/ 41 w 47"/>
                <a:gd name="T29" fmla="*/ 14 h 56"/>
                <a:gd name="T30" fmla="*/ 41 w 47"/>
                <a:gd name="T31" fmla="*/ 12 h 56"/>
                <a:gd name="T32" fmla="*/ 41 w 47"/>
                <a:gd name="T33" fmla="*/ 10 h 56"/>
                <a:gd name="T34" fmla="*/ 37 w 47"/>
                <a:gd name="T35" fmla="*/ 6 h 56"/>
                <a:gd name="T36" fmla="*/ 35 w 47"/>
                <a:gd name="T37" fmla="*/ 2 h 56"/>
                <a:gd name="T38" fmla="*/ 33 w 47"/>
                <a:gd name="T39" fmla="*/ 0 h 56"/>
                <a:gd name="T40" fmla="*/ 29 w 47"/>
                <a:gd name="T41" fmla="*/ 0 h 56"/>
                <a:gd name="T42" fmla="*/ 23 w 47"/>
                <a:gd name="T43" fmla="*/ 0 h 56"/>
                <a:gd name="T44" fmla="*/ 19 w 47"/>
                <a:gd name="T45" fmla="*/ 2 h 56"/>
                <a:gd name="T46" fmla="*/ 15 w 47"/>
                <a:gd name="T47" fmla="*/ 2 h 56"/>
                <a:gd name="T48" fmla="*/ 13 w 47"/>
                <a:gd name="T49" fmla="*/ 4 h 56"/>
                <a:gd name="T50" fmla="*/ 10 w 47"/>
                <a:gd name="T51" fmla="*/ 6 h 56"/>
                <a:gd name="T52" fmla="*/ 10 w 47"/>
                <a:gd name="T53" fmla="*/ 6 h 56"/>
                <a:gd name="T54" fmla="*/ 10 w 47"/>
                <a:gd name="T55" fmla="*/ 8 h 56"/>
                <a:gd name="T56" fmla="*/ 6 w 47"/>
                <a:gd name="T57" fmla="*/ 12 h 56"/>
                <a:gd name="T58" fmla="*/ 4 w 47"/>
                <a:gd name="T59" fmla="*/ 14 h 56"/>
                <a:gd name="T60" fmla="*/ 4 w 47"/>
                <a:gd name="T61" fmla="*/ 16 h 56"/>
                <a:gd name="T62" fmla="*/ 2 w 47"/>
                <a:gd name="T63" fmla="*/ 16 h 56"/>
                <a:gd name="T64" fmla="*/ 0 w 47"/>
                <a:gd name="T65" fmla="*/ 16 h 56"/>
                <a:gd name="T66" fmla="*/ 2 w 47"/>
                <a:gd name="T67" fmla="*/ 21 h 56"/>
                <a:gd name="T68" fmla="*/ 4 w 47"/>
                <a:gd name="T69" fmla="*/ 21 h 56"/>
                <a:gd name="T70" fmla="*/ 0 w 47"/>
                <a:gd name="T71" fmla="*/ 23 h 56"/>
                <a:gd name="T72" fmla="*/ 2 w 47"/>
                <a:gd name="T73" fmla="*/ 25 h 56"/>
                <a:gd name="T74" fmla="*/ 2 w 47"/>
                <a:gd name="T75" fmla="*/ 25 h 56"/>
                <a:gd name="T76" fmla="*/ 6 w 47"/>
                <a:gd name="T77" fmla="*/ 25 h 56"/>
                <a:gd name="T78" fmla="*/ 6 w 47"/>
                <a:gd name="T79" fmla="*/ 25 h 56"/>
                <a:gd name="T80" fmla="*/ 2 w 47"/>
                <a:gd name="T81" fmla="*/ 29 h 56"/>
                <a:gd name="T82" fmla="*/ 0 w 47"/>
                <a:gd name="T83" fmla="*/ 27 h 56"/>
                <a:gd name="T84" fmla="*/ 0 w 47"/>
                <a:gd name="T85" fmla="*/ 29 h 56"/>
                <a:gd name="T86" fmla="*/ 2 w 47"/>
                <a:gd name="T87" fmla="*/ 33 h 56"/>
                <a:gd name="T88" fmla="*/ 4 w 47"/>
                <a:gd name="T89" fmla="*/ 33 h 56"/>
                <a:gd name="T90" fmla="*/ 6 w 47"/>
                <a:gd name="T91" fmla="*/ 39 h 56"/>
                <a:gd name="T92" fmla="*/ 8 w 47"/>
                <a:gd name="T93" fmla="*/ 39 h 56"/>
                <a:gd name="T94" fmla="*/ 10 w 47"/>
                <a:gd name="T95" fmla="*/ 41 h 56"/>
                <a:gd name="T96" fmla="*/ 13 w 47"/>
                <a:gd name="T97" fmla="*/ 41 h 56"/>
                <a:gd name="T98" fmla="*/ 13 w 47"/>
                <a:gd name="T99" fmla="*/ 45 h 56"/>
                <a:gd name="T100" fmla="*/ 13 w 47"/>
                <a:gd name="T101" fmla="*/ 47 h 56"/>
                <a:gd name="T102" fmla="*/ 21 w 47"/>
                <a:gd name="T103" fmla="*/ 51 h 56"/>
                <a:gd name="T104" fmla="*/ 27 w 47"/>
                <a:gd name="T105" fmla="*/ 56 h 56"/>
                <a:gd name="T106" fmla="*/ 29 w 47"/>
                <a:gd name="T107" fmla="*/ 56 h 56"/>
                <a:gd name="T108" fmla="*/ 33 w 47"/>
                <a:gd name="T109" fmla="*/ 49 h 56"/>
                <a:gd name="T110" fmla="*/ 35 w 47"/>
                <a:gd name="T111" fmla="*/ 47 h 56"/>
                <a:gd name="T112" fmla="*/ 39 w 47"/>
                <a:gd name="T113" fmla="*/ 45 h 56"/>
                <a:gd name="T114" fmla="*/ 41 w 47"/>
                <a:gd name="T115" fmla="*/ 41 h 56"/>
                <a:gd name="T116" fmla="*/ 43 w 47"/>
                <a:gd name="T117" fmla="*/ 35 h 56"/>
                <a:gd name="T118" fmla="*/ 47 w 47"/>
                <a:gd name="T119" fmla="*/ 33 h 56"/>
                <a:gd name="T120" fmla="*/ 47 w 47"/>
                <a:gd name="T121" fmla="*/ 31 h 56"/>
                <a:gd name="T122" fmla="*/ 47 w 47"/>
                <a:gd name="T123" fmla="*/ 27 h 56"/>
                <a:gd name="T124" fmla="*/ 47 w 47"/>
                <a:gd name="T125" fmla="*/ 2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7" h="56">
                  <a:moveTo>
                    <a:pt x="13" y="43"/>
                  </a:moveTo>
                  <a:lnTo>
                    <a:pt x="10" y="43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10" y="45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5"/>
                  </a:lnTo>
                  <a:lnTo>
                    <a:pt x="13" y="43"/>
                  </a:lnTo>
                  <a:lnTo>
                    <a:pt x="13" y="43"/>
                  </a:lnTo>
                  <a:close/>
                  <a:moveTo>
                    <a:pt x="47" y="27"/>
                  </a:moveTo>
                  <a:lnTo>
                    <a:pt x="45" y="29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3" y="27"/>
                  </a:lnTo>
                  <a:lnTo>
                    <a:pt x="45" y="25"/>
                  </a:lnTo>
                  <a:lnTo>
                    <a:pt x="45" y="23"/>
                  </a:lnTo>
                  <a:lnTo>
                    <a:pt x="43" y="23"/>
                  </a:lnTo>
                  <a:lnTo>
                    <a:pt x="43" y="21"/>
                  </a:lnTo>
                  <a:lnTo>
                    <a:pt x="43" y="19"/>
                  </a:lnTo>
                  <a:lnTo>
                    <a:pt x="43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0"/>
                  </a:lnTo>
                  <a:lnTo>
                    <a:pt x="39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5" y="2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9" y="0"/>
                  </a:lnTo>
                  <a:lnTo>
                    <a:pt x="25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9" y="2"/>
                  </a:lnTo>
                  <a:lnTo>
                    <a:pt x="17" y="0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10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2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0" y="21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4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6" y="35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8" y="39"/>
                  </a:lnTo>
                  <a:lnTo>
                    <a:pt x="8" y="41"/>
                  </a:lnTo>
                  <a:lnTo>
                    <a:pt x="10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3"/>
                  </a:lnTo>
                  <a:lnTo>
                    <a:pt x="13" y="45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5" y="47"/>
                  </a:lnTo>
                  <a:lnTo>
                    <a:pt x="21" y="51"/>
                  </a:lnTo>
                  <a:lnTo>
                    <a:pt x="25" y="54"/>
                  </a:lnTo>
                  <a:lnTo>
                    <a:pt x="27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31" y="54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5" y="47"/>
                  </a:lnTo>
                  <a:lnTo>
                    <a:pt x="37" y="45"/>
                  </a:lnTo>
                  <a:lnTo>
                    <a:pt x="39" y="45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3" y="39"/>
                  </a:lnTo>
                  <a:lnTo>
                    <a:pt x="43" y="35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7" y="2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9" name="Freeform 61">
              <a:extLst>
                <a:ext uri="{FF2B5EF4-FFF2-40B4-BE49-F238E27FC236}">
                  <a16:creationId xmlns:a16="http://schemas.microsoft.com/office/drawing/2014/main" id="{2848D313-7EA9-4443-9656-5A3C6B18B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965" y="3633625"/>
              <a:ext cx="4754" cy="4754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0 h 4"/>
                <a:gd name="T4" fmla="*/ 0 w 4"/>
                <a:gd name="T5" fmla="*/ 0 h 4"/>
                <a:gd name="T6" fmla="*/ 2 w 4"/>
                <a:gd name="T7" fmla="*/ 2 h 4"/>
                <a:gd name="T8" fmla="*/ 2 w 4"/>
                <a:gd name="T9" fmla="*/ 2 h 4"/>
                <a:gd name="T10" fmla="*/ 2 w 4"/>
                <a:gd name="T11" fmla="*/ 2 h 4"/>
                <a:gd name="T12" fmla="*/ 4 w 4"/>
                <a:gd name="T13" fmla="*/ 4 h 4"/>
                <a:gd name="T14" fmla="*/ 4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4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40" name="Freeform 62">
              <a:extLst>
                <a:ext uri="{FF2B5EF4-FFF2-40B4-BE49-F238E27FC236}">
                  <a16:creationId xmlns:a16="http://schemas.microsoft.com/office/drawing/2014/main" id="{340D8F57-FC57-9B43-9DA7-A05436581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179" y="2529613"/>
              <a:ext cx="73680" cy="83187"/>
            </a:xfrm>
            <a:custGeom>
              <a:avLst/>
              <a:gdLst>
                <a:gd name="T0" fmla="*/ 56 w 62"/>
                <a:gd name="T1" fmla="*/ 49 h 70"/>
                <a:gd name="T2" fmla="*/ 54 w 62"/>
                <a:gd name="T3" fmla="*/ 45 h 70"/>
                <a:gd name="T4" fmla="*/ 54 w 62"/>
                <a:gd name="T5" fmla="*/ 39 h 70"/>
                <a:gd name="T6" fmla="*/ 58 w 62"/>
                <a:gd name="T7" fmla="*/ 35 h 70"/>
                <a:gd name="T8" fmla="*/ 56 w 62"/>
                <a:gd name="T9" fmla="*/ 33 h 70"/>
                <a:gd name="T10" fmla="*/ 58 w 62"/>
                <a:gd name="T11" fmla="*/ 29 h 70"/>
                <a:gd name="T12" fmla="*/ 52 w 62"/>
                <a:gd name="T13" fmla="*/ 27 h 70"/>
                <a:gd name="T14" fmla="*/ 43 w 62"/>
                <a:gd name="T15" fmla="*/ 27 h 70"/>
                <a:gd name="T16" fmla="*/ 37 w 62"/>
                <a:gd name="T17" fmla="*/ 25 h 70"/>
                <a:gd name="T18" fmla="*/ 39 w 62"/>
                <a:gd name="T19" fmla="*/ 23 h 70"/>
                <a:gd name="T20" fmla="*/ 37 w 62"/>
                <a:gd name="T21" fmla="*/ 21 h 70"/>
                <a:gd name="T22" fmla="*/ 39 w 62"/>
                <a:gd name="T23" fmla="*/ 18 h 70"/>
                <a:gd name="T24" fmla="*/ 37 w 62"/>
                <a:gd name="T25" fmla="*/ 16 h 70"/>
                <a:gd name="T26" fmla="*/ 31 w 62"/>
                <a:gd name="T27" fmla="*/ 14 h 70"/>
                <a:gd name="T28" fmla="*/ 29 w 62"/>
                <a:gd name="T29" fmla="*/ 10 h 70"/>
                <a:gd name="T30" fmla="*/ 29 w 62"/>
                <a:gd name="T31" fmla="*/ 6 h 70"/>
                <a:gd name="T32" fmla="*/ 27 w 62"/>
                <a:gd name="T33" fmla="*/ 6 h 70"/>
                <a:gd name="T34" fmla="*/ 21 w 62"/>
                <a:gd name="T35" fmla="*/ 2 h 70"/>
                <a:gd name="T36" fmla="*/ 15 w 62"/>
                <a:gd name="T37" fmla="*/ 0 h 70"/>
                <a:gd name="T38" fmla="*/ 8 w 62"/>
                <a:gd name="T39" fmla="*/ 2 h 70"/>
                <a:gd name="T40" fmla="*/ 4 w 62"/>
                <a:gd name="T41" fmla="*/ 2 h 70"/>
                <a:gd name="T42" fmla="*/ 0 w 62"/>
                <a:gd name="T43" fmla="*/ 4 h 70"/>
                <a:gd name="T44" fmla="*/ 0 w 62"/>
                <a:gd name="T45" fmla="*/ 6 h 70"/>
                <a:gd name="T46" fmla="*/ 4 w 62"/>
                <a:gd name="T47" fmla="*/ 10 h 70"/>
                <a:gd name="T48" fmla="*/ 6 w 62"/>
                <a:gd name="T49" fmla="*/ 14 h 70"/>
                <a:gd name="T50" fmla="*/ 8 w 62"/>
                <a:gd name="T51" fmla="*/ 16 h 70"/>
                <a:gd name="T52" fmla="*/ 4 w 62"/>
                <a:gd name="T53" fmla="*/ 16 h 70"/>
                <a:gd name="T54" fmla="*/ 4 w 62"/>
                <a:gd name="T55" fmla="*/ 23 h 70"/>
                <a:gd name="T56" fmla="*/ 4 w 62"/>
                <a:gd name="T57" fmla="*/ 25 h 70"/>
                <a:gd name="T58" fmla="*/ 8 w 62"/>
                <a:gd name="T59" fmla="*/ 25 h 70"/>
                <a:gd name="T60" fmla="*/ 4 w 62"/>
                <a:gd name="T61" fmla="*/ 31 h 70"/>
                <a:gd name="T62" fmla="*/ 6 w 62"/>
                <a:gd name="T63" fmla="*/ 35 h 70"/>
                <a:gd name="T64" fmla="*/ 13 w 62"/>
                <a:gd name="T65" fmla="*/ 39 h 70"/>
                <a:gd name="T66" fmla="*/ 8 w 62"/>
                <a:gd name="T67" fmla="*/ 39 h 70"/>
                <a:gd name="T68" fmla="*/ 11 w 62"/>
                <a:gd name="T69" fmla="*/ 45 h 70"/>
                <a:gd name="T70" fmla="*/ 8 w 62"/>
                <a:gd name="T71" fmla="*/ 47 h 70"/>
                <a:gd name="T72" fmla="*/ 6 w 62"/>
                <a:gd name="T73" fmla="*/ 49 h 70"/>
                <a:gd name="T74" fmla="*/ 15 w 62"/>
                <a:gd name="T75" fmla="*/ 53 h 70"/>
                <a:gd name="T76" fmla="*/ 23 w 62"/>
                <a:gd name="T77" fmla="*/ 58 h 70"/>
                <a:gd name="T78" fmla="*/ 27 w 62"/>
                <a:gd name="T79" fmla="*/ 60 h 70"/>
                <a:gd name="T80" fmla="*/ 29 w 62"/>
                <a:gd name="T81" fmla="*/ 55 h 70"/>
                <a:gd name="T82" fmla="*/ 29 w 62"/>
                <a:gd name="T83" fmla="*/ 53 h 70"/>
                <a:gd name="T84" fmla="*/ 31 w 62"/>
                <a:gd name="T85" fmla="*/ 55 h 70"/>
                <a:gd name="T86" fmla="*/ 37 w 62"/>
                <a:gd name="T87" fmla="*/ 60 h 70"/>
                <a:gd name="T88" fmla="*/ 45 w 62"/>
                <a:gd name="T89" fmla="*/ 64 h 70"/>
                <a:gd name="T90" fmla="*/ 43 w 62"/>
                <a:gd name="T91" fmla="*/ 68 h 70"/>
                <a:gd name="T92" fmla="*/ 43 w 62"/>
                <a:gd name="T93" fmla="*/ 70 h 70"/>
                <a:gd name="T94" fmla="*/ 50 w 62"/>
                <a:gd name="T95" fmla="*/ 70 h 70"/>
                <a:gd name="T96" fmla="*/ 54 w 62"/>
                <a:gd name="T97" fmla="*/ 70 h 70"/>
                <a:gd name="T98" fmla="*/ 56 w 62"/>
                <a:gd name="T99" fmla="*/ 66 h 70"/>
                <a:gd name="T100" fmla="*/ 56 w 62"/>
                <a:gd name="T101" fmla="*/ 62 h 70"/>
                <a:gd name="T102" fmla="*/ 60 w 62"/>
                <a:gd name="T103" fmla="*/ 60 h 70"/>
                <a:gd name="T104" fmla="*/ 62 w 62"/>
                <a:gd name="T105" fmla="*/ 5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" h="70">
                  <a:moveTo>
                    <a:pt x="60" y="53"/>
                  </a:moveTo>
                  <a:lnTo>
                    <a:pt x="60" y="51"/>
                  </a:lnTo>
                  <a:lnTo>
                    <a:pt x="60" y="51"/>
                  </a:lnTo>
                  <a:lnTo>
                    <a:pt x="58" y="51"/>
                  </a:lnTo>
                  <a:lnTo>
                    <a:pt x="56" y="49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3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6" y="39"/>
                  </a:lnTo>
                  <a:lnTo>
                    <a:pt x="56" y="37"/>
                  </a:lnTo>
                  <a:lnTo>
                    <a:pt x="56" y="37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6" y="35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4" y="31"/>
                  </a:lnTo>
                  <a:lnTo>
                    <a:pt x="56" y="31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6" y="29"/>
                  </a:lnTo>
                  <a:lnTo>
                    <a:pt x="54" y="27"/>
                  </a:lnTo>
                  <a:lnTo>
                    <a:pt x="52" y="27"/>
                  </a:lnTo>
                  <a:lnTo>
                    <a:pt x="50" y="29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3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39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9" y="16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5" y="16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3" y="4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6" y="29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8" y="35"/>
                  </a:lnTo>
                  <a:lnTo>
                    <a:pt x="11" y="37"/>
                  </a:lnTo>
                  <a:lnTo>
                    <a:pt x="11" y="39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1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8" y="43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8" y="49"/>
                  </a:lnTo>
                  <a:lnTo>
                    <a:pt x="11" y="51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5" y="53"/>
                  </a:lnTo>
                  <a:lnTo>
                    <a:pt x="15" y="55"/>
                  </a:lnTo>
                  <a:lnTo>
                    <a:pt x="17" y="55"/>
                  </a:lnTo>
                  <a:lnTo>
                    <a:pt x="19" y="55"/>
                  </a:lnTo>
                  <a:lnTo>
                    <a:pt x="21" y="58"/>
                  </a:lnTo>
                  <a:lnTo>
                    <a:pt x="23" y="58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5" y="60"/>
                  </a:lnTo>
                  <a:lnTo>
                    <a:pt x="27" y="58"/>
                  </a:lnTo>
                  <a:lnTo>
                    <a:pt x="29" y="58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9" y="53"/>
                  </a:lnTo>
                  <a:lnTo>
                    <a:pt x="29" y="53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5"/>
                  </a:lnTo>
                  <a:lnTo>
                    <a:pt x="33" y="55"/>
                  </a:lnTo>
                  <a:lnTo>
                    <a:pt x="35" y="55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7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2"/>
                  </a:lnTo>
                  <a:lnTo>
                    <a:pt x="43" y="64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1" y="68"/>
                  </a:lnTo>
                  <a:lnTo>
                    <a:pt x="41" y="70"/>
                  </a:lnTo>
                  <a:lnTo>
                    <a:pt x="41" y="70"/>
                  </a:lnTo>
                  <a:lnTo>
                    <a:pt x="43" y="70"/>
                  </a:lnTo>
                  <a:lnTo>
                    <a:pt x="43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2" y="68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6" y="70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4"/>
                  </a:lnTo>
                  <a:lnTo>
                    <a:pt x="56" y="62"/>
                  </a:lnTo>
                  <a:lnTo>
                    <a:pt x="56" y="62"/>
                  </a:lnTo>
                  <a:lnTo>
                    <a:pt x="56" y="62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58"/>
                  </a:lnTo>
                  <a:lnTo>
                    <a:pt x="62" y="58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0" y="5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41" name="Freeform 63">
              <a:extLst>
                <a:ext uri="{FF2B5EF4-FFF2-40B4-BE49-F238E27FC236}">
                  <a16:creationId xmlns:a16="http://schemas.microsoft.com/office/drawing/2014/main" id="{2545ABE9-92B6-3D4E-A266-1FEFC94163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798" y="3170154"/>
              <a:ext cx="114085" cy="95071"/>
            </a:xfrm>
            <a:custGeom>
              <a:avLst/>
              <a:gdLst>
                <a:gd name="T0" fmla="*/ 96 w 96"/>
                <a:gd name="T1" fmla="*/ 70 h 80"/>
                <a:gd name="T2" fmla="*/ 96 w 96"/>
                <a:gd name="T3" fmla="*/ 65 h 80"/>
                <a:gd name="T4" fmla="*/ 94 w 96"/>
                <a:gd name="T5" fmla="*/ 61 h 80"/>
                <a:gd name="T6" fmla="*/ 90 w 96"/>
                <a:gd name="T7" fmla="*/ 61 h 80"/>
                <a:gd name="T8" fmla="*/ 90 w 96"/>
                <a:gd name="T9" fmla="*/ 59 h 80"/>
                <a:gd name="T10" fmla="*/ 88 w 96"/>
                <a:gd name="T11" fmla="*/ 53 h 80"/>
                <a:gd name="T12" fmla="*/ 88 w 96"/>
                <a:gd name="T13" fmla="*/ 49 h 80"/>
                <a:gd name="T14" fmla="*/ 86 w 96"/>
                <a:gd name="T15" fmla="*/ 43 h 80"/>
                <a:gd name="T16" fmla="*/ 86 w 96"/>
                <a:gd name="T17" fmla="*/ 37 h 80"/>
                <a:gd name="T18" fmla="*/ 80 w 96"/>
                <a:gd name="T19" fmla="*/ 31 h 80"/>
                <a:gd name="T20" fmla="*/ 75 w 96"/>
                <a:gd name="T21" fmla="*/ 26 h 80"/>
                <a:gd name="T22" fmla="*/ 75 w 96"/>
                <a:gd name="T23" fmla="*/ 26 h 80"/>
                <a:gd name="T24" fmla="*/ 71 w 96"/>
                <a:gd name="T25" fmla="*/ 22 h 80"/>
                <a:gd name="T26" fmla="*/ 69 w 96"/>
                <a:gd name="T27" fmla="*/ 20 h 80"/>
                <a:gd name="T28" fmla="*/ 67 w 96"/>
                <a:gd name="T29" fmla="*/ 12 h 80"/>
                <a:gd name="T30" fmla="*/ 65 w 96"/>
                <a:gd name="T31" fmla="*/ 10 h 80"/>
                <a:gd name="T32" fmla="*/ 61 w 96"/>
                <a:gd name="T33" fmla="*/ 10 h 80"/>
                <a:gd name="T34" fmla="*/ 59 w 96"/>
                <a:gd name="T35" fmla="*/ 10 h 80"/>
                <a:gd name="T36" fmla="*/ 55 w 96"/>
                <a:gd name="T37" fmla="*/ 4 h 80"/>
                <a:gd name="T38" fmla="*/ 43 w 96"/>
                <a:gd name="T39" fmla="*/ 0 h 80"/>
                <a:gd name="T40" fmla="*/ 41 w 96"/>
                <a:gd name="T41" fmla="*/ 0 h 80"/>
                <a:gd name="T42" fmla="*/ 36 w 96"/>
                <a:gd name="T43" fmla="*/ 2 h 80"/>
                <a:gd name="T44" fmla="*/ 28 w 96"/>
                <a:gd name="T45" fmla="*/ 4 h 80"/>
                <a:gd name="T46" fmla="*/ 22 w 96"/>
                <a:gd name="T47" fmla="*/ 2 h 80"/>
                <a:gd name="T48" fmla="*/ 18 w 96"/>
                <a:gd name="T49" fmla="*/ 8 h 80"/>
                <a:gd name="T50" fmla="*/ 16 w 96"/>
                <a:gd name="T51" fmla="*/ 16 h 80"/>
                <a:gd name="T52" fmla="*/ 2 w 96"/>
                <a:gd name="T53" fmla="*/ 35 h 80"/>
                <a:gd name="T54" fmla="*/ 2 w 96"/>
                <a:gd name="T55" fmla="*/ 37 h 80"/>
                <a:gd name="T56" fmla="*/ 8 w 96"/>
                <a:gd name="T57" fmla="*/ 41 h 80"/>
                <a:gd name="T58" fmla="*/ 12 w 96"/>
                <a:gd name="T59" fmla="*/ 49 h 80"/>
                <a:gd name="T60" fmla="*/ 12 w 96"/>
                <a:gd name="T61" fmla="*/ 49 h 80"/>
                <a:gd name="T62" fmla="*/ 14 w 96"/>
                <a:gd name="T63" fmla="*/ 55 h 80"/>
                <a:gd name="T64" fmla="*/ 28 w 96"/>
                <a:gd name="T65" fmla="*/ 57 h 80"/>
                <a:gd name="T66" fmla="*/ 36 w 96"/>
                <a:gd name="T67" fmla="*/ 53 h 80"/>
                <a:gd name="T68" fmla="*/ 45 w 96"/>
                <a:gd name="T69" fmla="*/ 55 h 80"/>
                <a:gd name="T70" fmla="*/ 51 w 96"/>
                <a:gd name="T71" fmla="*/ 59 h 80"/>
                <a:gd name="T72" fmla="*/ 55 w 96"/>
                <a:gd name="T73" fmla="*/ 57 h 80"/>
                <a:gd name="T74" fmla="*/ 55 w 96"/>
                <a:gd name="T75" fmla="*/ 61 h 80"/>
                <a:gd name="T76" fmla="*/ 43 w 96"/>
                <a:gd name="T77" fmla="*/ 59 h 80"/>
                <a:gd name="T78" fmla="*/ 39 w 96"/>
                <a:gd name="T79" fmla="*/ 57 h 80"/>
                <a:gd name="T80" fmla="*/ 34 w 96"/>
                <a:gd name="T81" fmla="*/ 59 h 80"/>
                <a:gd name="T82" fmla="*/ 26 w 96"/>
                <a:gd name="T83" fmla="*/ 61 h 80"/>
                <a:gd name="T84" fmla="*/ 20 w 96"/>
                <a:gd name="T85" fmla="*/ 65 h 80"/>
                <a:gd name="T86" fmla="*/ 10 w 96"/>
                <a:gd name="T87" fmla="*/ 65 h 80"/>
                <a:gd name="T88" fmla="*/ 10 w 96"/>
                <a:gd name="T89" fmla="*/ 74 h 80"/>
                <a:gd name="T90" fmla="*/ 12 w 96"/>
                <a:gd name="T91" fmla="*/ 74 h 80"/>
                <a:gd name="T92" fmla="*/ 16 w 96"/>
                <a:gd name="T93" fmla="*/ 74 h 80"/>
                <a:gd name="T94" fmla="*/ 14 w 96"/>
                <a:gd name="T95" fmla="*/ 74 h 80"/>
                <a:gd name="T96" fmla="*/ 10 w 96"/>
                <a:gd name="T97" fmla="*/ 78 h 80"/>
                <a:gd name="T98" fmla="*/ 16 w 96"/>
                <a:gd name="T99" fmla="*/ 80 h 80"/>
                <a:gd name="T100" fmla="*/ 24 w 96"/>
                <a:gd name="T101" fmla="*/ 78 h 80"/>
                <a:gd name="T102" fmla="*/ 39 w 96"/>
                <a:gd name="T103" fmla="*/ 74 h 80"/>
                <a:gd name="T104" fmla="*/ 59 w 96"/>
                <a:gd name="T105" fmla="*/ 74 h 80"/>
                <a:gd name="T106" fmla="*/ 69 w 96"/>
                <a:gd name="T107" fmla="*/ 74 h 80"/>
                <a:gd name="T108" fmla="*/ 69 w 96"/>
                <a:gd name="T109" fmla="*/ 76 h 80"/>
                <a:gd name="T110" fmla="*/ 71 w 96"/>
                <a:gd name="T111" fmla="*/ 76 h 80"/>
                <a:gd name="T112" fmla="*/ 75 w 96"/>
                <a:gd name="T113" fmla="*/ 78 h 80"/>
                <a:gd name="T114" fmla="*/ 80 w 96"/>
                <a:gd name="T115" fmla="*/ 80 h 80"/>
                <a:gd name="T116" fmla="*/ 88 w 96"/>
                <a:gd name="T117" fmla="*/ 78 h 80"/>
                <a:gd name="T118" fmla="*/ 96 w 96"/>
                <a:gd name="T119" fmla="*/ 7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" h="80">
                  <a:moveTo>
                    <a:pt x="96" y="76"/>
                  </a:moveTo>
                  <a:lnTo>
                    <a:pt x="96" y="74"/>
                  </a:lnTo>
                  <a:lnTo>
                    <a:pt x="96" y="72"/>
                  </a:lnTo>
                  <a:lnTo>
                    <a:pt x="96" y="70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5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2" y="61"/>
                  </a:lnTo>
                  <a:lnTo>
                    <a:pt x="92" y="59"/>
                  </a:lnTo>
                  <a:lnTo>
                    <a:pt x="90" y="61"/>
                  </a:lnTo>
                  <a:lnTo>
                    <a:pt x="90" y="61"/>
                  </a:lnTo>
                  <a:lnTo>
                    <a:pt x="90" y="61"/>
                  </a:lnTo>
                  <a:lnTo>
                    <a:pt x="90" y="61"/>
                  </a:lnTo>
                  <a:lnTo>
                    <a:pt x="90" y="59"/>
                  </a:lnTo>
                  <a:lnTo>
                    <a:pt x="90" y="59"/>
                  </a:lnTo>
                  <a:lnTo>
                    <a:pt x="88" y="57"/>
                  </a:lnTo>
                  <a:lnTo>
                    <a:pt x="86" y="55"/>
                  </a:lnTo>
                  <a:lnTo>
                    <a:pt x="86" y="53"/>
                  </a:lnTo>
                  <a:lnTo>
                    <a:pt x="88" y="53"/>
                  </a:lnTo>
                  <a:lnTo>
                    <a:pt x="88" y="53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8" y="49"/>
                  </a:lnTo>
                  <a:lnTo>
                    <a:pt x="88" y="47"/>
                  </a:lnTo>
                  <a:lnTo>
                    <a:pt x="88" y="45"/>
                  </a:lnTo>
                  <a:lnTo>
                    <a:pt x="86" y="45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4" y="41"/>
                  </a:lnTo>
                  <a:lnTo>
                    <a:pt x="84" y="39"/>
                  </a:lnTo>
                  <a:lnTo>
                    <a:pt x="86" y="37"/>
                  </a:lnTo>
                  <a:lnTo>
                    <a:pt x="84" y="35"/>
                  </a:lnTo>
                  <a:lnTo>
                    <a:pt x="84" y="35"/>
                  </a:lnTo>
                  <a:lnTo>
                    <a:pt x="82" y="33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78" y="28"/>
                  </a:lnTo>
                  <a:lnTo>
                    <a:pt x="75" y="28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3" y="24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7" y="18"/>
                  </a:lnTo>
                  <a:lnTo>
                    <a:pt x="67" y="14"/>
                  </a:lnTo>
                  <a:lnTo>
                    <a:pt x="67" y="12"/>
                  </a:lnTo>
                  <a:lnTo>
                    <a:pt x="65" y="12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6"/>
                  </a:lnTo>
                  <a:lnTo>
                    <a:pt x="55" y="4"/>
                  </a:lnTo>
                  <a:lnTo>
                    <a:pt x="53" y="2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2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30" y="4"/>
                  </a:lnTo>
                  <a:lnTo>
                    <a:pt x="28" y="4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20" y="4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6" y="10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6" y="18"/>
                  </a:lnTo>
                  <a:lnTo>
                    <a:pt x="10" y="24"/>
                  </a:lnTo>
                  <a:lnTo>
                    <a:pt x="6" y="33"/>
                  </a:lnTo>
                  <a:lnTo>
                    <a:pt x="2" y="35"/>
                  </a:lnTo>
                  <a:lnTo>
                    <a:pt x="0" y="35"/>
                  </a:lnTo>
                  <a:lnTo>
                    <a:pt x="0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4" y="37"/>
                  </a:lnTo>
                  <a:lnTo>
                    <a:pt x="6" y="37"/>
                  </a:lnTo>
                  <a:lnTo>
                    <a:pt x="6" y="41"/>
                  </a:lnTo>
                  <a:lnTo>
                    <a:pt x="8" y="41"/>
                  </a:lnTo>
                  <a:lnTo>
                    <a:pt x="10" y="45"/>
                  </a:lnTo>
                  <a:lnTo>
                    <a:pt x="10" y="47"/>
                  </a:lnTo>
                  <a:lnTo>
                    <a:pt x="10" y="49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2" y="49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5"/>
                  </a:lnTo>
                  <a:lnTo>
                    <a:pt x="14" y="57"/>
                  </a:lnTo>
                  <a:lnTo>
                    <a:pt x="18" y="57"/>
                  </a:lnTo>
                  <a:lnTo>
                    <a:pt x="22" y="57"/>
                  </a:lnTo>
                  <a:lnTo>
                    <a:pt x="28" y="57"/>
                  </a:lnTo>
                  <a:lnTo>
                    <a:pt x="30" y="57"/>
                  </a:lnTo>
                  <a:lnTo>
                    <a:pt x="32" y="53"/>
                  </a:lnTo>
                  <a:lnTo>
                    <a:pt x="34" y="53"/>
                  </a:lnTo>
                  <a:lnTo>
                    <a:pt x="36" y="53"/>
                  </a:lnTo>
                  <a:lnTo>
                    <a:pt x="39" y="53"/>
                  </a:lnTo>
                  <a:lnTo>
                    <a:pt x="41" y="53"/>
                  </a:lnTo>
                  <a:lnTo>
                    <a:pt x="43" y="55"/>
                  </a:lnTo>
                  <a:lnTo>
                    <a:pt x="45" y="55"/>
                  </a:lnTo>
                  <a:lnTo>
                    <a:pt x="47" y="55"/>
                  </a:lnTo>
                  <a:lnTo>
                    <a:pt x="47" y="57"/>
                  </a:lnTo>
                  <a:lnTo>
                    <a:pt x="49" y="57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5" y="57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61"/>
                  </a:lnTo>
                  <a:lnTo>
                    <a:pt x="55" y="61"/>
                  </a:lnTo>
                  <a:lnTo>
                    <a:pt x="51" y="63"/>
                  </a:lnTo>
                  <a:lnTo>
                    <a:pt x="49" y="63"/>
                  </a:lnTo>
                  <a:lnTo>
                    <a:pt x="45" y="61"/>
                  </a:lnTo>
                  <a:lnTo>
                    <a:pt x="43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0" y="61"/>
                  </a:lnTo>
                  <a:lnTo>
                    <a:pt x="28" y="61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6" y="65"/>
                  </a:lnTo>
                  <a:lnTo>
                    <a:pt x="22" y="65"/>
                  </a:lnTo>
                  <a:lnTo>
                    <a:pt x="20" y="65"/>
                  </a:lnTo>
                  <a:lnTo>
                    <a:pt x="16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10" y="68"/>
                  </a:lnTo>
                  <a:lnTo>
                    <a:pt x="10" y="70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0" y="76"/>
                  </a:lnTo>
                  <a:lnTo>
                    <a:pt x="12" y="76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4" y="76"/>
                  </a:lnTo>
                  <a:lnTo>
                    <a:pt x="14" y="74"/>
                  </a:lnTo>
                  <a:lnTo>
                    <a:pt x="12" y="76"/>
                  </a:lnTo>
                  <a:lnTo>
                    <a:pt x="10" y="76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16" y="78"/>
                  </a:lnTo>
                  <a:lnTo>
                    <a:pt x="18" y="78"/>
                  </a:lnTo>
                  <a:lnTo>
                    <a:pt x="20" y="78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2" y="76"/>
                  </a:lnTo>
                  <a:lnTo>
                    <a:pt x="36" y="74"/>
                  </a:lnTo>
                  <a:lnTo>
                    <a:pt x="39" y="74"/>
                  </a:lnTo>
                  <a:lnTo>
                    <a:pt x="43" y="74"/>
                  </a:lnTo>
                  <a:lnTo>
                    <a:pt x="49" y="74"/>
                  </a:lnTo>
                  <a:lnTo>
                    <a:pt x="53" y="74"/>
                  </a:lnTo>
                  <a:lnTo>
                    <a:pt x="59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7" y="74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69" y="76"/>
                  </a:lnTo>
                  <a:lnTo>
                    <a:pt x="69" y="76"/>
                  </a:lnTo>
                  <a:lnTo>
                    <a:pt x="69" y="78"/>
                  </a:lnTo>
                  <a:lnTo>
                    <a:pt x="71" y="78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3" y="76"/>
                  </a:lnTo>
                  <a:lnTo>
                    <a:pt x="73" y="78"/>
                  </a:lnTo>
                  <a:lnTo>
                    <a:pt x="75" y="78"/>
                  </a:lnTo>
                  <a:lnTo>
                    <a:pt x="78" y="78"/>
                  </a:lnTo>
                  <a:lnTo>
                    <a:pt x="78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2" y="80"/>
                  </a:lnTo>
                  <a:lnTo>
                    <a:pt x="84" y="80"/>
                  </a:lnTo>
                  <a:lnTo>
                    <a:pt x="86" y="78"/>
                  </a:lnTo>
                  <a:lnTo>
                    <a:pt x="88" y="78"/>
                  </a:lnTo>
                  <a:lnTo>
                    <a:pt x="90" y="78"/>
                  </a:lnTo>
                  <a:lnTo>
                    <a:pt x="94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42" name="Freeform 64">
              <a:extLst>
                <a:ext uri="{FF2B5EF4-FFF2-40B4-BE49-F238E27FC236}">
                  <a16:creationId xmlns:a16="http://schemas.microsoft.com/office/drawing/2014/main" id="{7575472B-5C87-A74E-896A-9E2C532635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1951" y="3496961"/>
              <a:ext cx="20203" cy="36840"/>
            </a:xfrm>
            <a:custGeom>
              <a:avLst/>
              <a:gdLst>
                <a:gd name="T0" fmla="*/ 5 w 17"/>
                <a:gd name="T1" fmla="*/ 23 h 31"/>
                <a:gd name="T2" fmla="*/ 2 w 17"/>
                <a:gd name="T3" fmla="*/ 23 h 31"/>
                <a:gd name="T4" fmla="*/ 0 w 17"/>
                <a:gd name="T5" fmla="*/ 25 h 31"/>
                <a:gd name="T6" fmla="*/ 0 w 17"/>
                <a:gd name="T7" fmla="*/ 27 h 31"/>
                <a:gd name="T8" fmla="*/ 0 w 17"/>
                <a:gd name="T9" fmla="*/ 27 h 31"/>
                <a:gd name="T10" fmla="*/ 0 w 17"/>
                <a:gd name="T11" fmla="*/ 29 h 31"/>
                <a:gd name="T12" fmla="*/ 0 w 17"/>
                <a:gd name="T13" fmla="*/ 29 h 31"/>
                <a:gd name="T14" fmla="*/ 2 w 17"/>
                <a:gd name="T15" fmla="*/ 31 h 31"/>
                <a:gd name="T16" fmla="*/ 2 w 17"/>
                <a:gd name="T17" fmla="*/ 29 h 31"/>
                <a:gd name="T18" fmla="*/ 5 w 17"/>
                <a:gd name="T19" fmla="*/ 27 h 31"/>
                <a:gd name="T20" fmla="*/ 5 w 17"/>
                <a:gd name="T21" fmla="*/ 25 h 31"/>
                <a:gd name="T22" fmla="*/ 5 w 17"/>
                <a:gd name="T23" fmla="*/ 23 h 31"/>
                <a:gd name="T24" fmla="*/ 17 w 17"/>
                <a:gd name="T25" fmla="*/ 0 h 31"/>
                <a:gd name="T26" fmla="*/ 17 w 17"/>
                <a:gd name="T27" fmla="*/ 0 h 31"/>
                <a:gd name="T28" fmla="*/ 15 w 17"/>
                <a:gd name="T29" fmla="*/ 0 h 31"/>
                <a:gd name="T30" fmla="*/ 15 w 17"/>
                <a:gd name="T31" fmla="*/ 0 h 31"/>
                <a:gd name="T32" fmla="*/ 15 w 17"/>
                <a:gd name="T33" fmla="*/ 2 h 31"/>
                <a:gd name="T34" fmla="*/ 15 w 17"/>
                <a:gd name="T35" fmla="*/ 2 h 31"/>
                <a:gd name="T36" fmla="*/ 15 w 17"/>
                <a:gd name="T37" fmla="*/ 2 h 31"/>
                <a:gd name="T38" fmla="*/ 17 w 17"/>
                <a:gd name="T39" fmla="*/ 2 h 31"/>
                <a:gd name="T40" fmla="*/ 17 w 17"/>
                <a:gd name="T41" fmla="*/ 0 h 31"/>
                <a:gd name="T42" fmla="*/ 17 w 17"/>
                <a:gd name="T4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" h="31">
                  <a:moveTo>
                    <a:pt x="5" y="23"/>
                  </a:moveTo>
                  <a:lnTo>
                    <a:pt x="2" y="23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3"/>
                  </a:lnTo>
                  <a:close/>
                  <a:moveTo>
                    <a:pt x="17" y="0"/>
                  </a:moveTo>
                  <a:lnTo>
                    <a:pt x="17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43" name="Freeform 65">
              <a:extLst>
                <a:ext uri="{FF2B5EF4-FFF2-40B4-BE49-F238E27FC236}">
                  <a16:creationId xmlns:a16="http://schemas.microsoft.com/office/drawing/2014/main" id="{3D4EB856-B6C9-A24E-B79B-D1E69AB0D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847" y="2575960"/>
              <a:ext cx="0" cy="2377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2 h 2"/>
                <a:gd name="T4" fmla="*/ 2 h 2"/>
                <a:gd name="T5" fmla="*/ 2 h 2"/>
                <a:gd name="T6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44" name="Freeform 67">
              <a:extLst>
                <a:ext uri="{FF2B5EF4-FFF2-40B4-BE49-F238E27FC236}">
                  <a16:creationId xmlns:a16="http://schemas.microsoft.com/office/drawing/2014/main" id="{88A85469-9574-534D-BE5B-99ADB7D54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4524" y="3558757"/>
              <a:ext cx="36840" cy="35652"/>
            </a:xfrm>
            <a:custGeom>
              <a:avLst/>
              <a:gdLst>
                <a:gd name="T0" fmla="*/ 31 w 31"/>
                <a:gd name="T1" fmla="*/ 16 h 30"/>
                <a:gd name="T2" fmla="*/ 31 w 31"/>
                <a:gd name="T3" fmla="*/ 10 h 30"/>
                <a:gd name="T4" fmla="*/ 31 w 31"/>
                <a:gd name="T5" fmla="*/ 6 h 30"/>
                <a:gd name="T6" fmla="*/ 29 w 31"/>
                <a:gd name="T7" fmla="*/ 4 h 30"/>
                <a:gd name="T8" fmla="*/ 24 w 31"/>
                <a:gd name="T9" fmla="*/ 0 h 30"/>
                <a:gd name="T10" fmla="*/ 27 w 31"/>
                <a:gd name="T11" fmla="*/ 0 h 30"/>
                <a:gd name="T12" fmla="*/ 24 w 31"/>
                <a:gd name="T13" fmla="*/ 0 h 30"/>
                <a:gd name="T14" fmla="*/ 22 w 31"/>
                <a:gd name="T15" fmla="*/ 0 h 30"/>
                <a:gd name="T16" fmla="*/ 20 w 31"/>
                <a:gd name="T17" fmla="*/ 2 h 30"/>
                <a:gd name="T18" fmla="*/ 18 w 31"/>
                <a:gd name="T19" fmla="*/ 4 h 30"/>
                <a:gd name="T20" fmla="*/ 16 w 31"/>
                <a:gd name="T21" fmla="*/ 6 h 30"/>
                <a:gd name="T22" fmla="*/ 16 w 31"/>
                <a:gd name="T23" fmla="*/ 6 h 30"/>
                <a:gd name="T24" fmla="*/ 14 w 31"/>
                <a:gd name="T25" fmla="*/ 4 h 30"/>
                <a:gd name="T26" fmla="*/ 10 w 31"/>
                <a:gd name="T27" fmla="*/ 4 h 30"/>
                <a:gd name="T28" fmla="*/ 8 w 31"/>
                <a:gd name="T29" fmla="*/ 6 h 30"/>
                <a:gd name="T30" fmla="*/ 6 w 31"/>
                <a:gd name="T31" fmla="*/ 8 h 30"/>
                <a:gd name="T32" fmla="*/ 4 w 31"/>
                <a:gd name="T33" fmla="*/ 10 h 30"/>
                <a:gd name="T34" fmla="*/ 4 w 31"/>
                <a:gd name="T35" fmla="*/ 14 h 30"/>
                <a:gd name="T36" fmla="*/ 4 w 31"/>
                <a:gd name="T37" fmla="*/ 18 h 30"/>
                <a:gd name="T38" fmla="*/ 4 w 31"/>
                <a:gd name="T39" fmla="*/ 20 h 30"/>
                <a:gd name="T40" fmla="*/ 0 w 31"/>
                <a:gd name="T41" fmla="*/ 22 h 30"/>
                <a:gd name="T42" fmla="*/ 0 w 31"/>
                <a:gd name="T43" fmla="*/ 24 h 30"/>
                <a:gd name="T44" fmla="*/ 0 w 31"/>
                <a:gd name="T45" fmla="*/ 28 h 30"/>
                <a:gd name="T46" fmla="*/ 2 w 31"/>
                <a:gd name="T47" fmla="*/ 28 h 30"/>
                <a:gd name="T48" fmla="*/ 2 w 31"/>
                <a:gd name="T49" fmla="*/ 26 h 30"/>
                <a:gd name="T50" fmla="*/ 4 w 31"/>
                <a:gd name="T51" fmla="*/ 26 h 30"/>
                <a:gd name="T52" fmla="*/ 6 w 31"/>
                <a:gd name="T53" fmla="*/ 30 h 30"/>
                <a:gd name="T54" fmla="*/ 8 w 31"/>
                <a:gd name="T55" fmla="*/ 30 h 30"/>
                <a:gd name="T56" fmla="*/ 12 w 31"/>
                <a:gd name="T57" fmla="*/ 30 h 30"/>
                <a:gd name="T58" fmla="*/ 14 w 31"/>
                <a:gd name="T59" fmla="*/ 28 h 30"/>
                <a:gd name="T60" fmla="*/ 16 w 31"/>
                <a:gd name="T61" fmla="*/ 26 h 30"/>
                <a:gd name="T62" fmla="*/ 16 w 31"/>
                <a:gd name="T63" fmla="*/ 22 h 30"/>
                <a:gd name="T64" fmla="*/ 18 w 31"/>
                <a:gd name="T65" fmla="*/ 24 h 30"/>
                <a:gd name="T66" fmla="*/ 20 w 31"/>
                <a:gd name="T67" fmla="*/ 22 h 30"/>
                <a:gd name="T68" fmla="*/ 22 w 31"/>
                <a:gd name="T69" fmla="*/ 22 h 30"/>
                <a:gd name="T70" fmla="*/ 24 w 31"/>
                <a:gd name="T71" fmla="*/ 22 h 30"/>
                <a:gd name="T72" fmla="*/ 27 w 31"/>
                <a:gd name="T73" fmla="*/ 22 h 30"/>
                <a:gd name="T74" fmla="*/ 29 w 31"/>
                <a:gd name="T75" fmla="*/ 22 h 30"/>
                <a:gd name="T76" fmla="*/ 31 w 31"/>
                <a:gd name="T77" fmla="*/ 22 h 30"/>
                <a:gd name="T78" fmla="*/ 31 w 31"/>
                <a:gd name="T79" fmla="*/ 22 h 30"/>
                <a:gd name="T80" fmla="*/ 31 w 31"/>
                <a:gd name="T81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" h="30">
                  <a:moveTo>
                    <a:pt x="31" y="16"/>
                  </a:moveTo>
                  <a:lnTo>
                    <a:pt x="31" y="16"/>
                  </a:lnTo>
                  <a:lnTo>
                    <a:pt x="31" y="14"/>
                  </a:lnTo>
                  <a:lnTo>
                    <a:pt x="31" y="10"/>
                  </a:lnTo>
                  <a:lnTo>
                    <a:pt x="31" y="8"/>
                  </a:lnTo>
                  <a:lnTo>
                    <a:pt x="31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7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8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4" y="18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4" y="30"/>
                  </a:lnTo>
                  <a:lnTo>
                    <a:pt x="14" y="28"/>
                  </a:lnTo>
                  <a:lnTo>
                    <a:pt x="16" y="28"/>
                  </a:lnTo>
                  <a:lnTo>
                    <a:pt x="16" y="26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2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0"/>
                  </a:lnTo>
                  <a:lnTo>
                    <a:pt x="31" y="18"/>
                  </a:lnTo>
                  <a:lnTo>
                    <a:pt x="31" y="1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45" name="Freeform 68">
              <a:extLst>
                <a:ext uri="{FF2B5EF4-FFF2-40B4-BE49-F238E27FC236}">
                  <a16:creationId xmlns:a16="http://schemas.microsoft.com/office/drawing/2014/main" id="{499A9007-A552-9243-8600-C4A9F3C916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8933" y="1854609"/>
              <a:ext cx="2459963" cy="779582"/>
            </a:xfrm>
            <a:custGeom>
              <a:avLst/>
              <a:gdLst>
                <a:gd name="T0" fmla="*/ 356 w 2070"/>
                <a:gd name="T1" fmla="*/ 144 h 656"/>
                <a:gd name="T2" fmla="*/ 793 w 2070"/>
                <a:gd name="T3" fmla="*/ 35 h 656"/>
                <a:gd name="T4" fmla="*/ 388 w 2070"/>
                <a:gd name="T5" fmla="*/ 85 h 656"/>
                <a:gd name="T6" fmla="*/ 448 w 2070"/>
                <a:gd name="T7" fmla="*/ 81 h 656"/>
                <a:gd name="T8" fmla="*/ 386 w 2070"/>
                <a:gd name="T9" fmla="*/ 124 h 656"/>
                <a:gd name="T10" fmla="*/ 405 w 2070"/>
                <a:gd name="T11" fmla="*/ 155 h 656"/>
                <a:gd name="T12" fmla="*/ 549 w 2070"/>
                <a:gd name="T13" fmla="*/ 27 h 656"/>
                <a:gd name="T14" fmla="*/ 1304 w 2070"/>
                <a:gd name="T15" fmla="*/ 85 h 656"/>
                <a:gd name="T16" fmla="*/ 1360 w 2070"/>
                <a:gd name="T17" fmla="*/ 112 h 656"/>
                <a:gd name="T18" fmla="*/ 1376 w 2070"/>
                <a:gd name="T19" fmla="*/ 85 h 656"/>
                <a:gd name="T20" fmla="*/ 822 w 2070"/>
                <a:gd name="T21" fmla="*/ 35 h 656"/>
                <a:gd name="T22" fmla="*/ 1142 w 2070"/>
                <a:gd name="T23" fmla="*/ 105 h 656"/>
                <a:gd name="T24" fmla="*/ 1908 w 2070"/>
                <a:gd name="T25" fmla="*/ 492 h 656"/>
                <a:gd name="T26" fmla="*/ 1867 w 2070"/>
                <a:gd name="T27" fmla="*/ 593 h 656"/>
                <a:gd name="T28" fmla="*/ 1600 w 2070"/>
                <a:gd name="T29" fmla="*/ 418 h 656"/>
                <a:gd name="T30" fmla="*/ 2062 w 2070"/>
                <a:gd name="T31" fmla="*/ 225 h 656"/>
                <a:gd name="T32" fmla="*/ 1916 w 2070"/>
                <a:gd name="T33" fmla="*/ 190 h 656"/>
                <a:gd name="T34" fmla="*/ 1637 w 2070"/>
                <a:gd name="T35" fmla="*/ 171 h 656"/>
                <a:gd name="T36" fmla="*/ 1374 w 2070"/>
                <a:gd name="T37" fmla="*/ 124 h 656"/>
                <a:gd name="T38" fmla="*/ 1214 w 2070"/>
                <a:gd name="T39" fmla="*/ 132 h 656"/>
                <a:gd name="T40" fmla="*/ 1031 w 2070"/>
                <a:gd name="T41" fmla="*/ 114 h 656"/>
                <a:gd name="T42" fmla="*/ 978 w 2070"/>
                <a:gd name="T43" fmla="*/ 79 h 656"/>
                <a:gd name="T44" fmla="*/ 838 w 2070"/>
                <a:gd name="T45" fmla="*/ 79 h 656"/>
                <a:gd name="T46" fmla="*/ 721 w 2070"/>
                <a:gd name="T47" fmla="*/ 116 h 656"/>
                <a:gd name="T48" fmla="*/ 700 w 2070"/>
                <a:gd name="T49" fmla="*/ 138 h 656"/>
                <a:gd name="T50" fmla="*/ 629 w 2070"/>
                <a:gd name="T51" fmla="*/ 177 h 656"/>
                <a:gd name="T52" fmla="*/ 612 w 2070"/>
                <a:gd name="T53" fmla="*/ 183 h 656"/>
                <a:gd name="T54" fmla="*/ 475 w 2070"/>
                <a:gd name="T55" fmla="*/ 167 h 656"/>
                <a:gd name="T56" fmla="*/ 329 w 2070"/>
                <a:gd name="T57" fmla="*/ 200 h 656"/>
                <a:gd name="T58" fmla="*/ 202 w 2070"/>
                <a:gd name="T59" fmla="*/ 241 h 656"/>
                <a:gd name="T60" fmla="*/ 234 w 2070"/>
                <a:gd name="T61" fmla="*/ 198 h 656"/>
                <a:gd name="T62" fmla="*/ 101 w 2070"/>
                <a:gd name="T63" fmla="*/ 212 h 656"/>
                <a:gd name="T64" fmla="*/ 113 w 2070"/>
                <a:gd name="T65" fmla="*/ 329 h 656"/>
                <a:gd name="T66" fmla="*/ 150 w 2070"/>
                <a:gd name="T67" fmla="*/ 401 h 656"/>
                <a:gd name="T68" fmla="*/ 206 w 2070"/>
                <a:gd name="T69" fmla="*/ 478 h 656"/>
                <a:gd name="T70" fmla="*/ 294 w 2070"/>
                <a:gd name="T71" fmla="*/ 537 h 656"/>
                <a:gd name="T72" fmla="*/ 327 w 2070"/>
                <a:gd name="T73" fmla="*/ 619 h 656"/>
                <a:gd name="T74" fmla="*/ 403 w 2070"/>
                <a:gd name="T75" fmla="*/ 601 h 656"/>
                <a:gd name="T76" fmla="*/ 403 w 2070"/>
                <a:gd name="T77" fmla="*/ 498 h 656"/>
                <a:gd name="T78" fmla="*/ 544 w 2070"/>
                <a:gd name="T79" fmla="*/ 480 h 656"/>
                <a:gd name="T80" fmla="*/ 604 w 2070"/>
                <a:gd name="T81" fmla="*/ 424 h 656"/>
                <a:gd name="T82" fmla="*/ 750 w 2070"/>
                <a:gd name="T83" fmla="*/ 434 h 656"/>
                <a:gd name="T84" fmla="*/ 922 w 2070"/>
                <a:gd name="T85" fmla="*/ 500 h 656"/>
                <a:gd name="T86" fmla="*/ 1027 w 2070"/>
                <a:gd name="T87" fmla="*/ 486 h 656"/>
                <a:gd name="T88" fmla="*/ 1111 w 2070"/>
                <a:gd name="T89" fmla="*/ 465 h 656"/>
                <a:gd name="T90" fmla="*/ 1310 w 2070"/>
                <a:gd name="T91" fmla="*/ 508 h 656"/>
                <a:gd name="T92" fmla="*/ 1450 w 2070"/>
                <a:gd name="T93" fmla="*/ 443 h 656"/>
                <a:gd name="T94" fmla="*/ 1612 w 2070"/>
                <a:gd name="T95" fmla="*/ 539 h 656"/>
                <a:gd name="T96" fmla="*/ 1645 w 2070"/>
                <a:gd name="T97" fmla="*/ 617 h 656"/>
                <a:gd name="T98" fmla="*/ 1704 w 2070"/>
                <a:gd name="T99" fmla="*/ 498 h 656"/>
                <a:gd name="T100" fmla="*/ 1579 w 2070"/>
                <a:gd name="T101" fmla="*/ 391 h 656"/>
                <a:gd name="T102" fmla="*/ 1743 w 2070"/>
                <a:gd name="T103" fmla="*/ 334 h 656"/>
                <a:gd name="T104" fmla="*/ 1836 w 2070"/>
                <a:gd name="T105" fmla="*/ 303 h 656"/>
                <a:gd name="T106" fmla="*/ 1928 w 2070"/>
                <a:gd name="T107" fmla="*/ 420 h 656"/>
                <a:gd name="T108" fmla="*/ 1893 w 2070"/>
                <a:gd name="T109" fmla="*/ 327 h 656"/>
                <a:gd name="T110" fmla="*/ 1978 w 2070"/>
                <a:gd name="T111" fmla="*/ 268 h 656"/>
                <a:gd name="T112" fmla="*/ 1955 w 2070"/>
                <a:gd name="T113" fmla="*/ 227 h 656"/>
                <a:gd name="T114" fmla="*/ 364 w 2070"/>
                <a:gd name="T115" fmla="*/ 17 h 656"/>
                <a:gd name="T116" fmla="*/ 333 w 2070"/>
                <a:gd name="T117" fmla="*/ 21 h 656"/>
                <a:gd name="T118" fmla="*/ 257 w 2070"/>
                <a:gd name="T119" fmla="*/ 13 h 656"/>
                <a:gd name="T120" fmla="*/ 1682 w 2070"/>
                <a:gd name="T121" fmla="*/ 432 h 656"/>
                <a:gd name="T122" fmla="*/ 259 w 2070"/>
                <a:gd name="T123" fmla="*/ 19 h 656"/>
                <a:gd name="T124" fmla="*/ 312 w 2070"/>
                <a:gd name="T125" fmla="*/ 11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0" h="656">
                  <a:moveTo>
                    <a:pt x="676" y="103"/>
                  </a:moveTo>
                  <a:lnTo>
                    <a:pt x="680" y="103"/>
                  </a:lnTo>
                  <a:lnTo>
                    <a:pt x="684" y="103"/>
                  </a:lnTo>
                  <a:lnTo>
                    <a:pt x="684" y="103"/>
                  </a:lnTo>
                  <a:lnTo>
                    <a:pt x="684" y="103"/>
                  </a:lnTo>
                  <a:lnTo>
                    <a:pt x="684" y="103"/>
                  </a:lnTo>
                  <a:lnTo>
                    <a:pt x="684" y="103"/>
                  </a:lnTo>
                  <a:lnTo>
                    <a:pt x="684" y="103"/>
                  </a:lnTo>
                  <a:lnTo>
                    <a:pt x="680" y="103"/>
                  </a:lnTo>
                  <a:lnTo>
                    <a:pt x="676" y="103"/>
                  </a:lnTo>
                  <a:lnTo>
                    <a:pt x="676" y="103"/>
                  </a:lnTo>
                  <a:close/>
                  <a:moveTo>
                    <a:pt x="692" y="97"/>
                  </a:moveTo>
                  <a:lnTo>
                    <a:pt x="690" y="97"/>
                  </a:lnTo>
                  <a:lnTo>
                    <a:pt x="690" y="97"/>
                  </a:lnTo>
                  <a:lnTo>
                    <a:pt x="690" y="99"/>
                  </a:lnTo>
                  <a:lnTo>
                    <a:pt x="694" y="99"/>
                  </a:lnTo>
                  <a:lnTo>
                    <a:pt x="694" y="97"/>
                  </a:lnTo>
                  <a:lnTo>
                    <a:pt x="694" y="97"/>
                  </a:lnTo>
                  <a:lnTo>
                    <a:pt x="692" y="97"/>
                  </a:lnTo>
                  <a:close/>
                  <a:moveTo>
                    <a:pt x="649" y="85"/>
                  </a:moveTo>
                  <a:lnTo>
                    <a:pt x="649" y="87"/>
                  </a:lnTo>
                  <a:lnTo>
                    <a:pt x="651" y="87"/>
                  </a:lnTo>
                  <a:lnTo>
                    <a:pt x="651" y="85"/>
                  </a:lnTo>
                  <a:lnTo>
                    <a:pt x="653" y="87"/>
                  </a:lnTo>
                  <a:lnTo>
                    <a:pt x="653" y="87"/>
                  </a:lnTo>
                  <a:lnTo>
                    <a:pt x="653" y="85"/>
                  </a:lnTo>
                  <a:lnTo>
                    <a:pt x="655" y="85"/>
                  </a:lnTo>
                  <a:lnTo>
                    <a:pt x="655" y="85"/>
                  </a:lnTo>
                  <a:lnTo>
                    <a:pt x="655" y="85"/>
                  </a:lnTo>
                  <a:lnTo>
                    <a:pt x="653" y="85"/>
                  </a:lnTo>
                  <a:lnTo>
                    <a:pt x="653" y="83"/>
                  </a:lnTo>
                  <a:lnTo>
                    <a:pt x="651" y="83"/>
                  </a:lnTo>
                  <a:lnTo>
                    <a:pt x="651" y="83"/>
                  </a:lnTo>
                  <a:lnTo>
                    <a:pt x="651" y="83"/>
                  </a:lnTo>
                  <a:lnTo>
                    <a:pt x="651" y="85"/>
                  </a:lnTo>
                  <a:lnTo>
                    <a:pt x="651" y="85"/>
                  </a:lnTo>
                  <a:lnTo>
                    <a:pt x="649" y="83"/>
                  </a:lnTo>
                  <a:lnTo>
                    <a:pt x="647" y="85"/>
                  </a:lnTo>
                  <a:lnTo>
                    <a:pt x="647" y="85"/>
                  </a:lnTo>
                  <a:lnTo>
                    <a:pt x="649" y="85"/>
                  </a:lnTo>
                  <a:close/>
                  <a:moveTo>
                    <a:pt x="694" y="19"/>
                  </a:moveTo>
                  <a:lnTo>
                    <a:pt x="696" y="19"/>
                  </a:lnTo>
                  <a:lnTo>
                    <a:pt x="698" y="21"/>
                  </a:lnTo>
                  <a:lnTo>
                    <a:pt x="707" y="21"/>
                  </a:lnTo>
                  <a:lnTo>
                    <a:pt x="715" y="23"/>
                  </a:lnTo>
                  <a:lnTo>
                    <a:pt x="717" y="23"/>
                  </a:lnTo>
                  <a:lnTo>
                    <a:pt x="721" y="21"/>
                  </a:lnTo>
                  <a:lnTo>
                    <a:pt x="721" y="21"/>
                  </a:lnTo>
                  <a:lnTo>
                    <a:pt x="723" y="21"/>
                  </a:lnTo>
                  <a:lnTo>
                    <a:pt x="725" y="21"/>
                  </a:lnTo>
                  <a:lnTo>
                    <a:pt x="733" y="21"/>
                  </a:lnTo>
                  <a:lnTo>
                    <a:pt x="746" y="19"/>
                  </a:lnTo>
                  <a:lnTo>
                    <a:pt x="748" y="19"/>
                  </a:lnTo>
                  <a:lnTo>
                    <a:pt x="748" y="19"/>
                  </a:lnTo>
                  <a:lnTo>
                    <a:pt x="746" y="19"/>
                  </a:lnTo>
                  <a:lnTo>
                    <a:pt x="746" y="17"/>
                  </a:lnTo>
                  <a:lnTo>
                    <a:pt x="742" y="17"/>
                  </a:lnTo>
                  <a:lnTo>
                    <a:pt x="742" y="17"/>
                  </a:lnTo>
                  <a:lnTo>
                    <a:pt x="742" y="15"/>
                  </a:lnTo>
                  <a:lnTo>
                    <a:pt x="740" y="15"/>
                  </a:lnTo>
                  <a:lnTo>
                    <a:pt x="742" y="15"/>
                  </a:lnTo>
                  <a:lnTo>
                    <a:pt x="746" y="15"/>
                  </a:lnTo>
                  <a:lnTo>
                    <a:pt x="746" y="13"/>
                  </a:lnTo>
                  <a:lnTo>
                    <a:pt x="746" y="13"/>
                  </a:lnTo>
                  <a:lnTo>
                    <a:pt x="746" y="13"/>
                  </a:lnTo>
                  <a:lnTo>
                    <a:pt x="746" y="13"/>
                  </a:lnTo>
                  <a:lnTo>
                    <a:pt x="744" y="13"/>
                  </a:lnTo>
                  <a:lnTo>
                    <a:pt x="740" y="13"/>
                  </a:lnTo>
                  <a:lnTo>
                    <a:pt x="731" y="11"/>
                  </a:lnTo>
                  <a:lnTo>
                    <a:pt x="731" y="11"/>
                  </a:lnTo>
                  <a:lnTo>
                    <a:pt x="729" y="11"/>
                  </a:lnTo>
                  <a:lnTo>
                    <a:pt x="727" y="9"/>
                  </a:lnTo>
                  <a:lnTo>
                    <a:pt x="727" y="9"/>
                  </a:lnTo>
                  <a:lnTo>
                    <a:pt x="723" y="9"/>
                  </a:lnTo>
                  <a:lnTo>
                    <a:pt x="721" y="9"/>
                  </a:lnTo>
                  <a:lnTo>
                    <a:pt x="721" y="9"/>
                  </a:lnTo>
                  <a:lnTo>
                    <a:pt x="719" y="7"/>
                  </a:lnTo>
                  <a:lnTo>
                    <a:pt x="719" y="7"/>
                  </a:lnTo>
                  <a:lnTo>
                    <a:pt x="713" y="7"/>
                  </a:lnTo>
                  <a:lnTo>
                    <a:pt x="713" y="9"/>
                  </a:lnTo>
                  <a:lnTo>
                    <a:pt x="711" y="9"/>
                  </a:lnTo>
                  <a:lnTo>
                    <a:pt x="709" y="9"/>
                  </a:lnTo>
                  <a:lnTo>
                    <a:pt x="707" y="9"/>
                  </a:lnTo>
                  <a:lnTo>
                    <a:pt x="705" y="9"/>
                  </a:lnTo>
                  <a:lnTo>
                    <a:pt x="703" y="9"/>
                  </a:lnTo>
                  <a:lnTo>
                    <a:pt x="700" y="11"/>
                  </a:lnTo>
                  <a:lnTo>
                    <a:pt x="698" y="9"/>
                  </a:lnTo>
                  <a:lnTo>
                    <a:pt x="696" y="11"/>
                  </a:lnTo>
                  <a:lnTo>
                    <a:pt x="694" y="11"/>
                  </a:lnTo>
                  <a:lnTo>
                    <a:pt x="694" y="11"/>
                  </a:lnTo>
                  <a:lnTo>
                    <a:pt x="694" y="11"/>
                  </a:lnTo>
                  <a:lnTo>
                    <a:pt x="692" y="11"/>
                  </a:lnTo>
                  <a:lnTo>
                    <a:pt x="692" y="13"/>
                  </a:lnTo>
                  <a:lnTo>
                    <a:pt x="692" y="13"/>
                  </a:lnTo>
                  <a:lnTo>
                    <a:pt x="694" y="13"/>
                  </a:lnTo>
                  <a:lnTo>
                    <a:pt x="700" y="13"/>
                  </a:lnTo>
                  <a:lnTo>
                    <a:pt x="698" y="13"/>
                  </a:lnTo>
                  <a:lnTo>
                    <a:pt x="698" y="15"/>
                  </a:lnTo>
                  <a:lnTo>
                    <a:pt x="696" y="15"/>
                  </a:lnTo>
                  <a:lnTo>
                    <a:pt x="694" y="17"/>
                  </a:lnTo>
                  <a:lnTo>
                    <a:pt x="690" y="17"/>
                  </a:lnTo>
                  <a:lnTo>
                    <a:pt x="688" y="17"/>
                  </a:lnTo>
                  <a:lnTo>
                    <a:pt x="688" y="17"/>
                  </a:lnTo>
                  <a:lnTo>
                    <a:pt x="690" y="19"/>
                  </a:lnTo>
                  <a:lnTo>
                    <a:pt x="694" y="19"/>
                  </a:lnTo>
                  <a:close/>
                  <a:moveTo>
                    <a:pt x="664" y="9"/>
                  </a:moveTo>
                  <a:lnTo>
                    <a:pt x="676" y="9"/>
                  </a:lnTo>
                  <a:lnTo>
                    <a:pt x="678" y="9"/>
                  </a:lnTo>
                  <a:lnTo>
                    <a:pt x="676" y="9"/>
                  </a:lnTo>
                  <a:lnTo>
                    <a:pt x="674" y="9"/>
                  </a:lnTo>
                  <a:lnTo>
                    <a:pt x="661" y="7"/>
                  </a:lnTo>
                  <a:lnTo>
                    <a:pt x="661" y="9"/>
                  </a:lnTo>
                  <a:lnTo>
                    <a:pt x="661" y="9"/>
                  </a:lnTo>
                  <a:lnTo>
                    <a:pt x="664" y="9"/>
                  </a:lnTo>
                  <a:close/>
                  <a:moveTo>
                    <a:pt x="358" y="142"/>
                  </a:moveTo>
                  <a:lnTo>
                    <a:pt x="356" y="144"/>
                  </a:lnTo>
                  <a:lnTo>
                    <a:pt x="356" y="144"/>
                  </a:lnTo>
                  <a:lnTo>
                    <a:pt x="356" y="144"/>
                  </a:lnTo>
                  <a:lnTo>
                    <a:pt x="356" y="144"/>
                  </a:lnTo>
                  <a:lnTo>
                    <a:pt x="358" y="146"/>
                  </a:lnTo>
                  <a:lnTo>
                    <a:pt x="360" y="144"/>
                  </a:lnTo>
                  <a:lnTo>
                    <a:pt x="362" y="146"/>
                  </a:lnTo>
                  <a:lnTo>
                    <a:pt x="362" y="146"/>
                  </a:lnTo>
                  <a:lnTo>
                    <a:pt x="364" y="149"/>
                  </a:lnTo>
                  <a:lnTo>
                    <a:pt x="366" y="149"/>
                  </a:lnTo>
                  <a:lnTo>
                    <a:pt x="366" y="149"/>
                  </a:lnTo>
                  <a:lnTo>
                    <a:pt x="366" y="151"/>
                  </a:lnTo>
                  <a:lnTo>
                    <a:pt x="368" y="149"/>
                  </a:lnTo>
                  <a:lnTo>
                    <a:pt x="368" y="149"/>
                  </a:lnTo>
                  <a:lnTo>
                    <a:pt x="366" y="149"/>
                  </a:lnTo>
                  <a:lnTo>
                    <a:pt x="366" y="149"/>
                  </a:lnTo>
                  <a:lnTo>
                    <a:pt x="368" y="146"/>
                  </a:lnTo>
                  <a:lnTo>
                    <a:pt x="366" y="146"/>
                  </a:lnTo>
                  <a:lnTo>
                    <a:pt x="366" y="146"/>
                  </a:lnTo>
                  <a:lnTo>
                    <a:pt x="366" y="146"/>
                  </a:lnTo>
                  <a:lnTo>
                    <a:pt x="364" y="144"/>
                  </a:lnTo>
                  <a:lnTo>
                    <a:pt x="362" y="144"/>
                  </a:lnTo>
                  <a:lnTo>
                    <a:pt x="362" y="142"/>
                  </a:lnTo>
                  <a:lnTo>
                    <a:pt x="360" y="142"/>
                  </a:lnTo>
                  <a:lnTo>
                    <a:pt x="360" y="142"/>
                  </a:lnTo>
                  <a:lnTo>
                    <a:pt x="360" y="144"/>
                  </a:lnTo>
                  <a:lnTo>
                    <a:pt x="360" y="142"/>
                  </a:lnTo>
                  <a:lnTo>
                    <a:pt x="358" y="142"/>
                  </a:lnTo>
                  <a:close/>
                  <a:moveTo>
                    <a:pt x="713" y="25"/>
                  </a:moveTo>
                  <a:lnTo>
                    <a:pt x="715" y="25"/>
                  </a:lnTo>
                  <a:lnTo>
                    <a:pt x="717" y="25"/>
                  </a:lnTo>
                  <a:lnTo>
                    <a:pt x="717" y="23"/>
                  </a:lnTo>
                  <a:lnTo>
                    <a:pt x="713" y="23"/>
                  </a:lnTo>
                  <a:lnTo>
                    <a:pt x="705" y="23"/>
                  </a:lnTo>
                  <a:lnTo>
                    <a:pt x="698" y="21"/>
                  </a:lnTo>
                  <a:lnTo>
                    <a:pt x="694" y="21"/>
                  </a:lnTo>
                  <a:lnTo>
                    <a:pt x="692" y="21"/>
                  </a:lnTo>
                  <a:lnTo>
                    <a:pt x="690" y="21"/>
                  </a:lnTo>
                  <a:lnTo>
                    <a:pt x="688" y="23"/>
                  </a:lnTo>
                  <a:lnTo>
                    <a:pt x="690" y="23"/>
                  </a:lnTo>
                  <a:lnTo>
                    <a:pt x="694" y="25"/>
                  </a:lnTo>
                  <a:lnTo>
                    <a:pt x="698" y="25"/>
                  </a:lnTo>
                  <a:lnTo>
                    <a:pt x="705" y="27"/>
                  </a:lnTo>
                  <a:lnTo>
                    <a:pt x="707" y="27"/>
                  </a:lnTo>
                  <a:lnTo>
                    <a:pt x="709" y="27"/>
                  </a:lnTo>
                  <a:lnTo>
                    <a:pt x="711" y="25"/>
                  </a:lnTo>
                  <a:lnTo>
                    <a:pt x="713" y="25"/>
                  </a:lnTo>
                  <a:close/>
                  <a:moveTo>
                    <a:pt x="783" y="27"/>
                  </a:moveTo>
                  <a:lnTo>
                    <a:pt x="785" y="27"/>
                  </a:lnTo>
                  <a:lnTo>
                    <a:pt x="787" y="27"/>
                  </a:lnTo>
                  <a:lnTo>
                    <a:pt x="785" y="27"/>
                  </a:lnTo>
                  <a:lnTo>
                    <a:pt x="783" y="25"/>
                  </a:lnTo>
                  <a:lnTo>
                    <a:pt x="783" y="27"/>
                  </a:lnTo>
                  <a:lnTo>
                    <a:pt x="783" y="27"/>
                  </a:lnTo>
                  <a:lnTo>
                    <a:pt x="783" y="27"/>
                  </a:lnTo>
                  <a:close/>
                  <a:moveTo>
                    <a:pt x="643" y="122"/>
                  </a:moveTo>
                  <a:lnTo>
                    <a:pt x="647" y="124"/>
                  </a:lnTo>
                  <a:lnTo>
                    <a:pt x="653" y="124"/>
                  </a:lnTo>
                  <a:lnTo>
                    <a:pt x="653" y="124"/>
                  </a:lnTo>
                  <a:lnTo>
                    <a:pt x="653" y="122"/>
                  </a:lnTo>
                  <a:lnTo>
                    <a:pt x="651" y="120"/>
                  </a:lnTo>
                  <a:lnTo>
                    <a:pt x="649" y="120"/>
                  </a:lnTo>
                  <a:lnTo>
                    <a:pt x="649" y="118"/>
                  </a:lnTo>
                  <a:lnTo>
                    <a:pt x="645" y="118"/>
                  </a:lnTo>
                  <a:lnTo>
                    <a:pt x="643" y="122"/>
                  </a:lnTo>
                  <a:lnTo>
                    <a:pt x="643" y="122"/>
                  </a:lnTo>
                  <a:lnTo>
                    <a:pt x="643" y="122"/>
                  </a:lnTo>
                  <a:close/>
                  <a:moveTo>
                    <a:pt x="742" y="21"/>
                  </a:moveTo>
                  <a:lnTo>
                    <a:pt x="740" y="21"/>
                  </a:lnTo>
                  <a:lnTo>
                    <a:pt x="737" y="21"/>
                  </a:lnTo>
                  <a:lnTo>
                    <a:pt x="735" y="21"/>
                  </a:lnTo>
                  <a:lnTo>
                    <a:pt x="731" y="21"/>
                  </a:lnTo>
                  <a:lnTo>
                    <a:pt x="731" y="21"/>
                  </a:lnTo>
                  <a:lnTo>
                    <a:pt x="731" y="21"/>
                  </a:lnTo>
                  <a:lnTo>
                    <a:pt x="731" y="21"/>
                  </a:lnTo>
                  <a:lnTo>
                    <a:pt x="727" y="21"/>
                  </a:lnTo>
                  <a:lnTo>
                    <a:pt x="727" y="21"/>
                  </a:lnTo>
                  <a:lnTo>
                    <a:pt x="725" y="21"/>
                  </a:lnTo>
                  <a:lnTo>
                    <a:pt x="725" y="23"/>
                  </a:lnTo>
                  <a:lnTo>
                    <a:pt x="723" y="23"/>
                  </a:lnTo>
                  <a:lnTo>
                    <a:pt x="723" y="25"/>
                  </a:lnTo>
                  <a:lnTo>
                    <a:pt x="721" y="25"/>
                  </a:lnTo>
                  <a:lnTo>
                    <a:pt x="721" y="25"/>
                  </a:lnTo>
                  <a:lnTo>
                    <a:pt x="717" y="27"/>
                  </a:lnTo>
                  <a:lnTo>
                    <a:pt x="715" y="29"/>
                  </a:lnTo>
                  <a:lnTo>
                    <a:pt x="719" y="29"/>
                  </a:lnTo>
                  <a:lnTo>
                    <a:pt x="721" y="29"/>
                  </a:lnTo>
                  <a:lnTo>
                    <a:pt x="723" y="29"/>
                  </a:lnTo>
                  <a:lnTo>
                    <a:pt x="729" y="29"/>
                  </a:lnTo>
                  <a:lnTo>
                    <a:pt x="731" y="31"/>
                  </a:lnTo>
                  <a:lnTo>
                    <a:pt x="733" y="31"/>
                  </a:lnTo>
                  <a:lnTo>
                    <a:pt x="735" y="33"/>
                  </a:lnTo>
                  <a:lnTo>
                    <a:pt x="737" y="33"/>
                  </a:lnTo>
                  <a:lnTo>
                    <a:pt x="737" y="33"/>
                  </a:lnTo>
                  <a:lnTo>
                    <a:pt x="740" y="33"/>
                  </a:lnTo>
                  <a:lnTo>
                    <a:pt x="742" y="33"/>
                  </a:lnTo>
                  <a:lnTo>
                    <a:pt x="744" y="35"/>
                  </a:lnTo>
                  <a:lnTo>
                    <a:pt x="746" y="33"/>
                  </a:lnTo>
                  <a:lnTo>
                    <a:pt x="746" y="33"/>
                  </a:lnTo>
                  <a:lnTo>
                    <a:pt x="750" y="35"/>
                  </a:lnTo>
                  <a:lnTo>
                    <a:pt x="750" y="35"/>
                  </a:lnTo>
                  <a:lnTo>
                    <a:pt x="756" y="35"/>
                  </a:lnTo>
                  <a:lnTo>
                    <a:pt x="756" y="35"/>
                  </a:lnTo>
                  <a:lnTo>
                    <a:pt x="762" y="35"/>
                  </a:lnTo>
                  <a:lnTo>
                    <a:pt x="762" y="35"/>
                  </a:lnTo>
                  <a:lnTo>
                    <a:pt x="762" y="35"/>
                  </a:lnTo>
                  <a:lnTo>
                    <a:pt x="768" y="38"/>
                  </a:lnTo>
                  <a:lnTo>
                    <a:pt x="770" y="38"/>
                  </a:lnTo>
                  <a:lnTo>
                    <a:pt x="772" y="38"/>
                  </a:lnTo>
                  <a:lnTo>
                    <a:pt x="774" y="38"/>
                  </a:lnTo>
                  <a:lnTo>
                    <a:pt x="776" y="38"/>
                  </a:lnTo>
                  <a:lnTo>
                    <a:pt x="779" y="38"/>
                  </a:lnTo>
                  <a:lnTo>
                    <a:pt x="781" y="38"/>
                  </a:lnTo>
                  <a:lnTo>
                    <a:pt x="785" y="38"/>
                  </a:lnTo>
                  <a:lnTo>
                    <a:pt x="791" y="38"/>
                  </a:lnTo>
                  <a:lnTo>
                    <a:pt x="791" y="38"/>
                  </a:lnTo>
                  <a:lnTo>
                    <a:pt x="793" y="35"/>
                  </a:lnTo>
                  <a:lnTo>
                    <a:pt x="793" y="35"/>
                  </a:lnTo>
                  <a:lnTo>
                    <a:pt x="791" y="33"/>
                  </a:lnTo>
                  <a:lnTo>
                    <a:pt x="789" y="33"/>
                  </a:lnTo>
                  <a:lnTo>
                    <a:pt x="787" y="33"/>
                  </a:lnTo>
                  <a:lnTo>
                    <a:pt x="783" y="31"/>
                  </a:lnTo>
                  <a:lnTo>
                    <a:pt x="779" y="31"/>
                  </a:lnTo>
                  <a:lnTo>
                    <a:pt x="781" y="31"/>
                  </a:lnTo>
                  <a:lnTo>
                    <a:pt x="781" y="31"/>
                  </a:lnTo>
                  <a:lnTo>
                    <a:pt x="783" y="31"/>
                  </a:lnTo>
                  <a:lnTo>
                    <a:pt x="785" y="31"/>
                  </a:lnTo>
                  <a:lnTo>
                    <a:pt x="785" y="31"/>
                  </a:lnTo>
                  <a:lnTo>
                    <a:pt x="785" y="29"/>
                  </a:lnTo>
                  <a:lnTo>
                    <a:pt x="783" y="29"/>
                  </a:lnTo>
                  <a:lnTo>
                    <a:pt x="783" y="29"/>
                  </a:lnTo>
                  <a:lnTo>
                    <a:pt x="783" y="29"/>
                  </a:lnTo>
                  <a:lnTo>
                    <a:pt x="783" y="27"/>
                  </a:lnTo>
                  <a:lnTo>
                    <a:pt x="783" y="27"/>
                  </a:lnTo>
                  <a:lnTo>
                    <a:pt x="783" y="27"/>
                  </a:lnTo>
                  <a:lnTo>
                    <a:pt x="783" y="27"/>
                  </a:lnTo>
                  <a:lnTo>
                    <a:pt x="781" y="25"/>
                  </a:lnTo>
                  <a:lnTo>
                    <a:pt x="783" y="25"/>
                  </a:lnTo>
                  <a:lnTo>
                    <a:pt x="781" y="25"/>
                  </a:lnTo>
                  <a:lnTo>
                    <a:pt x="779" y="23"/>
                  </a:lnTo>
                  <a:lnTo>
                    <a:pt x="776" y="23"/>
                  </a:lnTo>
                  <a:lnTo>
                    <a:pt x="774" y="23"/>
                  </a:lnTo>
                  <a:lnTo>
                    <a:pt x="774" y="23"/>
                  </a:lnTo>
                  <a:lnTo>
                    <a:pt x="772" y="23"/>
                  </a:lnTo>
                  <a:lnTo>
                    <a:pt x="770" y="23"/>
                  </a:lnTo>
                  <a:lnTo>
                    <a:pt x="766" y="21"/>
                  </a:lnTo>
                  <a:lnTo>
                    <a:pt x="764" y="21"/>
                  </a:lnTo>
                  <a:lnTo>
                    <a:pt x="762" y="21"/>
                  </a:lnTo>
                  <a:lnTo>
                    <a:pt x="762" y="23"/>
                  </a:lnTo>
                  <a:lnTo>
                    <a:pt x="764" y="23"/>
                  </a:lnTo>
                  <a:lnTo>
                    <a:pt x="764" y="23"/>
                  </a:lnTo>
                  <a:lnTo>
                    <a:pt x="762" y="23"/>
                  </a:lnTo>
                  <a:lnTo>
                    <a:pt x="760" y="23"/>
                  </a:lnTo>
                  <a:lnTo>
                    <a:pt x="760" y="25"/>
                  </a:lnTo>
                  <a:lnTo>
                    <a:pt x="758" y="25"/>
                  </a:lnTo>
                  <a:lnTo>
                    <a:pt x="758" y="25"/>
                  </a:lnTo>
                  <a:lnTo>
                    <a:pt x="758" y="25"/>
                  </a:lnTo>
                  <a:lnTo>
                    <a:pt x="756" y="25"/>
                  </a:lnTo>
                  <a:lnTo>
                    <a:pt x="758" y="23"/>
                  </a:lnTo>
                  <a:lnTo>
                    <a:pt x="758" y="23"/>
                  </a:lnTo>
                  <a:lnTo>
                    <a:pt x="758" y="23"/>
                  </a:lnTo>
                  <a:lnTo>
                    <a:pt x="758" y="21"/>
                  </a:lnTo>
                  <a:lnTo>
                    <a:pt x="756" y="21"/>
                  </a:lnTo>
                  <a:lnTo>
                    <a:pt x="752" y="21"/>
                  </a:lnTo>
                  <a:lnTo>
                    <a:pt x="752" y="21"/>
                  </a:lnTo>
                  <a:lnTo>
                    <a:pt x="748" y="21"/>
                  </a:lnTo>
                  <a:lnTo>
                    <a:pt x="742" y="21"/>
                  </a:lnTo>
                  <a:close/>
                  <a:moveTo>
                    <a:pt x="785" y="60"/>
                  </a:moveTo>
                  <a:lnTo>
                    <a:pt x="785" y="60"/>
                  </a:lnTo>
                  <a:lnTo>
                    <a:pt x="779" y="60"/>
                  </a:lnTo>
                  <a:lnTo>
                    <a:pt x="774" y="62"/>
                  </a:lnTo>
                  <a:lnTo>
                    <a:pt x="774" y="62"/>
                  </a:lnTo>
                  <a:lnTo>
                    <a:pt x="774" y="62"/>
                  </a:lnTo>
                  <a:lnTo>
                    <a:pt x="779" y="62"/>
                  </a:lnTo>
                  <a:lnTo>
                    <a:pt x="779" y="62"/>
                  </a:lnTo>
                  <a:lnTo>
                    <a:pt x="781" y="62"/>
                  </a:lnTo>
                  <a:lnTo>
                    <a:pt x="783" y="62"/>
                  </a:lnTo>
                  <a:lnTo>
                    <a:pt x="785" y="62"/>
                  </a:lnTo>
                  <a:lnTo>
                    <a:pt x="785" y="62"/>
                  </a:lnTo>
                  <a:lnTo>
                    <a:pt x="785" y="62"/>
                  </a:lnTo>
                  <a:lnTo>
                    <a:pt x="785" y="60"/>
                  </a:lnTo>
                  <a:lnTo>
                    <a:pt x="785" y="60"/>
                  </a:lnTo>
                  <a:lnTo>
                    <a:pt x="785" y="60"/>
                  </a:lnTo>
                  <a:close/>
                  <a:moveTo>
                    <a:pt x="707" y="91"/>
                  </a:moveTo>
                  <a:lnTo>
                    <a:pt x="707" y="91"/>
                  </a:lnTo>
                  <a:lnTo>
                    <a:pt x="705" y="91"/>
                  </a:lnTo>
                  <a:lnTo>
                    <a:pt x="705" y="91"/>
                  </a:lnTo>
                  <a:lnTo>
                    <a:pt x="707" y="93"/>
                  </a:lnTo>
                  <a:lnTo>
                    <a:pt x="711" y="93"/>
                  </a:lnTo>
                  <a:lnTo>
                    <a:pt x="713" y="93"/>
                  </a:lnTo>
                  <a:lnTo>
                    <a:pt x="713" y="93"/>
                  </a:lnTo>
                  <a:lnTo>
                    <a:pt x="713" y="91"/>
                  </a:lnTo>
                  <a:lnTo>
                    <a:pt x="713" y="91"/>
                  </a:lnTo>
                  <a:lnTo>
                    <a:pt x="711" y="91"/>
                  </a:lnTo>
                  <a:lnTo>
                    <a:pt x="709" y="91"/>
                  </a:lnTo>
                  <a:lnTo>
                    <a:pt x="709" y="91"/>
                  </a:lnTo>
                  <a:lnTo>
                    <a:pt x="707" y="91"/>
                  </a:lnTo>
                  <a:close/>
                  <a:moveTo>
                    <a:pt x="711" y="58"/>
                  </a:moveTo>
                  <a:lnTo>
                    <a:pt x="711" y="58"/>
                  </a:lnTo>
                  <a:lnTo>
                    <a:pt x="711" y="58"/>
                  </a:lnTo>
                  <a:lnTo>
                    <a:pt x="707" y="58"/>
                  </a:lnTo>
                  <a:lnTo>
                    <a:pt x="707" y="58"/>
                  </a:lnTo>
                  <a:lnTo>
                    <a:pt x="707" y="58"/>
                  </a:lnTo>
                  <a:lnTo>
                    <a:pt x="707" y="58"/>
                  </a:lnTo>
                  <a:lnTo>
                    <a:pt x="709" y="60"/>
                  </a:lnTo>
                  <a:lnTo>
                    <a:pt x="711" y="60"/>
                  </a:lnTo>
                  <a:lnTo>
                    <a:pt x="711" y="58"/>
                  </a:lnTo>
                  <a:close/>
                  <a:moveTo>
                    <a:pt x="419" y="72"/>
                  </a:moveTo>
                  <a:lnTo>
                    <a:pt x="419" y="72"/>
                  </a:lnTo>
                  <a:lnTo>
                    <a:pt x="419" y="75"/>
                  </a:lnTo>
                  <a:lnTo>
                    <a:pt x="419" y="75"/>
                  </a:lnTo>
                  <a:lnTo>
                    <a:pt x="419" y="75"/>
                  </a:lnTo>
                  <a:lnTo>
                    <a:pt x="419" y="75"/>
                  </a:lnTo>
                  <a:lnTo>
                    <a:pt x="417" y="75"/>
                  </a:lnTo>
                  <a:lnTo>
                    <a:pt x="415" y="75"/>
                  </a:lnTo>
                  <a:lnTo>
                    <a:pt x="415" y="75"/>
                  </a:lnTo>
                  <a:lnTo>
                    <a:pt x="411" y="75"/>
                  </a:lnTo>
                  <a:lnTo>
                    <a:pt x="409" y="75"/>
                  </a:lnTo>
                  <a:lnTo>
                    <a:pt x="409" y="77"/>
                  </a:lnTo>
                  <a:lnTo>
                    <a:pt x="407" y="77"/>
                  </a:lnTo>
                  <a:lnTo>
                    <a:pt x="403" y="77"/>
                  </a:lnTo>
                  <a:lnTo>
                    <a:pt x="401" y="79"/>
                  </a:lnTo>
                  <a:lnTo>
                    <a:pt x="399" y="79"/>
                  </a:lnTo>
                  <a:lnTo>
                    <a:pt x="399" y="79"/>
                  </a:lnTo>
                  <a:lnTo>
                    <a:pt x="397" y="79"/>
                  </a:lnTo>
                  <a:lnTo>
                    <a:pt x="395" y="81"/>
                  </a:lnTo>
                  <a:lnTo>
                    <a:pt x="390" y="81"/>
                  </a:lnTo>
                  <a:lnTo>
                    <a:pt x="390" y="81"/>
                  </a:lnTo>
                  <a:lnTo>
                    <a:pt x="393" y="81"/>
                  </a:lnTo>
                  <a:lnTo>
                    <a:pt x="388" y="83"/>
                  </a:lnTo>
                  <a:lnTo>
                    <a:pt x="388" y="83"/>
                  </a:lnTo>
                  <a:lnTo>
                    <a:pt x="388" y="85"/>
                  </a:lnTo>
                  <a:lnTo>
                    <a:pt x="388" y="85"/>
                  </a:lnTo>
                  <a:lnTo>
                    <a:pt x="384" y="85"/>
                  </a:lnTo>
                  <a:lnTo>
                    <a:pt x="382" y="85"/>
                  </a:lnTo>
                  <a:lnTo>
                    <a:pt x="382" y="85"/>
                  </a:lnTo>
                  <a:lnTo>
                    <a:pt x="380" y="85"/>
                  </a:lnTo>
                  <a:lnTo>
                    <a:pt x="380" y="85"/>
                  </a:lnTo>
                  <a:lnTo>
                    <a:pt x="380" y="87"/>
                  </a:lnTo>
                  <a:lnTo>
                    <a:pt x="380" y="87"/>
                  </a:lnTo>
                  <a:lnTo>
                    <a:pt x="378" y="89"/>
                  </a:lnTo>
                  <a:lnTo>
                    <a:pt x="378" y="89"/>
                  </a:lnTo>
                  <a:lnTo>
                    <a:pt x="376" y="89"/>
                  </a:lnTo>
                  <a:lnTo>
                    <a:pt x="376" y="87"/>
                  </a:lnTo>
                  <a:lnTo>
                    <a:pt x="374" y="87"/>
                  </a:lnTo>
                  <a:lnTo>
                    <a:pt x="372" y="87"/>
                  </a:lnTo>
                  <a:lnTo>
                    <a:pt x="372" y="87"/>
                  </a:lnTo>
                  <a:lnTo>
                    <a:pt x="370" y="89"/>
                  </a:lnTo>
                  <a:lnTo>
                    <a:pt x="370" y="89"/>
                  </a:lnTo>
                  <a:lnTo>
                    <a:pt x="372" y="89"/>
                  </a:lnTo>
                  <a:lnTo>
                    <a:pt x="374" y="91"/>
                  </a:lnTo>
                  <a:lnTo>
                    <a:pt x="376" y="91"/>
                  </a:lnTo>
                  <a:lnTo>
                    <a:pt x="378" y="91"/>
                  </a:lnTo>
                  <a:lnTo>
                    <a:pt x="380" y="91"/>
                  </a:lnTo>
                  <a:lnTo>
                    <a:pt x="376" y="91"/>
                  </a:lnTo>
                  <a:lnTo>
                    <a:pt x="374" y="93"/>
                  </a:lnTo>
                  <a:lnTo>
                    <a:pt x="372" y="95"/>
                  </a:lnTo>
                  <a:lnTo>
                    <a:pt x="372" y="95"/>
                  </a:lnTo>
                  <a:lnTo>
                    <a:pt x="372" y="95"/>
                  </a:lnTo>
                  <a:lnTo>
                    <a:pt x="372" y="97"/>
                  </a:lnTo>
                  <a:lnTo>
                    <a:pt x="374" y="97"/>
                  </a:lnTo>
                  <a:lnTo>
                    <a:pt x="376" y="97"/>
                  </a:lnTo>
                  <a:lnTo>
                    <a:pt x="378" y="97"/>
                  </a:lnTo>
                  <a:lnTo>
                    <a:pt x="378" y="97"/>
                  </a:lnTo>
                  <a:lnTo>
                    <a:pt x="372" y="99"/>
                  </a:lnTo>
                  <a:lnTo>
                    <a:pt x="370" y="99"/>
                  </a:lnTo>
                  <a:lnTo>
                    <a:pt x="368" y="101"/>
                  </a:lnTo>
                  <a:lnTo>
                    <a:pt x="368" y="103"/>
                  </a:lnTo>
                  <a:lnTo>
                    <a:pt x="368" y="103"/>
                  </a:lnTo>
                  <a:lnTo>
                    <a:pt x="366" y="103"/>
                  </a:lnTo>
                  <a:lnTo>
                    <a:pt x="366" y="105"/>
                  </a:lnTo>
                  <a:lnTo>
                    <a:pt x="366" y="105"/>
                  </a:lnTo>
                  <a:lnTo>
                    <a:pt x="364" y="105"/>
                  </a:lnTo>
                  <a:lnTo>
                    <a:pt x="362" y="105"/>
                  </a:lnTo>
                  <a:lnTo>
                    <a:pt x="360" y="107"/>
                  </a:lnTo>
                  <a:lnTo>
                    <a:pt x="358" y="107"/>
                  </a:lnTo>
                  <a:lnTo>
                    <a:pt x="358" y="107"/>
                  </a:lnTo>
                  <a:lnTo>
                    <a:pt x="358" y="109"/>
                  </a:lnTo>
                  <a:lnTo>
                    <a:pt x="364" y="112"/>
                  </a:lnTo>
                  <a:lnTo>
                    <a:pt x="364" y="112"/>
                  </a:lnTo>
                  <a:lnTo>
                    <a:pt x="366" y="114"/>
                  </a:lnTo>
                  <a:lnTo>
                    <a:pt x="368" y="114"/>
                  </a:lnTo>
                  <a:lnTo>
                    <a:pt x="370" y="114"/>
                  </a:lnTo>
                  <a:lnTo>
                    <a:pt x="374" y="114"/>
                  </a:lnTo>
                  <a:lnTo>
                    <a:pt x="376" y="114"/>
                  </a:lnTo>
                  <a:lnTo>
                    <a:pt x="380" y="114"/>
                  </a:lnTo>
                  <a:lnTo>
                    <a:pt x="386" y="114"/>
                  </a:lnTo>
                  <a:lnTo>
                    <a:pt x="388" y="116"/>
                  </a:lnTo>
                  <a:lnTo>
                    <a:pt x="390" y="116"/>
                  </a:lnTo>
                  <a:lnTo>
                    <a:pt x="393" y="116"/>
                  </a:lnTo>
                  <a:lnTo>
                    <a:pt x="395" y="114"/>
                  </a:lnTo>
                  <a:lnTo>
                    <a:pt x="397" y="112"/>
                  </a:lnTo>
                  <a:lnTo>
                    <a:pt x="399" y="109"/>
                  </a:lnTo>
                  <a:lnTo>
                    <a:pt x="401" y="109"/>
                  </a:lnTo>
                  <a:lnTo>
                    <a:pt x="399" y="107"/>
                  </a:lnTo>
                  <a:lnTo>
                    <a:pt x="397" y="107"/>
                  </a:lnTo>
                  <a:lnTo>
                    <a:pt x="397" y="107"/>
                  </a:lnTo>
                  <a:lnTo>
                    <a:pt x="399" y="107"/>
                  </a:lnTo>
                  <a:lnTo>
                    <a:pt x="401" y="107"/>
                  </a:lnTo>
                  <a:lnTo>
                    <a:pt x="401" y="107"/>
                  </a:lnTo>
                  <a:lnTo>
                    <a:pt x="401" y="107"/>
                  </a:lnTo>
                  <a:lnTo>
                    <a:pt x="403" y="107"/>
                  </a:lnTo>
                  <a:lnTo>
                    <a:pt x="403" y="107"/>
                  </a:lnTo>
                  <a:lnTo>
                    <a:pt x="401" y="105"/>
                  </a:lnTo>
                  <a:lnTo>
                    <a:pt x="401" y="105"/>
                  </a:lnTo>
                  <a:lnTo>
                    <a:pt x="401" y="105"/>
                  </a:lnTo>
                  <a:lnTo>
                    <a:pt x="407" y="103"/>
                  </a:lnTo>
                  <a:lnTo>
                    <a:pt x="407" y="101"/>
                  </a:lnTo>
                  <a:lnTo>
                    <a:pt x="407" y="101"/>
                  </a:lnTo>
                  <a:lnTo>
                    <a:pt x="407" y="99"/>
                  </a:lnTo>
                  <a:lnTo>
                    <a:pt x="405" y="99"/>
                  </a:lnTo>
                  <a:lnTo>
                    <a:pt x="405" y="97"/>
                  </a:lnTo>
                  <a:lnTo>
                    <a:pt x="405" y="97"/>
                  </a:lnTo>
                  <a:lnTo>
                    <a:pt x="409" y="97"/>
                  </a:lnTo>
                  <a:lnTo>
                    <a:pt x="411" y="97"/>
                  </a:lnTo>
                  <a:lnTo>
                    <a:pt x="411" y="97"/>
                  </a:lnTo>
                  <a:lnTo>
                    <a:pt x="411" y="97"/>
                  </a:lnTo>
                  <a:lnTo>
                    <a:pt x="411" y="95"/>
                  </a:lnTo>
                  <a:lnTo>
                    <a:pt x="411" y="95"/>
                  </a:lnTo>
                  <a:lnTo>
                    <a:pt x="411" y="95"/>
                  </a:lnTo>
                  <a:lnTo>
                    <a:pt x="415" y="95"/>
                  </a:lnTo>
                  <a:lnTo>
                    <a:pt x="417" y="95"/>
                  </a:lnTo>
                  <a:lnTo>
                    <a:pt x="417" y="95"/>
                  </a:lnTo>
                  <a:lnTo>
                    <a:pt x="417" y="95"/>
                  </a:lnTo>
                  <a:lnTo>
                    <a:pt x="417" y="95"/>
                  </a:lnTo>
                  <a:lnTo>
                    <a:pt x="417" y="93"/>
                  </a:lnTo>
                  <a:lnTo>
                    <a:pt x="419" y="93"/>
                  </a:lnTo>
                  <a:lnTo>
                    <a:pt x="419" y="93"/>
                  </a:lnTo>
                  <a:lnTo>
                    <a:pt x="421" y="93"/>
                  </a:lnTo>
                  <a:lnTo>
                    <a:pt x="421" y="93"/>
                  </a:lnTo>
                  <a:lnTo>
                    <a:pt x="423" y="91"/>
                  </a:lnTo>
                  <a:lnTo>
                    <a:pt x="423" y="91"/>
                  </a:lnTo>
                  <a:lnTo>
                    <a:pt x="423" y="91"/>
                  </a:lnTo>
                  <a:lnTo>
                    <a:pt x="419" y="91"/>
                  </a:lnTo>
                  <a:lnTo>
                    <a:pt x="419" y="91"/>
                  </a:lnTo>
                  <a:lnTo>
                    <a:pt x="421" y="89"/>
                  </a:lnTo>
                  <a:lnTo>
                    <a:pt x="423" y="89"/>
                  </a:lnTo>
                  <a:lnTo>
                    <a:pt x="423" y="89"/>
                  </a:lnTo>
                  <a:lnTo>
                    <a:pt x="425" y="89"/>
                  </a:lnTo>
                  <a:lnTo>
                    <a:pt x="425" y="89"/>
                  </a:lnTo>
                  <a:lnTo>
                    <a:pt x="425" y="87"/>
                  </a:lnTo>
                  <a:lnTo>
                    <a:pt x="427" y="87"/>
                  </a:lnTo>
                  <a:lnTo>
                    <a:pt x="427" y="87"/>
                  </a:lnTo>
                  <a:lnTo>
                    <a:pt x="429" y="85"/>
                  </a:lnTo>
                  <a:lnTo>
                    <a:pt x="432" y="85"/>
                  </a:lnTo>
                  <a:lnTo>
                    <a:pt x="432" y="85"/>
                  </a:lnTo>
                  <a:lnTo>
                    <a:pt x="436" y="85"/>
                  </a:lnTo>
                  <a:lnTo>
                    <a:pt x="446" y="83"/>
                  </a:lnTo>
                  <a:lnTo>
                    <a:pt x="448" y="81"/>
                  </a:lnTo>
                  <a:lnTo>
                    <a:pt x="452" y="81"/>
                  </a:lnTo>
                  <a:lnTo>
                    <a:pt x="452" y="81"/>
                  </a:lnTo>
                  <a:lnTo>
                    <a:pt x="458" y="81"/>
                  </a:lnTo>
                  <a:lnTo>
                    <a:pt x="462" y="79"/>
                  </a:lnTo>
                  <a:lnTo>
                    <a:pt x="466" y="79"/>
                  </a:lnTo>
                  <a:lnTo>
                    <a:pt x="471" y="77"/>
                  </a:lnTo>
                  <a:lnTo>
                    <a:pt x="477" y="77"/>
                  </a:lnTo>
                  <a:lnTo>
                    <a:pt x="481" y="75"/>
                  </a:lnTo>
                  <a:lnTo>
                    <a:pt x="483" y="75"/>
                  </a:lnTo>
                  <a:lnTo>
                    <a:pt x="485" y="75"/>
                  </a:lnTo>
                  <a:lnTo>
                    <a:pt x="487" y="75"/>
                  </a:lnTo>
                  <a:lnTo>
                    <a:pt x="491" y="72"/>
                  </a:lnTo>
                  <a:lnTo>
                    <a:pt x="493" y="72"/>
                  </a:lnTo>
                  <a:lnTo>
                    <a:pt x="495" y="72"/>
                  </a:lnTo>
                  <a:lnTo>
                    <a:pt x="497" y="70"/>
                  </a:lnTo>
                  <a:lnTo>
                    <a:pt x="499" y="68"/>
                  </a:lnTo>
                  <a:lnTo>
                    <a:pt x="499" y="68"/>
                  </a:lnTo>
                  <a:lnTo>
                    <a:pt x="497" y="66"/>
                  </a:lnTo>
                  <a:lnTo>
                    <a:pt x="499" y="66"/>
                  </a:lnTo>
                  <a:lnTo>
                    <a:pt x="497" y="66"/>
                  </a:lnTo>
                  <a:lnTo>
                    <a:pt x="497" y="64"/>
                  </a:lnTo>
                  <a:lnTo>
                    <a:pt x="493" y="64"/>
                  </a:lnTo>
                  <a:lnTo>
                    <a:pt x="491" y="62"/>
                  </a:lnTo>
                  <a:lnTo>
                    <a:pt x="485" y="62"/>
                  </a:lnTo>
                  <a:lnTo>
                    <a:pt x="481" y="62"/>
                  </a:lnTo>
                  <a:lnTo>
                    <a:pt x="481" y="62"/>
                  </a:lnTo>
                  <a:lnTo>
                    <a:pt x="479" y="62"/>
                  </a:lnTo>
                  <a:lnTo>
                    <a:pt x="475" y="62"/>
                  </a:lnTo>
                  <a:lnTo>
                    <a:pt x="471" y="64"/>
                  </a:lnTo>
                  <a:lnTo>
                    <a:pt x="466" y="66"/>
                  </a:lnTo>
                  <a:lnTo>
                    <a:pt x="466" y="66"/>
                  </a:lnTo>
                  <a:lnTo>
                    <a:pt x="466" y="66"/>
                  </a:lnTo>
                  <a:lnTo>
                    <a:pt x="466" y="68"/>
                  </a:lnTo>
                  <a:lnTo>
                    <a:pt x="464" y="68"/>
                  </a:lnTo>
                  <a:lnTo>
                    <a:pt x="462" y="68"/>
                  </a:lnTo>
                  <a:lnTo>
                    <a:pt x="462" y="68"/>
                  </a:lnTo>
                  <a:lnTo>
                    <a:pt x="460" y="68"/>
                  </a:lnTo>
                  <a:lnTo>
                    <a:pt x="458" y="68"/>
                  </a:lnTo>
                  <a:lnTo>
                    <a:pt x="458" y="68"/>
                  </a:lnTo>
                  <a:lnTo>
                    <a:pt x="456" y="70"/>
                  </a:lnTo>
                  <a:lnTo>
                    <a:pt x="454" y="70"/>
                  </a:lnTo>
                  <a:lnTo>
                    <a:pt x="444" y="72"/>
                  </a:lnTo>
                  <a:lnTo>
                    <a:pt x="440" y="72"/>
                  </a:lnTo>
                  <a:lnTo>
                    <a:pt x="438" y="72"/>
                  </a:lnTo>
                  <a:lnTo>
                    <a:pt x="434" y="72"/>
                  </a:lnTo>
                  <a:lnTo>
                    <a:pt x="432" y="72"/>
                  </a:lnTo>
                  <a:lnTo>
                    <a:pt x="425" y="72"/>
                  </a:lnTo>
                  <a:lnTo>
                    <a:pt x="423" y="72"/>
                  </a:lnTo>
                  <a:lnTo>
                    <a:pt x="419" y="72"/>
                  </a:lnTo>
                  <a:lnTo>
                    <a:pt x="419" y="72"/>
                  </a:lnTo>
                  <a:close/>
                  <a:moveTo>
                    <a:pt x="542" y="118"/>
                  </a:moveTo>
                  <a:lnTo>
                    <a:pt x="542" y="118"/>
                  </a:lnTo>
                  <a:lnTo>
                    <a:pt x="542" y="118"/>
                  </a:lnTo>
                  <a:lnTo>
                    <a:pt x="544" y="118"/>
                  </a:lnTo>
                  <a:lnTo>
                    <a:pt x="544" y="118"/>
                  </a:lnTo>
                  <a:lnTo>
                    <a:pt x="547" y="118"/>
                  </a:lnTo>
                  <a:lnTo>
                    <a:pt x="549" y="118"/>
                  </a:lnTo>
                  <a:lnTo>
                    <a:pt x="551" y="118"/>
                  </a:lnTo>
                  <a:lnTo>
                    <a:pt x="553" y="118"/>
                  </a:lnTo>
                  <a:lnTo>
                    <a:pt x="559" y="118"/>
                  </a:lnTo>
                  <a:lnTo>
                    <a:pt x="561" y="118"/>
                  </a:lnTo>
                  <a:lnTo>
                    <a:pt x="561" y="116"/>
                  </a:lnTo>
                  <a:lnTo>
                    <a:pt x="559" y="116"/>
                  </a:lnTo>
                  <a:lnTo>
                    <a:pt x="557" y="114"/>
                  </a:lnTo>
                  <a:lnTo>
                    <a:pt x="557" y="114"/>
                  </a:lnTo>
                  <a:lnTo>
                    <a:pt x="555" y="114"/>
                  </a:lnTo>
                  <a:lnTo>
                    <a:pt x="553" y="112"/>
                  </a:lnTo>
                  <a:lnTo>
                    <a:pt x="551" y="112"/>
                  </a:lnTo>
                  <a:lnTo>
                    <a:pt x="551" y="112"/>
                  </a:lnTo>
                  <a:lnTo>
                    <a:pt x="544" y="112"/>
                  </a:lnTo>
                  <a:lnTo>
                    <a:pt x="542" y="114"/>
                  </a:lnTo>
                  <a:lnTo>
                    <a:pt x="540" y="114"/>
                  </a:lnTo>
                  <a:lnTo>
                    <a:pt x="542" y="116"/>
                  </a:lnTo>
                  <a:lnTo>
                    <a:pt x="542" y="118"/>
                  </a:lnTo>
                  <a:close/>
                  <a:moveTo>
                    <a:pt x="629" y="130"/>
                  </a:moveTo>
                  <a:lnTo>
                    <a:pt x="631" y="130"/>
                  </a:lnTo>
                  <a:lnTo>
                    <a:pt x="637" y="130"/>
                  </a:lnTo>
                  <a:lnTo>
                    <a:pt x="639" y="130"/>
                  </a:lnTo>
                  <a:lnTo>
                    <a:pt x="641" y="128"/>
                  </a:lnTo>
                  <a:lnTo>
                    <a:pt x="641" y="128"/>
                  </a:lnTo>
                  <a:lnTo>
                    <a:pt x="643" y="126"/>
                  </a:lnTo>
                  <a:lnTo>
                    <a:pt x="643" y="126"/>
                  </a:lnTo>
                  <a:lnTo>
                    <a:pt x="641" y="126"/>
                  </a:lnTo>
                  <a:lnTo>
                    <a:pt x="635" y="124"/>
                  </a:lnTo>
                  <a:lnTo>
                    <a:pt x="633" y="124"/>
                  </a:lnTo>
                  <a:lnTo>
                    <a:pt x="631" y="126"/>
                  </a:lnTo>
                  <a:lnTo>
                    <a:pt x="631" y="126"/>
                  </a:lnTo>
                  <a:lnTo>
                    <a:pt x="631" y="128"/>
                  </a:lnTo>
                  <a:lnTo>
                    <a:pt x="629" y="128"/>
                  </a:lnTo>
                  <a:lnTo>
                    <a:pt x="629" y="130"/>
                  </a:lnTo>
                  <a:lnTo>
                    <a:pt x="629" y="130"/>
                  </a:lnTo>
                  <a:close/>
                  <a:moveTo>
                    <a:pt x="421" y="153"/>
                  </a:moveTo>
                  <a:lnTo>
                    <a:pt x="419" y="153"/>
                  </a:lnTo>
                  <a:lnTo>
                    <a:pt x="419" y="153"/>
                  </a:lnTo>
                  <a:lnTo>
                    <a:pt x="413" y="151"/>
                  </a:lnTo>
                  <a:lnTo>
                    <a:pt x="411" y="151"/>
                  </a:lnTo>
                  <a:lnTo>
                    <a:pt x="405" y="146"/>
                  </a:lnTo>
                  <a:lnTo>
                    <a:pt x="399" y="144"/>
                  </a:lnTo>
                  <a:lnTo>
                    <a:pt x="395" y="142"/>
                  </a:lnTo>
                  <a:lnTo>
                    <a:pt x="390" y="138"/>
                  </a:lnTo>
                  <a:lnTo>
                    <a:pt x="390" y="138"/>
                  </a:lnTo>
                  <a:lnTo>
                    <a:pt x="388" y="136"/>
                  </a:lnTo>
                  <a:lnTo>
                    <a:pt x="386" y="134"/>
                  </a:lnTo>
                  <a:lnTo>
                    <a:pt x="386" y="134"/>
                  </a:lnTo>
                  <a:lnTo>
                    <a:pt x="386" y="132"/>
                  </a:lnTo>
                  <a:lnTo>
                    <a:pt x="386" y="132"/>
                  </a:lnTo>
                  <a:lnTo>
                    <a:pt x="386" y="130"/>
                  </a:lnTo>
                  <a:lnTo>
                    <a:pt x="384" y="130"/>
                  </a:lnTo>
                  <a:lnTo>
                    <a:pt x="384" y="128"/>
                  </a:lnTo>
                  <a:lnTo>
                    <a:pt x="384" y="128"/>
                  </a:lnTo>
                  <a:lnTo>
                    <a:pt x="384" y="128"/>
                  </a:lnTo>
                  <a:lnTo>
                    <a:pt x="384" y="126"/>
                  </a:lnTo>
                  <a:lnTo>
                    <a:pt x="384" y="126"/>
                  </a:lnTo>
                  <a:lnTo>
                    <a:pt x="384" y="126"/>
                  </a:lnTo>
                  <a:lnTo>
                    <a:pt x="386" y="126"/>
                  </a:lnTo>
                  <a:lnTo>
                    <a:pt x="386" y="124"/>
                  </a:lnTo>
                  <a:lnTo>
                    <a:pt x="386" y="124"/>
                  </a:lnTo>
                  <a:lnTo>
                    <a:pt x="386" y="122"/>
                  </a:lnTo>
                  <a:lnTo>
                    <a:pt x="386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0"/>
                  </a:lnTo>
                  <a:lnTo>
                    <a:pt x="388" y="120"/>
                  </a:lnTo>
                  <a:lnTo>
                    <a:pt x="388" y="120"/>
                  </a:lnTo>
                  <a:lnTo>
                    <a:pt x="390" y="118"/>
                  </a:lnTo>
                  <a:lnTo>
                    <a:pt x="390" y="118"/>
                  </a:lnTo>
                  <a:lnTo>
                    <a:pt x="390" y="116"/>
                  </a:lnTo>
                  <a:lnTo>
                    <a:pt x="390" y="116"/>
                  </a:lnTo>
                  <a:lnTo>
                    <a:pt x="386" y="116"/>
                  </a:lnTo>
                  <a:lnTo>
                    <a:pt x="382" y="116"/>
                  </a:lnTo>
                  <a:lnTo>
                    <a:pt x="378" y="116"/>
                  </a:lnTo>
                  <a:lnTo>
                    <a:pt x="376" y="114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0" y="114"/>
                  </a:lnTo>
                  <a:lnTo>
                    <a:pt x="366" y="116"/>
                  </a:lnTo>
                  <a:lnTo>
                    <a:pt x="366" y="116"/>
                  </a:lnTo>
                  <a:lnTo>
                    <a:pt x="364" y="116"/>
                  </a:lnTo>
                  <a:lnTo>
                    <a:pt x="362" y="116"/>
                  </a:lnTo>
                  <a:lnTo>
                    <a:pt x="360" y="116"/>
                  </a:lnTo>
                  <a:lnTo>
                    <a:pt x="360" y="116"/>
                  </a:lnTo>
                  <a:lnTo>
                    <a:pt x="358" y="116"/>
                  </a:lnTo>
                  <a:lnTo>
                    <a:pt x="356" y="116"/>
                  </a:lnTo>
                  <a:lnTo>
                    <a:pt x="356" y="116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20"/>
                  </a:lnTo>
                  <a:lnTo>
                    <a:pt x="356" y="120"/>
                  </a:lnTo>
                  <a:lnTo>
                    <a:pt x="358" y="120"/>
                  </a:lnTo>
                  <a:lnTo>
                    <a:pt x="358" y="120"/>
                  </a:lnTo>
                  <a:lnTo>
                    <a:pt x="356" y="120"/>
                  </a:lnTo>
                  <a:lnTo>
                    <a:pt x="354" y="120"/>
                  </a:lnTo>
                  <a:lnTo>
                    <a:pt x="354" y="120"/>
                  </a:lnTo>
                  <a:lnTo>
                    <a:pt x="351" y="122"/>
                  </a:lnTo>
                  <a:lnTo>
                    <a:pt x="349" y="122"/>
                  </a:lnTo>
                  <a:lnTo>
                    <a:pt x="349" y="122"/>
                  </a:lnTo>
                  <a:lnTo>
                    <a:pt x="349" y="124"/>
                  </a:lnTo>
                  <a:lnTo>
                    <a:pt x="351" y="124"/>
                  </a:lnTo>
                  <a:lnTo>
                    <a:pt x="351" y="124"/>
                  </a:lnTo>
                  <a:lnTo>
                    <a:pt x="356" y="124"/>
                  </a:lnTo>
                  <a:lnTo>
                    <a:pt x="354" y="126"/>
                  </a:lnTo>
                  <a:lnTo>
                    <a:pt x="354" y="126"/>
                  </a:lnTo>
                  <a:lnTo>
                    <a:pt x="356" y="126"/>
                  </a:lnTo>
                  <a:lnTo>
                    <a:pt x="354" y="126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4" y="130"/>
                  </a:lnTo>
                  <a:lnTo>
                    <a:pt x="354" y="130"/>
                  </a:lnTo>
                  <a:lnTo>
                    <a:pt x="354" y="130"/>
                  </a:lnTo>
                  <a:lnTo>
                    <a:pt x="351" y="130"/>
                  </a:lnTo>
                  <a:lnTo>
                    <a:pt x="351" y="132"/>
                  </a:lnTo>
                  <a:lnTo>
                    <a:pt x="351" y="132"/>
                  </a:lnTo>
                  <a:lnTo>
                    <a:pt x="351" y="132"/>
                  </a:lnTo>
                  <a:lnTo>
                    <a:pt x="349" y="132"/>
                  </a:lnTo>
                  <a:lnTo>
                    <a:pt x="345" y="132"/>
                  </a:lnTo>
                  <a:lnTo>
                    <a:pt x="345" y="132"/>
                  </a:lnTo>
                  <a:lnTo>
                    <a:pt x="343" y="132"/>
                  </a:lnTo>
                  <a:lnTo>
                    <a:pt x="343" y="132"/>
                  </a:lnTo>
                  <a:lnTo>
                    <a:pt x="343" y="134"/>
                  </a:lnTo>
                  <a:lnTo>
                    <a:pt x="343" y="134"/>
                  </a:lnTo>
                  <a:lnTo>
                    <a:pt x="343" y="136"/>
                  </a:lnTo>
                  <a:lnTo>
                    <a:pt x="343" y="138"/>
                  </a:lnTo>
                  <a:lnTo>
                    <a:pt x="345" y="140"/>
                  </a:lnTo>
                  <a:lnTo>
                    <a:pt x="345" y="140"/>
                  </a:lnTo>
                  <a:lnTo>
                    <a:pt x="347" y="140"/>
                  </a:lnTo>
                  <a:lnTo>
                    <a:pt x="349" y="142"/>
                  </a:lnTo>
                  <a:lnTo>
                    <a:pt x="351" y="142"/>
                  </a:lnTo>
                  <a:lnTo>
                    <a:pt x="354" y="142"/>
                  </a:lnTo>
                  <a:lnTo>
                    <a:pt x="356" y="140"/>
                  </a:lnTo>
                  <a:lnTo>
                    <a:pt x="360" y="142"/>
                  </a:lnTo>
                  <a:lnTo>
                    <a:pt x="362" y="142"/>
                  </a:lnTo>
                  <a:lnTo>
                    <a:pt x="366" y="140"/>
                  </a:lnTo>
                  <a:lnTo>
                    <a:pt x="368" y="140"/>
                  </a:lnTo>
                  <a:lnTo>
                    <a:pt x="366" y="142"/>
                  </a:lnTo>
                  <a:lnTo>
                    <a:pt x="368" y="142"/>
                  </a:lnTo>
                  <a:lnTo>
                    <a:pt x="368" y="144"/>
                  </a:lnTo>
                  <a:lnTo>
                    <a:pt x="370" y="144"/>
                  </a:lnTo>
                  <a:lnTo>
                    <a:pt x="370" y="144"/>
                  </a:lnTo>
                  <a:lnTo>
                    <a:pt x="370" y="144"/>
                  </a:lnTo>
                  <a:lnTo>
                    <a:pt x="374" y="146"/>
                  </a:lnTo>
                  <a:lnTo>
                    <a:pt x="378" y="146"/>
                  </a:lnTo>
                  <a:lnTo>
                    <a:pt x="378" y="149"/>
                  </a:lnTo>
                  <a:lnTo>
                    <a:pt x="376" y="146"/>
                  </a:lnTo>
                  <a:lnTo>
                    <a:pt x="374" y="146"/>
                  </a:lnTo>
                  <a:lnTo>
                    <a:pt x="376" y="149"/>
                  </a:lnTo>
                  <a:lnTo>
                    <a:pt x="372" y="149"/>
                  </a:lnTo>
                  <a:lnTo>
                    <a:pt x="372" y="149"/>
                  </a:lnTo>
                  <a:lnTo>
                    <a:pt x="372" y="149"/>
                  </a:lnTo>
                  <a:lnTo>
                    <a:pt x="374" y="151"/>
                  </a:lnTo>
                  <a:lnTo>
                    <a:pt x="374" y="151"/>
                  </a:lnTo>
                  <a:lnTo>
                    <a:pt x="372" y="151"/>
                  </a:lnTo>
                  <a:lnTo>
                    <a:pt x="370" y="151"/>
                  </a:lnTo>
                  <a:lnTo>
                    <a:pt x="376" y="153"/>
                  </a:lnTo>
                  <a:lnTo>
                    <a:pt x="380" y="153"/>
                  </a:lnTo>
                  <a:lnTo>
                    <a:pt x="382" y="153"/>
                  </a:lnTo>
                  <a:lnTo>
                    <a:pt x="384" y="155"/>
                  </a:lnTo>
                  <a:lnTo>
                    <a:pt x="386" y="155"/>
                  </a:lnTo>
                  <a:lnTo>
                    <a:pt x="386" y="153"/>
                  </a:lnTo>
                  <a:lnTo>
                    <a:pt x="386" y="153"/>
                  </a:lnTo>
                  <a:lnTo>
                    <a:pt x="388" y="155"/>
                  </a:lnTo>
                  <a:lnTo>
                    <a:pt x="390" y="155"/>
                  </a:lnTo>
                  <a:lnTo>
                    <a:pt x="395" y="155"/>
                  </a:lnTo>
                  <a:lnTo>
                    <a:pt x="399" y="155"/>
                  </a:lnTo>
                  <a:lnTo>
                    <a:pt x="399" y="155"/>
                  </a:lnTo>
                  <a:lnTo>
                    <a:pt x="399" y="155"/>
                  </a:lnTo>
                  <a:lnTo>
                    <a:pt x="401" y="155"/>
                  </a:lnTo>
                  <a:lnTo>
                    <a:pt x="401" y="155"/>
                  </a:lnTo>
                  <a:lnTo>
                    <a:pt x="403" y="155"/>
                  </a:lnTo>
                  <a:lnTo>
                    <a:pt x="403" y="155"/>
                  </a:lnTo>
                  <a:lnTo>
                    <a:pt x="405" y="155"/>
                  </a:lnTo>
                  <a:lnTo>
                    <a:pt x="405" y="155"/>
                  </a:lnTo>
                  <a:lnTo>
                    <a:pt x="409" y="157"/>
                  </a:lnTo>
                  <a:lnTo>
                    <a:pt x="409" y="155"/>
                  </a:lnTo>
                  <a:lnTo>
                    <a:pt x="409" y="155"/>
                  </a:lnTo>
                  <a:lnTo>
                    <a:pt x="407" y="155"/>
                  </a:lnTo>
                  <a:lnTo>
                    <a:pt x="407" y="155"/>
                  </a:lnTo>
                  <a:lnTo>
                    <a:pt x="405" y="153"/>
                  </a:lnTo>
                  <a:lnTo>
                    <a:pt x="407" y="153"/>
                  </a:lnTo>
                  <a:lnTo>
                    <a:pt x="407" y="153"/>
                  </a:lnTo>
                  <a:lnTo>
                    <a:pt x="409" y="155"/>
                  </a:lnTo>
                  <a:lnTo>
                    <a:pt x="409" y="155"/>
                  </a:lnTo>
                  <a:lnTo>
                    <a:pt x="411" y="155"/>
                  </a:lnTo>
                  <a:lnTo>
                    <a:pt x="415" y="155"/>
                  </a:lnTo>
                  <a:lnTo>
                    <a:pt x="417" y="155"/>
                  </a:lnTo>
                  <a:lnTo>
                    <a:pt x="417" y="155"/>
                  </a:lnTo>
                  <a:lnTo>
                    <a:pt x="419" y="155"/>
                  </a:lnTo>
                  <a:lnTo>
                    <a:pt x="421" y="153"/>
                  </a:lnTo>
                  <a:close/>
                  <a:moveTo>
                    <a:pt x="458" y="165"/>
                  </a:moveTo>
                  <a:lnTo>
                    <a:pt x="458" y="165"/>
                  </a:lnTo>
                  <a:lnTo>
                    <a:pt x="454" y="165"/>
                  </a:lnTo>
                  <a:lnTo>
                    <a:pt x="452" y="163"/>
                  </a:lnTo>
                  <a:lnTo>
                    <a:pt x="448" y="161"/>
                  </a:lnTo>
                  <a:lnTo>
                    <a:pt x="446" y="161"/>
                  </a:lnTo>
                  <a:lnTo>
                    <a:pt x="444" y="159"/>
                  </a:lnTo>
                  <a:lnTo>
                    <a:pt x="442" y="159"/>
                  </a:lnTo>
                  <a:lnTo>
                    <a:pt x="440" y="157"/>
                  </a:lnTo>
                  <a:lnTo>
                    <a:pt x="440" y="157"/>
                  </a:lnTo>
                  <a:lnTo>
                    <a:pt x="438" y="157"/>
                  </a:lnTo>
                  <a:lnTo>
                    <a:pt x="436" y="157"/>
                  </a:lnTo>
                  <a:lnTo>
                    <a:pt x="436" y="159"/>
                  </a:lnTo>
                  <a:lnTo>
                    <a:pt x="436" y="159"/>
                  </a:lnTo>
                  <a:lnTo>
                    <a:pt x="434" y="159"/>
                  </a:lnTo>
                  <a:lnTo>
                    <a:pt x="434" y="161"/>
                  </a:lnTo>
                  <a:lnTo>
                    <a:pt x="436" y="163"/>
                  </a:lnTo>
                  <a:lnTo>
                    <a:pt x="436" y="163"/>
                  </a:lnTo>
                  <a:lnTo>
                    <a:pt x="436" y="163"/>
                  </a:lnTo>
                  <a:lnTo>
                    <a:pt x="438" y="163"/>
                  </a:lnTo>
                  <a:lnTo>
                    <a:pt x="442" y="165"/>
                  </a:lnTo>
                  <a:lnTo>
                    <a:pt x="442" y="167"/>
                  </a:lnTo>
                  <a:lnTo>
                    <a:pt x="444" y="165"/>
                  </a:lnTo>
                  <a:lnTo>
                    <a:pt x="444" y="165"/>
                  </a:lnTo>
                  <a:lnTo>
                    <a:pt x="446" y="165"/>
                  </a:lnTo>
                  <a:lnTo>
                    <a:pt x="446" y="167"/>
                  </a:lnTo>
                  <a:lnTo>
                    <a:pt x="448" y="167"/>
                  </a:lnTo>
                  <a:lnTo>
                    <a:pt x="450" y="167"/>
                  </a:lnTo>
                  <a:lnTo>
                    <a:pt x="450" y="169"/>
                  </a:lnTo>
                  <a:lnTo>
                    <a:pt x="450" y="169"/>
                  </a:lnTo>
                  <a:lnTo>
                    <a:pt x="452" y="169"/>
                  </a:lnTo>
                  <a:lnTo>
                    <a:pt x="452" y="169"/>
                  </a:lnTo>
                  <a:lnTo>
                    <a:pt x="454" y="169"/>
                  </a:lnTo>
                  <a:lnTo>
                    <a:pt x="456" y="169"/>
                  </a:lnTo>
                  <a:lnTo>
                    <a:pt x="458" y="169"/>
                  </a:lnTo>
                  <a:lnTo>
                    <a:pt x="458" y="169"/>
                  </a:lnTo>
                  <a:lnTo>
                    <a:pt x="460" y="169"/>
                  </a:lnTo>
                  <a:lnTo>
                    <a:pt x="460" y="167"/>
                  </a:lnTo>
                  <a:lnTo>
                    <a:pt x="460" y="167"/>
                  </a:lnTo>
                  <a:lnTo>
                    <a:pt x="458" y="165"/>
                  </a:lnTo>
                  <a:close/>
                  <a:moveTo>
                    <a:pt x="524" y="157"/>
                  </a:moveTo>
                  <a:lnTo>
                    <a:pt x="526" y="157"/>
                  </a:lnTo>
                  <a:lnTo>
                    <a:pt x="526" y="157"/>
                  </a:lnTo>
                  <a:lnTo>
                    <a:pt x="526" y="157"/>
                  </a:lnTo>
                  <a:lnTo>
                    <a:pt x="522" y="155"/>
                  </a:lnTo>
                  <a:lnTo>
                    <a:pt x="522" y="153"/>
                  </a:lnTo>
                  <a:lnTo>
                    <a:pt x="522" y="153"/>
                  </a:lnTo>
                  <a:lnTo>
                    <a:pt x="522" y="153"/>
                  </a:lnTo>
                  <a:lnTo>
                    <a:pt x="522" y="153"/>
                  </a:lnTo>
                  <a:lnTo>
                    <a:pt x="524" y="155"/>
                  </a:lnTo>
                  <a:lnTo>
                    <a:pt x="524" y="157"/>
                  </a:lnTo>
                  <a:close/>
                  <a:moveTo>
                    <a:pt x="602" y="114"/>
                  </a:moveTo>
                  <a:lnTo>
                    <a:pt x="606" y="112"/>
                  </a:lnTo>
                  <a:lnTo>
                    <a:pt x="606" y="112"/>
                  </a:lnTo>
                  <a:lnTo>
                    <a:pt x="606" y="112"/>
                  </a:lnTo>
                  <a:lnTo>
                    <a:pt x="606" y="112"/>
                  </a:lnTo>
                  <a:lnTo>
                    <a:pt x="606" y="112"/>
                  </a:lnTo>
                  <a:lnTo>
                    <a:pt x="602" y="112"/>
                  </a:lnTo>
                  <a:lnTo>
                    <a:pt x="600" y="112"/>
                  </a:lnTo>
                  <a:lnTo>
                    <a:pt x="600" y="114"/>
                  </a:lnTo>
                  <a:lnTo>
                    <a:pt x="602" y="114"/>
                  </a:lnTo>
                  <a:close/>
                  <a:moveTo>
                    <a:pt x="614" y="114"/>
                  </a:moveTo>
                  <a:lnTo>
                    <a:pt x="616" y="114"/>
                  </a:lnTo>
                  <a:lnTo>
                    <a:pt x="608" y="112"/>
                  </a:lnTo>
                  <a:lnTo>
                    <a:pt x="608" y="112"/>
                  </a:lnTo>
                  <a:lnTo>
                    <a:pt x="608" y="112"/>
                  </a:lnTo>
                  <a:lnTo>
                    <a:pt x="610" y="112"/>
                  </a:lnTo>
                  <a:lnTo>
                    <a:pt x="614" y="114"/>
                  </a:lnTo>
                  <a:close/>
                  <a:moveTo>
                    <a:pt x="559" y="13"/>
                  </a:moveTo>
                  <a:lnTo>
                    <a:pt x="567" y="13"/>
                  </a:lnTo>
                  <a:lnTo>
                    <a:pt x="571" y="11"/>
                  </a:lnTo>
                  <a:lnTo>
                    <a:pt x="571" y="11"/>
                  </a:lnTo>
                  <a:lnTo>
                    <a:pt x="571" y="11"/>
                  </a:lnTo>
                  <a:lnTo>
                    <a:pt x="569" y="11"/>
                  </a:lnTo>
                  <a:lnTo>
                    <a:pt x="565" y="11"/>
                  </a:lnTo>
                  <a:lnTo>
                    <a:pt x="559" y="11"/>
                  </a:lnTo>
                  <a:lnTo>
                    <a:pt x="557" y="11"/>
                  </a:lnTo>
                  <a:lnTo>
                    <a:pt x="557" y="13"/>
                  </a:lnTo>
                  <a:lnTo>
                    <a:pt x="557" y="13"/>
                  </a:lnTo>
                  <a:lnTo>
                    <a:pt x="559" y="13"/>
                  </a:lnTo>
                  <a:close/>
                  <a:moveTo>
                    <a:pt x="592" y="120"/>
                  </a:moveTo>
                  <a:lnTo>
                    <a:pt x="596" y="120"/>
                  </a:lnTo>
                  <a:lnTo>
                    <a:pt x="596" y="122"/>
                  </a:lnTo>
                  <a:lnTo>
                    <a:pt x="598" y="122"/>
                  </a:lnTo>
                  <a:lnTo>
                    <a:pt x="598" y="122"/>
                  </a:lnTo>
                  <a:lnTo>
                    <a:pt x="598" y="120"/>
                  </a:lnTo>
                  <a:lnTo>
                    <a:pt x="598" y="120"/>
                  </a:lnTo>
                  <a:lnTo>
                    <a:pt x="596" y="120"/>
                  </a:lnTo>
                  <a:lnTo>
                    <a:pt x="598" y="120"/>
                  </a:lnTo>
                  <a:lnTo>
                    <a:pt x="600" y="118"/>
                  </a:lnTo>
                  <a:lnTo>
                    <a:pt x="596" y="118"/>
                  </a:lnTo>
                  <a:lnTo>
                    <a:pt x="594" y="118"/>
                  </a:lnTo>
                  <a:lnTo>
                    <a:pt x="592" y="118"/>
                  </a:lnTo>
                  <a:lnTo>
                    <a:pt x="590" y="118"/>
                  </a:lnTo>
                  <a:lnTo>
                    <a:pt x="590" y="118"/>
                  </a:lnTo>
                  <a:lnTo>
                    <a:pt x="590" y="120"/>
                  </a:lnTo>
                  <a:lnTo>
                    <a:pt x="592" y="120"/>
                  </a:lnTo>
                  <a:close/>
                  <a:moveTo>
                    <a:pt x="542" y="27"/>
                  </a:moveTo>
                  <a:lnTo>
                    <a:pt x="547" y="27"/>
                  </a:lnTo>
                  <a:lnTo>
                    <a:pt x="549" y="27"/>
                  </a:lnTo>
                  <a:lnTo>
                    <a:pt x="549" y="29"/>
                  </a:lnTo>
                  <a:lnTo>
                    <a:pt x="551" y="29"/>
                  </a:lnTo>
                  <a:lnTo>
                    <a:pt x="559" y="29"/>
                  </a:lnTo>
                  <a:lnTo>
                    <a:pt x="559" y="29"/>
                  </a:lnTo>
                  <a:lnTo>
                    <a:pt x="555" y="27"/>
                  </a:lnTo>
                  <a:lnTo>
                    <a:pt x="547" y="27"/>
                  </a:lnTo>
                  <a:lnTo>
                    <a:pt x="544" y="27"/>
                  </a:lnTo>
                  <a:lnTo>
                    <a:pt x="542" y="27"/>
                  </a:lnTo>
                  <a:lnTo>
                    <a:pt x="542" y="27"/>
                  </a:lnTo>
                  <a:lnTo>
                    <a:pt x="540" y="27"/>
                  </a:lnTo>
                  <a:lnTo>
                    <a:pt x="542" y="27"/>
                  </a:lnTo>
                  <a:lnTo>
                    <a:pt x="542" y="27"/>
                  </a:lnTo>
                  <a:close/>
                  <a:moveTo>
                    <a:pt x="672" y="103"/>
                  </a:moveTo>
                  <a:lnTo>
                    <a:pt x="670" y="103"/>
                  </a:lnTo>
                  <a:lnTo>
                    <a:pt x="670" y="103"/>
                  </a:lnTo>
                  <a:lnTo>
                    <a:pt x="672" y="103"/>
                  </a:lnTo>
                  <a:lnTo>
                    <a:pt x="672" y="103"/>
                  </a:lnTo>
                  <a:lnTo>
                    <a:pt x="674" y="103"/>
                  </a:lnTo>
                  <a:lnTo>
                    <a:pt x="676" y="103"/>
                  </a:lnTo>
                  <a:lnTo>
                    <a:pt x="674" y="103"/>
                  </a:lnTo>
                  <a:lnTo>
                    <a:pt x="674" y="103"/>
                  </a:lnTo>
                  <a:lnTo>
                    <a:pt x="672" y="103"/>
                  </a:lnTo>
                  <a:close/>
                  <a:moveTo>
                    <a:pt x="789" y="72"/>
                  </a:moveTo>
                  <a:lnTo>
                    <a:pt x="785" y="72"/>
                  </a:lnTo>
                  <a:lnTo>
                    <a:pt x="785" y="72"/>
                  </a:lnTo>
                  <a:lnTo>
                    <a:pt x="785" y="72"/>
                  </a:lnTo>
                  <a:lnTo>
                    <a:pt x="789" y="72"/>
                  </a:lnTo>
                  <a:lnTo>
                    <a:pt x="791" y="75"/>
                  </a:lnTo>
                  <a:lnTo>
                    <a:pt x="795" y="75"/>
                  </a:lnTo>
                  <a:lnTo>
                    <a:pt x="797" y="75"/>
                  </a:lnTo>
                  <a:lnTo>
                    <a:pt x="797" y="72"/>
                  </a:lnTo>
                  <a:lnTo>
                    <a:pt x="797" y="72"/>
                  </a:lnTo>
                  <a:lnTo>
                    <a:pt x="797" y="72"/>
                  </a:lnTo>
                  <a:lnTo>
                    <a:pt x="799" y="72"/>
                  </a:lnTo>
                  <a:lnTo>
                    <a:pt x="799" y="72"/>
                  </a:lnTo>
                  <a:lnTo>
                    <a:pt x="797" y="72"/>
                  </a:lnTo>
                  <a:lnTo>
                    <a:pt x="795" y="72"/>
                  </a:lnTo>
                  <a:lnTo>
                    <a:pt x="793" y="72"/>
                  </a:lnTo>
                  <a:lnTo>
                    <a:pt x="789" y="72"/>
                  </a:lnTo>
                  <a:lnTo>
                    <a:pt x="789" y="72"/>
                  </a:lnTo>
                  <a:close/>
                  <a:moveTo>
                    <a:pt x="1351" y="66"/>
                  </a:moveTo>
                  <a:lnTo>
                    <a:pt x="1351" y="66"/>
                  </a:lnTo>
                  <a:lnTo>
                    <a:pt x="1351" y="66"/>
                  </a:lnTo>
                  <a:lnTo>
                    <a:pt x="1351" y="64"/>
                  </a:lnTo>
                  <a:lnTo>
                    <a:pt x="1345" y="66"/>
                  </a:lnTo>
                  <a:lnTo>
                    <a:pt x="1343" y="66"/>
                  </a:lnTo>
                  <a:lnTo>
                    <a:pt x="1343" y="66"/>
                  </a:lnTo>
                  <a:lnTo>
                    <a:pt x="1351" y="66"/>
                  </a:lnTo>
                  <a:close/>
                  <a:moveTo>
                    <a:pt x="1325" y="140"/>
                  </a:moveTo>
                  <a:lnTo>
                    <a:pt x="1323" y="140"/>
                  </a:lnTo>
                  <a:lnTo>
                    <a:pt x="1323" y="140"/>
                  </a:lnTo>
                  <a:lnTo>
                    <a:pt x="1323" y="140"/>
                  </a:lnTo>
                  <a:lnTo>
                    <a:pt x="1325" y="142"/>
                  </a:lnTo>
                  <a:lnTo>
                    <a:pt x="1327" y="142"/>
                  </a:lnTo>
                  <a:lnTo>
                    <a:pt x="1327" y="142"/>
                  </a:lnTo>
                  <a:lnTo>
                    <a:pt x="1329" y="142"/>
                  </a:lnTo>
                  <a:lnTo>
                    <a:pt x="1329" y="142"/>
                  </a:lnTo>
                  <a:lnTo>
                    <a:pt x="1329" y="142"/>
                  </a:lnTo>
                  <a:lnTo>
                    <a:pt x="1331" y="142"/>
                  </a:lnTo>
                  <a:lnTo>
                    <a:pt x="1333" y="142"/>
                  </a:lnTo>
                  <a:lnTo>
                    <a:pt x="1333" y="142"/>
                  </a:lnTo>
                  <a:lnTo>
                    <a:pt x="1333" y="140"/>
                  </a:lnTo>
                  <a:lnTo>
                    <a:pt x="1331" y="140"/>
                  </a:lnTo>
                  <a:lnTo>
                    <a:pt x="1331" y="140"/>
                  </a:lnTo>
                  <a:lnTo>
                    <a:pt x="1325" y="140"/>
                  </a:lnTo>
                  <a:lnTo>
                    <a:pt x="1325" y="140"/>
                  </a:lnTo>
                  <a:close/>
                  <a:moveTo>
                    <a:pt x="1247" y="79"/>
                  </a:moveTo>
                  <a:lnTo>
                    <a:pt x="1249" y="79"/>
                  </a:lnTo>
                  <a:lnTo>
                    <a:pt x="1245" y="79"/>
                  </a:lnTo>
                  <a:lnTo>
                    <a:pt x="1245" y="79"/>
                  </a:lnTo>
                  <a:lnTo>
                    <a:pt x="1249" y="83"/>
                  </a:lnTo>
                  <a:lnTo>
                    <a:pt x="1253" y="85"/>
                  </a:lnTo>
                  <a:lnTo>
                    <a:pt x="1251" y="85"/>
                  </a:lnTo>
                  <a:lnTo>
                    <a:pt x="1249" y="85"/>
                  </a:lnTo>
                  <a:lnTo>
                    <a:pt x="1249" y="85"/>
                  </a:lnTo>
                  <a:lnTo>
                    <a:pt x="1251" y="87"/>
                  </a:lnTo>
                  <a:lnTo>
                    <a:pt x="1253" y="87"/>
                  </a:lnTo>
                  <a:lnTo>
                    <a:pt x="1257" y="89"/>
                  </a:lnTo>
                  <a:lnTo>
                    <a:pt x="1261" y="89"/>
                  </a:lnTo>
                  <a:lnTo>
                    <a:pt x="1263" y="89"/>
                  </a:lnTo>
                  <a:lnTo>
                    <a:pt x="1263" y="91"/>
                  </a:lnTo>
                  <a:lnTo>
                    <a:pt x="1269" y="93"/>
                  </a:lnTo>
                  <a:lnTo>
                    <a:pt x="1271" y="93"/>
                  </a:lnTo>
                  <a:lnTo>
                    <a:pt x="1273" y="93"/>
                  </a:lnTo>
                  <a:lnTo>
                    <a:pt x="1284" y="95"/>
                  </a:lnTo>
                  <a:lnTo>
                    <a:pt x="1286" y="95"/>
                  </a:lnTo>
                  <a:lnTo>
                    <a:pt x="1286" y="95"/>
                  </a:lnTo>
                  <a:lnTo>
                    <a:pt x="1288" y="95"/>
                  </a:lnTo>
                  <a:lnTo>
                    <a:pt x="1288" y="95"/>
                  </a:lnTo>
                  <a:lnTo>
                    <a:pt x="1288" y="93"/>
                  </a:lnTo>
                  <a:lnTo>
                    <a:pt x="1288" y="93"/>
                  </a:lnTo>
                  <a:lnTo>
                    <a:pt x="1286" y="91"/>
                  </a:lnTo>
                  <a:lnTo>
                    <a:pt x="1286" y="91"/>
                  </a:lnTo>
                  <a:lnTo>
                    <a:pt x="1286" y="91"/>
                  </a:lnTo>
                  <a:lnTo>
                    <a:pt x="1288" y="91"/>
                  </a:lnTo>
                  <a:lnTo>
                    <a:pt x="1292" y="91"/>
                  </a:lnTo>
                  <a:lnTo>
                    <a:pt x="1296" y="93"/>
                  </a:lnTo>
                  <a:lnTo>
                    <a:pt x="1298" y="93"/>
                  </a:lnTo>
                  <a:lnTo>
                    <a:pt x="1300" y="91"/>
                  </a:lnTo>
                  <a:lnTo>
                    <a:pt x="1306" y="91"/>
                  </a:lnTo>
                  <a:lnTo>
                    <a:pt x="1306" y="91"/>
                  </a:lnTo>
                  <a:lnTo>
                    <a:pt x="1308" y="91"/>
                  </a:lnTo>
                  <a:lnTo>
                    <a:pt x="1310" y="91"/>
                  </a:lnTo>
                  <a:lnTo>
                    <a:pt x="1312" y="91"/>
                  </a:lnTo>
                  <a:lnTo>
                    <a:pt x="1314" y="91"/>
                  </a:lnTo>
                  <a:lnTo>
                    <a:pt x="1316" y="93"/>
                  </a:lnTo>
                  <a:lnTo>
                    <a:pt x="1318" y="93"/>
                  </a:lnTo>
                  <a:lnTo>
                    <a:pt x="1321" y="93"/>
                  </a:lnTo>
                  <a:lnTo>
                    <a:pt x="1321" y="93"/>
                  </a:lnTo>
                  <a:lnTo>
                    <a:pt x="1323" y="93"/>
                  </a:lnTo>
                  <a:lnTo>
                    <a:pt x="1325" y="91"/>
                  </a:lnTo>
                  <a:lnTo>
                    <a:pt x="1321" y="89"/>
                  </a:lnTo>
                  <a:lnTo>
                    <a:pt x="1316" y="89"/>
                  </a:lnTo>
                  <a:lnTo>
                    <a:pt x="1314" y="89"/>
                  </a:lnTo>
                  <a:lnTo>
                    <a:pt x="1306" y="85"/>
                  </a:lnTo>
                  <a:lnTo>
                    <a:pt x="1304" y="85"/>
                  </a:lnTo>
                  <a:lnTo>
                    <a:pt x="1304" y="83"/>
                  </a:lnTo>
                  <a:lnTo>
                    <a:pt x="1298" y="81"/>
                  </a:lnTo>
                  <a:lnTo>
                    <a:pt x="1300" y="81"/>
                  </a:lnTo>
                  <a:lnTo>
                    <a:pt x="1302" y="81"/>
                  </a:lnTo>
                  <a:lnTo>
                    <a:pt x="1306" y="81"/>
                  </a:lnTo>
                  <a:lnTo>
                    <a:pt x="1308" y="81"/>
                  </a:lnTo>
                  <a:lnTo>
                    <a:pt x="1308" y="81"/>
                  </a:lnTo>
                  <a:lnTo>
                    <a:pt x="1308" y="83"/>
                  </a:lnTo>
                  <a:lnTo>
                    <a:pt x="1308" y="83"/>
                  </a:lnTo>
                  <a:lnTo>
                    <a:pt x="1310" y="83"/>
                  </a:lnTo>
                  <a:lnTo>
                    <a:pt x="1312" y="85"/>
                  </a:lnTo>
                  <a:lnTo>
                    <a:pt x="1314" y="87"/>
                  </a:lnTo>
                  <a:lnTo>
                    <a:pt x="1316" y="87"/>
                  </a:lnTo>
                  <a:lnTo>
                    <a:pt x="1321" y="89"/>
                  </a:lnTo>
                  <a:lnTo>
                    <a:pt x="1325" y="89"/>
                  </a:lnTo>
                  <a:lnTo>
                    <a:pt x="1327" y="89"/>
                  </a:lnTo>
                  <a:lnTo>
                    <a:pt x="1333" y="89"/>
                  </a:lnTo>
                  <a:lnTo>
                    <a:pt x="1335" y="89"/>
                  </a:lnTo>
                  <a:lnTo>
                    <a:pt x="1335" y="89"/>
                  </a:lnTo>
                  <a:lnTo>
                    <a:pt x="1337" y="87"/>
                  </a:lnTo>
                  <a:lnTo>
                    <a:pt x="1335" y="85"/>
                  </a:lnTo>
                  <a:lnTo>
                    <a:pt x="1333" y="85"/>
                  </a:lnTo>
                  <a:lnTo>
                    <a:pt x="1333" y="85"/>
                  </a:lnTo>
                  <a:lnTo>
                    <a:pt x="1333" y="83"/>
                  </a:lnTo>
                  <a:lnTo>
                    <a:pt x="1337" y="83"/>
                  </a:lnTo>
                  <a:lnTo>
                    <a:pt x="1335" y="83"/>
                  </a:lnTo>
                  <a:lnTo>
                    <a:pt x="1335" y="83"/>
                  </a:lnTo>
                  <a:lnTo>
                    <a:pt x="1310" y="79"/>
                  </a:lnTo>
                  <a:lnTo>
                    <a:pt x="1310" y="79"/>
                  </a:lnTo>
                  <a:lnTo>
                    <a:pt x="1308" y="79"/>
                  </a:lnTo>
                  <a:lnTo>
                    <a:pt x="1306" y="79"/>
                  </a:lnTo>
                  <a:lnTo>
                    <a:pt x="1304" y="79"/>
                  </a:lnTo>
                  <a:lnTo>
                    <a:pt x="1300" y="79"/>
                  </a:lnTo>
                  <a:lnTo>
                    <a:pt x="1296" y="77"/>
                  </a:lnTo>
                  <a:lnTo>
                    <a:pt x="1290" y="75"/>
                  </a:lnTo>
                  <a:lnTo>
                    <a:pt x="1286" y="75"/>
                  </a:lnTo>
                  <a:lnTo>
                    <a:pt x="1282" y="75"/>
                  </a:lnTo>
                  <a:lnTo>
                    <a:pt x="1282" y="75"/>
                  </a:lnTo>
                  <a:lnTo>
                    <a:pt x="1279" y="77"/>
                  </a:lnTo>
                  <a:lnTo>
                    <a:pt x="1279" y="77"/>
                  </a:lnTo>
                  <a:lnTo>
                    <a:pt x="1279" y="77"/>
                  </a:lnTo>
                  <a:lnTo>
                    <a:pt x="1282" y="79"/>
                  </a:lnTo>
                  <a:lnTo>
                    <a:pt x="1284" y="79"/>
                  </a:lnTo>
                  <a:lnTo>
                    <a:pt x="1284" y="79"/>
                  </a:lnTo>
                  <a:lnTo>
                    <a:pt x="1286" y="81"/>
                  </a:lnTo>
                  <a:lnTo>
                    <a:pt x="1286" y="81"/>
                  </a:lnTo>
                  <a:lnTo>
                    <a:pt x="1286" y="81"/>
                  </a:lnTo>
                  <a:lnTo>
                    <a:pt x="1284" y="81"/>
                  </a:lnTo>
                  <a:lnTo>
                    <a:pt x="1282" y="81"/>
                  </a:lnTo>
                  <a:lnTo>
                    <a:pt x="1282" y="81"/>
                  </a:lnTo>
                  <a:lnTo>
                    <a:pt x="1279" y="81"/>
                  </a:lnTo>
                  <a:lnTo>
                    <a:pt x="1277" y="79"/>
                  </a:lnTo>
                  <a:lnTo>
                    <a:pt x="1275" y="79"/>
                  </a:lnTo>
                  <a:lnTo>
                    <a:pt x="1273" y="79"/>
                  </a:lnTo>
                  <a:lnTo>
                    <a:pt x="1273" y="79"/>
                  </a:lnTo>
                  <a:lnTo>
                    <a:pt x="1267" y="77"/>
                  </a:lnTo>
                  <a:lnTo>
                    <a:pt x="1263" y="77"/>
                  </a:lnTo>
                  <a:lnTo>
                    <a:pt x="1259" y="75"/>
                  </a:lnTo>
                  <a:lnTo>
                    <a:pt x="1257" y="75"/>
                  </a:lnTo>
                  <a:lnTo>
                    <a:pt x="1255" y="75"/>
                  </a:lnTo>
                  <a:lnTo>
                    <a:pt x="1253" y="72"/>
                  </a:lnTo>
                  <a:lnTo>
                    <a:pt x="1251" y="72"/>
                  </a:lnTo>
                  <a:lnTo>
                    <a:pt x="1249" y="75"/>
                  </a:lnTo>
                  <a:lnTo>
                    <a:pt x="1247" y="75"/>
                  </a:lnTo>
                  <a:lnTo>
                    <a:pt x="1247" y="75"/>
                  </a:lnTo>
                  <a:lnTo>
                    <a:pt x="1247" y="75"/>
                  </a:lnTo>
                  <a:lnTo>
                    <a:pt x="1247" y="75"/>
                  </a:lnTo>
                  <a:lnTo>
                    <a:pt x="1245" y="77"/>
                  </a:lnTo>
                  <a:lnTo>
                    <a:pt x="1243" y="77"/>
                  </a:lnTo>
                  <a:lnTo>
                    <a:pt x="1243" y="77"/>
                  </a:lnTo>
                  <a:lnTo>
                    <a:pt x="1243" y="77"/>
                  </a:lnTo>
                  <a:lnTo>
                    <a:pt x="1247" y="79"/>
                  </a:lnTo>
                  <a:close/>
                  <a:moveTo>
                    <a:pt x="1321" y="103"/>
                  </a:moveTo>
                  <a:lnTo>
                    <a:pt x="1318" y="101"/>
                  </a:lnTo>
                  <a:lnTo>
                    <a:pt x="1316" y="101"/>
                  </a:lnTo>
                  <a:lnTo>
                    <a:pt x="1316" y="101"/>
                  </a:lnTo>
                  <a:lnTo>
                    <a:pt x="1314" y="101"/>
                  </a:lnTo>
                  <a:lnTo>
                    <a:pt x="1314" y="101"/>
                  </a:lnTo>
                  <a:lnTo>
                    <a:pt x="1308" y="101"/>
                  </a:lnTo>
                  <a:lnTo>
                    <a:pt x="1308" y="101"/>
                  </a:lnTo>
                  <a:lnTo>
                    <a:pt x="1306" y="101"/>
                  </a:lnTo>
                  <a:lnTo>
                    <a:pt x="1306" y="101"/>
                  </a:lnTo>
                  <a:lnTo>
                    <a:pt x="1312" y="105"/>
                  </a:lnTo>
                  <a:lnTo>
                    <a:pt x="1316" y="105"/>
                  </a:lnTo>
                  <a:lnTo>
                    <a:pt x="1316" y="105"/>
                  </a:lnTo>
                  <a:lnTo>
                    <a:pt x="1321" y="105"/>
                  </a:lnTo>
                  <a:lnTo>
                    <a:pt x="1321" y="103"/>
                  </a:lnTo>
                  <a:close/>
                  <a:moveTo>
                    <a:pt x="1333" y="105"/>
                  </a:moveTo>
                  <a:lnTo>
                    <a:pt x="1331" y="105"/>
                  </a:lnTo>
                  <a:lnTo>
                    <a:pt x="1327" y="107"/>
                  </a:lnTo>
                  <a:lnTo>
                    <a:pt x="1325" y="107"/>
                  </a:lnTo>
                  <a:lnTo>
                    <a:pt x="1325" y="107"/>
                  </a:lnTo>
                  <a:lnTo>
                    <a:pt x="1325" y="107"/>
                  </a:lnTo>
                  <a:lnTo>
                    <a:pt x="1325" y="107"/>
                  </a:lnTo>
                  <a:lnTo>
                    <a:pt x="1325" y="109"/>
                  </a:lnTo>
                  <a:lnTo>
                    <a:pt x="1325" y="112"/>
                  </a:lnTo>
                  <a:lnTo>
                    <a:pt x="1325" y="112"/>
                  </a:lnTo>
                  <a:lnTo>
                    <a:pt x="1323" y="112"/>
                  </a:lnTo>
                  <a:lnTo>
                    <a:pt x="1318" y="114"/>
                  </a:lnTo>
                  <a:lnTo>
                    <a:pt x="1316" y="114"/>
                  </a:lnTo>
                  <a:lnTo>
                    <a:pt x="1321" y="114"/>
                  </a:lnTo>
                  <a:lnTo>
                    <a:pt x="1321" y="114"/>
                  </a:lnTo>
                  <a:lnTo>
                    <a:pt x="1323" y="114"/>
                  </a:lnTo>
                  <a:lnTo>
                    <a:pt x="1325" y="114"/>
                  </a:lnTo>
                  <a:lnTo>
                    <a:pt x="1327" y="114"/>
                  </a:lnTo>
                  <a:lnTo>
                    <a:pt x="1329" y="114"/>
                  </a:lnTo>
                  <a:lnTo>
                    <a:pt x="1335" y="114"/>
                  </a:lnTo>
                  <a:lnTo>
                    <a:pt x="1341" y="116"/>
                  </a:lnTo>
                  <a:lnTo>
                    <a:pt x="1347" y="116"/>
                  </a:lnTo>
                  <a:lnTo>
                    <a:pt x="1351" y="116"/>
                  </a:lnTo>
                  <a:lnTo>
                    <a:pt x="1353" y="116"/>
                  </a:lnTo>
                  <a:lnTo>
                    <a:pt x="1355" y="116"/>
                  </a:lnTo>
                  <a:lnTo>
                    <a:pt x="1360" y="116"/>
                  </a:lnTo>
                  <a:lnTo>
                    <a:pt x="1364" y="116"/>
                  </a:lnTo>
                  <a:lnTo>
                    <a:pt x="1364" y="116"/>
                  </a:lnTo>
                  <a:lnTo>
                    <a:pt x="1360" y="112"/>
                  </a:lnTo>
                  <a:lnTo>
                    <a:pt x="1357" y="112"/>
                  </a:lnTo>
                  <a:lnTo>
                    <a:pt x="1355" y="112"/>
                  </a:lnTo>
                  <a:lnTo>
                    <a:pt x="1343" y="107"/>
                  </a:lnTo>
                  <a:lnTo>
                    <a:pt x="1339" y="107"/>
                  </a:lnTo>
                  <a:lnTo>
                    <a:pt x="1335" y="105"/>
                  </a:lnTo>
                  <a:lnTo>
                    <a:pt x="1333" y="105"/>
                  </a:lnTo>
                  <a:close/>
                  <a:moveTo>
                    <a:pt x="1809" y="149"/>
                  </a:moveTo>
                  <a:lnTo>
                    <a:pt x="1809" y="149"/>
                  </a:lnTo>
                  <a:lnTo>
                    <a:pt x="1811" y="149"/>
                  </a:lnTo>
                  <a:lnTo>
                    <a:pt x="1817" y="153"/>
                  </a:lnTo>
                  <a:lnTo>
                    <a:pt x="1817" y="153"/>
                  </a:lnTo>
                  <a:lnTo>
                    <a:pt x="1819" y="151"/>
                  </a:lnTo>
                  <a:lnTo>
                    <a:pt x="1826" y="151"/>
                  </a:lnTo>
                  <a:lnTo>
                    <a:pt x="1826" y="149"/>
                  </a:lnTo>
                  <a:lnTo>
                    <a:pt x="1826" y="149"/>
                  </a:lnTo>
                  <a:lnTo>
                    <a:pt x="1828" y="149"/>
                  </a:lnTo>
                  <a:lnTo>
                    <a:pt x="1830" y="149"/>
                  </a:lnTo>
                  <a:lnTo>
                    <a:pt x="1834" y="151"/>
                  </a:lnTo>
                  <a:lnTo>
                    <a:pt x="1836" y="151"/>
                  </a:lnTo>
                  <a:lnTo>
                    <a:pt x="1838" y="151"/>
                  </a:lnTo>
                  <a:lnTo>
                    <a:pt x="1842" y="149"/>
                  </a:lnTo>
                  <a:lnTo>
                    <a:pt x="1848" y="149"/>
                  </a:lnTo>
                  <a:lnTo>
                    <a:pt x="1850" y="149"/>
                  </a:lnTo>
                  <a:lnTo>
                    <a:pt x="1850" y="146"/>
                  </a:lnTo>
                  <a:lnTo>
                    <a:pt x="1850" y="146"/>
                  </a:lnTo>
                  <a:lnTo>
                    <a:pt x="1848" y="144"/>
                  </a:lnTo>
                  <a:lnTo>
                    <a:pt x="1848" y="144"/>
                  </a:lnTo>
                  <a:lnTo>
                    <a:pt x="1844" y="144"/>
                  </a:lnTo>
                  <a:lnTo>
                    <a:pt x="1840" y="142"/>
                  </a:lnTo>
                  <a:lnTo>
                    <a:pt x="1838" y="142"/>
                  </a:lnTo>
                  <a:lnTo>
                    <a:pt x="1836" y="142"/>
                  </a:lnTo>
                  <a:lnTo>
                    <a:pt x="1836" y="142"/>
                  </a:lnTo>
                  <a:lnTo>
                    <a:pt x="1832" y="140"/>
                  </a:lnTo>
                  <a:lnTo>
                    <a:pt x="1832" y="140"/>
                  </a:lnTo>
                  <a:lnTo>
                    <a:pt x="1826" y="140"/>
                  </a:lnTo>
                  <a:lnTo>
                    <a:pt x="1824" y="140"/>
                  </a:lnTo>
                  <a:lnTo>
                    <a:pt x="1822" y="140"/>
                  </a:lnTo>
                  <a:lnTo>
                    <a:pt x="1822" y="140"/>
                  </a:lnTo>
                  <a:lnTo>
                    <a:pt x="1819" y="140"/>
                  </a:lnTo>
                  <a:lnTo>
                    <a:pt x="1817" y="140"/>
                  </a:lnTo>
                  <a:lnTo>
                    <a:pt x="1815" y="140"/>
                  </a:lnTo>
                  <a:lnTo>
                    <a:pt x="1815" y="140"/>
                  </a:lnTo>
                  <a:lnTo>
                    <a:pt x="1815" y="140"/>
                  </a:lnTo>
                  <a:lnTo>
                    <a:pt x="1813" y="140"/>
                  </a:lnTo>
                  <a:lnTo>
                    <a:pt x="1813" y="140"/>
                  </a:lnTo>
                  <a:lnTo>
                    <a:pt x="1813" y="140"/>
                  </a:lnTo>
                  <a:lnTo>
                    <a:pt x="1811" y="142"/>
                  </a:lnTo>
                  <a:lnTo>
                    <a:pt x="1811" y="142"/>
                  </a:lnTo>
                  <a:lnTo>
                    <a:pt x="1809" y="144"/>
                  </a:lnTo>
                  <a:lnTo>
                    <a:pt x="1807" y="146"/>
                  </a:lnTo>
                  <a:lnTo>
                    <a:pt x="1809" y="146"/>
                  </a:lnTo>
                  <a:lnTo>
                    <a:pt x="1809" y="149"/>
                  </a:lnTo>
                  <a:close/>
                  <a:moveTo>
                    <a:pt x="1711" y="167"/>
                  </a:moveTo>
                  <a:lnTo>
                    <a:pt x="1713" y="167"/>
                  </a:lnTo>
                  <a:lnTo>
                    <a:pt x="1715" y="167"/>
                  </a:lnTo>
                  <a:lnTo>
                    <a:pt x="1719" y="169"/>
                  </a:lnTo>
                  <a:lnTo>
                    <a:pt x="1721" y="169"/>
                  </a:lnTo>
                  <a:lnTo>
                    <a:pt x="1729" y="171"/>
                  </a:lnTo>
                  <a:lnTo>
                    <a:pt x="1733" y="171"/>
                  </a:lnTo>
                  <a:lnTo>
                    <a:pt x="1733" y="171"/>
                  </a:lnTo>
                  <a:lnTo>
                    <a:pt x="1733" y="169"/>
                  </a:lnTo>
                  <a:lnTo>
                    <a:pt x="1731" y="169"/>
                  </a:lnTo>
                  <a:lnTo>
                    <a:pt x="1731" y="167"/>
                  </a:lnTo>
                  <a:lnTo>
                    <a:pt x="1731" y="167"/>
                  </a:lnTo>
                  <a:lnTo>
                    <a:pt x="1731" y="167"/>
                  </a:lnTo>
                  <a:lnTo>
                    <a:pt x="1729" y="167"/>
                  </a:lnTo>
                  <a:lnTo>
                    <a:pt x="1729" y="167"/>
                  </a:lnTo>
                  <a:lnTo>
                    <a:pt x="1715" y="165"/>
                  </a:lnTo>
                  <a:lnTo>
                    <a:pt x="1713" y="165"/>
                  </a:lnTo>
                  <a:lnTo>
                    <a:pt x="1711" y="165"/>
                  </a:lnTo>
                  <a:lnTo>
                    <a:pt x="1711" y="165"/>
                  </a:lnTo>
                  <a:lnTo>
                    <a:pt x="1711" y="167"/>
                  </a:lnTo>
                  <a:lnTo>
                    <a:pt x="1711" y="167"/>
                  </a:lnTo>
                  <a:close/>
                  <a:moveTo>
                    <a:pt x="1604" y="151"/>
                  </a:moveTo>
                  <a:lnTo>
                    <a:pt x="1606" y="153"/>
                  </a:lnTo>
                  <a:lnTo>
                    <a:pt x="1608" y="153"/>
                  </a:lnTo>
                  <a:lnTo>
                    <a:pt x="1608" y="153"/>
                  </a:lnTo>
                  <a:lnTo>
                    <a:pt x="1606" y="151"/>
                  </a:lnTo>
                  <a:lnTo>
                    <a:pt x="1604" y="151"/>
                  </a:lnTo>
                  <a:lnTo>
                    <a:pt x="1602" y="151"/>
                  </a:lnTo>
                  <a:lnTo>
                    <a:pt x="1604" y="151"/>
                  </a:lnTo>
                  <a:lnTo>
                    <a:pt x="1604" y="151"/>
                  </a:lnTo>
                  <a:close/>
                  <a:moveTo>
                    <a:pt x="1347" y="83"/>
                  </a:moveTo>
                  <a:lnTo>
                    <a:pt x="1347" y="83"/>
                  </a:lnTo>
                  <a:lnTo>
                    <a:pt x="1349" y="85"/>
                  </a:lnTo>
                  <a:lnTo>
                    <a:pt x="1351" y="87"/>
                  </a:lnTo>
                  <a:lnTo>
                    <a:pt x="1351" y="87"/>
                  </a:lnTo>
                  <a:lnTo>
                    <a:pt x="1360" y="89"/>
                  </a:lnTo>
                  <a:lnTo>
                    <a:pt x="1364" y="89"/>
                  </a:lnTo>
                  <a:lnTo>
                    <a:pt x="1368" y="91"/>
                  </a:lnTo>
                  <a:lnTo>
                    <a:pt x="1370" y="91"/>
                  </a:lnTo>
                  <a:lnTo>
                    <a:pt x="1374" y="91"/>
                  </a:lnTo>
                  <a:lnTo>
                    <a:pt x="1376" y="91"/>
                  </a:lnTo>
                  <a:lnTo>
                    <a:pt x="1380" y="93"/>
                  </a:lnTo>
                  <a:lnTo>
                    <a:pt x="1382" y="93"/>
                  </a:lnTo>
                  <a:lnTo>
                    <a:pt x="1384" y="93"/>
                  </a:lnTo>
                  <a:lnTo>
                    <a:pt x="1392" y="93"/>
                  </a:lnTo>
                  <a:lnTo>
                    <a:pt x="1399" y="93"/>
                  </a:lnTo>
                  <a:lnTo>
                    <a:pt x="1401" y="93"/>
                  </a:lnTo>
                  <a:lnTo>
                    <a:pt x="1405" y="93"/>
                  </a:lnTo>
                  <a:lnTo>
                    <a:pt x="1407" y="91"/>
                  </a:lnTo>
                  <a:lnTo>
                    <a:pt x="1407" y="91"/>
                  </a:lnTo>
                  <a:lnTo>
                    <a:pt x="1405" y="89"/>
                  </a:lnTo>
                  <a:lnTo>
                    <a:pt x="1403" y="87"/>
                  </a:lnTo>
                  <a:lnTo>
                    <a:pt x="1403" y="89"/>
                  </a:lnTo>
                  <a:lnTo>
                    <a:pt x="1403" y="89"/>
                  </a:lnTo>
                  <a:lnTo>
                    <a:pt x="1403" y="89"/>
                  </a:lnTo>
                  <a:lnTo>
                    <a:pt x="1401" y="89"/>
                  </a:lnTo>
                  <a:lnTo>
                    <a:pt x="1399" y="87"/>
                  </a:lnTo>
                  <a:lnTo>
                    <a:pt x="1394" y="87"/>
                  </a:lnTo>
                  <a:lnTo>
                    <a:pt x="1388" y="87"/>
                  </a:lnTo>
                  <a:lnTo>
                    <a:pt x="1382" y="87"/>
                  </a:lnTo>
                  <a:lnTo>
                    <a:pt x="1382" y="87"/>
                  </a:lnTo>
                  <a:lnTo>
                    <a:pt x="1378" y="87"/>
                  </a:lnTo>
                  <a:lnTo>
                    <a:pt x="1376" y="87"/>
                  </a:lnTo>
                  <a:lnTo>
                    <a:pt x="1376" y="85"/>
                  </a:lnTo>
                  <a:lnTo>
                    <a:pt x="1374" y="85"/>
                  </a:lnTo>
                  <a:lnTo>
                    <a:pt x="1374" y="85"/>
                  </a:lnTo>
                  <a:lnTo>
                    <a:pt x="1372" y="85"/>
                  </a:lnTo>
                  <a:lnTo>
                    <a:pt x="1362" y="85"/>
                  </a:lnTo>
                  <a:lnTo>
                    <a:pt x="1362" y="85"/>
                  </a:lnTo>
                  <a:lnTo>
                    <a:pt x="1357" y="85"/>
                  </a:lnTo>
                  <a:lnTo>
                    <a:pt x="1355" y="85"/>
                  </a:lnTo>
                  <a:lnTo>
                    <a:pt x="1353" y="85"/>
                  </a:lnTo>
                  <a:lnTo>
                    <a:pt x="1351" y="83"/>
                  </a:lnTo>
                  <a:lnTo>
                    <a:pt x="1347" y="83"/>
                  </a:lnTo>
                  <a:lnTo>
                    <a:pt x="1347" y="83"/>
                  </a:lnTo>
                  <a:close/>
                  <a:moveTo>
                    <a:pt x="1643" y="173"/>
                  </a:moveTo>
                  <a:lnTo>
                    <a:pt x="1645" y="175"/>
                  </a:lnTo>
                  <a:lnTo>
                    <a:pt x="1647" y="177"/>
                  </a:lnTo>
                  <a:lnTo>
                    <a:pt x="1649" y="177"/>
                  </a:lnTo>
                  <a:lnTo>
                    <a:pt x="1649" y="179"/>
                  </a:lnTo>
                  <a:lnTo>
                    <a:pt x="1653" y="179"/>
                  </a:lnTo>
                  <a:lnTo>
                    <a:pt x="1655" y="179"/>
                  </a:lnTo>
                  <a:lnTo>
                    <a:pt x="1655" y="179"/>
                  </a:lnTo>
                  <a:lnTo>
                    <a:pt x="1655" y="181"/>
                  </a:lnTo>
                  <a:lnTo>
                    <a:pt x="1657" y="181"/>
                  </a:lnTo>
                  <a:lnTo>
                    <a:pt x="1657" y="181"/>
                  </a:lnTo>
                  <a:lnTo>
                    <a:pt x="1655" y="179"/>
                  </a:lnTo>
                  <a:lnTo>
                    <a:pt x="1655" y="179"/>
                  </a:lnTo>
                  <a:lnTo>
                    <a:pt x="1651" y="177"/>
                  </a:lnTo>
                  <a:lnTo>
                    <a:pt x="1649" y="177"/>
                  </a:lnTo>
                  <a:lnTo>
                    <a:pt x="1647" y="175"/>
                  </a:lnTo>
                  <a:lnTo>
                    <a:pt x="1645" y="173"/>
                  </a:lnTo>
                  <a:lnTo>
                    <a:pt x="1645" y="173"/>
                  </a:lnTo>
                  <a:lnTo>
                    <a:pt x="1647" y="173"/>
                  </a:lnTo>
                  <a:lnTo>
                    <a:pt x="1647" y="171"/>
                  </a:lnTo>
                  <a:lnTo>
                    <a:pt x="1645" y="171"/>
                  </a:lnTo>
                  <a:lnTo>
                    <a:pt x="1643" y="169"/>
                  </a:lnTo>
                  <a:lnTo>
                    <a:pt x="1643" y="169"/>
                  </a:lnTo>
                  <a:lnTo>
                    <a:pt x="1641" y="171"/>
                  </a:lnTo>
                  <a:lnTo>
                    <a:pt x="1643" y="171"/>
                  </a:lnTo>
                  <a:lnTo>
                    <a:pt x="1641" y="173"/>
                  </a:lnTo>
                  <a:lnTo>
                    <a:pt x="1643" y="173"/>
                  </a:lnTo>
                  <a:close/>
                  <a:moveTo>
                    <a:pt x="1257" y="101"/>
                  </a:moveTo>
                  <a:lnTo>
                    <a:pt x="1253" y="101"/>
                  </a:lnTo>
                  <a:lnTo>
                    <a:pt x="1255" y="101"/>
                  </a:lnTo>
                  <a:lnTo>
                    <a:pt x="1255" y="101"/>
                  </a:lnTo>
                  <a:lnTo>
                    <a:pt x="1259" y="103"/>
                  </a:lnTo>
                  <a:lnTo>
                    <a:pt x="1261" y="103"/>
                  </a:lnTo>
                  <a:lnTo>
                    <a:pt x="1267" y="105"/>
                  </a:lnTo>
                  <a:lnTo>
                    <a:pt x="1269" y="105"/>
                  </a:lnTo>
                  <a:lnTo>
                    <a:pt x="1269" y="105"/>
                  </a:lnTo>
                  <a:lnTo>
                    <a:pt x="1269" y="105"/>
                  </a:lnTo>
                  <a:lnTo>
                    <a:pt x="1263" y="103"/>
                  </a:lnTo>
                  <a:lnTo>
                    <a:pt x="1257" y="101"/>
                  </a:lnTo>
                  <a:close/>
                  <a:moveTo>
                    <a:pt x="879" y="48"/>
                  </a:moveTo>
                  <a:lnTo>
                    <a:pt x="883" y="48"/>
                  </a:lnTo>
                  <a:lnTo>
                    <a:pt x="885" y="48"/>
                  </a:lnTo>
                  <a:lnTo>
                    <a:pt x="887" y="48"/>
                  </a:lnTo>
                  <a:lnTo>
                    <a:pt x="887" y="46"/>
                  </a:lnTo>
                  <a:lnTo>
                    <a:pt x="885" y="46"/>
                  </a:lnTo>
                  <a:lnTo>
                    <a:pt x="883" y="46"/>
                  </a:lnTo>
                  <a:lnTo>
                    <a:pt x="875" y="46"/>
                  </a:lnTo>
                  <a:lnTo>
                    <a:pt x="873" y="46"/>
                  </a:lnTo>
                  <a:lnTo>
                    <a:pt x="879" y="48"/>
                  </a:lnTo>
                  <a:close/>
                  <a:moveTo>
                    <a:pt x="869" y="46"/>
                  </a:moveTo>
                  <a:lnTo>
                    <a:pt x="871" y="46"/>
                  </a:lnTo>
                  <a:lnTo>
                    <a:pt x="873" y="46"/>
                  </a:lnTo>
                  <a:lnTo>
                    <a:pt x="873" y="46"/>
                  </a:lnTo>
                  <a:lnTo>
                    <a:pt x="873" y="46"/>
                  </a:lnTo>
                  <a:lnTo>
                    <a:pt x="875" y="46"/>
                  </a:lnTo>
                  <a:lnTo>
                    <a:pt x="873" y="44"/>
                  </a:lnTo>
                  <a:lnTo>
                    <a:pt x="873" y="44"/>
                  </a:lnTo>
                  <a:lnTo>
                    <a:pt x="873" y="44"/>
                  </a:lnTo>
                  <a:lnTo>
                    <a:pt x="871" y="44"/>
                  </a:lnTo>
                  <a:lnTo>
                    <a:pt x="871" y="44"/>
                  </a:lnTo>
                  <a:lnTo>
                    <a:pt x="867" y="46"/>
                  </a:lnTo>
                  <a:lnTo>
                    <a:pt x="867" y="46"/>
                  </a:lnTo>
                  <a:lnTo>
                    <a:pt x="869" y="46"/>
                  </a:lnTo>
                  <a:close/>
                  <a:moveTo>
                    <a:pt x="803" y="48"/>
                  </a:moveTo>
                  <a:lnTo>
                    <a:pt x="803" y="48"/>
                  </a:lnTo>
                  <a:lnTo>
                    <a:pt x="807" y="50"/>
                  </a:lnTo>
                  <a:lnTo>
                    <a:pt x="809" y="48"/>
                  </a:lnTo>
                  <a:lnTo>
                    <a:pt x="813" y="48"/>
                  </a:lnTo>
                  <a:lnTo>
                    <a:pt x="818" y="46"/>
                  </a:lnTo>
                  <a:lnTo>
                    <a:pt x="818" y="46"/>
                  </a:lnTo>
                  <a:lnTo>
                    <a:pt x="824" y="46"/>
                  </a:lnTo>
                  <a:lnTo>
                    <a:pt x="828" y="46"/>
                  </a:lnTo>
                  <a:lnTo>
                    <a:pt x="832" y="46"/>
                  </a:lnTo>
                  <a:lnTo>
                    <a:pt x="834" y="46"/>
                  </a:lnTo>
                  <a:lnTo>
                    <a:pt x="834" y="46"/>
                  </a:lnTo>
                  <a:lnTo>
                    <a:pt x="834" y="46"/>
                  </a:lnTo>
                  <a:lnTo>
                    <a:pt x="836" y="46"/>
                  </a:lnTo>
                  <a:lnTo>
                    <a:pt x="844" y="46"/>
                  </a:lnTo>
                  <a:lnTo>
                    <a:pt x="848" y="44"/>
                  </a:lnTo>
                  <a:lnTo>
                    <a:pt x="850" y="44"/>
                  </a:lnTo>
                  <a:lnTo>
                    <a:pt x="852" y="44"/>
                  </a:lnTo>
                  <a:lnTo>
                    <a:pt x="852" y="44"/>
                  </a:lnTo>
                  <a:lnTo>
                    <a:pt x="857" y="42"/>
                  </a:lnTo>
                  <a:lnTo>
                    <a:pt x="854" y="40"/>
                  </a:lnTo>
                  <a:lnTo>
                    <a:pt x="852" y="40"/>
                  </a:lnTo>
                  <a:lnTo>
                    <a:pt x="852" y="40"/>
                  </a:lnTo>
                  <a:lnTo>
                    <a:pt x="850" y="38"/>
                  </a:lnTo>
                  <a:lnTo>
                    <a:pt x="848" y="38"/>
                  </a:lnTo>
                  <a:lnTo>
                    <a:pt x="848" y="38"/>
                  </a:lnTo>
                  <a:lnTo>
                    <a:pt x="846" y="38"/>
                  </a:lnTo>
                  <a:lnTo>
                    <a:pt x="844" y="38"/>
                  </a:lnTo>
                  <a:lnTo>
                    <a:pt x="840" y="38"/>
                  </a:lnTo>
                  <a:lnTo>
                    <a:pt x="840" y="35"/>
                  </a:lnTo>
                  <a:lnTo>
                    <a:pt x="840" y="35"/>
                  </a:lnTo>
                  <a:lnTo>
                    <a:pt x="838" y="35"/>
                  </a:lnTo>
                  <a:lnTo>
                    <a:pt x="836" y="35"/>
                  </a:lnTo>
                  <a:lnTo>
                    <a:pt x="834" y="33"/>
                  </a:lnTo>
                  <a:lnTo>
                    <a:pt x="832" y="33"/>
                  </a:lnTo>
                  <a:lnTo>
                    <a:pt x="830" y="33"/>
                  </a:lnTo>
                  <a:lnTo>
                    <a:pt x="828" y="33"/>
                  </a:lnTo>
                  <a:lnTo>
                    <a:pt x="826" y="33"/>
                  </a:lnTo>
                  <a:lnTo>
                    <a:pt x="826" y="33"/>
                  </a:lnTo>
                  <a:lnTo>
                    <a:pt x="824" y="33"/>
                  </a:lnTo>
                  <a:lnTo>
                    <a:pt x="824" y="33"/>
                  </a:lnTo>
                  <a:lnTo>
                    <a:pt x="822" y="35"/>
                  </a:lnTo>
                  <a:lnTo>
                    <a:pt x="822" y="35"/>
                  </a:lnTo>
                  <a:lnTo>
                    <a:pt x="822" y="38"/>
                  </a:lnTo>
                  <a:lnTo>
                    <a:pt x="822" y="38"/>
                  </a:lnTo>
                  <a:lnTo>
                    <a:pt x="820" y="38"/>
                  </a:lnTo>
                  <a:lnTo>
                    <a:pt x="820" y="33"/>
                  </a:lnTo>
                  <a:lnTo>
                    <a:pt x="820" y="33"/>
                  </a:lnTo>
                  <a:lnTo>
                    <a:pt x="820" y="31"/>
                  </a:lnTo>
                  <a:lnTo>
                    <a:pt x="820" y="31"/>
                  </a:lnTo>
                  <a:lnTo>
                    <a:pt x="820" y="31"/>
                  </a:lnTo>
                  <a:lnTo>
                    <a:pt x="820" y="31"/>
                  </a:lnTo>
                  <a:lnTo>
                    <a:pt x="820" y="31"/>
                  </a:lnTo>
                  <a:lnTo>
                    <a:pt x="815" y="29"/>
                  </a:lnTo>
                  <a:lnTo>
                    <a:pt x="811" y="29"/>
                  </a:lnTo>
                  <a:lnTo>
                    <a:pt x="809" y="29"/>
                  </a:lnTo>
                  <a:lnTo>
                    <a:pt x="809" y="29"/>
                  </a:lnTo>
                  <a:lnTo>
                    <a:pt x="809" y="29"/>
                  </a:lnTo>
                  <a:lnTo>
                    <a:pt x="811" y="31"/>
                  </a:lnTo>
                  <a:lnTo>
                    <a:pt x="813" y="31"/>
                  </a:lnTo>
                  <a:lnTo>
                    <a:pt x="811" y="31"/>
                  </a:lnTo>
                  <a:lnTo>
                    <a:pt x="809" y="31"/>
                  </a:lnTo>
                  <a:lnTo>
                    <a:pt x="807" y="31"/>
                  </a:lnTo>
                  <a:lnTo>
                    <a:pt x="807" y="31"/>
                  </a:lnTo>
                  <a:lnTo>
                    <a:pt x="805" y="29"/>
                  </a:lnTo>
                  <a:lnTo>
                    <a:pt x="805" y="31"/>
                  </a:lnTo>
                  <a:lnTo>
                    <a:pt x="805" y="31"/>
                  </a:lnTo>
                  <a:lnTo>
                    <a:pt x="805" y="31"/>
                  </a:lnTo>
                  <a:lnTo>
                    <a:pt x="805" y="31"/>
                  </a:lnTo>
                  <a:lnTo>
                    <a:pt x="803" y="31"/>
                  </a:lnTo>
                  <a:lnTo>
                    <a:pt x="803" y="33"/>
                  </a:lnTo>
                  <a:lnTo>
                    <a:pt x="803" y="33"/>
                  </a:lnTo>
                  <a:lnTo>
                    <a:pt x="803" y="33"/>
                  </a:lnTo>
                  <a:lnTo>
                    <a:pt x="803" y="33"/>
                  </a:lnTo>
                  <a:lnTo>
                    <a:pt x="803" y="35"/>
                  </a:lnTo>
                  <a:lnTo>
                    <a:pt x="803" y="35"/>
                  </a:lnTo>
                  <a:lnTo>
                    <a:pt x="803" y="35"/>
                  </a:lnTo>
                  <a:lnTo>
                    <a:pt x="803" y="35"/>
                  </a:lnTo>
                  <a:lnTo>
                    <a:pt x="803" y="35"/>
                  </a:lnTo>
                  <a:lnTo>
                    <a:pt x="805" y="38"/>
                  </a:lnTo>
                  <a:lnTo>
                    <a:pt x="807" y="38"/>
                  </a:lnTo>
                  <a:lnTo>
                    <a:pt x="805" y="38"/>
                  </a:lnTo>
                  <a:lnTo>
                    <a:pt x="803" y="38"/>
                  </a:lnTo>
                  <a:lnTo>
                    <a:pt x="801" y="38"/>
                  </a:lnTo>
                  <a:lnTo>
                    <a:pt x="801" y="38"/>
                  </a:lnTo>
                  <a:lnTo>
                    <a:pt x="801" y="40"/>
                  </a:lnTo>
                  <a:lnTo>
                    <a:pt x="801" y="40"/>
                  </a:lnTo>
                  <a:lnTo>
                    <a:pt x="803" y="42"/>
                  </a:lnTo>
                  <a:lnTo>
                    <a:pt x="803" y="42"/>
                  </a:lnTo>
                  <a:lnTo>
                    <a:pt x="803" y="42"/>
                  </a:lnTo>
                  <a:lnTo>
                    <a:pt x="803" y="42"/>
                  </a:lnTo>
                  <a:lnTo>
                    <a:pt x="803" y="44"/>
                  </a:lnTo>
                  <a:lnTo>
                    <a:pt x="803" y="44"/>
                  </a:lnTo>
                  <a:lnTo>
                    <a:pt x="801" y="46"/>
                  </a:lnTo>
                  <a:lnTo>
                    <a:pt x="801" y="46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803" y="48"/>
                  </a:lnTo>
                  <a:close/>
                  <a:moveTo>
                    <a:pt x="799" y="72"/>
                  </a:moveTo>
                  <a:lnTo>
                    <a:pt x="801" y="72"/>
                  </a:lnTo>
                  <a:lnTo>
                    <a:pt x="801" y="72"/>
                  </a:lnTo>
                  <a:lnTo>
                    <a:pt x="801" y="72"/>
                  </a:lnTo>
                  <a:lnTo>
                    <a:pt x="801" y="72"/>
                  </a:lnTo>
                  <a:lnTo>
                    <a:pt x="803" y="72"/>
                  </a:lnTo>
                  <a:lnTo>
                    <a:pt x="803" y="72"/>
                  </a:lnTo>
                  <a:lnTo>
                    <a:pt x="803" y="72"/>
                  </a:lnTo>
                  <a:lnTo>
                    <a:pt x="801" y="70"/>
                  </a:lnTo>
                  <a:lnTo>
                    <a:pt x="801" y="70"/>
                  </a:lnTo>
                  <a:lnTo>
                    <a:pt x="799" y="70"/>
                  </a:lnTo>
                  <a:lnTo>
                    <a:pt x="801" y="70"/>
                  </a:lnTo>
                  <a:lnTo>
                    <a:pt x="799" y="72"/>
                  </a:lnTo>
                  <a:close/>
                  <a:moveTo>
                    <a:pt x="803" y="68"/>
                  </a:moveTo>
                  <a:lnTo>
                    <a:pt x="803" y="68"/>
                  </a:lnTo>
                  <a:lnTo>
                    <a:pt x="805" y="68"/>
                  </a:lnTo>
                  <a:lnTo>
                    <a:pt x="801" y="66"/>
                  </a:lnTo>
                  <a:lnTo>
                    <a:pt x="799" y="66"/>
                  </a:lnTo>
                  <a:lnTo>
                    <a:pt x="801" y="66"/>
                  </a:lnTo>
                  <a:lnTo>
                    <a:pt x="803" y="68"/>
                  </a:lnTo>
                  <a:close/>
                  <a:moveTo>
                    <a:pt x="959" y="68"/>
                  </a:moveTo>
                  <a:lnTo>
                    <a:pt x="961" y="68"/>
                  </a:lnTo>
                  <a:lnTo>
                    <a:pt x="963" y="68"/>
                  </a:lnTo>
                  <a:lnTo>
                    <a:pt x="965" y="70"/>
                  </a:lnTo>
                  <a:lnTo>
                    <a:pt x="965" y="70"/>
                  </a:lnTo>
                  <a:lnTo>
                    <a:pt x="965" y="68"/>
                  </a:lnTo>
                  <a:lnTo>
                    <a:pt x="965" y="68"/>
                  </a:lnTo>
                  <a:lnTo>
                    <a:pt x="965" y="68"/>
                  </a:lnTo>
                  <a:lnTo>
                    <a:pt x="965" y="68"/>
                  </a:lnTo>
                  <a:lnTo>
                    <a:pt x="963" y="66"/>
                  </a:lnTo>
                  <a:lnTo>
                    <a:pt x="961" y="66"/>
                  </a:lnTo>
                  <a:lnTo>
                    <a:pt x="961" y="66"/>
                  </a:lnTo>
                  <a:lnTo>
                    <a:pt x="957" y="66"/>
                  </a:lnTo>
                  <a:lnTo>
                    <a:pt x="957" y="66"/>
                  </a:lnTo>
                  <a:lnTo>
                    <a:pt x="957" y="68"/>
                  </a:lnTo>
                  <a:lnTo>
                    <a:pt x="959" y="68"/>
                  </a:lnTo>
                  <a:close/>
                  <a:moveTo>
                    <a:pt x="1105" y="118"/>
                  </a:moveTo>
                  <a:lnTo>
                    <a:pt x="1107" y="118"/>
                  </a:lnTo>
                  <a:lnTo>
                    <a:pt x="1105" y="118"/>
                  </a:lnTo>
                  <a:lnTo>
                    <a:pt x="1103" y="118"/>
                  </a:lnTo>
                  <a:lnTo>
                    <a:pt x="1101" y="118"/>
                  </a:lnTo>
                  <a:lnTo>
                    <a:pt x="1099" y="118"/>
                  </a:lnTo>
                  <a:lnTo>
                    <a:pt x="1099" y="118"/>
                  </a:lnTo>
                  <a:lnTo>
                    <a:pt x="1101" y="118"/>
                  </a:lnTo>
                  <a:lnTo>
                    <a:pt x="1105" y="118"/>
                  </a:lnTo>
                  <a:close/>
                  <a:moveTo>
                    <a:pt x="898" y="58"/>
                  </a:moveTo>
                  <a:lnTo>
                    <a:pt x="900" y="58"/>
                  </a:lnTo>
                  <a:lnTo>
                    <a:pt x="900" y="58"/>
                  </a:lnTo>
                  <a:lnTo>
                    <a:pt x="900" y="58"/>
                  </a:lnTo>
                  <a:lnTo>
                    <a:pt x="900" y="58"/>
                  </a:lnTo>
                  <a:lnTo>
                    <a:pt x="898" y="58"/>
                  </a:lnTo>
                  <a:lnTo>
                    <a:pt x="896" y="58"/>
                  </a:lnTo>
                  <a:lnTo>
                    <a:pt x="896" y="58"/>
                  </a:lnTo>
                  <a:lnTo>
                    <a:pt x="898" y="58"/>
                  </a:lnTo>
                  <a:lnTo>
                    <a:pt x="898" y="58"/>
                  </a:lnTo>
                  <a:close/>
                  <a:moveTo>
                    <a:pt x="1140" y="107"/>
                  </a:moveTo>
                  <a:lnTo>
                    <a:pt x="1140" y="107"/>
                  </a:lnTo>
                  <a:lnTo>
                    <a:pt x="1142" y="107"/>
                  </a:lnTo>
                  <a:lnTo>
                    <a:pt x="1142" y="105"/>
                  </a:lnTo>
                  <a:lnTo>
                    <a:pt x="1142" y="105"/>
                  </a:lnTo>
                  <a:lnTo>
                    <a:pt x="1140" y="105"/>
                  </a:lnTo>
                  <a:lnTo>
                    <a:pt x="1138" y="105"/>
                  </a:lnTo>
                  <a:lnTo>
                    <a:pt x="1138" y="105"/>
                  </a:lnTo>
                  <a:lnTo>
                    <a:pt x="1138" y="105"/>
                  </a:lnTo>
                  <a:lnTo>
                    <a:pt x="1140" y="107"/>
                  </a:lnTo>
                  <a:close/>
                  <a:moveTo>
                    <a:pt x="992" y="97"/>
                  </a:moveTo>
                  <a:lnTo>
                    <a:pt x="992" y="97"/>
                  </a:lnTo>
                  <a:lnTo>
                    <a:pt x="992" y="97"/>
                  </a:lnTo>
                  <a:lnTo>
                    <a:pt x="994" y="99"/>
                  </a:lnTo>
                  <a:lnTo>
                    <a:pt x="992" y="99"/>
                  </a:lnTo>
                  <a:lnTo>
                    <a:pt x="990" y="99"/>
                  </a:lnTo>
                  <a:lnTo>
                    <a:pt x="990" y="99"/>
                  </a:lnTo>
                  <a:lnTo>
                    <a:pt x="988" y="99"/>
                  </a:lnTo>
                  <a:lnTo>
                    <a:pt x="992" y="101"/>
                  </a:lnTo>
                  <a:lnTo>
                    <a:pt x="996" y="101"/>
                  </a:lnTo>
                  <a:lnTo>
                    <a:pt x="998" y="101"/>
                  </a:lnTo>
                  <a:lnTo>
                    <a:pt x="1000" y="103"/>
                  </a:lnTo>
                  <a:lnTo>
                    <a:pt x="1006" y="103"/>
                  </a:lnTo>
                  <a:lnTo>
                    <a:pt x="1006" y="103"/>
                  </a:lnTo>
                  <a:lnTo>
                    <a:pt x="1008" y="101"/>
                  </a:lnTo>
                  <a:lnTo>
                    <a:pt x="1008" y="101"/>
                  </a:lnTo>
                  <a:lnTo>
                    <a:pt x="1011" y="101"/>
                  </a:lnTo>
                  <a:lnTo>
                    <a:pt x="1008" y="99"/>
                  </a:lnTo>
                  <a:lnTo>
                    <a:pt x="1008" y="99"/>
                  </a:lnTo>
                  <a:lnTo>
                    <a:pt x="1008" y="99"/>
                  </a:lnTo>
                  <a:lnTo>
                    <a:pt x="1006" y="99"/>
                  </a:lnTo>
                  <a:lnTo>
                    <a:pt x="1002" y="97"/>
                  </a:lnTo>
                  <a:lnTo>
                    <a:pt x="992" y="97"/>
                  </a:lnTo>
                  <a:lnTo>
                    <a:pt x="992" y="97"/>
                  </a:lnTo>
                  <a:close/>
                  <a:moveTo>
                    <a:pt x="1226" y="81"/>
                  </a:moveTo>
                  <a:lnTo>
                    <a:pt x="1228" y="81"/>
                  </a:lnTo>
                  <a:lnTo>
                    <a:pt x="1230" y="83"/>
                  </a:lnTo>
                  <a:lnTo>
                    <a:pt x="1230" y="83"/>
                  </a:lnTo>
                  <a:lnTo>
                    <a:pt x="1230" y="83"/>
                  </a:lnTo>
                  <a:lnTo>
                    <a:pt x="1232" y="85"/>
                  </a:lnTo>
                  <a:lnTo>
                    <a:pt x="1234" y="85"/>
                  </a:lnTo>
                  <a:lnTo>
                    <a:pt x="1236" y="85"/>
                  </a:lnTo>
                  <a:lnTo>
                    <a:pt x="1236" y="85"/>
                  </a:lnTo>
                  <a:lnTo>
                    <a:pt x="1236" y="83"/>
                  </a:lnTo>
                  <a:lnTo>
                    <a:pt x="1234" y="83"/>
                  </a:lnTo>
                  <a:lnTo>
                    <a:pt x="1236" y="81"/>
                  </a:lnTo>
                  <a:lnTo>
                    <a:pt x="1234" y="81"/>
                  </a:lnTo>
                  <a:lnTo>
                    <a:pt x="1230" y="81"/>
                  </a:lnTo>
                  <a:lnTo>
                    <a:pt x="1230" y="81"/>
                  </a:lnTo>
                  <a:lnTo>
                    <a:pt x="1228" y="79"/>
                  </a:lnTo>
                  <a:lnTo>
                    <a:pt x="1226" y="79"/>
                  </a:lnTo>
                  <a:lnTo>
                    <a:pt x="1226" y="79"/>
                  </a:lnTo>
                  <a:lnTo>
                    <a:pt x="1226" y="81"/>
                  </a:lnTo>
                  <a:close/>
                  <a:moveTo>
                    <a:pt x="1405" y="75"/>
                  </a:moveTo>
                  <a:lnTo>
                    <a:pt x="1403" y="75"/>
                  </a:lnTo>
                  <a:lnTo>
                    <a:pt x="1403" y="72"/>
                  </a:lnTo>
                  <a:lnTo>
                    <a:pt x="1401" y="72"/>
                  </a:lnTo>
                  <a:lnTo>
                    <a:pt x="1401" y="72"/>
                  </a:lnTo>
                  <a:lnTo>
                    <a:pt x="1401" y="75"/>
                  </a:lnTo>
                  <a:lnTo>
                    <a:pt x="1405" y="75"/>
                  </a:lnTo>
                  <a:lnTo>
                    <a:pt x="1405" y="75"/>
                  </a:lnTo>
                  <a:close/>
                  <a:moveTo>
                    <a:pt x="1906" y="552"/>
                  </a:moveTo>
                  <a:lnTo>
                    <a:pt x="1906" y="552"/>
                  </a:lnTo>
                  <a:lnTo>
                    <a:pt x="1904" y="556"/>
                  </a:lnTo>
                  <a:lnTo>
                    <a:pt x="1902" y="556"/>
                  </a:lnTo>
                  <a:lnTo>
                    <a:pt x="1904" y="556"/>
                  </a:lnTo>
                  <a:lnTo>
                    <a:pt x="1904" y="556"/>
                  </a:lnTo>
                  <a:lnTo>
                    <a:pt x="1906" y="556"/>
                  </a:lnTo>
                  <a:lnTo>
                    <a:pt x="1906" y="554"/>
                  </a:lnTo>
                  <a:lnTo>
                    <a:pt x="1908" y="549"/>
                  </a:lnTo>
                  <a:lnTo>
                    <a:pt x="1906" y="549"/>
                  </a:lnTo>
                  <a:lnTo>
                    <a:pt x="1906" y="552"/>
                  </a:lnTo>
                  <a:close/>
                  <a:moveTo>
                    <a:pt x="1891" y="566"/>
                  </a:moveTo>
                  <a:lnTo>
                    <a:pt x="1891" y="566"/>
                  </a:lnTo>
                  <a:lnTo>
                    <a:pt x="1887" y="570"/>
                  </a:lnTo>
                  <a:lnTo>
                    <a:pt x="1887" y="572"/>
                  </a:lnTo>
                  <a:lnTo>
                    <a:pt x="1885" y="574"/>
                  </a:lnTo>
                  <a:lnTo>
                    <a:pt x="1885" y="578"/>
                  </a:lnTo>
                  <a:lnTo>
                    <a:pt x="1887" y="578"/>
                  </a:lnTo>
                  <a:lnTo>
                    <a:pt x="1887" y="576"/>
                  </a:lnTo>
                  <a:lnTo>
                    <a:pt x="1889" y="574"/>
                  </a:lnTo>
                  <a:lnTo>
                    <a:pt x="1889" y="574"/>
                  </a:lnTo>
                  <a:lnTo>
                    <a:pt x="1891" y="574"/>
                  </a:lnTo>
                  <a:lnTo>
                    <a:pt x="1891" y="572"/>
                  </a:lnTo>
                  <a:lnTo>
                    <a:pt x="1891" y="570"/>
                  </a:lnTo>
                  <a:lnTo>
                    <a:pt x="1893" y="566"/>
                  </a:lnTo>
                  <a:lnTo>
                    <a:pt x="1891" y="566"/>
                  </a:lnTo>
                  <a:close/>
                  <a:moveTo>
                    <a:pt x="1904" y="484"/>
                  </a:moveTo>
                  <a:lnTo>
                    <a:pt x="1904" y="484"/>
                  </a:lnTo>
                  <a:lnTo>
                    <a:pt x="1904" y="482"/>
                  </a:lnTo>
                  <a:lnTo>
                    <a:pt x="1902" y="482"/>
                  </a:lnTo>
                  <a:lnTo>
                    <a:pt x="1900" y="482"/>
                  </a:lnTo>
                  <a:lnTo>
                    <a:pt x="1902" y="484"/>
                  </a:lnTo>
                  <a:lnTo>
                    <a:pt x="1902" y="484"/>
                  </a:lnTo>
                  <a:lnTo>
                    <a:pt x="1904" y="484"/>
                  </a:lnTo>
                  <a:lnTo>
                    <a:pt x="1904" y="484"/>
                  </a:lnTo>
                  <a:close/>
                  <a:moveTo>
                    <a:pt x="1910" y="537"/>
                  </a:moveTo>
                  <a:lnTo>
                    <a:pt x="1910" y="539"/>
                  </a:lnTo>
                  <a:lnTo>
                    <a:pt x="1910" y="539"/>
                  </a:lnTo>
                  <a:lnTo>
                    <a:pt x="1910" y="539"/>
                  </a:lnTo>
                  <a:lnTo>
                    <a:pt x="1910" y="539"/>
                  </a:lnTo>
                  <a:lnTo>
                    <a:pt x="1910" y="539"/>
                  </a:lnTo>
                  <a:lnTo>
                    <a:pt x="1910" y="537"/>
                  </a:lnTo>
                  <a:close/>
                  <a:moveTo>
                    <a:pt x="1912" y="508"/>
                  </a:moveTo>
                  <a:lnTo>
                    <a:pt x="1912" y="506"/>
                  </a:lnTo>
                  <a:lnTo>
                    <a:pt x="1912" y="506"/>
                  </a:lnTo>
                  <a:lnTo>
                    <a:pt x="1910" y="504"/>
                  </a:lnTo>
                  <a:lnTo>
                    <a:pt x="1910" y="510"/>
                  </a:lnTo>
                  <a:lnTo>
                    <a:pt x="1912" y="510"/>
                  </a:lnTo>
                  <a:lnTo>
                    <a:pt x="1914" y="512"/>
                  </a:lnTo>
                  <a:lnTo>
                    <a:pt x="1914" y="510"/>
                  </a:lnTo>
                  <a:lnTo>
                    <a:pt x="1914" y="510"/>
                  </a:lnTo>
                  <a:lnTo>
                    <a:pt x="1912" y="508"/>
                  </a:lnTo>
                  <a:close/>
                  <a:moveTo>
                    <a:pt x="1914" y="490"/>
                  </a:moveTo>
                  <a:lnTo>
                    <a:pt x="1914" y="488"/>
                  </a:lnTo>
                  <a:lnTo>
                    <a:pt x="1912" y="486"/>
                  </a:lnTo>
                  <a:lnTo>
                    <a:pt x="1910" y="486"/>
                  </a:lnTo>
                  <a:lnTo>
                    <a:pt x="1910" y="486"/>
                  </a:lnTo>
                  <a:lnTo>
                    <a:pt x="1912" y="490"/>
                  </a:lnTo>
                  <a:lnTo>
                    <a:pt x="1912" y="492"/>
                  </a:lnTo>
                  <a:lnTo>
                    <a:pt x="1908" y="492"/>
                  </a:lnTo>
                  <a:lnTo>
                    <a:pt x="1908" y="494"/>
                  </a:lnTo>
                  <a:lnTo>
                    <a:pt x="1906" y="494"/>
                  </a:lnTo>
                  <a:lnTo>
                    <a:pt x="1906" y="494"/>
                  </a:lnTo>
                  <a:lnTo>
                    <a:pt x="1908" y="494"/>
                  </a:lnTo>
                  <a:lnTo>
                    <a:pt x="1910" y="498"/>
                  </a:lnTo>
                  <a:lnTo>
                    <a:pt x="1910" y="498"/>
                  </a:lnTo>
                  <a:lnTo>
                    <a:pt x="1912" y="498"/>
                  </a:lnTo>
                  <a:lnTo>
                    <a:pt x="1912" y="498"/>
                  </a:lnTo>
                  <a:lnTo>
                    <a:pt x="1912" y="496"/>
                  </a:lnTo>
                  <a:lnTo>
                    <a:pt x="1914" y="496"/>
                  </a:lnTo>
                  <a:lnTo>
                    <a:pt x="1916" y="496"/>
                  </a:lnTo>
                  <a:lnTo>
                    <a:pt x="1916" y="494"/>
                  </a:lnTo>
                  <a:lnTo>
                    <a:pt x="1916" y="490"/>
                  </a:lnTo>
                  <a:lnTo>
                    <a:pt x="1914" y="490"/>
                  </a:lnTo>
                  <a:close/>
                  <a:moveTo>
                    <a:pt x="1912" y="519"/>
                  </a:moveTo>
                  <a:lnTo>
                    <a:pt x="1912" y="519"/>
                  </a:lnTo>
                  <a:lnTo>
                    <a:pt x="1910" y="519"/>
                  </a:lnTo>
                  <a:lnTo>
                    <a:pt x="1910" y="519"/>
                  </a:lnTo>
                  <a:lnTo>
                    <a:pt x="1910" y="521"/>
                  </a:lnTo>
                  <a:lnTo>
                    <a:pt x="1910" y="521"/>
                  </a:lnTo>
                  <a:lnTo>
                    <a:pt x="1912" y="521"/>
                  </a:lnTo>
                  <a:lnTo>
                    <a:pt x="1912" y="521"/>
                  </a:lnTo>
                  <a:lnTo>
                    <a:pt x="1912" y="519"/>
                  </a:lnTo>
                  <a:lnTo>
                    <a:pt x="1912" y="519"/>
                  </a:lnTo>
                  <a:close/>
                  <a:moveTo>
                    <a:pt x="1858" y="617"/>
                  </a:moveTo>
                  <a:lnTo>
                    <a:pt x="1858" y="617"/>
                  </a:lnTo>
                  <a:lnTo>
                    <a:pt x="1858" y="617"/>
                  </a:lnTo>
                  <a:lnTo>
                    <a:pt x="1858" y="617"/>
                  </a:lnTo>
                  <a:lnTo>
                    <a:pt x="1858" y="617"/>
                  </a:lnTo>
                  <a:lnTo>
                    <a:pt x="1858" y="617"/>
                  </a:lnTo>
                  <a:lnTo>
                    <a:pt x="1858" y="617"/>
                  </a:lnTo>
                  <a:lnTo>
                    <a:pt x="1858" y="617"/>
                  </a:lnTo>
                  <a:lnTo>
                    <a:pt x="1858" y="617"/>
                  </a:lnTo>
                  <a:lnTo>
                    <a:pt x="1858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58" y="617"/>
                  </a:lnTo>
                  <a:close/>
                  <a:moveTo>
                    <a:pt x="1861" y="617"/>
                  </a:move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3" y="617"/>
                  </a:lnTo>
                  <a:lnTo>
                    <a:pt x="1863" y="617"/>
                  </a:lnTo>
                  <a:lnTo>
                    <a:pt x="1863" y="617"/>
                  </a:lnTo>
                  <a:lnTo>
                    <a:pt x="1863" y="617"/>
                  </a:lnTo>
                  <a:lnTo>
                    <a:pt x="1861" y="617"/>
                  </a:lnTo>
                  <a:close/>
                  <a:moveTo>
                    <a:pt x="1869" y="609"/>
                  </a:moveTo>
                  <a:lnTo>
                    <a:pt x="1865" y="611"/>
                  </a:lnTo>
                  <a:lnTo>
                    <a:pt x="1865" y="611"/>
                  </a:lnTo>
                  <a:lnTo>
                    <a:pt x="1867" y="613"/>
                  </a:lnTo>
                  <a:lnTo>
                    <a:pt x="1867" y="613"/>
                  </a:lnTo>
                  <a:lnTo>
                    <a:pt x="1867" y="611"/>
                  </a:lnTo>
                  <a:lnTo>
                    <a:pt x="1869" y="611"/>
                  </a:lnTo>
                  <a:lnTo>
                    <a:pt x="1869" y="611"/>
                  </a:lnTo>
                  <a:lnTo>
                    <a:pt x="1869" y="609"/>
                  </a:lnTo>
                  <a:close/>
                  <a:moveTo>
                    <a:pt x="1854" y="601"/>
                  </a:moveTo>
                  <a:lnTo>
                    <a:pt x="1852" y="599"/>
                  </a:lnTo>
                  <a:lnTo>
                    <a:pt x="1850" y="599"/>
                  </a:lnTo>
                  <a:lnTo>
                    <a:pt x="1850" y="603"/>
                  </a:lnTo>
                  <a:lnTo>
                    <a:pt x="1850" y="603"/>
                  </a:lnTo>
                  <a:lnTo>
                    <a:pt x="1850" y="605"/>
                  </a:lnTo>
                  <a:lnTo>
                    <a:pt x="1850" y="605"/>
                  </a:lnTo>
                  <a:lnTo>
                    <a:pt x="1850" y="607"/>
                  </a:lnTo>
                  <a:lnTo>
                    <a:pt x="1848" y="607"/>
                  </a:lnTo>
                  <a:lnTo>
                    <a:pt x="1848" y="609"/>
                  </a:lnTo>
                  <a:lnTo>
                    <a:pt x="1848" y="611"/>
                  </a:lnTo>
                  <a:lnTo>
                    <a:pt x="1848" y="613"/>
                  </a:lnTo>
                  <a:lnTo>
                    <a:pt x="1852" y="613"/>
                  </a:lnTo>
                  <a:lnTo>
                    <a:pt x="1850" y="611"/>
                  </a:lnTo>
                  <a:lnTo>
                    <a:pt x="1852" y="609"/>
                  </a:lnTo>
                  <a:lnTo>
                    <a:pt x="1852" y="607"/>
                  </a:lnTo>
                  <a:lnTo>
                    <a:pt x="1852" y="605"/>
                  </a:lnTo>
                  <a:lnTo>
                    <a:pt x="1852" y="603"/>
                  </a:lnTo>
                  <a:lnTo>
                    <a:pt x="1854" y="603"/>
                  </a:lnTo>
                  <a:lnTo>
                    <a:pt x="1854" y="603"/>
                  </a:lnTo>
                  <a:lnTo>
                    <a:pt x="1856" y="601"/>
                  </a:lnTo>
                  <a:lnTo>
                    <a:pt x="1856" y="601"/>
                  </a:lnTo>
                  <a:lnTo>
                    <a:pt x="1856" y="599"/>
                  </a:lnTo>
                  <a:lnTo>
                    <a:pt x="1854" y="601"/>
                  </a:lnTo>
                  <a:close/>
                  <a:moveTo>
                    <a:pt x="1863" y="613"/>
                  </a:moveTo>
                  <a:lnTo>
                    <a:pt x="1863" y="613"/>
                  </a:lnTo>
                  <a:lnTo>
                    <a:pt x="1863" y="613"/>
                  </a:lnTo>
                  <a:lnTo>
                    <a:pt x="1863" y="613"/>
                  </a:lnTo>
                  <a:lnTo>
                    <a:pt x="1863" y="613"/>
                  </a:lnTo>
                  <a:lnTo>
                    <a:pt x="1863" y="615"/>
                  </a:lnTo>
                  <a:lnTo>
                    <a:pt x="1865" y="613"/>
                  </a:lnTo>
                  <a:lnTo>
                    <a:pt x="1863" y="613"/>
                  </a:lnTo>
                  <a:lnTo>
                    <a:pt x="1863" y="613"/>
                  </a:lnTo>
                  <a:close/>
                  <a:moveTo>
                    <a:pt x="1877" y="580"/>
                  </a:moveTo>
                  <a:lnTo>
                    <a:pt x="1877" y="580"/>
                  </a:lnTo>
                  <a:lnTo>
                    <a:pt x="1877" y="578"/>
                  </a:lnTo>
                  <a:lnTo>
                    <a:pt x="1877" y="578"/>
                  </a:lnTo>
                  <a:lnTo>
                    <a:pt x="1875" y="578"/>
                  </a:lnTo>
                  <a:lnTo>
                    <a:pt x="1875" y="580"/>
                  </a:lnTo>
                  <a:lnTo>
                    <a:pt x="1873" y="582"/>
                  </a:lnTo>
                  <a:lnTo>
                    <a:pt x="1871" y="584"/>
                  </a:lnTo>
                  <a:lnTo>
                    <a:pt x="1869" y="584"/>
                  </a:lnTo>
                  <a:lnTo>
                    <a:pt x="1867" y="582"/>
                  </a:lnTo>
                  <a:lnTo>
                    <a:pt x="1867" y="582"/>
                  </a:lnTo>
                  <a:lnTo>
                    <a:pt x="1867" y="582"/>
                  </a:lnTo>
                  <a:lnTo>
                    <a:pt x="1867" y="584"/>
                  </a:lnTo>
                  <a:lnTo>
                    <a:pt x="1867" y="584"/>
                  </a:lnTo>
                  <a:lnTo>
                    <a:pt x="1865" y="586"/>
                  </a:lnTo>
                  <a:lnTo>
                    <a:pt x="1865" y="586"/>
                  </a:lnTo>
                  <a:lnTo>
                    <a:pt x="1865" y="591"/>
                  </a:lnTo>
                  <a:lnTo>
                    <a:pt x="1863" y="593"/>
                  </a:lnTo>
                  <a:lnTo>
                    <a:pt x="1863" y="595"/>
                  </a:lnTo>
                  <a:lnTo>
                    <a:pt x="1863" y="597"/>
                  </a:lnTo>
                  <a:lnTo>
                    <a:pt x="1863" y="597"/>
                  </a:lnTo>
                  <a:lnTo>
                    <a:pt x="1863" y="599"/>
                  </a:lnTo>
                  <a:lnTo>
                    <a:pt x="1863" y="601"/>
                  </a:lnTo>
                  <a:lnTo>
                    <a:pt x="1865" y="599"/>
                  </a:lnTo>
                  <a:lnTo>
                    <a:pt x="1865" y="597"/>
                  </a:lnTo>
                  <a:lnTo>
                    <a:pt x="1865" y="595"/>
                  </a:lnTo>
                  <a:lnTo>
                    <a:pt x="1867" y="593"/>
                  </a:lnTo>
                  <a:lnTo>
                    <a:pt x="1867" y="593"/>
                  </a:lnTo>
                  <a:lnTo>
                    <a:pt x="1867" y="591"/>
                  </a:lnTo>
                  <a:lnTo>
                    <a:pt x="1867" y="591"/>
                  </a:lnTo>
                  <a:lnTo>
                    <a:pt x="1869" y="591"/>
                  </a:lnTo>
                  <a:lnTo>
                    <a:pt x="1871" y="591"/>
                  </a:lnTo>
                  <a:lnTo>
                    <a:pt x="1871" y="586"/>
                  </a:lnTo>
                  <a:lnTo>
                    <a:pt x="1873" y="584"/>
                  </a:lnTo>
                  <a:lnTo>
                    <a:pt x="1875" y="584"/>
                  </a:lnTo>
                  <a:lnTo>
                    <a:pt x="1877" y="582"/>
                  </a:lnTo>
                  <a:lnTo>
                    <a:pt x="1879" y="582"/>
                  </a:lnTo>
                  <a:lnTo>
                    <a:pt x="1879" y="582"/>
                  </a:lnTo>
                  <a:lnTo>
                    <a:pt x="1879" y="580"/>
                  </a:lnTo>
                  <a:lnTo>
                    <a:pt x="1877" y="580"/>
                  </a:lnTo>
                  <a:close/>
                  <a:moveTo>
                    <a:pt x="417" y="578"/>
                  </a:moveTo>
                  <a:lnTo>
                    <a:pt x="417" y="578"/>
                  </a:lnTo>
                  <a:lnTo>
                    <a:pt x="417" y="580"/>
                  </a:lnTo>
                  <a:lnTo>
                    <a:pt x="417" y="580"/>
                  </a:lnTo>
                  <a:lnTo>
                    <a:pt x="417" y="578"/>
                  </a:lnTo>
                  <a:lnTo>
                    <a:pt x="417" y="576"/>
                  </a:lnTo>
                  <a:lnTo>
                    <a:pt x="417" y="578"/>
                  </a:lnTo>
                  <a:close/>
                  <a:moveTo>
                    <a:pt x="187" y="241"/>
                  </a:moveTo>
                  <a:lnTo>
                    <a:pt x="187" y="241"/>
                  </a:lnTo>
                  <a:lnTo>
                    <a:pt x="187" y="239"/>
                  </a:lnTo>
                  <a:lnTo>
                    <a:pt x="185" y="241"/>
                  </a:lnTo>
                  <a:lnTo>
                    <a:pt x="185" y="241"/>
                  </a:lnTo>
                  <a:lnTo>
                    <a:pt x="183" y="241"/>
                  </a:lnTo>
                  <a:lnTo>
                    <a:pt x="185" y="241"/>
                  </a:lnTo>
                  <a:lnTo>
                    <a:pt x="185" y="243"/>
                  </a:lnTo>
                  <a:lnTo>
                    <a:pt x="187" y="243"/>
                  </a:lnTo>
                  <a:lnTo>
                    <a:pt x="187" y="243"/>
                  </a:lnTo>
                  <a:lnTo>
                    <a:pt x="189" y="243"/>
                  </a:lnTo>
                  <a:lnTo>
                    <a:pt x="187" y="243"/>
                  </a:lnTo>
                  <a:lnTo>
                    <a:pt x="189" y="241"/>
                  </a:lnTo>
                  <a:lnTo>
                    <a:pt x="187" y="241"/>
                  </a:lnTo>
                  <a:close/>
                  <a:moveTo>
                    <a:pt x="596" y="216"/>
                  </a:moveTo>
                  <a:lnTo>
                    <a:pt x="594" y="216"/>
                  </a:lnTo>
                  <a:lnTo>
                    <a:pt x="594" y="214"/>
                  </a:lnTo>
                  <a:lnTo>
                    <a:pt x="592" y="214"/>
                  </a:lnTo>
                  <a:lnTo>
                    <a:pt x="590" y="214"/>
                  </a:lnTo>
                  <a:lnTo>
                    <a:pt x="590" y="216"/>
                  </a:lnTo>
                  <a:lnTo>
                    <a:pt x="592" y="218"/>
                  </a:lnTo>
                  <a:lnTo>
                    <a:pt x="596" y="218"/>
                  </a:lnTo>
                  <a:lnTo>
                    <a:pt x="598" y="218"/>
                  </a:lnTo>
                  <a:lnTo>
                    <a:pt x="598" y="218"/>
                  </a:lnTo>
                  <a:lnTo>
                    <a:pt x="598" y="218"/>
                  </a:lnTo>
                  <a:lnTo>
                    <a:pt x="598" y="218"/>
                  </a:lnTo>
                  <a:lnTo>
                    <a:pt x="598" y="216"/>
                  </a:lnTo>
                  <a:lnTo>
                    <a:pt x="596" y="216"/>
                  </a:lnTo>
                  <a:close/>
                  <a:moveTo>
                    <a:pt x="1587" y="410"/>
                  </a:moveTo>
                  <a:lnTo>
                    <a:pt x="1585" y="410"/>
                  </a:lnTo>
                  <a:lnTo>
                    <a:pt x="1583" y="412"/>
                  </a:lnTo>
                  <a:lnTo>
                    <a:pt x="1583" y="412"/>
                  </a:lnTo>
                  <a:lnTo>
                    <a:pt x="1585" y="412"/>
                  </a:lnTo>
                  <a:lnTo>
                    <a:pt x="1585" y="412"/>
                  </a:lnTo>
                  <a:lnTo>
                    <a:pt x="1587" y="412"/>
                  </a:lnTo>
                  <a:lnTo>
                    <a:pt x="1590" y="412"/>
                  </a:lnTo>
                  <a:lnTo>
                    <a:pt x="1587" y="410"/>
                  </a:lnTo>
                  <a:lnTo>
                    <a:pt x="1587" y="410"/>
                  </a:lnTo>
                  <a:lnTo>
                    <a:pt x="1587" y="410"/>
                  </a:lnTo>
                  <a:close/>
                  <a:moveTo>
                    <a:pt x="542" y="173"/>
                  </a:moveTo>
                  <a:lnTo>
                    <a:pt x="542" y="171"/>
                  </a:lnTo>
                  <a:lnTo>
                    <a:pt x="542" y="171"/>
                  </a:lnTo>
                  <a:lnTo>
                    <a:pt x="540" y="171"/>
                  </a:lnTo>
                  <a:lnTo>
                    <a:pt x="538" y="173"/>
                  </a:lnTo>
                  <a:lnTo>
                    <a:pt x="538" y="173"/>
                  </a:lnTo>
                  <a:lnTo>
                    <a:pt x="540" y="173"/>
                  </a:lnTo>
                  <a:lnTo>
                    <a:pt x="542" y="173"/>
                  </a:lnTo>
                  <a:close/>
                  <a:moveTo>
                    <a:pt x="1916" y="484"/>
                  </a:moveTo>
                  <a:lnTo>
                    <a:pt x="1916" y="484"/>
                  </a:lnTo>
                  <a:lnTo>
                    <a:pt x="1914" y="484"/>
                  </a:lnTo>
                  <a:lnTo>
                    <a:pt x="1912" y="486"/>
                  </a:lnTo>
                  <a:lnTo>
                    <a:pt x="1912" y="486"/>
                  </a:lnTo>
                  <a:lnTo>
                    <a:pt x="1914" y="486"/>
                  </a:lnTo>
                  <a:lnTo>
                    <a:pt x="1916" y="488"/>
                  </a:lnTo>
                  <a:lnTo>
                    <a:pt x="1918" y="488"/>
                  </a:lnTo>
                  <a:lnTo>
                    <a:pt x="1918" y="488"/>
                  </a:lnTo>
                  <a:lnTo>
                    <a:pt x="1916" y="486"/>
                  </a:lnTo>
                  <a:lnTo>
                    <a:pt x="1916" y="484"/>
                  </a:lnTo>
                  <a:close/>
                  <a:moveTo>
                    <a:pt x="1988" y="412"/>
                  </a:moveTo>
                  <a:lnTo>
                    <a:pt x="1986" y="412"/>
                  </a:lnTo>
                  <a:lnTo>
                    <a:pt x="1984" y="412"/>
                  </a:lnTo>
                  <a:lnTo>
                    <a:pt x="1980" y="408"/>
                  </a:lnTo>
                  <a:lnTo>
                    <a:pt x="1978" y="408"/>
                  </a:lnTo>
                  <a:lnTo>
                    <a:pt x="1978" y="406"/>
                  </a:lnTo>
                  <a:lnTo>
                    <a:pt x="1975" y="406"/>
                  </a:lnTo>
                  <a:lnTo>
                    <a:pt x="1971" y="406"/>
                  </a:lnTo>
                  <a:lnTo>
                    <a:pt x="1971" y="406"/>
                  </a:lnTo>
                  <a:lnTo>
                    <a:pt x="1971" y="406"/>
                  </a:lnTo>
                  <a:lnTo>
                    <a:pt x="1975" y="408"/>
                  </a:lnTo>
                  <a:lnTo>
                    <a:pt x="1978" y="410"/>
                  </a:lnTo>
                  <a:lnTo>
                    <a:pt x="1980" y="410"/>
                  </a:lnTo>
                  <a:lnTo>
                    <a:pt x="1980" y="410"/>
                  </a:lnTo>
                  <a:lnTo>
                    <a:pt x="1984" y="412"/>
                  </a:lnTo>
                  <a:lnTo>
                    <a:pt x="1986" y="414"/>
                  </a:lnTo>
                  <a:lnTo>
                    <a:pt x="1988" y="414"/>
                  </a:lnTo>
                  <a:lnTo>
                    <a:pt x="1988" y="414"/>
                  </a:lnTo>
                  <a:lnTo>
                    <a:pt x="1990" y="416"/>
                  </a:lnTo>
                  <a:lnTo>
                    <a:pt x="1994" y="416"/>
                  </a:lnTo>
                  <a:lnTo>
                    <a:pt x="1990" y="414"/>
                  </a:lnTo>
                  <a:lnTo>
                    <a:pt x="1988" y="412"/>
                  </a:lnTo>
                  <a:close/>
                  <a:moveTo>
                    <a:pt x="2010" y="416"/>
                  </a:moveTo>
                  <a:lnTo>
                    <a:pt x="2006" y="416"/>
                  </a:lnTo>
                  <a:lnTo>
                    <a:pt x="2004" y="414"/>
                  </a:lnTo>
                  <a:lnTo>
                    <a:pt x="2002" y="414"/>
                  </a:lnTo>
                  <a:lnTo>
                    <a:pt x="2000" y="414"/>
                  </a:lnTo>
                  <a:lnTo>
                    <a:pt x="2002" y="414"/>
                  </a:lnTo>
                  <a:lnTo>
                    <a:pt x="2006" y="416"/>
                  </a:lnTo>
                  <a:lnTo>
                    <a:pt x="2017" y="420"/>
                  </a:lnTo>
                  <a:lnTo>
                    <a:pt x="2014" y="418"/>
                  </a:lnTo>
                  <a:lnTo>
                    <a:pt x="2010" y="416"/>
                  </a:lnTo>
                  <a:close/>
                  <a:moveTo>
                    <a:pt x="1592" y="414"/>
                  </a:moveTo>
                  <a:lnTo>
                    <a:pt x="1594" y="414"/>
                  </a:lnTo>
                  <a:lnTo>
                    <a:pt x="1594" y="414"/>
                  </a:lnTo>
                  <a:lnTo>
                    <a:pt x="1596" y="414"/>
                  </a:lnTo>
                  <a:lnTo>
                    <a:pt x="1596" y="414"/>
                  </a:lnTo>
                  <a:lnTo>
                    <a:pt x="1600" y="418"/>
                  </a:lnTo>
                  <a:lnTo>
                    <a:pt x="1602" y="416"/>
                  </a:lnTo>
                  <a:lnTo>
                    <a:pt x="1602" y="416"/>
                  </a:lnTo>
                  <a:lnTo>
                    <a:pt x="1602" y="416"/>
                  </a:lnTo>
                  <a:lnTo>
                    <a:pt x="1604" y="414"/>
                  </a:lnTo>
                  <a:lnTo>
                    <a:pt x="1602" y="414"/>
                  </a:lnTo>
                  <a:lnTo>
                    <a:pt x="1602" y="412"/>
                  </a:lnTo>
                  <a:lnTo>
                    <a:pt x="1602" y="412"/>
                  </a:lnTo>
                  <a:lnTo>
                    <a:pt x="1602" y="410"/>
                  </a:lnTo>
                  <a:lnTo>
                    <a:pt x="1602" y="410"/>
                  </a:lnTo>
                  <a:lnTo>
                    <a:pt x="1600" y="410"/>
                  </a:lnTo>
                  <a:lnTo>
                    <a:pt x="1598" y="410"/>
                  </a:lnTo>
                  <a:lnTo>
                    <a:pt x="1598" y="410"/>
                  </a:lnTo>
                  <a:lnTo>
                    <a:pt x="1592" y="408"/>
                  </a:lnTo>
                  <a:lnTo>
                    <a:pt x="1592" y="408"/>
                  </a:lnTo>
                  <a:lnTo>
                    <a:pt x="1592" y="412"/>
                  </a:lnTo>
                  <a:lnTo>
                    <a:pt x="1592" y="412"/>
                  </a:lnTo>
                  <a:lnTo>
                    <a:pt x="1592" y="414"/>
                  </a:lnTo>
                  <a:close/>
                  <a:moveTo>
                    <a:pt x="1881" y="350"/>
                  </a:moveTo>
                  <a:lnTo>
                    <a:pt x="1881" y="350"/>
                  </a:lnTo>
                  <a:lnTo>
                    <a:pt x="1883" y="350"/>
                  </a:lnTo>
                  <a:lnTo>
                    <a:pt x="1883" y="350"/>
                  </a:lnTo>
                  <a:lnTo>
                    <a:pt x="1885" y="346"/>
                  </a:lnTo>
                  <a:lnTo>
                    <a:pt x="1887" y="346"/>
                  </a:lnTo>
                  <a:lnTo>
                    <a:pt x="1891" y="344"/>
                  </a:lnTo>
                  <a:lnTo>
                    <a:pt x="1889" y="344"/>
                  </a:lnTo>
                  <a:lnTo>
                    <a:pt x="1887" y="340"/>
                  </a:lnTo>
                  <a:lnTo>
                    <a:pt x="1883" y="338"/>
                  </a:lnTo>
                  <a:lnTo>
                    <a:pt x="1883" y="338"/>
                  </a:lnTo>
                  <a:lnTo>
                    <a:pt x="1881" y="342"/>
                  </a:lnTo>
                  <a:lnTo>
                    <a:pt x="1877" y="342"/>
                  </a:lnTo>
                  <a:lnTo>
                    <a:pt x="1877" y="344"/>
                  </a:lnTo>
                  <a:lnTo>
                    <a:pt x="1879" y="344"/>
                  </a:lnTo>
                  <a:lnTo>
                    <a:pt x="1881" y="346"/>
                  </a:lnTo>
                  <a:lnTo>
                    <a:pt x="1881" y="348"/>
                  </a:lnTo>
                  <a:lnTo>
                    <a:pt x="1881" y="350"/>
                  </a:lnTo>
                  <a:lnTo>
                    <a:pt x="1881" y="350"/>
                  </a:lnTo>
                  <a:close/>
                  <a:moveTo>
                    <a:pt x="2070" y="251"/>
                  </a:moveTo>
                  <a:lnTo>
                    <a:pt x="2068" y="251"/>
                  </a:lnTo>
                  <a:lnTo>
                    <a:pt x="2066" y="251"/>
                  </a:lnTo>
                  <a:lnTo>
                    <a:pt x="2066" y="251"/>
                  </a:lnTo>
                  <a:lnTo>
                    <a:pt x="2064" y="249"/>
                  </a:lnTo>
                  <a:lnTo>
                    <a:pt x="2060" y="249"/>
                  </a:lnTo>
                  <a:lnTo>
                    <a:pt x="2060" y="249"/>
                  </a:lnTo>
                  <a:lnTo>
                    <a:pt x="2058" y="249"/>
                  </a:lnTo>
                  <a:lnTo>
                    <a:pt x="2058" y="249"/>
                  </a:lnTo>
                  <a:lnTo>
                    <a:pt x="2056" y="247"/>
                  </a:lnTo>
                  <a:lnTo>
                    <a:pt x="2056" y="247"/>
                  </a:lnTo>
                  <a:lnTo>
                    <a:pt x="2056" y="247"/>
                  </a:lnTo>
                  <a:lnTo>
                    <a:pt x="2056" y="247"/>
                  </a:lnTo>
                  <a:lnTo>
                    <a:pt x="2054" y="245"/>
                  </a:lnTo>
                  <a:lnTo>
                    <a:pt x="2051" y="245"/>
                  </a:lnTo>
                  <a:lnTo>
                    <a:pt x="2051" y="245"/>
                  </a:lnTo>
                  <a:lnTo>
                    <a:pt x="2051" y="245"/>
                  </a:lnTo>
                  <a:lnTo>
                    <a:pt x="2051" y="245"/>
                  </a:lnTo>
                  <a:lnTo>
                    <a:pt x="2051" y="245"/>
                  </a:lnTo>
                  <a:lnTo>
                    <a:pt x="2054" y="245"/>
                  </a:lnTo>
                  <a:lnTo>
                    <a:pt x="2056" y="245"/>
                  </a:lnTo>
                  <a:lnTo>
                    <a:pt x="2058" y="243"/>
                  </a:lnTo>
                  <a:lnTo>
                    <a:pt x="2058" y="243"/>
                  </a:lnTo>
                  <a:lnTo>
                    <a:pt x="2058" y="243"/>
                  </a:lnTo>
                  <a:lnTo>
                    <a:pt x="2056" y="241"/>
                  </a:lnTo>
                  <a:lnTo>
                    <a:pt x="2054" y="239"/>
                  </a:lnTo>
                  <a:lnTo>
                    <a:pt x="2051" y="239"/>
                  </a:lnTo>
                  <a:lnTo>
                    <a:pt x="2049" y="239"/>
                  </a:lnTo>
                  <a:lnTo>
                    <a:pt x="2049" y="239"/>
                  </a:lnTo>
                  <a:lnTo>
                    <a:pt x="2047" y="239"/>
                  </a:lnTo>
                  <a:lnTo>
                    <a:pt x="2051" y="239"/>
                  </a:lnTo>
                  <a:lnTo>
                    <a:pt x="2051" y="239"/>
                  </a:lnTo>
                  <a:lnTo>
                    <a:pt x="2049" y="237"/>
                  </a:lnTo>
                  <a:lnTo>
                    <a:pt x="2047" y="235"/>
                  </a:lnTo>
                  <a:lnTo>
                    <a:pt x="2047" y="235"/>
                  </a:lnTo>
                  <a:lnTo>
                    <a:pt x="2045" y="235"/>
                  </a:lnTo>
                  <a:lnTo>
                    <a:pt x="2045" y="235"/>
                  </a:lnTo>
                  <a:lnTo>
                    <a:pt x="2045" y="235"/>
                  </a:lnTo>
                  <a:lnTo>
                    <a:pt x="2039" y="233"/>
                  </a:lnTo>
                  <a:lnTo>
                    <a:pt x="2035" y="233"/>
                  </a:lnTo>
                  <a:lnTo>
                    <a:pt x="2035" y="233"/>
                  </a:lnTo>
                  <a:lnTo>
                    <a:pt x="2037" y="233"/>
                  </a:lnTo>
                  <a:lnTo>
                    <a:pt x="2039" y="233"/>
                  </a:lnTo>
                  <a:lnTo>
                    <a:pt x="2043" y="233"/>
                  </a:lnTo>
                  <a:lnTo>
                    <a:pt x="2043" y="233"/>
                  </a:lnTo>
                  <a:lnTo>
                    <a:pt x="2045" y="235"/>
                  </a:lnTo>
                  <a:lnTo>
                    <a:pt x="2045" y="235"/>
                  </a:lnTo>
                  <a:lnTo>
                    <a:pt x="2049" y="235"/>
                  </a:lnTo>
                  <a:lnTo>
                    <a:pt x="2049" y="235"/>
                  </a:lnTo>
                  <a:lnTo>
                    <a:pt x="2051" y="235"/>
                  </a:lnTo>
                  <a:lnTo>
                    <a:pt x="2051" y="235"/>
                  </a:lnTo>
                  <a:lnTo>
                    <a:pt x="2056" y="235"/>
                  </a:lnTo>
                  <a:lnTo>
                    <a:pt x="2056" y="235"/>
                  </a:lnTo>
                  <a:lnTo>
                    <a:pt x="2060" y="235"/>
                  </a:lnTo>
                  <a:lnTo>
                    <a:pt x="2060" y="235"/>
                  </a:lnTo>
                  <a:lnTo>
                    <a:pt x="2060" y="235"/>
                  </a:lnTo>
                  <a:lnTo>
                    <a:pt x="2060" y="235"/>
                  </a:lnTo>
                  <a:lnTo>
                    <a:pt x="2058" y="233"/>
                  </a:lnTo>
                  <a:lnTo>
                    <a:pt x="2054" y="233"/>
                  </a:lnTo>
                  <a:lnTo>
                    <a:pt x="2051" y="231"/>
                  </a:lnTo>
                  <a:lnTo>
                    <a:pt x="2049" y="231"/>
                  </a:lnTo>
                  <a:lnTo>
                    <a:pt x="2049" y="231"/>
                  </a:lnTo>
                  <a:lnTo>
                    <a:pt x="2049" y="231"/>
                  </a:lnTo>
                  <a:lnTo>
                    <a:pt x="2054" y="231"/>
                  </a:lnTo>
                  <a:lnTo>
                    <a:pt x="2056" y="233"/>
                  </a:lnTo>
                  <a:lnTo>
                    <a:pt x="2058" y="233"/>
                  </a:lnTo>
                  <a:lnTo>
                    <a:pt x="2060" y="233"/>
                  </a:lnTo>
                  <a:lnTo>
                    <a:pt x="2064" y="233"/>
                  </a:lnTo>
                  <a:lnTo>
                    <a:pt x="2064" y="233"/>
                  </a:lnTo>
                  <a:lnTo>
                    <a:pt x="2062" y="231"/>
                  </a:lnTo>
                  <a:lnTo>
                    <a:pt x="2060" y="231"/>
                  </a:lnTo>
                  <a:lnTo>
                    <a:pt x="2060" y="229"/>
                  </a:lnTo>
                  <a:lnTo>
                    <a:pt x="2060" y="229"/>
                  </a:lnTo>
                  <a:lnTo>
                    <a:pt x="2060" y="227"/>
                  </a:lnTo>
                  <a:lnTo>
                    <a:pt x="2062" y="227"/>
                  </a:lnTo>
                  <a:lnTo>
                    <a:pt x="2062" y="227"/>
                  </a:lnTo>
                  <a:lnTo>
                    <a:pt x="2064" y="227"/>
                  </a:lnTo>
                  <a:lnTo>
                    <a:pt x="2064" y="227"/>
                  </a:lnTo>
                  <a:lnTo>
                    <a:pt x="2064" y="227"/>
                  </a:lnTo>
                  <a:lnTo>
                    <a:pt x="2062" y="225"/>
                  </a:lnTo>
                  <a:lnTo>
                    <a:pt x="2060" y="225"/>
                  </a:lnTo>
                  <a:lnTo>
                    <a:pt x="2056" y="225"/>
                  </a:lnTo>
                  <a:lnTo>
                    <a:pt x="2056" y="225"/>
                  </a:lnTo>
                  <a:lnTo>
                    <a:pt x="2054" y="223"/>
                  </a:lnTo>
                  <a:lnTo>
                    <a:pt x="2054" y="223"/>
                  </a:lnTo>
                  <a:lnTo>
                    <a:pt x="2051" y="223"/>
                  </a:lnTo>
                  <a:lnTo>
                    <a:pt x="2051" y="223"/>
                  </a:lnTo>
                  <a:lnTo>
                    <a:pt x="2049" y="223"/>
                  </a:lnTo>
                  <a:lnTo>
                    <a:pt x="2049" y="223"/>
                  </a:lnTo>
                  <a:lnTo>
                    <a:pt x="2049" y="223"/>
                  </a:lnTo>
                  <a:lnTo>
                    <a:pt x="2049" y="223"/>
                  </a:lnTo>
                  <a:lnTo>
                    <a:pt x="2047" y="223"/>
                  </a:lnTo>
                  <a:lnTo>
                    <a:pt x="2047" y="220"/>
                  </a:lnTo>
                  <a:lnTo>
                    <a:pt x="2039" y="218"/>
                  </a:lnTo>
                  <a:lnTo>
                    <a:pt x="2035" y="218"/>
                  </a:lnTo>
                  <a:lnTo>
                    <a:pt x="2029" y="216"/>
                  </a:lnTo>
                  <a:lnTo>
                    <a:pt x="2025" y="214"/>
                  </a:lnTo>
                  <a:lnTo>
                    <a:pt x="2019" y="212"/>
                  </a:lnTo>
                  <a:lnTo>
                    <a:pt x="2014" y="212"/>
                  </a:lnTo>
                  <a:lnTo>
                    <a:pt x="2012" y="212"/>
                  </a:lnTo>
                  <a:lnTo>
                    <a:pt x="2008" y="210"/>
                  </a:lnTo>
                  <a:lnTo>
                    <a:pt x="2006" y="210"/>
                  </a:lnTo>
                  <a:lnTo>
                    <a:pt x="2000" y="210"/>
                  </a:lnTo>
                  <a:lnTo>
                    <a:pt x="2002" y="210"/>
                  </a:lnTo>
                  <a:lnTo>
                    <a:pt x="2008" y="212"/>
                  </a:lnTo>
                  <a:lnTo>
                    <a:pt x="2008" y="212"/>
                  </a:lnTo>
                  <a:lnTo>
                    <a:pt x="2010" y="212"/>
                  </a:lnTo>
                  <a:lnTo>
                    <a:pt x="2008" y="212"/>
                  </a:lnTo>
                  <a:lnTo>
                    <a:pt x="2004" y="212"/>
                  </a:lnTo>
                  <a:lnTo>
                    <a:pt x="2002" y="212"/>
                  </a:lnTo>
                  <a:lnTo>
                    <a:pt x="2000" y="210"/>
                  </a:lnTo>
                  <a:lnTo>
                    <a:pt x="2000" y="210"/>
                  </a:lnTo>
                  <a:lnTo>
                    <a:pt x="2000" y="212"/>
                  </a:lnTo>
                  <a:lnTo>
                    <a:pt x="2002" y="212"/>
                  </a:lnTo>
                  <a:lnTo>
                    <a:pt x="2004" y="212"/>
                  </a:lnTo>
                  <a:lnTo>
                    <a:pt x="2002" y="214"/>
                  </a:lnTo>
                  <a:lnTo>
                    <a:pt x="2002" y="214"/>
                  </a:lnTo>
                  <a:lnTo>
                    <a:pt x="2000" y="212"/>
                  </a:lnTo>
                  <a:lnTo>
                    <a:pt x="2000" y="212"/>
                  </a:lnTo>
                  <a:lnTo>
                    <a:pt x="1998" y="210"/>
                  </a:lnTo>
                  <a:lnTo>
                    <a:pt x="2000" y="210"/>
                  </a:lnTo>
                  <a:lnTo>
                    <a:pt x="1998" y="210"/>
                  </a:lnTo>
                  <a:lnTo>
                    <a:pt x="1994" y="210"/>
                  </a:lnTo>
                  <a:lnTo>
                    <a:pt x="1992" y="208"/>
                  </a:lnTo>
                  <a:lnTo>
                    <a:pt x="1992" y="208"/>
                  </a:lnTo>
                  <a:lnTo>
                    <a:pt x="1990" y="210"/>
                  </a:lnTo>
                  <a:lnTo>
                    <a:pt x="1982" y="210"/>
                  </a:lnTo>
                  <a:lnTo>
                    <a:pt x="1982" y="210"/>
                  </a:lnTo>
                  <a:lnTo>
                    <a:pt x="1982" y="210"/>
                  </a:lnTo>
                  <a:lnTo>
                    <a:pt x="1984" y="210"/>
                  </a:lnTo>
                  <a:lnTo>
                    <a:pt x="1984" y="210"/>
                  </a:lnTo>
                  <a:lnTo>
                    <a:pt x="1986" y="210"/>
                  </a:lnTo>
                  <a:lnTo>
                    <a:pt x="1988" y="210"/>
                  </a:lnTo>
                  <a:lnTo>
                    <a:pt x="1990" y="212"/>
                  </a:lnTo>
                  <a:lnTo>
                    <a:pt x="1990" y="212"/>
                  </a:lnTo>
                  <a:lnTo>
                    <a:pt x="1992" y="212"/>
                  </a:lnTo>
                  <a:lnTo>
                    <a:pt x="1994" y="214"/>
                  </a:lnTo>
                  <a:lnTo>
                    <a:pt x="1996" y="214"/>
                  </a:lnTo>
                  <a:lnTo>
                    <a:pt x="1996" y="216"/>
                  </a:lnTo>
                  <a:lnTo>
                    <a:pt x="1996" y="216"/>
                  </a:lnTo>
                  <a:lnTo>
                    <a:pt x="1996" y="216"/>
                  </a:lnTo>
                  <a:lnTo>
                    <a:pt x="1998" y="218"/>
                  </a:lnTo>
                  <a:lnTo>
                    <a:pt x="2000" y="218"/>
                  </a:lnTo>
                  <a:lnTo>
                    <a:pt x="2002" y="218"/>
                  </a:lnTo>
                  <a:lnTo>
                    <a:pt x="2004" y="218"/>
                  </a:lnTo>
                  <a:lnTo>
                    <a:pt x="2006" y="220"/>
                  </a:lnTo>
                  <a:lnTo>
                    <a:pt x="2006" y="220"/>
                  </a:lnTo>
                  <a:lnTo>
                    <a:pt x="2008" y="223"/>
                  </a:lnTo>
                  <a:lnTo>
                    <a:pt x="2008" y="223"/>
                  </a:lnTo>
                  <a:lnTo>
                    <a:pt x="2008" y="223"/>
                  </a:lnTo>
                  <a:lnTo>
                    <a:pt x="2008" y="223"/>
                  </a:lnTo>
                  <a:lnTo>
                    <a:pt x="2008" y="223"/>
                  </a:lnTo>
                  <a:lnTo>
                    <a:pt x="2004" y="220"/>
                  </a:lnTo>
                  <a:lnTo>
                    <a:pt x="2002" y="220"/>
                  </a:lnTo>
                  <a:lnTo>
                    <a:pt x="2000" y="220"/>
                  </a:lnTo>
                  <a:lnTo>
                    <a:pt x="2000" y="220"/>
                  </a:lnTo>
                  <a:lnTo>
                    <a:pt x="2000" y="220"/>
                  </a:lnTo>
                  <a:lnTo>
                    <a:pt x="2000" y="220"/>
                  </a:lnTo>
                  <a:lnTo>
                    <a:pt x="2000" y="220"/>
                  </a:lnTo>
                  <a:lnTo>
                    <a:pt x="1998" y="220"/>
                  </a:lnTo>
                  <a:lnTo>
                    <a:pt x="1996" y="218"/>
                  </a:lnTo>
                  <a:lnTo>
                    <a:pt x="1994" y="218"/>
                  </a:lnTo>
                  <a:lnTo>
                    <a:pt x="1992" y="218"/>
                  </a:lnTo>
                  <a:lnTo>
                    <a:pt x="1992" y="216"/>
                  </a:lnTo>
                  <a:lnTo>
                    <a:pt x="1990" y="216"/>
                  </a:lnTo>
                  <a:lnTo>
                    <a:pt x="1988" y="216"/>
                  </a:lnTo>
                  <a:lnTo>
                    <a:pt x="1986" y="216"/>
                  </a:lnTo>
                  <a:lnTo>
                    <a:pt x="1986" y="214"/>
                  </a:lnTo>
                  <a:lnTo>
                    <a:pt x="1984" y="212"/>
                  </a:lnTo>
                  <a:lnTo>
                    <a:pt x="1982" y="212"/>
                  </a:lnTo>
                  <a:lnTo>
                    <a:pt x="1980" y="210"/>
                  </a:lnTo>
                  <a:lnTo>
                    <a:pt x="1978" y="210"/>
                  </a:lnTo>
                  <a:lnTo>
                    <a:pt x="1975" y="208"/>
                  </a:lnTo>
                  <a:lnTo>
                    <a:pt x="1973" y="206"/>
                  </a:lnTo>
                  <a:lnTo>
                    <a:pt x="1971" y="206"/>
                  </a:lnTo>
                  <a:lnTo>
                    <a:pt x="1969" y="204"/>
                  </a:lnTo>
                  <a:lnTo>
                    <a:pt x="1967" y="204"/>
                  </a:lnTo>
                  <a:lnTo>
                    <a:pt x="1967" y="204"/>
                  </a:lnTo>
                  <a:lnTo>
                    <a:pt x="1967" y="206"/>
                  </a:lnTo>
                  <a:lnTo>
                    <a:pt x="1967" y="206"/>
                  </a:lnTo>
                  <a:lnTo>
                    <a:pt x="1965" y="206"/>
                  </a:lnTo>
                  <a:lnTo>
                    <a:pt x="1965" y="204"/>
                  </a:lnTo>
                  <a:lnTo>
                    <a:pt x="1963" y="202"/>
                  </a:lnTo>
                  <a:lnTo>
                    <a:pt x="1961" y="202"/>
                  </a:lnTo>
                  <a:lnTo>
                    <a:pt x="1961" y="202"/>
                  </a:lnTo>
                  <a:lnTo>
                    <a:pt x="1959" y="200"/>
                  </a:lnTo>
                  <a:lnTo>
                    <a:pt x="1930" y="194"/>
                  </a:lnTo>
                  <a:lnTo>
                    <a:pt x="1926" y="192"/>
                  </a:lnTo>
                  <a:lnTo>
                    <a:pt x="1922" y="192"/>
                  </a:lnTo>
                  <a:lnTo>
                    <a:pt x="1920" y="192"/>
                  </a:lnTo>
                  <a:lnTo>
                    <a:pt x="1920" y="192"/>
                  </a:lnTo>
                  <a:lnTo>
                    <a:pt x="1920" y="192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6" y="190"/>
                  </a:lnTo>
                  <a:lnTo>
                    <a:pt x="1904" y="188"/>
                  </a:lnTo>
                  <a:lnTo>
                    <a:pt x="1902" y="186"/>
                  </a:lnTo>
                  <a:lnTo>
                    <a:pt x="1904" y="188"/>
                  </a:lnTo>
                  <a:lnTo>
                    <a:pt x="1912" y="190"/>
                  </a:lnTo>
                  <a:lnTo>
                    <a:pt x="1914" y="190"/>
                  </a:lnTo>
                  <a:lnTo>
                    <a:pt x="1914" y="192"/>
                  </a:lnTo>
                  <a:lnTo>
                    <a:pt x="1912" y="192"/>
                  </a:lnTo>
                  <a:lnTo>
                    <a:pt x="1912" y="190"/>
                  </a:lnTo>
                  <a:lnTo>
                    <a:pt x="1910" y="190"/>
                  </a:lnTo>
                  <a:lnTo>
                    <a:pt x="1908" y="190"/>
                  </a:lnTo>
                  <a:lnTo>
                    <a:pt x="1906" y="188"/>
                  </a:lnTo>
                  <a:lnTo>
                    <a:pt x="1902" y="188"/>
                  </a:lnTo>
                  <a:lnTo>
                    <a:pt x="1900" y="188"/>
                  </a:lnTo>
                  <a:lnTo>
                    <a:pt x="1897" y="186"/>
                  </a:lnTo>
                  <a:lnTo>
                    <a:pt x="1895" y="186"/>
                  </a:lnTo>
                  <a:lnTo>
                    <a:pt x="1897" y="186"/>
                  </a:lnTo>
                  <a:lnTo>
                    <a:pt x="1900" y="186"/>
                  </a:lnTo>
                  <a:lnTo>
                    <a:pt x="1895" y="186"/>
                  </a:lnTo>
                  <a:lnTo>
                    <a:pt x="1891" y="183"/>
                  </a:lnTo>
                  <a:lnTo>
                    <a:pt x="1885" y="183"/>
                  </a:lnTo>
                  <a:lnTo>
                    <a:pt x="1883" y="181"/>
                  </a:lnTo>
                  <a:lnTo>
                    <a:pt x="1881" y="181"/>
                  </a:lnTo>
                  <a:lnTo>
                    <a:pt x="1881" y="181"/>
                  </a:lnTo>
                  <a:lnTo>
                    <a:pt x="1879" y="181"/>
                  </a:lnTo>
                  <a:lnTo>
                    <a:pt x="1877" y="181"/>
                  </a:lnTo>
                  <a:lnTo>
                    <a:pt x="1877" y="181"/>
                  </a:lnTo>
                  <a:lnTo>
                    <a:pt x="1875" y="179"/>
                  </a:lnTo>
                  <a:lnTo>
                    <a:pt x="1871" y="179"/>
                  </a:lnTo>
                  <a:lnTo>
                    <a:pt x="1869" y="179"/>
                  </a:lnTo>
                  <a:lnTo>
                    <a:pt x="1858" y="175"/>
                  </a:lnTo>
                  <a:lnTo>
                    <a:pt x="1854" y="175"/>
                  </a:lnTo>
                  <a:lnTo>
                    <a:pt x="1852" y="175"/>
                  </a:lnTo>
                  <a:lnTo>
                    <a:pt x="1852" y="173"/>
                  </a:lnTo>
                  <a:lnTo>
                    <a:pt x="1850" y="173"/>
                  </a:lnTo>
                  <a:lnTo>
                    <a:pt x="1844" y="173"/>
                  </a:lnTo>
                  <a:lnTo>
                    <a:pt x="1838" y="171"/>
                  </a:lnTo>
                  <a:lnTo>
                    <a:pt x="1828" y="171"/>
                  </a:lnTo>
                  <a:lnTo>
                    <a:pt x="1822" y="169"/>
                  </a:lnTo>
                  <a:lnTo>
                    <a:pt x="1813" y="167"/>
                  </a:lnTo>
                  <a:lnTo>
                    <a:pt x="1807" y="167"/>
                  </a:lnTo>
                  <a:lnTo>
                    <a:pt x="1805" y="165"/>
                  </a:lnTo>
                  <a:lnTo>
                    <a:pt x="1803" y="165"/>
                  </a:lnTo>
                  <a:lnTo>
                    <a:pt x="1799" y="167"/>
                  </a:lnTo>
                  <a:lnTo>
                    <a:pt x="1793" y="167"/>
                  </a:lnTo>
                  <a:lnTo>
                    <a:pt x="1787" y="167"/>
                  </a:lnTo>
                  <a:lnTo>
                    <a:pt x="1782" y="167"/>
                  </a:lnTo>
                  <a:lnTo>
                    <a:pt x="1778" y="167"/>
                  </a:lnTo>
                  <a:lnTo>
                    <a:pt x="1774" y="165"/>
                  </a:lnTo>
                  <a:lnTo>
                    <a:pt x="1774" y="165"/>
                  </a:lnTo>
                  <a:lnTo>
                    <a:pt x="1776" y="167"/>
                  </a:lnTo>
                  <a:lnTo>
                    <a:pt x="1772" y="167"/>
                  </a:lnTo>
                  <a:lnTo>
                    <a:pt x="1768" y="165"/>
                  </a:lnTo>
                  <a:lnTo>
                    <a:pt x="1764" y="165"/>
                  </a:lnTo>
                  <a:lnTo>
                    <a:pt x="1756" y="165"/>
                  </a:lnTo>
                  <a:lnTo>
                    <a:pt x="1746" y="163"/>
                  </a:lnTo>
                  <a:lnTo>
                    <a:pt x="1741" y="163"/>
                  </a:lnTo>
                  <a:lnTo>
                    <a:pt x="1737" y="163"/>
                  </a:lnTo>
                  <a:lnTo>
                    <a:pt x="1741" y="165"/>
                  </a:lnTo>
                  <a:lnTo>
                    <a:pt x="1741" y="167"/>
                  </a:lnTo>
                  <a:lnTo>
                    <a:pt x="1743" y="169"/>
                  </a:lnTo>
                  <a:lnTo>
                    <a:pt x="1743" y="169"/>
                  </a:lnTo>
                  <a:lnTo>
                    <a:pt x="1743" y="169"/>
                  </a:lnTo>
                  <a:lnTo>
                    <a:pt x="1750" y="171"/>
                  </a:lnTo>
                  <a:lnTo>
                    <a:pt x="1756" y="173"/>
                  </a:lnTo>
                  <a:lnTo>
                    <a:pt x="1760" y="175"/>
                  </a:lnTo>
                  <a:lnTo>
                    <a:pt x="1764" y="177"/>
                  </a:lnTo>
                  <a:lnTo>
                    <a:pt x="1766" y="179"/>
                  </a:lnTo>
                  <a:lnTo>
                    <a:pt x="1766" y="181"/>
                  </a:lnTo>
                  <a:lnTo>
                    <a:pt x="1760" y="183"/>
                  </a:lnTo>
                  <a:lnTo>
                    <a:pt x="1756" y="183"/>
                  </a:lnTo>
                  <a:lnTo>
                    <a:pt x="1750" y="181"/>
                  </a:lnTo>
                  <a:lnTo>
                    <a:pt x="1746" y="179"/>
                  </a:lnTo>
                  <a:lnTo>
                    <a:pt x="1739" y="177"/>
                  </a:lnTo>
                  <a:lnTo>
                    <a:pt x="1733" y="175"/>
                  </a:lnTo>
                  <a:lnTo>
                    <a:pt x="1731" y="175"/>
                  </a:lnTo>
                  <a:lnTo>
                    <a:pt x="1729" y="175"/>
                  </a:lnTo>
                  <a:lnTo>
                    <a:pt x="1725" y="173"/>
                  </a:lnTo>
                  <a:lnTo>
                    <a:pt x="1721" y="171"/>
                  </a:lnTo>
                  <a:lnTo>
                    <a:pt x="1719" y="169"/>
                  </a:lnTo>
                  <a:lnTo>
                    <a:pt x="1717" y="169"/>
                  </a:lnTo>
                  <a:lnTo>
                    <a:pt x="1715" y="169"/>
                  </a:lnTo>
                  <a:lnTo>
                    <a:pt x="1711" y="169"/>
                  </a:lnTo>
                  <a:lnTo>
                    <a:pt x="1709" y="171"/>
                  </a:lnTo>
                  <a:lnTo>
                    <a:pt x="1709" y="171"/>
                  </a:lnTo>
                  <a:lnTo>
                    <a:pt x="1707" y="171"/>
                  </a:lnTo>
                  <a:lnTo>
                    <a:pt x="1696" y="171"/>
                  </a:lnTo>
                  <a:lnTo>
                    <a:pt x="1692" y="171"/>
                  </a:lnTo>
                  <a:lnTo>
                    <a:pt x="1678" y="171"/>
                  </a:lnTo>
                  <a:lnTo>
                    <a:pt x="1672" y="169"/>
                  </a:lnTo>
                  <a:lnTo>
                    <a:pt x="1668" y="169"/>
                  </a:lnTo>
                  <a:lnTo>
                    <a:pt x="1665" y="169"/>
                  </a:lnTo>
                  <a:lnTo>
                    <a:pt x="1663" y="169"/>
                  </a:lnTo>
                  <a:lnTo>
                    <a:pt x="1659" y="169"/>
                  </a:lnTo>
                  <a:lnTo>
                    <a:pt x="1657" y="169"/>
                  </a:lnTo>
                  <a:lnTo>
                    <a:pt x="1651" y="169"/>
                  </a:lnTo>
                  <a:lnTo>
                    <a:pt x="1651" y="171"/>
                  </a:lnTo>
                  <a:lnTo>
                    <a:pt x="1649" y="171"/>
                  </a:lnTo>
                  <a:lnTo>
                    <a:pt x="1647" y="173"/>
                  </a:lnTo>
                  <a:lnTo>
                    <a:pt x="1649" y="175"/>
                  </a:lnTo>
                  <a:lnTo>
                    <a:pt x="1651" y="177"/>
                  </a:lnTo>
                  <a:lnTo>
                    <a:pt x="1655" y="179"/>
                  </a:lnTo>
                  <a:lnTo>
                    <a:pt x="1657" y="181"/>
                  </a:lnTo>
                  <a:lnTo>
                    <a:pt x="1657" y="181"/>
                  </a:lnTo>
                  <a:lnTo>
                    <a:pt x="1657" y="183"/>
                  </a:lnTo>
                  <a:lnTo>
                    <a:pt x="1659" y="186"/>
                  </a:lnTo>
                  <a:lnTo>
                    <a:pt x="1659" y="186"/>
                  </a:lnTo>
                  <a:lnTo>
                    <a:pt x="1657" y="188"/>
                  </a:lnTo>
                  <a:lnTo>
                    <a:pt x="1657" y="186"/>
                  </a:lnTo>
                  <a:lnTo>
                    <a:pt x="1657" y="186"/>
                  </a:lnTo>
                  <a:lnTo>
                    <a:pt x="1655" y="181"/>
                  </a:lnTo>
                  <a:lnTo>
                    <a:pt x="1653" y="179"/>
                  </a:lnTo>
                  <a:lnTo>
                    <a:pt x="1649" y="179"/>
                  </a:lnTo>
                  <a:lnTo>
                    <a:pt x="1647" y="177"/>
                  </a:lnTo>
                  <a:lnTo>
                    <a:pt x="1643" y="175"/>
                  </a:lnTo>
                  <a:lnTo>
                    <a:pt x="1639" y="173"/>
                  </a:lnTo>
                  <a:lnTo>
                    <a:pt x="1637" y="171"/>
                  </a:lnTo>
                  <a:lnTo>
                    <a:pt x="1633" y="169"/>
                  </a:lnTo>
                  <a:lnTo>
                    <a:pt x="1624" y="169"/>
                  </a:lnTo>
                  <a:lnTo>
                    <a:pt x="1620" y="167"/>
                  </a:lnTo>
                  <a:lnTo>
                    <a:pt x="1616" y="167"/>
                  </a:lnTo>
                  <a:lnTo>
                    <a:pt x="1616" y="165"/>
                  </a:lnTo>
                  <a:lnTo>
                    <a:pt x="1614" y="163"/>
                  </a:lnTo>
                  <a:lnTo>
                    <a:pt x="1612" y="163"/>
                  </a:lnTo>
                  <a:lnTo>
                    <a:pt x="1612" y="161"/>
                  </a:lnTo>
                  <a:lnTo>
                    <a:pt x="1610" y="159"/>
                  </a:lnTo>
                  <a:lnTo>
                    <a:pt x="1608" y="159"/>
                  </a:lnTo>
                  <a:lnTo>
                    <a:pt x="1606" y="157"/>
                  </a:lnTo>
                  <a:lnTo>
                    <a:pt x="1602" y="155"/>
                  </a:lnTo>
                  <a:lnTo>
                    <a:pt x="1600" y="155"/>
                  </a:lnTo>
                  <a:lnTo>
                    <a:pt x="1594" y="153"/>
                  </a:lnTo>
                  <a:lnTo>
                    <a:pt x="1583" y="151"/>
                  </a:lnTo>
                  <a:lnTo>
                    <a:pt x="1573" y="149"/>
                  </a:lnTo>
                  <a:lnTo>
                    <a:pt x="1565" y="149"/>
                  </a:lnTo>
                  <a:lnTo>
                    <a:pt x="1557" y="149"/>
                  </a:lnTo>
                  <a:lnTo>
                    <a:pt x="1546" y="149"/>
                  </a:lnTo>
                  <a:lnTo>
                    <a:pt x="1544" y="149"/>
                  </a:lnTo>
                  <a:lnTo>
                    <a:pt x="1538" y="149"/>
                  </a:lnTo>
                  <a:lnTo>
                    <a:pt x="1532" y="149"/>
                  </a:lnTo>
                  <a:lnTo>
                    <a:pt x="1528" y="151"/>
                  </a:lnTo>
                  <a:lnTo>
                    <a:pt x="1524" y="151"/>
                  </a:lnTo>
                  <a:lnTo>
                    <a:pt x="1518" y="151"/>
                  </a:lnTo>
                  <a:lnTo>
                    <a:pt x="1514" y="153"/>
                  </a:lnTo>
                  <a:lnTo>
                    <a:pt x="1501" y="149"/>
                  </a:lnTo>
                  <a:lnTo>
                    <a:pt x="1503" y="149"/>
                  </a:lnTo>
                  <a:lnTo>
                    <a:pt x="1505" y="149"/>
                  </a:lnTo>
                  <a:lnTo>
                    <a:pt x="1497" y="146"/>
                  </a:lnTo>
                  <a:lnTo>
                    <a:pt x="1493" y="144"/>
                  </a:lnTo>
                  <a:lnTo>
                    <a:pt x="1487" y="144"/>
                  </a:lnTo>
                  <a:lnTo>
                    <a:pt x="1485" y="142"/>
                  </a:lnTo>
                  <a:lnTo>
                    <a:pt x="1483" y="144"/>
                  </a:lnTo>
                  <a:lnTo>
                    <a:pt x="1479" y="144"/>
                  </a:lnTo>
                  <a:lnTo>
                    <a:pt x="1479" y="146"/>
                  </a:lnTo>
                  <a:lnTo>
                    <a:pt x="1479" y="144"/>
                  </a:lnTo>
                  <a:lnTo>
                    <a:pt x="1481" y="142"/>
                  </a:lnTo>
                  <a:lnTo>
                    <a:pt x="1481" y="142"/>
                  </a:lnTo>
                  <a:lnTo>
                    <a:pt x="1479" y="142"/>
                  </a:lnTo>
                  <a:lnTo>
                    <a:pt x="1479" y="140"/>
                  </a:lnTo>
                  <a:lnTo>
                    <a:pt x="1472" y="142"/>
                  </a:lnTo>
                  <a:lnTo>
                    <a:pt x="1470" y="140"/>
                  </a:lnTo>
                  <a:lnTo>
                    <a:pt x="1468" y="140"/>
                  </a:lnTo>
                  <a:lnTo>
                    <a:pt x="1468" y="140"/>
                  </a:lnTo>
                  <a:lnTo>
                    <a:pt x="1462" y="138"/>
                  </a:lnTo>
                  <a:lnTo>
                    <a:pt x="1458" y="138"/>
                  </a:lnTo>
                  <a:lnTo>
                    <a:pt x="1456" y="138"/>
                  </a:lnTo>
                  <a:lnTo>
                    <a:pt x="1454" y="138"/>
                  </a:lnTo>
                  <a:lnTo>
                    <a:pt x="1454" y="138"/>
                  </a:lnTo>
                  <a:lnTo>
                    <a:pt x="1454" y="138"/>
                  </a:lnTo>
                  <a:lnTo>
                    <a:pt x="1454" y="136"/>
                  </a:lnTo>
                  <a:lnTo>
                    <a:pt x="1456" y="136"/>
                  </a:lnTo>
                  <a:lnTo>
                    <a:pt x="1464" y="136"/>
                  </a:lnTo>
                  <a:lnTo>
                    <a:pt x="1464" y="136"/>
                  </a:lnTo>
                  <a:lnTo>
                    <a:pt x="1462" y="134"/>
                  </a:lnTo>
                  <a:lnTo>
                    <a:pt x="1462" y="134"/>
                  </a:lnTo>
                  <a:lnTo>
                    <a:pt x="1456" y="132"/>
                  </a:lnTo>
                  <a:lnTo>
                    <a:pt x="1452" y="132"/>
                  </a:lnTo>
                  <a:lnTo>
                    <a:pt x="1444" y="130"/>
                  </a:lnTo>
                  <a:lnTo>
                    <a:pt x="1438" y="130"/>
                  </a:lnTo>
                  <a:lnTo>
                    <a:pt x="1425" y="130"/>
                  </a:lnTo>
                  <a:lnTo>
                    <a:pt x="1423" y="130"/>
                  </a:lnTo>
                  <a:lnTo>
                    <a:pt x="1423" y="130"/>
                  </a:lnTo>
                  <a:lnTo>
                    <a:pt x="1423" y="132"/>
                  </a:lnTo>
                  <a:lnTo>
                    <a:pt x="1421" y="136"/>
                  </a:lnTo>
                  <a:lnTo>
                    <a:pt x="1421" y="136"/>
                  </a:lnTo>
                  <a:lnTo>
                    <a:pt x="1419" y="138"/>
                  </a:lnTo>
                  <a:lnTo>
                    <a:pt x="1413" y="138"/>
                  </a:lnTo>
                  <a:lnTo>
                    <a:pt x="1411" y="138"/>
                  </a:lnTo>
                  <a:lnTo>
                    <a:pt x="1409" y="138"/>
                  </a:lnTo>
                  <a:lnTo>
                    <a:pt x="1409" y="136"/>
                  </a:lnTo>
                  <a:lnTo>
                    <a:pt x="1409" y="136"/>
                  </a:lnTo>
                  <a:lnTo>
                    <a:pt x="1409" y="136"/>
                  </a:lnTo>
                  <a:lnTo>
                    <a:pt x="1407" y="136"/>
                  </a:lnTo>
                  <a:lnTo>
                    <a:pt x="1407" y="136"/>
                  </a:lnTo>
                  <a:lnTo>
                    <a:pt x="1407" y="136"/>
                  </a:lnTo>
                  <a:lnTo>
                    <a:pt x="1409" y="136"/>
                  </a:lnTo>
                  <a:lnTo>
                    <a:pt x="1411" y="136"/>
                  </a:lnTo>
                  <a:lnTo>
                    <a:pt x="1415" y="134"/>
                  </a:lnTo>
                  <a:lnTo>
                    <a:pt x="1413" y="134"/>
                  </a:lnTo>
                  <a:lnTo>
                    <a:pt x="1411" y="132"/>
                  </a:lnTo>
                  <a:lnTo>
                    <a:pt x="1409" y="132"/>
                  </a:lnTo>
                  <a:lnTo>
                    <a:pt x="1409" y="130"/>
                  </a:lnTo>
                  <a:lnTo>
                    <a:pt x="1409" y="130"/>
                  </a:lnTo>
                  <a:lnTo>
                    <a:pt x="1409" y="130"/>
                  </a:lnTo>
                  <a:lnTo>
                    <a:pt x="1413" y="132"/>
                  </a:lnTo>
                  <a:lnTo>
                    <a:pt x="1415" y="132"/>
                  </a:lnTo>
                  <a:lnTo>
                    <a:pt x="1415" y="132"/>
                  </a:lnTo>
                  <a:lnTo>
                    <a:pt x="1417" y="134"/>
                  </a:lnTo>
                  <a:lnTo>
                    <a:pt x="1419" y="134"/>
                  </a:lnTo>
                  <a:lnTo>
                    <a:pt x="1419" y="134"/>
                  </a:lnTo>
                  <a:lnTo>
                    <a:pt x="1421" y="132"/>
                  </a:lnTo>
                  <a:lnTo>
                    <a:pt x="1421" y="130"/>
                  </a:lnTo>
                  <a:lnTo>
                    <a:pt x="1419" y="130"/>
                  </a:lnTo>
                  <a:lnTo>
                    <a:pt x="1417" y="130"/>
                  </a:lnTo>
                  <a:lnTo>
                    <a:pt x="1401" y="130"/>
                  </a:lnTo>
                  <a:lnTo>
                    <a:pt x="1394" y="132"/>
                  </a:lnTo>
                  <a:lnTo>
                    <a:pt x="1392" y="132"/>
                  </a:lnTo>
                  <a:lnTo>
                    <a:pt x="1390" y="130"/>
                  </a:lnTo>
                  <a:lnTo>
                    <a:pt x="1392" y="130"/>
                  </a:lnTo>
                  <a:lnTo>
                    <a:pt x="1394" y="130"/>
                  </a:lnTo>
                  <a:lnTo>
                    <a:pt x="1394" y="128"/>
                  </a:lnTo>
                  <a:lnTo>
                    <a:pt x="1397" y="128"/>
                  </a:lnTo>
                  <a:lnTo>
                    <a:pt x="1399" y="128"/>
                  </a:lnTo>
                  <a:lnTo>
                    <a:pt x="1403" y="128"/>
                  </a:lnTo>
                  <a:lnTo>
                    <a:pt x="1411" y="128"/>
                  </a:lnTo>
                  <a:lnTo>
                    <a:pt x="1411" y="128"/>
                  </a:lnTo>
                  <a:lnTo>
                    <a:pt x="1407" y="128"/>
                  </a:lnTo>
                  <a:lnTo>
                    <a:pt x="1403" y="126"/>
                  </a:lnTo>
                  <a:lnTo>
                    <a:pt x="1401" y="126"/>
                  </a:lnTo>
                  <a:lnTo>
                    <a:pt x="1397" y="126"/>
                  </a:lnTo>
                  <a:lnTo>
                    <a:pt x="1388" y="126"/>
                  </a:lnTo>
                  <a:lnTo>
                    <a:pt x="1384" y="124"/>
                  </a:lnTo>
                  <a:lnTo>
                    <a:pt x="1376" y="124"/>
                  </a:lnTo>
                  <a:lnTo>
                    <a:pt x="1374" y="124"/>
                  </a:lnTo>
                  <a:lnTo>
                    <a:pt x="1357" y="124"/>
                  </a:lnTo>
                  <a:lnTo>
                    <a:pt x="1349" y="122"/>
                  </a:lnTo>
                  <a:lnTo>
                    <a:pt x="1347" y="122"/>
                  </a:lnTo>
                  <a:lnTo>
                    <a:pt x="1341" y="122"/>
                  </a:lnTo>
                  <a:lnTo>
                    <a:pt x="1339" y="122"/>
                  </a:lnTo>
                  <a:lnTo>
                    <a:pt x="1339" y="122"/>
                  </a:lnTo>
                  <a:lnTo>
                    <a:pt x="1339" y="122"/>
                  </a:lnTo>
                  <a:lnTo>
                    <a:pt x="1345" y="124"/>
                  </a:lnTo>
                  <a:lnTo>
                    <a:pt x="1347" y="124"/>
                  </a:lnTo>
                  <a:lnTo>
                    <a:pt x="1349" y="126"/>
                  </a:lnTo>
                  <a:lnTo>
                    <a:pt x="1345" y="126"/>
                  </a:lnTo>
                  <a:lnTo>
                    <a:pt x="1343" y="126"/>
                  </a:lnTo>
                  <a:lnTo>
                    <a:pt x="1335" y="126"/>
                  </a:lnTo>
                  <a:lnTo>
                    <a:pt x="1333" y="128"/>
                  </a:lnTo>
                  <a:lnTo>
                    <a:pt x="1333" y="130"/>
                  </a:lnTo>
                  <a:lnTo>
                    <a:pt x="1333" y="130"/>
                  </a:lnTo>
                  <a:lnTo>
                    <a:pt x="1335" y="132"/>
                  </a:lnTo>
                  <a:lnTo>
                    <a:pt x="1339" y="132"/>
                  </a:lnTo>
                  <a:lnTo>
                    <a:pt x="1339" y="130"/>
                  </a:lnTo>
                  <a:lnTo>
                    <a:pt x="1339" y="130"/>
                  </a:lnTo>
                  <a:lnTo>
                    <a:pt x="1345" y="130"/>
                  </a:lnTo>
                  <a:lnTo>
                    <a:pt x="1347" y="132"/>
                  </a:lnTo>
                  <a:lnTo>
                    <a:pt x="1345" y="132"/>
                  </a:lnTo>
                  <a:lnTo>
                    <a:pt x="1343" y="132"/>
                  </a:lnTo>
                  <a:lnTo>
                    <a:pt x="1343" y="134"/>
                  </a:lnTo>
                  <a:lnTo>
                    <a:pt x="1341" y="134"/>
                  </a:lnTo>
                  <a:lnTo>
                    <a:pt x="1345" y="136"/>
                  </a:lnTo>
                  <a:lnTo>
                    <a:pt x="1347" y="136"/>
                  </a:lnTo>
                  <a:lnTo>
                    <a:pt x="1349" y="138"/>
                  </a:lnTo>
                  <a:lnTo>
                    <a:pt x="1355" y="140"/>
                  </a:lnTo>
                  <a:lnTo>
                    <a:pt x="1357" y="142"/>
                  </a:lnTo>
                  <a:lnTo>
                    <a:pt x="1353" y="142"/>
                  </a:lnTo>
                  <a:lnTo>
                    <a:pt x="1351" y="142"/>
                  </a:lnTo>
                  <a:lnTo>
                    <a:pt x="1349" y="142"/>
                  </a:lnTo>
                  <a:lnTo>
                    <a:pt x="1345" y="140"/>
                  </a:lnTo>
                  <a:lnTo>
                    <a:pt x="1341" y="140"/>
                  </a:lnTo>
                  <a:lnTo>
                    <a:pt x="1339" y="140"/>
                  </a:lnTo>
                  <a:lnTo>
                    <a:pt x="1339" y="140"/>
                  </a:lnTo>
                  <a:lnTo>
                    <a:pt x="1337" y="140"/>
                  </a:lnTo>
                  <a:lnTo>
                    <a:pt x="1335" y="140"/>
                  </a:lnTo>
                  <a:lnTo>
                    <a:pt x="1335" y="140"/>
                  </a:lnTo>
                  <a:lnTo>
                    <a:pt x="1335" y="140"/>
                  </a:lnTo>
                  <a:lnTo>
                    <a:pt x="1335" y="142"/>
                  </a:lnTo>
                  <a:lnTo>
                    <a:pt x="1335" y="142"/>
                  </a:lnTo>
                  <a:lnTo>
                    <a:pt x="1335" y="142"/>
                  </a:lnTo>
                  <a:lnTo>
                    <a:pt x="1337" y="144"/>
                  </a:lnTo>
                  <a:lnTo>
                    <a:pt x="1337" y="144"/>
                  </a:lnTo>
                  <a:lnTo>
                    <a:pt x="1341" y="144"/>
                  </a:lnTo>
                  <a:lnTo>
                    <a:pt x="1339" y="144"/>
                  </a:lnTo>
                  <a:lnTo>
                    <a:pt x="1339" y="144"/>
                  </a:lnTo>
                  <a:lnTo>
                    <a:pt x="1339" y="144"/>
                  </a:lnTo>
                  <a:lnTo>
                    <a:pt x="1337" y="146"/>
                  </a:lnTo>
                  <a:lnTo>
                    <a:pt x="1339" y="146"/>
                  </a:lnTo>
                  <a:lnTo>
                    <a:pt x="1339" y="146"/>
                  </a:lnTo>
                  <a:lnTo>
                    <a:pt x="1341" y="146"/>
                  </a:lnTo>
                  <a:lnTo>
                    <a:pt x="1341" y="146"/>
                  </a:lnTo>
                  <a:lnTo>
                    <a:pt x="1339" y="146"/>
                  </a:lnTo>
                  <a:lnTo>
                    <a:pt x="1335" y="146"/>
                  </a:lnTo>
                  <a:lnTo>
                    <a:pt x="1331" y="144"/>
                  </a:lnTo>
                  <a:lnTo>
                    <a:pt x="1329" y="144"/>
                  </a:lnTo>
                  <a:lnTo>
                    <a:pt x="1327" y="142"/>
                  </a:lnTo>
                  <a:lnTo>
                    <a:pt x="1314" y="140"/>
                  </a:lnTo>
                  <a:lnTo>
                    <a:pt x="1310" y="140"/>
                  </a:lnTo>
                  <a:lnTo>
                    <a:pt x="1308" y="140"/>
                  </a:lnTo>
                  <a:lnTo>
                    <a:pt x="1304" y="140"/>
                  </a:lnTo>
                  <a:lnTo>
                    <a:pt x="1304" y="140"/>
                  </a:lnTo>
                  <a:lnTo>
                    <a:pt x="1300" y="142"/>
                  </a:lnTo>
                  <a:lnTo>
                    <a:pt x="1298" y="142"/>
                  </a:lnTo>
                  <a:lnTo>
                    <a:pt x="1298" y="142"/>
                  </a:lnTo>
                  <a:lnTo>
                    <a:pt x="1292" y="144"/>
                  </a:lnTo>
                  <a:lnTo>
                    <a:pt x="1286" y="142"/>
                  </a:lnTo>
                  <a:lnTo>
                    <a:pt x="1282" y="142"/>
                  </a:lnTo>
                  <a:lnTo>
                    <a:pt x="1277" y="140"/>
                  </a:lnTo>
                  <a:lnTo>
                    <a:pt x="1271" y="138"/>
                  </a:lnTo>
                  <a:lnTo>
                    <a:pt x="1271" y="138"/>
                  </a:lnTo>
                  <a:lnTo>
                    <a:pt x="1269" y="136"/>
                  </a:lnTo>
                  <a:lnTo>
                    <a:pt x="1267" y="136"/>
                  </a:lnTo>
                  <a:lnTo>
                    <a:pt x="1265" y="136"/>
                  </a:lnTo>
                  <a:lnTo>
                    <a:pt x="1265" y="136"/>
                  </a:lnTo>
                  <a:lnTo>
                    <a:pt x="1265" y="138"/>
                  </a:lnTo>
                  <a:lnTo>
                    <a:pt x="1265" y="140"/>
                  </a:lnTo>
                  <a:lnTo>
                    <a:pt x="1267" y="142"/>
                  </a:lnTo>
                  <a:lnTo>
                    <a:pt x="1269" y="144"/>
                  </a:lnTo>
                  <a:lnTo>
                    <a:pt x="1269" y="144"/>
                  </a:lnTo>
                  <a:lnTo>
                    <a:pt x="1271" y="144"/>
                  </a:lnTo>
                  <a:lnTo>
                    <a:pt x="1269" y="146"/>
                  </a:lnTo>
                  <a:lnTo>
                    <a:pt x="1269" y="149"/>
                  </a:lnTo>
                  <a:lnTo>
                    <a:pt x="1271" y="151"/>
                  </a:lnTo>
                  <a:lnTo>
                    <a:pt x="1271" y="153"/>
                  </a:lnTo>
                  <a:lnTo>
                    <a:pt x="1269" y="153"/>
                  </a:lnTo>
                  <a:lnTo>
                    <a:pt x="1269" y="153"/>
                  </a:lnTo>
                  <a:lnTo>
                    <a:pt x="1267" y="153"/>
                  </a:lnTo>
                  <a:lnTo>
                    <a:pt x="1265" y="153"/>
                  </a:lnTo>
                  <a:lnTo>
                    <a:pt x="1261" y="151"/>
                  </a:lnTo>
                  <a:lnTo>
                    <a:pt x="1261" y="151"/>
                  </a:lnTo>
                  <a:lnTo>
                    <a:pt x="1261" y="151"/>
                  </a:lnTo>
                  <a:lnTo>
                    <a:pt x="1259" y="151"/>
                  </a:lnTo>
                  <a:lnTo>
                    <a:pt x="1255" y="151"/>
                  </a:lnTo>
                  <a:lnTo>
                    <a:pt x="1251" y="149"/>
                  </a:lnTo>
                  <a:lnTo>
                    <a:pt x="1247" y="146"/>
                  </a:lnTo>
                  <a:lnTo>
                    <a:pt x="1238" y="142"/>
                  </a:lnTo>
                  <a:lnTo>
                    <a:pt x="1234" y="142"/>
                  </a:lnTo>
                  <a:lnTo>
                    <a:pt x="1232" y="140"/>
                  </a:lnTo>
                  <a:lnTo>
                    <a:pt x="1228" y="140"/>
                  </a:lnTo>
                  <a:lnTo>
                    <a:pt x="1226" y="138"/>
                  </a:lnTo>
                  <a:lnTo>
                    <a:pt x="1228" y="138"/>
                  </a:lnTo>
                  <a:lnTo>
                    <a:pt x="1230" y="138"/>
                  </a:lnTo>
                  <a:lnTo>
                    <a:pt x="1232" y="138"/>
                  </a:lnTo>
                  <a:lnTo>
                    <a:pt x="1228" y="136"/>
                  </a:lnTo>
                  <a:lnTo>
                    <a:pt x="1226" y="136"/>
                  </a:lnTo>
                  <a:lnTo>
                    <a:pt x="1226" y="134"/>
                  </a:lnTo>
                  <a:lnTo>
                    <a:pt x="1226" y="136"/>
                  </a:lnTo>
                  <a:lnTo>
                    <a:pt x="1228" y="136"/>
                  </a:lnTo>
                  <a:lnTo>
                    <a:pt x="1228" y="138"/>
                  </a:lnTo>
                  <a:lnTo>
                    <a:pt x="1226" y="138"/>
                  </a:lnTo>
                  <a:lnTo>
                    <a:pt x="1214" y="132"/>
                  </a:lnTo>
                  <a:lnTo>
                    <a:pt x="1208" y="130"/>
                  </a:lnTo>
                  <a:lnTo>
                    <a:pt x="1206" y="130"/>
                  </a:lnTo>
                  <a:lnTo>
                    <a:pt x="1201" y="128"/>
                  </a:lnTo>
                  <a:lnTo>
                    <a:pt x="1201" y="128"/>
                  </a:lnTo>
                  <a:lnTo>
                    <a:pt x="1208" y="130"/>
                  </a:lnTo>
                  <a:lnTo>
                    <a:pt x="1214" y="130"/>
                  </a:lnTo>
                  <a:lnTo>
                    <a:pt x="1220" y="132"/>
                  </a:lnTo>
                  <a:lnTo>
                    <a:pt x="1224" y="132"/>
                  </a:lnTo>
                  <a:lnTo>
                    <a:pt x="1224" y="132"/>
                  </a:lnTo>
                  <a:lnTo>
                    <a:pt x="1222" y="130"/>
                  </a:lnTo>
                  <a:lnTo>
                    <a:pt x="1218" y="128"/>
                  </a:lnTo>
                  <a:lnTo>
                    <a:pt x="1216" y="126"/>
                  </a:lnTo>
                  <a:lnTo>
                    <a:pt x="1210" y="126"/>
                  </a:lnTo>
                  <a:lnTo>
                    <a:pt x="1208" y="126"/>
                  </a:lnTo>
                  <a:lnTo>
                    <a:pt x="1208" y="126"/>
                  </a:lnTo>
                  <a:lnTo>
                    <a:pt x="1210" y="126"/>
                  </a:lnTo>
                  <a:lnTo>
                    <a:pt x="1212" y="126"/>
                  </a:lnTo>
                  <a:lnTo>
                    <a:pt x="1212" y="124"/>
                  </a:lnTo>
                  <a:lnTo>
                    <a:pt x="1214" y="124"/>
                  </a:lnTo>
                  <a:lnTo>
                    <a:pt x="1212" y="122"/>
                  </a:lnTo>
                  <a:lnTo>
                    <a:pt x="1208" y="122"/>
                  </a:lnTo>
                  <a:lnTo>
                    <a:pt x="1204" y="122"/>
                  </a:lnTo>
                  <a:lnTo>
                    <a:pt x="1204" y="122"/>
                  </a:lnTo>
                  <a:lnTo>
                    <a:pt x="1204" y="120"/>
                  </a:lnTo>
                  <a:lnTo>
                    <a:pt x="1206" y="120"/>
                  </a:lnTo>
                  <a:lnTo>
                    <a:pt x="1206" y="118"/>
                  </a:lnTo>
                  <a:lnTo>
                    <a:pt x="1206" y="118"/>
                  </a:lnTo>
                  <a:lnTo>
                    <a:pt x="1204" y="118"/>
                  </a:lnTo>
                  <a:lnTo>
                    <a:pt x="1204" y="118"/>
                  </a:lnTo>
                  <a:lnTo>
                    <a:pt x="1201" y="118"/>
                  </a:lnTo>
                  <a:lnTo>
                    <a:pt x="1201" y="116"/>
                  </a:lnTo>
                  <a:lnTo>
                    <a:pt x="1199" y="116"/>
                  </a:lnTo>
                  <a:lnTo>
                    <a:pt x="1197" y="116"/>
                  </a:lnTo>
                  <a:lnTo>
                    <a:pt x="1193" y="116"/>
                  </a:lnTo>
                  <a:lnTo>
                    <a:pt x="1191" y="116"/>
                  </a:lnTo>
                  <a:lnTo>
                    <a:pt x="1191" y="114"/>
                  </a:lnTo>
                  <a:lnTo>
                    <a:pt x="1189" y="114"/>
                  </a:lnTo>
                  <a:lnTo>
                    <a:pt x="1187" y="114"/>
                  </a:lnTo>
                  <a:lnTo>
                    <a:pt x="1187" y="114"/>
                  </a:lnTo>
                  <a:lnTo>
                    <a:pt x="1187" y="114"/>
                  </a:lnTo>
                  <a:lnTo>
                    <a:pt x="1183" y="112"/>
                  </a:lnTo>
                  <a:lnTo>
                    <a:pt x="1175" y="112"/>
                  </a:lnTo>
                  <a:lnTo>
                    <a:pt x="1173" y="112"/>
                  </a:lnTo>
                  <a:lnTo>
                    <a:pt x="1175" y="114"/>
                  </a:lnTo>
                  <a:lnTo>
                    <a:pt x="1173" y="114"/>
                  </a:lnTo>
                  <a:lnTo>
                    <a:pt x="1169" y="114"/>
                  </a:lnTo>
                  <a:lnTo>
                    <a:pt x="1169" y="114"/>
                  </a:lnTo>
                  <a:lnTo>
                    <a:pt x="1169" y="114"/>
                  </a:lnTo>
                  <a:lnTo>
                    <a:pt x="1167" y="112"/>
                  </a:lnTo>
                  <a:lnTo>
                    <a:pt x="1167" y="112"/>
                  </a:lnTo>
                  <a:lnTo>
                    <a:pt x="1167" y="112"/>
                  </a:lnTo>
                  <a:lnTo>
                    <a:pt x="1165" y="112"/>
                  </a:lnTo>
                  <a:lnTo>
                    <a:pt x="1165" y="112"/>
                  </a:lnTo>
                  <a:lnTo>
                    <a:pt x="1162" y="112"/>
                  </a:lnTo>
                  <a:lnTo>
                    <a:pt x="1162" y="112"/>
                  </a:lnTo>
                  <a:lnTo>
                    <a:pt x="1160" y="114"/>
                  </a:lnTo>
                  <a:lnTo>
                    <a:pt x="1158" y="112"/>
                  </a:lnTo>
                  <a:lnTo>
                    <a:pt x="1146" y="109"/>
                  </a:lnTo>
                  <a:lnTo>
                    <a:pt x="1142" y="107"/>
                  </a:lnTo>
                  <a:lnTo>
                    <a:pt x="1142" y="107"/>
                  </a:lnTo>
                  <a:lnTo>
                    <a:pt x="1138" y="109"/>
                  </a:lnTo>
                  <a:lnTo>
                    <a:pt x="1138" y="109"/>
                  </a:lnTo>
                  <a:lnTo>
                    <a:pt x="1138" y="109"/>
                  </a:lnTo>
                  <a:lnTo>
                    <a:pt x="1134" y="109"/>
                  </a:lnTo>
                  <a:lnTo>
                    <a:pt x="1132" y="109"/>
                  </a:lnTo>
                  <a:lnTo>
                    <a:pt x="1134" y="112"/>
                  </a:lnTo>
                  <a:lnTo>
                    <a:pt x="1136" y="114"/>
                  </a:lnTo>
                  <a:lnTo>
                    <a:pt x="1136" y="114"/>
                  </a:lnTo>
                  <a:lnTo>
                    <a:pt x="1138" y="114"/>
                  </a:lnTo>
                  <a:lnTo>
                    <a:pt x="1140" y="116"/>
                  </a:lnTo>
                  <a:lnTo>
                    <a:pt x="1142" y="116"/>
                  </a:lnTo>
                  <a:lnTo>
                    <a:pt x="1142" y="116"/>
                  </a:lnTo>
                  <a:lnTo>
                    <a:pt x="1142" y="118"/>
                  </a:lnTo>
                  <a:lnTo>
                    <a:pt x="1142" y="118"/>
                  </a:lnTo>
                  <a:lnTo>
                    <a:pt x="1142" y="118"/>
                  </a:lnTo>
                  <a:lnTo>
                    <a:pt x="1142" y="120"/>
                  </a:lnTo>
                  <a:lnTo>
                    <a:pt x="1142" y="120"/>
                  </a:lnTo>
                  <a:lnTo>
                    <a:pt x="1140" y="120"/>
                  </a:lnTo>
                  <a:lnTo>
                    <a:pt x="1134" y="120"/>
                  </a:lnTo>
                  <a:lnTo>
                    <a:pt x="1134" y="120"/>
                  </a:lnTo>
                  <a:lnTo>
                    <a:pt x="1134" y="120"/>
                  </a:lnTo>
                  <a:lnTo>
                    <a:pt x="1136" y="120"/>
                  </a:lnTo>
                  <a:lnTo>
                    <a:pt x="1138" y="120"/>
                  </a:lnTo>
                  <a:lnTo>
                    <a:pt x="1138" y="122"/>
                  </a:lnTo>
                  <a:lnTo>
                    <a:pt x="1136" y="122"/>
                  </a:lnTo>
                  <a:lnTo>
                    <a:pt x="1132" y="122"/>
                  </a:lnTo>
                  <a:lnTo>
                    <a:pt x="1130" y="122"/>
                  </a:lnTo>
                  <a:lnTo>
                    <a:pt x="1128" y="120"/>
                  </a:lnTo>
                  <a:lnTo>
                    <a:pt x="1125" y="120"/>
                  </a:lnTo>
                  <a:lnTo>
                    <a:pt x="1121" y="120"/>
                  </a:lnTo>
                  <a:lnTo>
                    <a:pt x="1117" y="120"/>
                  </a:lnTo>
                  <a:lnTo>
                    <a:pt x="1111" y="120"/>
                  </a:lnTo>
                  <a:lnTo>
                    <a:pt x="1105" y="120"/>
                  </a:lnTo>
                  <a:lnTo>
                    <a:pt x="1103" y="120"/>
                  </a:lnTo>
                  <a:lnTo>
                    <a:pt x="1097" y="118"/>
                  </a:lnTo>
                  <a:lnTo>
                    <a:pt x="1091" y="118"/>
                  </a:lnTo>
                  <a:lnTo>
                    <a:pt x="1082" y="116"/>
                  </a:lnTo>
                  <a:lnTo>
                    <a:pt x="1080" y="114"/>
                  </a:lnTo>
                  <a:lnTo>
                    <a:pt x="1080" y="112"/>
                  </a:lnTo>
                  <a:lnTo>
                    <a:pt x="1082" y="112"/>
                  </a:lnTo>
                  <a:lnTo>
                    <a:pt x="1084" y="112"/>
                  </a:lnTo>
                  <a:lnTo>
                    <a:pt x="1084" y="112"/>
                  </a:lnTo>
                  <a:lnTo>
                    <a:pt x="1084" y="112"/>
                  </a:lnTo>
                  <a:lnTo>
                    <a:pt x="1078" y="112"/>
                  </a:lnTo>
                  <a:lnTo>
                    <a:pt x="1066" y="109"/>
                  </a:lnTo>
                  <a:lnTo>
                    <a:pt x="1056" y="109"/>
                  </a:lnTo>
                  <a:lnTo>
                    <a:pt x="1041" y="109"/>
                  </a:lnTo>
                  <a:lnTo>
                    <a:pt x="1037" y="109"/>
                  </a:lnTo>
                  <a:lnTo>
                    <a:pt x="1029" y="112"/>
                  </a:lnTo>
                  <a:lnTo>
                    <a:pt x="1027" y="112"/>
                  </a:lnTo>
                  <a:lnTo>
                    <a:pt x="1025" y="112"/>
                  </a:lnTo>
                  <a:lnTo>
                    <a:pt x="1025" y="114"/>
                  </a:lnTo>
                  <a:lnTo>
                    <a:pt x="1029" y="114"/>
                  </a:lnTo>
                  <a:lnTo>
                    <a:pt x="1029" y="114"/>
                  </a:lnTo>
                  <a:lnTo>
                    <a:pt x="1031" y="114"/>
                  </a:lnTo>
                  <a:lnTo>
                    <a:pt x="1031" y="114"/>
                  </a:lnTo>
                  <a:lnTo>
                    <a:pt x="1031" y="114"/>
                  </a:lnTo>
                  <a:lnTo>
                    <a:pt x="1029" y="116"/>
                  </a:lnTo>
                  <a:lnTo>
                    <a:pt x="1029" y="116"/>
                  </a:lnTo>
                  <a:lnTo>
                    <a:pt x="1031" y="118"/>
                  </a:lnTo>
                  <a:lnTo>
                    <a:pt x="1031" y="118"/>
                  </a:lnTo>
                  <a:lnTo>
                    <a:pt x="1031" y="120"/>
                  </a:lnTo>
                  <a:lnTo>
                    <a:pt x="1031" y="122"/>
                  </a:lnTo>
                  <a:lnTo>
                    <a:pt x="1031" y="122"/>
                  </a:lnTo>
                  <a:lnTo>
                    <a:pt x="1033" y="124"/>
                  </a:lnTo>
                  <a:lnTo>
                    <a:pt x="1035" y="124"/>
                  </a:lnTo>
                  <a:lnTo>
                    <a:pt x="1039" y="124"/>
                  </a:lnTo>
                  <a:lnTo>
                    <a:pt x="1039" y="124"/>
                  </a:lnTo>
                  <a:lnTo>
                    <a:pt x="1039" y="124"/>
                  </a:lnTo>
                  <a:lnTo>
                    <a:pt x="1035" y="124"/>
                  </a:lnTo>
                  <a:lnTo>
                    <a:pt x="1033" y="124"/>
                  </a:lnTo>
                  <a:lnTo>
                    <a:pt x="1031" y="122"/>
                  </a:lnTo>
                  <a:lnTo>
                    <a:pt x="1031" y="122"/>
                  </a:lnTo>
                  <a:lnTo>
                    <a:pt x="1031" y="122"/>
                  </a:lnTo>
                  <a:lnTo>
                    <a:pt x="1031" y="120"/>
                  </a:lnTo>
                  <a:lnTo>
                    <a:pt x="1031" y="118"/>
                  </a:lnTo>
                  <a:lnTo>
                    <a:pt x="1029" y="118"/>
                  </a:lnTo>
                  <a:lnTo>
                    <a:pt x="1027" y="114"/>
                  </a:lnTo>
                  <a:lnTo>
                    <a:pt x="1023" y="114"/>
                  </a:lnTo>
                  <a:lnTo>
                    <a:pt x="1021" y="112"/>
                  </a:lnTo>
                  <a:lnTo>
                    <a:pt x="1021" y="112"/>
                  </a:lnTo>
                  <a:lnTo>
                    <a:pt x="1021" y="109"/>
                  </a:lnTo>
                  <a:lnTo>
                    <a:pt x="1019" y="109"/>
                  </a:lnTo>
                  <a:lnTo>
                    <a:pt x="1015" y="107"/>
                  </a:lnTo>
                  <a:lnTo>
                    <a:pt x="1013" y="105"/>
                  </a:lnTo>
                  <a:lnTo>
                    <a:pt x="1011" y="105"/>
                  </a:lnTo>
                  <a:lnTo>
                    <a:pt x="1011" y="105"/>
                  </a:lnTo>
                  <a:lnTo>
                    <a:pt x="1013" y="107"/>
                  </a:lnTo>
                  <a:lnTo>
                    <a:pt x="1013" y="107"/>
                  </a:lnTo>
                  <a:lnTo>
                    <a:pt x="1013" y="107"/>
                  </a:lnTo>
                  <a:lnTo>
                    <a:pt x="1008" y="109"/>
                  </a:lnTo>
                  <a:lnTo>
                    <a:pt x="1006" y="109"/>
                  </a:lnTo>
                  <a:lnTo>
                    <a:pt x="1002" y="107"/>
                  </a:lnTo>
                  <a:lnTo>
                    <a:pt x="996" y="107"/>
                  </a:lnTo>
                  <a:lnTo>
                    <a:pt x="994" y="105"/>
                  </a:lnTo>
                  <a:lnTo>
                    <a:pt x="992" y="105"/>
                  </a:lnTo>
                  <a:lnTo>
                    <a:pt x="994" y="105"/>
                  </a:lnTo>
                  <a:lnTo>
                    <a:pt x="994" y="103"/>
                  </a:lnTo>
                  <a:lnTo>
                    <a:pt x="992" y="103"/>
                  </a:lnTo>
                  <a:lnTo>
                    <a:pt x="990" y="103"/>
                  </a:lnTo>
                  <a:lnTo>
                    <a:pt x="990" y="105"/>
                  </a:lnTo>
                  <a:lnTo>
                    <a:pt x="988" y="105"/>
                  </a:lnTo>
                  <a:lnTo>
                    <a:pt x="980" y="105"/>
                  </a:lnTo>
                  <a:lnTo>
                    <a:pt x="980" y="105"/>
                  </a:lnTo>
                  <a:lnTo>
                    <a:pt x="978" y="105"/>
                  </a:lnTo>
                  <a:lnTo>
                    <a:pt x="978" y="105"/>
                  </a:lnTo>
                  <a:lnTo>
                    <a:pt x="978" y="107"/>
                  </a:lnTo>
                  <a:lnTo>
                    <a:pt x="978" y="107"/>
                  </a:lnTo>
                  <a:lnTo>
                    <a:pt x="980" y="109"/>
                  </a:lnTo>
                  <a:lnTo>
                    <a:pt x="984" y="109"/>
                  </a:lnTo>
                  <a:lnTo>
                    <a:pt x="986" y="109"/>
                  </a:lnTo>
                  <a:lnTo>
                    <a:pt x="990" y="107"/>
                  </a:lnTo>
                  <a:lnTo>
                    <a:pt x="990" y="107"/>
                  </a:lnTo>
                  <a:lnTo>
                    <a:pt x="992" y="109"/>
                  </a:lnTo>
                  <a:lnTo>
                    <a:pt x="992" y="109"/>
                  </a:lnTo>
                  <a:lnTo>
                    <a:pt x="988" y="109"/>
                  </a:lnTo>
                  <a:lnTo>
                    <a:pt x="984" y="112"/>
                  </a:lnTo>
                  <a:lnTo>
                    <a:pt x="982" y="114"/>
                  </a:lnTo>
                  <a:lnTo>
                    <a:pt x="978" y="112"/>
                  </a:lnTo>
                  <a:lnTo>
                    <a:pt x="978" y="114"/>
                  </a:lnTo>
                  <a:lnTo>
                    <a:pt x="978" y="114"/>
                  </a:lnTo>
                  <a:lnTo>
                    <a:pt x="972" y="114"/>
                  </a:lnTo>
                  <a:lnTo>
                    <a:pt x="969" y="116"/>
                  </a:lnTo>
                  <a:lnTo>
                    <a:pt x="969" y="116"/>
                  </a:lnTo>
                  <a:lnTo>
                    <a:pt x="967" y="116"/>
                  </a:lnTo>
                  <a:lnTo>
                    <a:pt x="967" y="116"/>
                  </a:lnTo>
                  <a:lnTo>
                    <a:pt x="965" y="118"/>
                  </a:lnTo>
                  <a:lnTo>
                    <a:pt x="961" y="118"/>
                  </a:lnTo>
                  <a:lnTo>
                    <a:pt x="957" y="116"/>
                  </a:lnTo>
                  <a:lnTo>
                    <a:pt x="951" y="118"/>
                  </a:lnTo>
                  <a:lnTo>
                    <a:pt x="949" y="118"/>
                  </a:lnTo>
                  <a:lnTo>
                    <a:pt x="949" y="118"/>
                  </a:lnTo>
                  <a:lnTo>
                    <a:pt x="949" y="120"/>
                  </a:lnTo>
                  <a:lnTo>
                    <a:pt x="949" y="120"/>
                  </a:lnTo>
                  <a:lnTo>
                    <a:pt x="947" y="122"/>
                  </a:lnTo>
                  <a:lnTo>
                    <a:pt x="945" y="122"/>
                  </a:lnTo>
                  <a:lnTo>
                    <a:pt x="941" y="122"/>
                  </a:lnTo>
                  <a:lnTo>
                    <a:pt x="943" y="122"/>
                  </a:lnTo>
                  <a:lnTo>
                    <a:pt x="945" y="120"/>
                  </a:lnTo>
                  <a:lnTo>
                    <a:pt x="945" y="116"/>
                  </a:lnTo>
                  <a:lnTo>
                    <a:pt x="951" y="114"/>
                  </a:lnTo>
                  <a:lnTo>
                    <a:pt x="951" y="114"/>
                  </a:lnTo>
                  <a:lnTo>
                    <a:pt x="953" y="112"/>
                  </a:lnTo>
                  <a:lnTo>
                    <a:pt x="953" y="109"/>
                  </a:lnTo>
                  <a:lnTo>
                    <a:pt x="959" y="109"/>
                  </a:lnTo>
                  <a:lnTo>
                    <a:pt x="963" y="109"/>
                  </a:lnTo>
                  <a:lnTo>
                    <a:pt x="967" y="103"/>
                  </a:lnTo>
                  <a:lnTo>
                    <a:pt x="972" y="103"/>
                  </a:lnTo>
                  <a:lnTo>
                    <a:pt x="974" y="101"/>
                  </a:lnTo>
                  <a:lnTo>
                    <a:pt x="974" y="101"/>
                  </a:lnTo>
                  <a:lnTo>
                    <a:pt x="974" y="101"/>
                  </a:lnTo>
                  <a:lnTo>
                    <a:pt x="972" y="101"/>
                  </a:lnTo>
                  <a:lnTo>
                    <a:pt x="972" y="99"/>
                  </a:lnTo>
                  <a:lnTo>
                    <a:pt x="974" y="99"/>
                  </a:lnTo>
                  <a:lnTo>
                    <a:pt x="976" y="97"/>
                  </a:lnTo>
                  <a:lnTo>
                    <a:pt x="980" y="97"/>
                  </a:lnTo>
                  <a:lnTo>
                    <a:pt x="982" y="95"/>
                  </a:lnTo>
                  <a:lnTo>
                    <a:pt x="986" y="93"/>
                  </a:lnTo>
                  <a:lnTo>
                    <a:pt x="988" y="93"/>
                  </a:lnTo>
                  <a:lnTo>
                    <a:pt x="994" y="91"/>
                  </a:lnTo>
                  <a:lnTo>
                    <a:pt x="996" y="87"/>
                  </a:lnTo>
                  <a:lnTo>
                    <a:pt x="996" y="83"/>
                  </a:lnTo>
                  <a:lnTo>
                    <a:pt x="992" y="83"/>
                  </a:lnTo>
                  <a:lnTo>
                    <a:pt x="990" y="83"/>
                  </a:lnTo>
                  <a:lnTo>
                    <a:pt x="988" y="81"/>
                  </a:lnTo>
                  <a:lnTo>
                    <a:pt x="986" y="81"/>
                  </a:lnTo>
                  <a:lnTo>
                    <a:pt x="986" y="83"/>
                  </a:lnTo>
                  <a:lnTo>
                    <a:pt x="980" y="79"/>
                  </a:lnTo>
                  <a:lnTo>
                    <a:pt x="976" y="79"/>
                  </a:lnTo>
                  <a:lnTo>
                    <a:pt x="976" y="79"/>
                  </a:lnTo>
                  <a:lnTo>
                    <a:pt x="976" y="79"/>
                  </a:lnTo>
                  <a:lnTo>
                    <a:pt x="978" y="79"/>
                  </a:lnTo>
                  <a:lnTo>
                    <a:pt x="984" y="81"/>
                  </a:lnTo>
                  <a:lnTo>
                    <a:pt x="988" y="81"/>
                  </a:lnTo>
                  <a:lnTo>
                    <a:pt x="990" y="81"/>
                  </a:lnTo>
                  <a:lnTo>
                    <a:pt x="990" y="81"/>
                  </a:lnTo>
                  <a:lnTo>
                    <a:pt x="990" y="83"/>
                  </a:lnTo>
                  <a:lnTo>
                    <a:pt x="992" y="83"/>
                  </a:lnTo>
                  <a:lnTo>
                    <a:pt x="992" y="81"/>
                  </a:lnTo>
                  <a:lnTo>
                    <a:pt x="992" y="81"/>
                  </a:lnTo>
                  <a:lnTo>
                    <a:pt x="990" y="79"/>
                  </a:lnTo>
                  <a:lnTo>
                    <a:pt x="988" y="77"/>
                  </a:lnTo>
                  <a:lnTo>
                    <a:pt x="986" y="77"/>
                  </a:lnTo>
                  <a:lnTo>
                    <a:pt x="982" y="75"/>
                  </a:lnTo>
                  <a:lnTo>
                    <a:pt x="980" y="72"/>
                  </a:lnTo>
                  <a:lnTo>
                    <a:pt x="978" y="72"/>
                  </a:lnTo>
                  <a:lnTo>
                    <a:pt x="976" y="72"/>
                  </a:lnTo>
                  <a:lnTo>
                    <a:pt x="974" y="72"/>
                  </a:lnTo>
                  <a:lnTo>
                    <a:pt x="976" y="72"/>
                  </a:lnTo>
                  <a:lnTo>
                    <a:pt x="978" y="72"/>
                  </a:lnTo>
                  <a:lnTo>
                    <a:pt x="978" y="75"/>
                  </a:lnTo>
                  <a:lnTo>
                    <a:pt x="978" y="75"/>
                  </a:lnTo>
                  <a:lnTo>
                    <a:pt x="976" y="75"/>
                  </a:lnTo>
                  <a:lnTo>
                    <a:pt x="974" y="75"/>
                  </a:lnTo>
                  <a:lnTo>
                    <a:pt x="974" y="75"/>
                  </a:lnTo>
                  <a:lnTo>
                    <a:pt x="974" y="75"/>
                  </a:lnTo>
                  <a:lnTo>
                    <a:pt x="972" y="72"/>
                  </a:lnTo>
                  <a:lnTo>
                    <a:pt x="972" y="72"/>
                  </a:lnTo>
                  <a:lnTo>
                    <a:pt x="967" y="70"/>
                  </a:lnTo>
                  <a:lnTo>
                    <a:pt x="965" y="70"/>
                  </a:lnTo>
                  <a:lnTo>
                    <a:pt x="963" y="70"/>
                  </a:lnTo>
                  <a:lnTo>
                    <a:pt x="961" y="70"/>
                  </a:lnTo>
                  <a:lnTo>
                    <a:pt x="961" y="70"/>
                  </a:lnTo>
                  <a:lnTo>
                    <a:pt x="961" y="70"/>
                  </a:lnTo>
                  <a:lnTo>
                    <a:pt x="961" y="68"/>
                  </a:lnTo>
                  <a:lnTo>
                    <a:pt x="957" y="68"/>
                  </a:lnTo>
                  <a:lnTo>
                    <a:pt x="955" y="68"/>
                  </a:lnTo>
                  <a:lnTo>
                    <a:pt x="953" y="66"/>
                  </a:lnTo>
                  <a:lnTo>
                    <a:pt x="949" y="66"/>
                  </a:lnTo>
                  <a:lnTo>
                    <a:pt x="947" y="66"/>
                  </a:lnTo>
                  <a:lnTo>
                    <a:pt x="939" y="66"/>
                  </a:lnTo>
                  <a:lnTo>
                    <a:pt x="935" y="66"/>
                  </a:lnTo>
                  <a:lnTo>
                    <a:pt x="926" y="66"/>
                  </a:lnTo>
                  <a:lnTo>
                    <a:pt x="920" y="66"/>
                  </a:lnTo>
                  <a:lnTo>
                    <a:pt x="916" y="66"/>
                  </a:lnTo>
                  <a:lnTo>
                    <a:pt x="914" y="66"/>
                  </a:lnTo>
                  <a:lnTo>
                    <a:pt x="914" y="66"/>
                  </a:lnTo>
                  <a:lnTo>
                    <a:pt x="914" y="66"/>
                  </a:lnTo>
                  <a:lnTo>
                    <a:pt x="914" y="68"/>
                  </a:lnTo>
                  <a:lnTo>
                    <a:pt x="914" y="68"/>
                  </a:lnTo>
                  <a:lnTo>
                    <a:pt x="912" y="68"/>
                  </a:lnTo>
                  <a:lnTo>
                    <a:pt x="908" y="68"/>
                  </a:lnTo>
                  <a:lnTo>
                    <a:pt x="904" y="68"/>
                  </a:lnTo>
                  <a:lnTo>
                    <a:pt x="902" y="68"/>
                  </a:lnTo>
                  <a:lnTo>
                    <a:pt x="900" y="68"/>
                  </a:lnTo>
                  <a:lnTo>
                    <a:pt x="898" y="68"/>
                  </a:lnTo>
                  <a:lnTo>
                    <a:pt x="900" y="68"/>
                  </a:lnTo>
                  <a:lnTo>
                    <a:pt x="902" y="68"/>
                  </a:lnTo>
                  <a:lnTo>
                    <a:pt x="902" y="66"/>
                  </a:lnTo>
                  <a:lnTo>
                    <a:pt x="904" y="64"/>
                  </a:lnTo>
                  <a:lnTo>
                    <a:pt x="904" y="62"/>
                  </a:lnTo>
                  <a:lnTo>
                    <a:pt x="902" y="62"/>
                  </a:lnTo>
                  <a:lnTo>
                    <a:pt x="898" y="62"/>
                  </a:lnTo>
                  <a:lnTo>
                    <a:pt x="896" y="62"/>
                  </a:lnTo>
                  <a:lnTo>
                    <a:pt x="896" y="62"/>
                  </a:lnTo>
                  <a:lnTo>
                    <a:pt x="889" y="62"/>
                  </a:lnTo>
                  <a:lnTo>
                    <a:pt x="887" y="62"/>
                  </a:lnTo>
                  <a:lnTo>
                    <a:pt x="885" y="62"/>
                  </a:lnTo>
                  <a:lnTo>
                    <a:pt x="883" y="62"/>
                  </a:lnTo>
                  <a:lnTo>
                    <a:pt x="881" y="60"/>
                  </a:lnTo>
                  <a:lnTo>
                    <a:pt x="879" y="60"/>
                  </a:lnTo>
                  <a:lnTo>
                    <a:pt x="867" y="60"/>
                  </a:lnTo>
                  <a:lnTo>
                    <a:pt x="867" y="60"/>
                  </a:lnTo>
                  <a:lnTo>
                    <a:pt x="873" y="60"/>
                  </a:lnTo>
                  <a:lnTo>
                    <a:pt x="877" y="58"/>
                  </a:lnTo>
                  <a:lnTo>
                    <a:pt x="879" y="58"/>
                  </a:lnTo>
                  <a:lnTo>
                    <a:pt x="881" y="56"/>
                  </a:lnTo>
                  <a:lnTo>
                    <a:pt x="879" y="56"/>
                  </a:lnTo>
                  <a:lnTo>
                    <a:pt x="879" y="56"/>
                  </a:lnTo>
                  <a:lnTo>
                    <a:pt x="875" y="54"/>
                  </a:lnTo>
                  <a:lnTo>
                    <a:pt x="871" y="54"/>
                  </a:lnTo>
                  <a:lnTo>
                    <a:pt x="867" y="54"/>
                  </a:lnTo>
                  <a:lnTo>
                    <a:pt x="865" y="54"/>
                  </a:lnTo>
                  <a:lnTo>
                    <a:pt x="857" y="52"/>
                  </a:lnTo>
                  <a:lnTo>
                    <a:pt x="854" y="52"/>
                  </a:lnTo>
                  <a:lnTo>
                    <a:pt x="852" y="54"/>
                  </a:lnTo>
                  <a:lnTo>
                    <a:pt x="848" y="54"/>
                  </a:lnTo>
                  <a:lnTo>
                    <a:pt x="846" y="54"/>
                  </a:lnTo>
                  <a:lnTo>
                    <a:pt x="844" y="54"/>
                  </a:lnTo>
                  <a:lnTo>
                    <a:pt x="836" y="60"/>
                  </a:lnTo>
                  <a:lnTo>
                    <a:pt x="836" y="60"/>
                  </a:lnTo>
                  <a:lnTo>
                    <a:pt x="836" y="62"/>
                  </a:lnTo>
                  <a:lnTo>
                    <a:pt x="834" y="62"/>
                  </a:lnTo>
                  <a:lnTo>
                    <a:pt x="834" y="64"/>
                  </a:lnTo>
                  <a:lnTo>
                    <a:pt x="836" y="64"/>
                  </a:lnTo>
                  <a:lnTo>
                    <a:pt x="838" y="64"/>
                  </a:lnTo>
                  <a:lnTo>
                    <a:pt x="840" y="66"/>
                  </a:lnTo>
                  <a:lnTo>
                    <a:pt x="840" y="66"/>
                  </a:lnTo>
                  <a:lnTo>
                    <a:pt x="840" y="68"/>
                  </a:lnTo>
                  <a:lnTo>
                    <a:pt x="842" y="68"/>
                  </a:lnTo>
                  <a:lnTo>
                    <a:pt x="844" y="68"/>
                  </a:lnTo>
                  <a:lnTo>
                    <a:pt x="850" y="68"/>
                  </a:lnTo>
                  <a:lnTo>
                    <a:pt x="848" y="70"/>
                  </a:lnTo>
                  <a:lnTo>
                    <a:pt x="846" y="68"/>
                  </a:lnTo>
                  <a:lnTo>
                    <a:pt x="842" y="68"/>
                  </a:lnTo>
                  <a:lnTo>
                    <a:pt x="840" y="68"/>
                  </a:lnTo>
                  <a:lnTo>
                    <a:pt x="836" y="68"/>
                  </a:lnTo>
                  <a:lnTo>
                    <a:pt x="830" y="68"/>
                  </a:lnTo>
                  <a:lnTo>
                    <a:pt x="828" y="68"/>
                  </a:lnTo>
                  <a:lnTo>
                    <a:pt x="820" y="68"/>
                  </a:lnTo>
                  <a:lnTo>
                    <a:pt x="820" y="68"/>
                  </a:lnTo>
                  <a:lnTo>
                    <a:pt x="822" y="70"/>
                  </a:lnTo>
                  <a:lnTo>
                    <a:pt x="824" y="70"/>
                  </a:lnTo>
                  <a:lnTo>
                    <a:pt x="830" y="72"/>
                  </a:lnTo>
                  <a:lnTo>
                    <a:pt x="832" y="72"/>
                  </a:lnTo>
                  <a:lnTo>
                    <a:pt x="834" y="75"/>
                  </a:lnTo>
                  <a:lnTo>
                    <a:pt x="838" y="77"/>
                  </a:lnTo>
                  <a:lnTo>
                    <a:pt x="838" y="79"/>
                  </a:lnTo>
                  <a:lnTo>
                    <a:pt x="838" y="79"/>
                  </a:lnTo>
                  <a:lnTo>
                    <a:pt x="836" y="79"/>
                  </a:lnTo>
                  <a:lnTo>
                    <a:pt x="836" y="79"/>
                  </a:lnTo>
                  <a:lnTo>
                    <a:pt x="836" y="79"/>
                  </a:lnTo>
                  <a:lnTo>
                    <a:pt x="836" y="77"/>
                  </a:lnTo>
                  <a:lnTo>
                    <a:pt x="836" y="75"/>
                  </a:lnTo>
                  <a:lnTo>
                    <a:pt x="834" y="75"/>
                  </a:lnTo>
                  <a:lnTo>
                    <a:pt x="834" y="75"/>
                  </a:lnTo>
                  <a:lnTo>
                    <a:pt x="832" y="75"/>
                  </a:lnTo>
                  <a:lnTo>
                    <a:pt x="828" y="72"/>
                  </a:lnTo>
                  <a:lnTo>
                    <a:pt x="826" y="72"/>
                  </a:lnTo>
                  <a:lnTo>
                    <a:pt x="822" y="72"/>
                  </a:lnTo>
                  <a:lnTo>
                    <a:pt x="822" y="72"/>
                  </a:lnTo>
                  <a:lnTo>
                    <a:pt x="818" y="72"/>
                  </a:lnTo>
                  <a:lnTo>
                    <a:pt x="818" y="75"/>
                  </a:lnTo>
                  <a:lnTo>
                    <a:pt x="815" y="75"/>
                  </a:lnTo>
                  <a:lnTo>
                    <a:pt x="815" y="75"/>
                  </a:lnTo>
                  <a:lnTo>
                    <a:pt x="813" y="75"/>
                  </a:lnTo>
                  <a:lnTo>
                    <a:pt x="813" y="75"/>
                  </a:lnTo>
                  <a:lnTo>
                    <a:pt x="811" y="77"/>
                  </a:lnTo>
                  <a:lnTo>
                    <a:pt x="809" y="75"/>
                  </a:lnTo>
                  <a:lnTo>
                    <a:pt x="809" y="77"/>
                  </a:lnTo>
                  <a:lnTo>
                    <a:pt x="805" y="77"/>
                  </a:lnTo>
                  <a:lnTo>
                    <a:pt x="803" y="77"/>
                  </a:lnTo>
                  <a:lnTo>
                    <a:pt x="803" y="77"/>
                  </a:lnTo>
                  <a:lnTo>
                    <a:pt x="803" y="77"/>
                  </a:lnTo>
                  <a:lnTo>
                    <a:pt x="801" y="77"/>
                  </a:lnTo>
                  <a:lnTo>
                    <a:pt x="797" y="77"/>
                  </a:lnTo>
                  <a:lnTo>
                    <a:pt x="795" y="79"/>
                  </a:lnTo>
                  <a:lnTo>
                    <a:pt x="793" y="77"/>
                  </a:lnTo>
                  <a:lnTo>
                    <a:pt x="795" y="77"/>
                  </a:lnTo>
                  <a:lnTo>
                    <a:pt x="795" y="75"/>
                  </a:lnTo>
                  <a:lnTo>
                    <a:pt x="793" y="75"/>
                  </a:lnTo>
                  <a:lnTo>
                    <a:pt x="789" y="75"/>
                  </a:lnTo>
                  <a:lnTo>
                    <a:pt x="787" y="75"/>
                  </a:lnTo>
                  <a:lnTo>
                    <a:pt x="785" y="75"/>
                  </a:lnTo>
                  <a:lnTo>
                    <a:pt x="779" y="75"/>
                  </a:lnTo>
                  <a:lnTo>
                    <a:pt x="779" y="75"/>
                  </a:lnTo>
                  <a:lnTo>
                    <a:pt x="776" y="75"/>
                  </a:lnTo>
                  <a:lnTo>
                    <a:pt x="774" y="75"/>
                  </a:lnTo>
                  <a:lnTo>
                    <a:pt x="770" y="75"/>
                  </a:lnTo>
                  <a:lnTo>
                    <a:pt x="770" y="75"/>
                  </a:lnTo>
                  <a:lnTo>
                    <a:pt x="766" y="75"/>
                  </a:lnTo>
                  <a:lnTo>
                    <a:pt x="764" y="75"/>
                  </a:lnTo>
                  <a:lnTo>
                    <a:pt x="764" y="77"/>
                  </a:lnTo>
                  <a:lnTo>
                    <a:pt x="762" y="75"/>
                  </a:lnTo>
                  <a:lnTo>
                    <a:pt x="762" y="77"/>
                  </a:lnTo>
                  <a:lnTo>
                    <a:pt x="764" y="77"/>
                  </a:lnTo>
                  <a:lnTo>
                    <a:pt x="764" y="77"/>
                  </a:lnTo>
                  <a:lnTo>
                    <a:pt x="766" y="77"/>
                  </a:lnTo>
                  <a:lnTo>
                    <a:pt x="766" y="77"/>
                  </a:lnTo>
                  <a:lnTo>
                    <a:pt x="766" y="77"/>
                  </a:lnTo>
                  <a:lnTo>
                    <a:pt x="768" y="77"/>
                  </a:lnTo>
                  <a:lnTo>
                    <a:pt x="770" y="77"/>
                  </a:lnTo>
                  <a:lnTo>
                    <a:pt x="770" y="77"/>
                  </a:lnTo>
                  <a:lnTo>
                    <a:pt x="772" y="77"/>
                  </a:lnTo>
                  <a:lnTo>
                    <a:pt x="776" y="77"/>
                  </a:lnTo>
                  <a:lnTo>
                    <a:pt x="776" y="77"/>
                  </a:lnTo>
                  <a:lnTo>
                    <a:pt x="772" y="79"/>
                  </a:lnTo>
                  <a:lnTo>
                    <a:pt x="762" y="79"/>
                  </a:lnTo>
                  <a:lnTo>
                    <a:pt x="760" y="79"/>
                  </a:lnTo>
                  <a:lnTo>
                    <a:pt x="754" y="81"/>
                  </a:lnTo>
                  <a:lnTo>
                    <a:pt x="752" y="81"/>
                  </a:lnTo>
                  <a:lnTo>
                    <a:pt x="748" y="81"/>
                  </a:lnTo>
                  <a:lnTo>
                    <a:pt x="740" y="83"/>
                  </a:lnTo>
                  <a:lnTo>
                    <a:pt x="733" y="83"/>
                  </a:lnTo>
                  <a:lnTo>
                    <a:pt x="731" y="83"/>
                  </a:lnTo>
                  <a:lnTo>
                    <a:pt x="725" y="85"/>
                  </a:lnTo>
                  <a:lnTo>
                    <a:pt x="725" y="87"/>
                  </a:lnTo>
                  <a:lnTo>
                    <a:pt x="717" y="89"/>
                  </a:lnTo>
                  <a:lnTo>
                    <a:pt x="711" y="87"/>
                  </a:lnTo>
                  <a:lnTo>
                    <a:pt x="709" y="87"/>
                  </a:lnTo>
                  <a:lnTo>
                    <a:pt x="709" y="89"/>
                  </a:lnTo>
                  <a:lnTo>
                    <a:pt x="711" y="89"/>
                  </a:lnTo>
                  <a:lnTo>
                    <a:pt x="713" y="89"/>
                  </a:lnTo>
                  <a:lnTo>
                    <a:pt x="715" y="89"/>
                  </a:lnTo>
                  <a:lnTo>
                    <a:pt x="717" y="91"/>
                  </a:lnTo>
                  <a:lnTo>
                    <a:pt x="717" y="91"/>
                  </a:lnTo>
                  <a:lnTo>
                    <a:pt x="715" y="93"/>
                  </a:lnTo>
                  <a:lnTo>
                    <a:pt x="713" y="95"/>
                  </a:lnTo>
                  <a:lnTo>
                    <a:pt x="711" y="95"/>
                  </a:lnTo>
                  <a:lnTo>
                    <a:pt x="705" y="93"/>
                  </a:lnTo>
                  <a:lnTo>
                    <a:pt x="705" y="93"/>
                  </a:lnTo>
                  <a:lnTo>
                    <a:pt x="705" y="95"/>
                  </a:lnTo>
                  <a:lnTo>
                    <a:pt x="703" y="93"/>
                  </a:lnTo>
                  <a:lnTo>
                    <a:pt x="703" y="95"/>
                  </a:lnTo>
                  <a:lnTo>
                    <a:pt x="707" y="95"/>
                  </a:lnTo>
                  <a:lnTo>
                    <a:pt x="711" y="97"/>
                  </a:lnTo>
                  <a:lnTo>
                    <a:pt x="715" y="97"/>
                  </a:lnTo>
                  <a:lnTo>
                    <a:pt x="717" y="97"/>
                  </a:lnTo>
                  <a:lnTo>
                    <a:pt x="719" y="99"/>
                  </a:lnTo>
                  <a:lnTo>
                    <a:pt x="721" y="99"/>
                  </a:lnTo>
                  <a:lnTo>
                    <a:pt x="719" y="99"/>
                  </a:lnTo>
                  <a:lnTo>
                    <a:pt x="715" y="99"/>
                  </a:lnTo>
                  <a:lnTo>
                    <a:pt x="713" y="99"/>
                  </a:lnTo>
                  <a:lnTo>
                    <a:pt x="711" y="97"/>
                  </a:lnTo>
                  <a:lnTo>
                    <a:pt x="709" y="99"/>
                  </a:lnTo>
                  <a:lnTo>
                    <a:pt x="709" y="99"/>
                  </a:lnTo>
                  <a:lnTo>
                    <a:pt x="711" y="101"/>
                  </a:lnTo>
                  <a:lnTo>
                    <a:pt x="715" y="101"/>
                  </a:lnTo>
                  <a:lnTo>
                    <a:pt x="717" y="101"/>
                  </a:lnTo>
                  <a:lnTo>
                    <a:pt x="727" y="107"/>
                  </a:lnTo>
                  <a:lnTo>
                    <a:pt x="729" y="107"/>
                  </a:lnTo>
                  <a:lnTo>
                    <a:pt x="731" y="107"/>
                  </a:lnTo>
                  <a:lnTo>
                    <a:pt x="731" y="107"/>
                  </a:lnTo>
                  <a:lnTo>
                    <a:pt x="731" y="107"/>
                  </a:lnTo>
                  <a:lnTo>
                    <a:pt x="729" y="109"/>
                  </a:lnTo>
                  <a:lnTo>
                    <a:pt x="729" y="109"/>
                  </a:lnTo>
                  <a:lnTo>
                    <a:pt x="721" y="112"/>
                  </a:lnTo>
                  <a:lnTo>
                    <a:pt x="719" y="112"/>
                  </a:lnTo>
                  <a:lnTo>
                    <a:pt x="719" y="112"/>
                  </a:lnTo>
                  <a:lnTo>
                    <a:pt x="719" y="112"/>
                  </a:lnTo>
                  <a:lnTo>
                    <a:pt x="717" y="114"/>
                  </a:lnTo>
                  <a:lnTo>
                    <a:pt x="719" y="114"/>
                  </a:lnTo>
                  <a:lnTo>
                    <a:pt x="719" y="114"/>
                  </a:lnTo>
                  <a:lnTo>
                    <a:pt x="721" y="116"/>
                  </a:lnTo>
                  <a:lnTo>
                    <a:pt x="729" y="118"/>
                  </a:lnTo>
                  <a:lnTo>
                    <a:pt x="729" y="118"/>
                  </a:lnTo>
                  <a:lnTo>
                    <a:pt x="727" y="118"/>
                  </a:lnTo>
                  <a:lnTo>
                    <a:pt x="725" y="116"/>
                  </a:lnTo>
                  <a:lnTo>
                    <a:pt x="721" y="116"/>
                  </a:lnTo>
                  <a:lnTo>
                    <a:pt x="717" y="114"/>
                  </a:lnTo>
                  <a:lnTo>
                    <a:pt x="717" y="114"/>
                  </a:lnTo>
                  <a:lnTo>
                    <a:pt x="717" y="114"/>
                  </a:lnTo>
                  <a:lnTo>
                    <a:pt x="717" y="112"/>
                  </a:lnTo>
                  <a:lnTo>
                    <a:pt x="717" y="112"/>
                  </a:lnTo>
                  <a:lnTo>
                    <a:pt x="719" y="112"/>
                  </a:lnTo>
                  <a:lnTo>
                    <a:pt x="721" y="109"/>
                  </a:lnTo>
                  <a:lnTo>
                    <a:pt x="723" y="109"/>
                  </a:lnTo>
                  <a:lnTo>
                    <a:pt x="725" y="107"/>
                  </a:lnTo>
                  <a:lnTo>
                    <a:pt x="725" y="107"/>
                  </a:lnTo>
                  <a:lnTo>
                    <a:pt x="723" y="105"/>
                  </a:lnTo>
                  <a:lnTo>
                    <a:pt x="721" y="105"/>
                  </a:lnTo>
                  <a:lnTo>
                    <a:pt x="713" y="107"/>
                  </a:lnTo>
                  <a:lnTo>
                    <a:pt x="711" y="107"/>
                  </a:lnTo>
                  <a:lnTo>
                    <a:pt x="709" y="109"/>
                  </a:lnTo>
                  <a:lnTo>
                    <a:pt x="707" y="109"/>
                  </a:lnTo>
                  <a:lnTo>
                    <a:pt x="705" y="109"/>
                  </a:lnTo>
                  <a:lnTo>
                    <a:pt x="700" y="107"/>
                  </a:lnTo>
                  <a:lnTo>
                    <a:pt x="698" y="109"/>
                  </a:lnTo>
                  <a:lnTo>
                    <a:pt x="690" y="109"/>
                  </a:lnTo>
                  <a:lnTo>
                    <a:pt x="688" y="109"/>
                  </a:lnTo>
                  <a:lnTo>
                    <a:pt x="670" y="109"/>
                  </a:lnTo>
                  <a:lnTo>
                    <a:pt x="666" y="109"/>
                  </a:lnTo>
                  <a:lnTo>
                    <a:pt x="657" y="112"/>
                  </a:lnTo>
                  <a:lnTo>
                    <a:pt x="657" y="112"/>
                  </a:lnTo>
                  <a:lnTo>
                    <a:pt x="657" y="112"/>
                  </a:lnTo>
                  <a:lnTo>
                    <a:pt x="657" y="114"/>
                  </a:lnTo>
                  <a:lnTo>
                    <a:pt x="657" y="114"/>
                  </a:lnTo>
                  <a:lnTo>
                    <a:pt x="657" y="116"/>
                  </a:lnTo>
                  <a:lnTo>
                    <a:pt x="659" y="116"/>
                  </a:lnTo>
                  <a:lnTo>
                    <a:pt x="659" y="118"/>
                  </a:lnTo>
                  <a:lnTo>
                    <a:pt x="661" y="118"/>
                  </a:lnTo>
                  <a:lnTo>
                    <a:pt x="664" y="118"/>
                  </a:lnTo>
                  <a:lnTo>
                    <a:pt x="666" y="120"/>
                  </a:lnTo>
                  <a:lnTo>
                    <a:pt x="666" y="120"/>
                  </a:lnTo>
                  <a:lnTo>
                    <a:pt x="666" y="122"/>
                  </a:lnTo>
                  <a:lnTo>
                    <a:pt x="666" y="122"/>
                  </a:lnTo>
                  <a:lnTo>
                    <a:pt x="668" y="124"/>
                  </a:lnTo>
                  <a:lnTo>
                    <a:pt x="668" y="124"/>
                  </a:lnTo>
                  <a:lnTo>
                    <a:pt x="670" y="126"/>
                  </a:lnTo>
                  <a:lnTo>
                    <a:pt x="672" y="126"/>
                  </a:lnTo>
                  <a:lnTo>
                    <a:pt x="676" y="128"/>
                  </a:lnTo>
                  <a:lnTo>
                    <a:pt x="678" y="128"/>
                  </a:lnTo>
                  <a:lnTo>
                    <a:pt x="680" y="128"/>
                  </a:lnTo>
                  <a:lnTo>
                    <a:pt x="684" y="130"/>
                  </a:lnTo>
                  <a:lnTo>
                    <a:pt x="688" y="130"/>
                  </a:lnTo>
                  <a:lnTo>
                    <a:pt x="688" y="130"/>
                  </a:lnTo>
                  <a:lnTo>
                    <a:pt x="690" y="130"/>
                  </a:lnTo>
                  <a:lnTo>
                    <a:pt x="692" y="132"/>
                  </a:lnTo>
                  <a:lnTo>
                    <a:pt x="692" y="132"/>
                  </a:lnTo>
                  <a:lnTo>
                    <a:pt x="696" y="136"/>
                  </a:lnTo>
                  <a:lnTo>
                    <a:pt x="698" y="136"/>
                  </a:lnTo>
                  <a:lnTo>
                    <a:pt x="705" y="136"/>
                  </a:lnTo>
                  <a:lnTo>
                    <a:pt x="707" y="136"/>
                  </a:lnTo>
                  <a:lnTo>
                    <a:pt x="711" y="138"/>
                  </a:lnTo>
                  <a:lnTo>
                    <a:pt x="711" y="140"/>
                  </a:lnTo>
                  <a:lnTo>
                    <a:pt x="711" y="140"/>
                  </a:lnTo>
                  <a:lnTo>
                    <a:pt x="711" y="140"/>
                  </a:lnTo>
                  <a:lnTo>
                    <a:pt x="711" y="142"/>
                  </a:lnTo>
                  <a:lnTo>
                    <a:pt x="711" y="142"/>
                  </a:lnTo>
                  <a:lnTo>
                    <a:pt x="711" y="144"/>
                  </a:lnTo>
                  <a:lnTo>
                    <a:pt x="711" y="149"/>
                  </a:lnTo>
                  <a:lnTo>
                    <a:pt x="715" y="149"/>
                  </a:lnTo>
                  <a:lnTo>
                    <a:pt x="719" y="153"/>
                  </a:lnTo>
                  <a:lnTo>
                    <a:pt x="721" y="155"/>
                  </a:lnTo>
                  <a:lnTo>
                    <a:pt x="723" y="157"/>
                  </a:lnTo>
                  <a:lnTo>
                    <a:pt x="725" y="157"/>
                  </a:lnTo>
                  <a:lnTo>
                    <a:pt x="725" y="159"/>
                  </a:lnTo>
                  <a:lnTo>
                    <a:pt x="723" y="159"/>
                  </a:lnTo>
                  <a:lnTo>
                    <a:pt x="721" y="159"/>
                  </a:lnTo>
                  <a:lnTo>
                    <a:pt x="719" y="161"/>
                  </a:lnTo>
                  <a:lnTo>
                    <a:pt x="719" y="161"/>
                  </a:lnTo>
                  <a:lnTo>
                    <a:pt x="721" y="163"/>
                  </a:lnTo>
                  <a:lnTo>
                    <a:pt x="721" y="163"/>
                  </a:lnTo>
                  <a:lnTo>
                    <a:pt x="721" y="163"/>
                  </a:lnTo>
                  <a:lnTo>
                    <a:pt x="719" y="163"/>
                  </a:lnTo>
                  <a:lnTo>
                    <a:pt x="719" y="163"/>
                  </a:lnTo>
                  <a:lnTo>
                    <a:pt x="717" y="163"/>
                  </a:lnTo>
                  <a:lnTo>
                    <a:pt x="715" y="161"/>
                  </a:lnTo>
                  <a:lnTo>
                    <a:pt x="715" y="161"/>
                  </a:lnTo>
                  <a:lnTo>
                    <a:pt x="715" y="159"/>
                  </a:lnTo>
                  <a:lnTo>
                    <a:pt x="715" y="155"/>
                  </a:lnTo>
                  <a:lnTo>
                    <a:pt x="715" y="155"/>
                  </a:lnTo>
                  <a:lnTo>
                    <a:pt x="713" y="153"/>
                  </a:lnTo>
                  <a:lnTo>
                    <a:pt x="713" y="151"/>
                  </a:lnTo>
                  <a:lnTo>
                    <a:pt x="709" y="151"/>
                  </a:lnTo>
                  <a:lnTo>
                    <a:pt x="709" y="151"/>
                  </a:lnTo>
                  <a:lnTo>
                    <a:pt x="707" y="151"/>
                  </a:lnTo>
                  <a:lnTo>
                    <a:pt x="707" y="155"/>
                  </a:lnTo>
                  <a:lnTo>
                    <a:pt x="707" y="157"/>
                  </a:lnTo>
                  <a:lnTo>
                    <a:pt x="707" y="157"/>
                  </a:lnTo>
                  <a:lnTo>
                    <a:pt x="707" y="157"/>
                  </a:lnTo>
                  <a:lnTo>
                    <a:pt x="709" y="159"/>
                  </a:lnTo>
                  <a:lnTo>
                    <a:pt x="707" y="157"/>
                  </a:lnTo>
                  <a:lnTo>
                    <a:pt x="705" y="155"/>
                  </a:lnTo>
                  <a:lnTo>
                    <a:pt x="705" y="153"/>
                  </a:lnTo>
                  <a:lnTo>
                    <a:pt x="705" y="153"/>
                  </a:lnTo>
                  <a:lnTo>
                    <a:pt x="705" y="151"/>
                  </a:lnTo>
                  <a:lnTo>
                    <a:pt x="703" y="149"/>
                  </a:lnTo>
                  <a:lnTo>
                    <a:pt x="703" y="149"/>
                  </a:lnTo>
                  <a:lnTo>
                    <a:pt x="700" y="149"/>
                  </a:lnTo>
                  <a:lnTo>
                    <a:pt x="700" y="144"/>
                  </a:lnTo>
                  <a:lnTo>
                    <a:pt x="703" y="144"/>
                  </a:lnTo>
                  <a:lnTo>
                    <a:pt x="705" y="142"/>
                  </a:lnTo>
                  <a:lnTo>
                    <a:pt x="707" y="142"/>
                  </a:lnTo>
                  <a:lnTo>
                    <a:pt x="707" y="140"/>
                  </a:lnTo>
                  <a:lnTo>
                    <a:pt x="707" y="140"/>
                  </a:lnTo>
                  <a:lnTo>
                    <a:pt x="707" y="138"/>
                  </a:lnTo>
                  <a:lnTo>
                    <a:pt x="705" y="138"/>
                  </a:lnTo>
                  <a:lnTo>
                    <a:pt x="703" y="138"/>
                  </a:lnTo>
                  <a:lnTo>
                    <a:pt x="700" y="138"/>
                  </a:lnTo>
                  <a:lnTo>
                    <a:pt x="698" y="138"/>
                  </a:lnTo>
                  <a:lnTo>
                    <a:pt x="692" y="138"/>
                  </a:lnTo>
                  <a:lnTo>
                    <a:pt x="688" y="138"/>
                  </a:lnTo>
                  <a:lnTo>
                    <a:pt x="686" y="138"/>
                  </a:lnTo>
                  <a:lnTo>
                    <a:pt x="676" y="134"/>
                  </a:lnTo>
                  <a:lnTo>
                    <a:pt x="676" y="134"/>
                  </a:lnTo>
                  <a:lnTo>
                    <a:pt x="674" y="132"/>
                  </a:lnTo>
                  <a:lnTo>
                    <a:pt x="674" y="132"/>
                  </a:lnTo>
                  <a:lnTo>
                    <a:pt x="670" y="132"/>
                  </a:lnTo>
                  <a:lnTo>
                    <a:pt x="664" y="130"/>
                  </a:lnTo>
                  <a:lnTo>
                    <a:pt x="655" y="128"/>
                  </a:lnTo>
                  <a:lnTo>
                    <a:pt x="645" y="128"/>
                  </a:lnTo>
                  <a:lnTo>
                    <a:pt x="643" y="128"/>
                  </a:lnTo>
                  <a:lnTo>
                    <a:pt x="641" y="130"/>
                  </a:lnTo>
                  <a:lnTo>
                    <a:pt x="639" y="130"/>
                  </a:lnTo>
                  <a:lnTo>
                    <a:pt x="637" y="132"/>
                  </a:lnTo>
                  <a:lnTo>
                    <a:pt x="637" y="132"/>
                  </a:lnTo>
                  <a:lnTo>
                    <a:pt x="637" y="132"/>
                  </a:lnTo>
                  <a:lnTo>
                    <a:pt x="637" y="132"/>
                  </a:lnTo>
                  <a:lnTo>
                    <a:pt x="637" y="132"/>
                  </a:lnTo>
                  <a:lnTo>
                    <a:pt x="641" y="132"/>
                  </a:lnTo>
                  <a:lnTo>
                    <a:pt x="643" y="132"/>
                  </a:lnTo>
                  <a:lnTo>
                    <a:pt x="645" y="134"/>
                  </a:lnTo>
                  <a:lnTo>
                    <a:pt x="647" y="134"/>
                  </a:lnTo>
                  <a:lnTo>
                    <a:pt x="647" y="136"/>
                  </a:lnTo>
                  <a:lnTo>
                    <a:pt x="643" y="136"/>
                  </a:lnTo>
                  <a:lnTo>
                    <a:pt x="641" y="136"/>
                  </a:lnTo>
                  <a:lnTo>
                    <a:pt x="633" y="134"/>
                  </a:lnTo>
                  <a:lnTo>
                    <a:pt x="631" y="134"/>
                  </a:lnTo>
                  <a:lnTo>
                    <a:pt x="627" y="134"/>
                  </a:lnTo>
                  <a:lnTo>
                    <a:pt x="622" y="136"/>
                  </a:lnTo>
                  <a:lnTo>
                    <a:pt x="622" y="136"/>
                  </a:lnTo>
                  <a:lnTo>
                    <a:pt x="625" y="136"/>
                  </a:lnTo>
                  <a:lnTo>
                    <a:pt x="627" y="138"/>
                  </a:lnTo>
                  <a:lnTo>
                    <a:pt x="629" y="140"/>
                  </a:lnTo>
                  <a:lnTo>
                    <a:pt x="631" y="140"/>
                  </a:lnTo>
                  <a:lnTo>
                    <a:pt x="637" y="142"/>
                  </a:lnTo>
                  <a:lnTo>
                    <a:pt x="639" y="142"/>
                  </a:lnTo>
                  <a:lnTo>
                    <a:pt x="645" y="144"/>
                  </a:lnTo>
                  <a:lnTo>
                    <a:pt x="647" y="144"/>
                  </a:lnTo>
                  <a:lnTo>
                    <a:pt x="649" y="144"/>
                  </a:lnTo>
                  <a:lnTo>
                    <a:pt x="653" y="144"/>
                  </a:lnTo>
                  <a:lnTo>
                    <a:pt x="657" y="149"/>
                  </a:lnTo>
                  <a:lnTo>
                    <a:pt x="659" y="149"/>
                  </a:lnTo>
                  <a:lnTo>
                    <a:pt x="659" y="149"/>
                  </a:lnTo>
                  <a:lnTo>
                    <a:pt x="661" y="149"/>
                  </a:lnTo>
                  <a:lnTo>
                    <a:pt x="664" y="149"/>
                  </a:lnTo>
                  <a:lnTo>
                    <a:pt x="664" y="149"/>
                  </a:lnTo>
                  <a:lnTo>
                    <a:pt x="666" y="149"/>
                  </a:lnTo>
                  <a:lnTo>
                    <a:pt x="666" y="151"/>
                  </a:lnTo>
                  <a:lnTo>
                    <a:pt x="666" y="151"/>
                  </a:lnTo>
                  <a:lnTo>
                    <a:pt x="659" y="151"/>
                  </a:lnTo>
                  <a:lnTo>
                    <a:pt x="657" y="151"/>
                  </a:lnTo>
                  <a:lnTo>
                    <a:pt x="653" y="149"/>
                  </a:lnTo>
                  <a:lnTo>
                    <a:pt x="647" y="146"/>
                  </a:lnTo>
                  <a:lnTo>
                    <a:pt x="641" y="146"/>
                  </a:lnTo>
                  <a:lnTo>
                    <a:pt x="639" y="146"/>
                  </a:lnTo>
                  <a:lnTo>
                    <a:pt x="637" y="146"/>
                  </a:lnTo>
                  <a:lnTo>
                    <a:pt x="629" y="146"/>
                  </a:lnTo>
                  <a:lnTo>
                    <a:pt x="625" y="144"/>
                  </a:lnTo>
                  <a:lnTo>
                    <a:pt x="620" y="144"/>
                  </a:lnTo>
                  <a:lnTo>
                    <a:pt x="618" y="144"/>
                  </a:lnTo>
                  <a:lnTo>
                    <a:pt x="618" y="142"/>
                  </a:lnTo>
                  <a:lnTo>
                    <a:pt x="618" y="142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4" y="136"/>
                  </a:lnTo>
                  <a:lnTo>
                    <a:pt x="612" y="134"/>
                  </a:lnTo>
                  <a:lnTo>
                    <a:pt x="614" y="134"/>
                  </a:lnTo>
                  <a:lnTo>
                    <a:pt x="614" y="132"/>
                  </a:lnTo>
                  <a:lnTo>
                    <a:pt x="614" y="130"/>
                  </a:lnTo>
                  <a:lnTo>
                    <a:pt x="614" y="130"/>
                  </a:lnTo>
                  <a:lnTo>
                    <a:pt x="616" y="130"/>
                  </a:lnTo>
                  <a:lnTo>
                    <a:pt x="614" y="128"/>
                  </a:lnTo>
                  <a:lnTo>
                    <a:pt x="614" y="128"/>
                  </a:lnTo>
                  <a:lnTo>
                    <a:pt x="612" y="128"/>
                  </a:lnTo>
                  <a:lnTo>
                    <a:pt x="612" y="126"/>
                  </a:lnTo>
                  <a:lnTo>
                    <a:pt x="610" y="126"/>
                  </a:lnTo>
                  <a:lnTo>
                    <a:pt x="608" y="124"/>
                  </a:lnTo>
                  <a:lnTo>
                    <a:pt x="606" y="122"/>
                  </a:lnTo>
                  <a:lnTo>
                    <a:pt x="604" y="122"/>
                  </a:lnTo>
                  <a:lnTo>
                    <a:pt x="602" y="122"/>
                  </a:lnTo>
                  <a:lnTo>
                    <a:pt x="600" y="122"/>
                  </a:lnTo>
                  <a:lnTo>
                    <a:pt x="600" y="122"/>
                  </a:lnTo>
                  <a:lnTo>
                    <a:pt x="602" y="124"/>
                  </a:lnTo>
                  <a:lnTo>
                    <a:pt x="604" y="126"/>
                  </a:lnTo>
                  <a:lnTo>
                    <a:pt x="606" y="126"/>
                  </a:lnTo>
                  <a:lnTo>
                    <a:pt x="606" y="128"/>
                  </a:lnTo>
                  <a:lnTo>
                    <a:pt x="608" y="130"/>
                  </a:lnTo>
                  <a:lnTo>
                    <a:pt x="608" y="132"/>
                  </a:lnTo>
                  <a:lnTo>
                    <a:pt x="608" y="132"/>
                  </a:lnTo>
                  <a:lnTo>
                    <a:pt x="606" y="132"/>
                  </a:lnTo>
                  <a:lnTo>
                    <a:pt x="604" y="134"/>
                  </a:lnTo>
                  <a:lnTo>
                    <a:pt x="602" y="134"/>
                  </a:lnTo>
                  <a:lnTo>
                    <a:pt x="598" y="136"/>
                  </a:lnTo>
                  <a:lnTo>
                    <a:pt x="596" y="136"/>
                  </a:lnTo>
                  <a:lnTo>
                    <a:pt x="594" y="142"/>
                  </a:lnTo>
                  <a:lnTo>
                    <a:pt x="594" y="142"/>
                  </a:lnTo>
                  <a:lnTo>
                    <a:pt x="598" y="144"/>
                  </a:lnTo>
                  <a:lnTo>
                    <a:pt x="600" y="144"/>
                  </a:lnTo>
                  <a:lnTo>
                    <a:pt x="600" y="146"/>
                  </a:lnTo>
                  <a:lnTo>
                    <a:pt x="604" y="149"/>
                  </a:lnTo>
                  <a:lnTo>
                    <a:pt x="614" y="155"/>
                  </a:lnTo>
                  <a:lnTo>
                    <a:pt x="614" y="155"/>
                  </a:lnTo>
                  <a:lnTo>
                    <a:pt x="614" y="157"/>
                  </a:lnTo>
                  <a:lnTo>
                    <a:pt x="612" y="161"/>
                  </a:lnTo>
                  <a:lnTo>
                    <a:pt x="612" y="161"/>
                  </a:lnTo>
                  <a:lnTo>
                    <a:pt x="612" y="167"/>
                  </a:lnTo>
                  <a:lnTo>
                    <a:pt x="614" y="169"/>
                  </a:lnTo>
                  <a:lnTo>
                    <a:pt x="616" y="171"/>
                  </a:lnTo>
                  <a:lnTo>
                    <a:pt x="618" y="171"/>
                  </a:lnTo>
                  <a:lnTo>
                    <a:pt x="620" y="173"/>
                  </a:lnTo>
                  <a:lnTo>
                    <a:pt x="620" y="177"/>
                  </a:lnTo>
                  <a:lnTo>
                    <a:pt x="622" y="177"/>
                  </a:lnTo>
                  <a:lnTo>
                    <a:pt x="622" y="177"/>
                  </a:lnTo>
                  <a:lnTo>
                    <a:pt x="629" y="177"/>
                  </a:lnTo>
                  <a:lnTo>
                    <a:pt x="633" y="177"/>
                  </a:lnTo>
                  <a:lnTo>
                    <a:pt x="637" y="177"/>
                  </a:lnTo>
                  <a:lnTo>
                    <a:pt x="639" y="175"/>
                  </a:lnTo>
                  <a:lnTo>
                    <a:pt x="641" y="175"/>
                  </a:lnTo>
                  <a:lnTo>
                    <a:pt x="647" y="175"/>
                  </a:lnTo>
                  <a:lnTo>
                    <a:pt x="655" y="177"/>
                  </a:lnTo>
                  <a:lnTo>
                    <a:pt x="664" y="179"/>
                  </a:lnTo>
                  <a:lnTo>
                    <a:pt x="666" y="181"/>
                  </a:lnTo>
                  <a:lnTo>
                    <a:pt x="668" y="181"/>
                  </a:lnTo>
                  <a:lnTo>
                    <a:pt x="672" y="186"/>
                  </a:lnTo>
                  <a:lnTo>
                    <a:pt x="676" y="188"/>
                  </a:lnTo>
                  <a:lnTo>
                    <a:pt x="678" y="190"/>
                  </a:lnTo>
                  <a:lnTo>
                    <a:pt x="678" y="192"/>
                  </a:lnTo>
                  <a:lnTo>
                    <a:pt x="678" y="192"/>
                  </a:lnTo>
                  <a:lnTo>
                    <a:pt x="676" y="192"/>
                  </a:lnTo>
                  <a:lnTo>
                    <a:pt x="676" y="192"/>
                  </a:lnTo>
                  <a:lnTo>
                    <a:pt x="676" y="196"/>
                  </a:lnTo>
                  <a:lnTo>
                    <a:pt x="676" y="196"/>
                  </a:lnTo>
                  <a:lnTo>
                    <a:pt x="678" y="200"/>
                  </a:lnTo>
                  <a:lnTo>
                    <a:pt x="686" y="200"/>
                  </a:lnTo>
                  <a:lnTo>
                    <a:pt x="690" y="202"/>
                  </a:lnTo>
                  <a:lnTo>
                    <a:pt x="694" y="202"/>
                  </a:lnTo>
                  <a:lnTo>
                    <a:pt x="694" y="202"/>
                  </a:lnTo>
                  <a:lnTo>
                    <a:pt x="696" y="202"/>
                  </a:lnTo>
                  <a:lnTo>
                    <a:pt x="692" y="202"/>
                  </a:lnTo>
                  <a:lnTo>
                    <a:pt x="684" y="202"/>
                  </a:lnTo>
                  <a:lnTo>
                    <a:pt x="682" y="202"/>
                  </a:lnTo>
                  <a:lnTo>
                    <a:pt x="680" y="202"/>
                  </a:lnTo>
                  <a:lnTo>
                    <a:pt x="680" y="200"/>
                  </a:lnTo>
                  <a:lnTo>
                    <a:pt x="676" y="200"/>
                  </a:lnTo>
                  <a:lnTo>
                    <a:pt x="676" y="200"/>
                  </a:lnTo>
                  <a:lnTo>
                    <a:pt x="674" y="198"/>
                  </a:lnTo>
                  <a:lnTo>
                    <a:pt x="672" y="196"/>
                  </a:lnTo>
                  <a:lnTo>
                    <a:pt x="670" y="190"/>
                  </a:lnTo>
                  <a:lnTo>
                    <a:pt x="668" y="188"/>
                  </a:lnTo>
                  <a:lnTo>
                    <a:pt x="666" y="186"/>
                  </a:lnTo>
                  <a:lnTo>
                    <a:pt x="659" y="183"/>
                  </a:lnTo>
                  <a:lnTo>
                    <a:pt x="655" y="181"/>
                  </a:lnTo>
                  <a:lnTo>
                    <a:pt x="653" y="179"/>
                  </a:lnTo>
                  <a:lnTo>
                    <a:pt x="651" y="179"/>
                  </a:lnTo>
                  <a:lnTo>
                    <a:pt x="649" y="179"/>
                  </a:lnTo>
                  <a:lnTo>
                    <a:pt x="645" y="181"/>
                  </a:lnTo>
                  <a:lnTo>
                    <a:pt x="639" y="181"/>
                  </a:lnTo>
                  <a:lnTo>
                    <a:pt x="633" y="183"/>
                  </a:lnTo>
                  <a:lnTo>
                    <a:pt x="633" y="186"/>
                  </a:lnTo>
                  <a:lnTo>
                    <a:pt x="635" y="190"/>
                  </a:lnTo>
                  <a:lnTo>
                    <a:pt x="637" y="190"/>
                  </a:lnTo>
                  <a:lnTo>
                    <a:pt x="639" y="192"/>
                  </a:lnTo>
                  <a:lnTo>
                    <a:pt x="641" y="194"/>
                  </a:lnTo>
                  <a:lnTo>
                    <a:pt x="643" y="196"/>
                  </a:lnTo>
                  <a:lnTo>
                    <a:pt x="643" y="198"/>
                  </a:lnTo>
                  <a:lnTo>
                    <a:pt x="645" y="200"/>
                  </a:lnTo>
                  <a:lnTo>
                    <a:pt x="643" y="200"/>
                  </a:lnTo>
                  <a:lnTo>
                    <a:pt x="639" y="204"/>
                  </a:lnTo>
                  <a:lnTo>
                    <a:pt x="639" y="206"/>
                  </a:lnTo>
                  <a:lnTo>
                    <a:pt x="639" y="210"/>
                  </a:lnTo>
                  <a:lnTo>
                    <a:pt x="639" y="210"/>
                  </a:lnTo>
                  <a:lnTo>
                    <a:pt x="637" y="214"/>
                  </a:lnTo>
                  <a:lnTo>
                    <a:pt x="635" y="214"/>
                  </a:lnTo>
                  <a:lnTo>
                    <a:pt x="627" y="218"/>
                  </a:lnTo>
                  <a:lnTo>
                    <a:pt x="627" y="218"/>
                  </a:lnTo>
                  <a:lnTo>
                    <a:pt x="627" y="223"/>
                  </a:lnTo>
                  <a:lnTo>
                    <a:pt x="625" y="223"/>
                  </a:lnTo>
                  <a:lnTo>
                    <a:pt x="622" y="223"/>
                  </a:lnTo>
                  <a:lnTo>
                    <a:pt x="618" y="223"/>
                  </a:lnTo>
                  <a:lnTo>
                    <a:pt x="614" y="220"/>
                  </a:lnTo>
                  <a:lnTo>
                    <a:pt x="612" y="220"/>
                  </a:lnTo>
                  <a:lnTo>
                    <a:pt x="602" y="223"/>
                  </a:lnTo>
                  <a:lnTo>
                    <a:pt x="598" y="220"/>
                  </a:lnTo>
                  <a:lnTo>
                    <a:pt x="594" y="218"/>
                  </a:lnTo>
                  <a:lnTo>
                    <a:pt x="590" y="218"/>
                  </a:lnTo>
                  <a:lnTo>
                    <a:pt x="588" y="218"/>
                  </a:lnTo>
                  <a:lnTo>
                    <a:pt x="586" y="216"/>
                  </a:lnTo>
                  <a:lnTo>
                    <a:pt x="586" y="216"/>
                  </a:lnTo>
                  <a:lnTo>
                    <a:pt x="583" y="214"/>
                  </a:lnTo>
                  <a:lnTo>
                    <a:pt x="583" y="214"/>
                  </a:lnTo>
                  <a:lnTo>
                    <a:pt x="583" y="214"/>
                  </a:lnTo>
                  <a:lnTo>
                    <a:pt x="586" y="214"/>
                  </a:lnTo>
                  <a:lnTo>
                    <a:pt x="592" y="214"/>
                  </a:lnTo>
                  <a:lnTo>
                    <a:pt x="594" y="214"/>
                  </a:lnTo>
                  <a:lnTo>
                    <a:pt x="594" y="214"/>
                  </a:lnTo>
                  <a:lnTo>
                    <a:pt x="596" y="214"/>
                  </a:lnTo>
                  <a:lnTo>
                    <a:pt x="600" y="216"/>
                  </a:lnTo>
                  <a:lnTo>
                    <a:pt x="602" y="216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4" y="214"/>
                  </a:lnTo>
                  <a:lnTo>
                    <a:pt x="602" y="216"/>
                  </a:lnTo>
                  <a:lnTo>
                    <a:pt x="602" y="216"/>
                  </a:lnTo>
                  <a:lnTo>
                    <a:pt x="602" y="216"/>
                  </a:lnTo>
                  <a:lnTo>
                    <a:pt x="602" y="216"/>
                  </a:lnTo>
                  <a:lnTo>
                    <a:pt x="604" y="218"/>
                  </a:lnTo>
                  <a:lnTo>
                    <a:pt x="606" y="218"/>
                  </a:lnTo>
                  <a:lnTo>
                    <a:pt x="608" y="218"/>
                  </a:lnTo>
                  <a:lnTo>
                    <a:pt x="610" y="216"/>
                  </a:lnTo>
                  <a:lnTo>
                    <a:pt x="612" y="216"/>
                  </a:lnTo>
                  <a:lnTo>
                    <a:pt x="614" y="216"/>
                  </a:lnTo>
                  <a:lnTo>
                    <a:pt x="614" y="214"/>
                  </a:lnTo>
                  <a:lnTo>
                    <a:pt x="612" y="212"/>
                  </a:lnTo>
                  <a:lnTo>
                    <a:pt x="610" y="212"/>
                  </a:lnTo>
                  <a:lnTo>
                    <a:pt x="614" y="212"/>
                  </a:lnTo>
                  <a:lnTo>
                    <a:pt x="616" y="210"/>
                  </a:lnTo>
                  <a:lnTo>
                    <a:pt x="620" y="202"/>
                  </a:lnTo>
                  <a:lnTo>
                    <a:pt x="622" y="200"/>
                  </a:lnTo>
                  <a:lnTo>
                    <a:pt x="625" y="200"/>
                  </a:lnTo>
                  <a:lnTo>
                    <a:pt x="625" y="198"/>
                  </a:lnTo>
                  <a:lnTo>
                    <a:pt x="625" y="196"/>
                  </a:lnTo>
                  <a:lnTo>
                    <a:pt x="622" y="194"/>
                  </a:lnTo>
                  <a:lnTo>
                    <a:pt x="620" y="192"/>
                  </a:lnTo>
                  <a:lnTo>
                    <a:pt x="622" y="192"/>
                  </a:lnTo>
                  <a:lnTo>
                    <a:pt x="622" y="188"/>
                  </a:lnTo>
                  <a:lnTo>
                    <a:pt x="625" y="188"/>
                  </a:lnTo>
                  <a:lnTo>
                    <a:pt x="625" y="188"/>
                  </a:lnTo>
                  <a:lnTo>
                    <a:pt x="622" y="186"/>
                  </a:lnTo>
                  <a:lnTo>
                    <a:pt x="618" y="183"/>
                  </a:lnTo>
                  <a:lnTo>
                    <a:pt x="612" y="183"/>
                  </a:lnTo>
                  <a:lnTo>
                    <a:pt x="610" y="181"/>
                  </a:lnTo>
                  <a:lnTo>
                    <a:pt x="608" y="179"/>
                  </a:lnTo>
                  <a:lnTo>
                    <a:pt x="606" y="179"/>
                  </a:lnTo>
                  <a:lnTo>
                    <a:pt x="606" y="177"/>
                  </a:lnTo>
                  <a:lnTo>
                    <a:pt x="604" y="173"/>
                  </a:lnTo>
                  <a:lnTo>
                    <a:pt x="604" y="173"/>
                  </a:lnTo>
                  <a:lnTo>
                    <a:pt x="602" y="167"/>
                  </a:lnTo>
                  <a:lnTo>
                    <a:pt x="598" y="161"/>
                  </a:lnTo>
                  <a:lnTo>
                    <a:pt x="596" y="161"/>
                  </a:lnTo>
                  <a:lnTo>
                    <a:pt x="596" y="159"/>
                  </a:lnTo>
                  <a:lnTo>
                    <a:pt x="598" y="159"/>
                  </a:lnTo>
                  <a:lnTo>
                    <a:pt x="598" y="157"/>
                  </a:lnTo>
                  <a:lnTo>
                    <a:pt x="594" y="153"/>
                  </a:lnTo>
                  <a:lnTo>
                    <a:pt x="592" y="151"/>
                  </a:lnTo>
                  <a:lnTo>
                    <a:pt x="590" y="146"/>
                  </a:lnTo>
                  <a:lnTo>
                    <a:pt x="583" y="144"/>
                  </a:lnTo>
                  <a:lnTo>
                    <a:pt x="579" y="142"/>
                  </a:lnTo>
                  <a:lnTo>
                    <a:pt x="579" y="142"/>
                  </a:lnTo>
                  <a:lnTo>
                    <a:pt x="579" y="140"/>
                  </a:lnTo>
                  <a:lnTo>
                    <a:pt x="581" y="140"/>
                  </a:lnTo>
                  <a:lnTo>
                    <a:pt x="581" y="138"/>
                  </a:lnTo>
                  <a:lnTo>
                    <a:pt x="581" y="136"/>
                  </a:lnTo>
                  <a:lnTo>
                    <a:pt x="581" y="134"/>
                  </a:lnTo>
                  <a:lnTo>
                    <a:pt x="581" y="132"/>
                  </a:lnTo>
                  <a:lnTo>
                    <a:pt x="581" y="128"/>
                  </a:lnTo>
                  <a:lnTo>
                    <a:pt x="579" y="126"/>
                  </a:lnTo>
                  <a:lnTo>
                    <a:pt x="579" y="124"/>
                  </a:lnTo>
                  <a:lnTo>
                    <a:pt x="575" y="124"/>
                  </a:lnTo>
                  <a:lnTo>
                    <a:pt x="573" y="122"/>
                  </a:lnTo>
                  <a:lnTo>
                    <a:pt x="569" y="122"/>
                  </a:lnTo>
                  <a:lnTo>
                    <a:pt x="567" y="122"/>
                  </a:lnTo>
                  <a:lnTo>
                    <a:pt x="563" y="120"/>
                  </a:lnTo>
                  <a:lnTo>
                    <a:pt x="561" y="120"/>
                  </a:lnTo>
                  <a:lnTo>
                    <a:pt x="553" y="122"/>
                  </a:lnTo>
                  <a:lnTo>
                    <a:pt x="547" y="120"/>
                  </a:lnTo>
                  <a:lnTo>
                    <a:pt x="544" y="122"/>
                  </a:lnTo>
                  <a:lnTo>
                    <a:pt x="542" y="122"/>
                  </a:lnTo>
                  <a:lnTo>
                    <a:pt x="540" y="122"/>
                  </a:lnTo>
                  <a:lnTo>
                    <a:pt x="540" y="120"/>
                  </a:lnTo>
                  <a:lnTo>
                    <a:pt x="540" y="120"/>
                  </a:lnTo>
                  <a:lnTo>
                    <a:pt x="540" y="120"/>
                  </a:lnTo>
                  <a:lnTo>
                    <a:pt x="540" y="120"/>
                  </a:lnTo>
                  <a:lnTo>
                    <a:pt x="538" y="120"/>
                  </a:lnTo>
                  <a:lnTo>
                    <a:pt x="536" y="124"/>
                  </a:lnTo>
                  <a:lnTo>
                    <a:pt x="536" y="128"/>
                  </a:lnTo>
                  <a:lnTo>
                    <a:pt x="536" y="134"/>
                  </a:lnTo>
                  <a:lnTo>
                    <a:pt x="536" y="136"/>
                  </a:lnTo>
                  <a:lnTo>
                    <a:pt x="536" y="138"/>
                  </a:lnTo>
                  <a:lnTo>
                    <a:pt x="534" y="140"/>
                  </a:lnTo>
                  <a:lnTo>
                    <a:pt x="530" y="142"/>
                  </a:lnTo>
                  <a:lnTo>
                    <a:pt x="528" y="144"/>
                  </a:lnTo>
                  <a:lnTo>
                    <a:pt x="524" y="144"/>
                  </a:lnTo>
                  <a:lnTo>
                    <a:pt x="524" y="146"/>
                  </a:lnTo>
                  <a:lnTo>
                    <a:pt x="522" y="149"/>
                  </a:lnTo>
                  <a:lnTo>
                    <a:pt x="524" y="149"/>
                  </a:lnTo>
                  <a:lnTo>
                    <a:pt x="524" y="149"/>
                  </a:lnTo>
                  <a:lnTo>
                    <a:pt x="524" y="151"/>
                  </a:lnTo>
                  <a:lnTo>
                    <a:pt x="524" y="151"/>
                  </a:lnTo>
                  <a:lnTo>
                    <a:pt x="524" y="151"/>
                  </a:lnTo>
                  <a:lnTo>
                    <a:pt x="524" y="153"/>
                  </a:lnTo>
                  <a:lnTo>
                    <a:pt x="526" y="153"/>
                  </a:lnTo>
                  <a:lnTo>
                    <a:pt x="530" y="151"/>
                  </a:lnTo>
                  <a:lnTo>
                    <a:pt x="530" y="153"/>
                  </a:lnTo>
                  <a:lnTo>
                    <a:pt x="532" y="153"/>
                  </a:lnTo>
                  <a:lnTo>
                    <a:pt x="534" y="157"/>
                  </a:lnTo>
                  <a:lnTo>
                    <a:pt x="534" y="159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6" y="163"/>
                  </a:lnTo>
                  <a:lnTo>
                    <a:pt x="536" y="163"/>
                  </a:lnTo>
                  <a:lnTo>
                    <a:pt x="536" y="165"/>
                  </a:lnTo>
                  <a:lnTo>
                    <a:pt x="534" y="165"/>
                  </a:lnTo>
                  <a:lnTo>
                    <a:pt x="534" y="167"/>
                  </a:lnTo>
                  <a:lnTo>
                    <a:pt x="534" y="169"/>
                  </a:lnTo>
                  <a:lnTo>
                    <a:pt x="534" y="169"/>
                  </a:lnTo>
                  <a:lnTo>
                    <a:pt x="536" y="171"/>
                  </a:lnTo>
                  <a:lnTo>
                    <a:pt x="536" y="171"/>
                  </a:lnTo>
                  <a:lnTo>
                    <a:pt x="536" y="171"/>
                  </a:lnTo>
                  <a:lnTo>
                    <a:pt x="536" y="169"/>
                  </a:lnTo>
                  <a:lnTo>
                    <a:pt x="538" y="169"/>
                  </a:lnTo>
                  <a:lnTo>
                    <a:pt x="544" y="171"/>
                  </a:lnTo>
                  <a:lnTo>
                    <a:pt x="547" y="171"/>
                  </a:lnTo>
                  <a:lnTo>
                    <a:pt x="551" y="173"/>
                  </a:lnTo>
                  <a:lnTo>
                    <a:pt x="551" y="173"/>
                  </a:lnTo>
                  <a:lnTo>
                    <a:pt x="553" y="175"/>
                  </a:lnTo>
                  <a:lnTo>
                    <a:pt x="557" y="179"/>
                  </a:lnTo>
                  <a:lnTo>
                    <a:pt x="561" y="179"/>
                  </a:lnTo>
                  <a:lnTo>
                    <a:pt x="563" y="181"/>
                  </a:lnTo>
                  <a:lnTo>
                    <a:pt x="563" y="181"/>
                  </a:lnTo>
                  <a:lnTo>
                    <a:pt x="565" y="181"/>
                  </a:lnTo>
                  <a:lnTo>
                    <a:pt x="567" y="181"/>
                  </a:lnTo>
                  <a:lnTo>
                    <a:pt x="567" y="183"/>
                  </a:lnTo>
                  <a:lnTo>
                    <a:pt x="567" y="186"/>
                  </a:lnTo>
                  <a:lnTo>
                    <a:pt x="565" y="190"/>
                  </a:lnTo>
                  <a:lnTo>
                    <a:pt x="563" y="190"/>
                  </a:lnTo>
                  <a:lnTo>
                    <a:pt x="561" y="190"/>
                  </a:lnTo>
                  <a:lnTo>
                    <a:pt x="555" y="188"/>
                  </a:lnTo>
                  <a:lnTo>
                    <a:pt x="553" y="186"/>
                  </a:lnTo>
                  <a:lnTo>
                    <a:pt x="547" y="183"/>
                  </a:lnTo>
                  <a:lnTo>
                    <a:pt x="542" y="181"/>
                  </a:lnTo>
                  <a:lnTo>
                    <a:pt x="540" y="181"/>
                  </a:lnTo>
                  <a:lnTo>
                    <a:pt x="536" y="181"/>
                  </a:lnTo>
                  <a:lnTo>
                    <a:pt x="534" y="179"/>
                  </a:lnTo>
                  <a:lnTo>
                    <a:pt x="532" y="179"/>
                  </a:lnTo>
                  <a:lnTo>
                    <a:pt x="528" y="179"/>
                  </a:lnTo>
                  <a:lnTo>
                    <a:pt x="526" y="177"/>
                  </a:lnTo>
                  <a:lnTo>
                    <a:pt x="524" y="177"/>
                  </a:lnTo>
                  <a:lnTo>
                    <a:pt x="522" y="177"/>
                  </a:lnTo>
                  <a:lnTo>
                    <a:pt x="518" y="175"/>
                  </a:lnTo>
                  <a:lnTo>
                    <a:pt x="516" y="175"/>
                  </a:lnTo>
                  <a:lnTo>
                    <a:pt x="516" y="175"/>
                  </a:lnTo>
                  <a:lnTo>
                    <a:pt x="512" y="173"/>
                  </a:lnTo>
                  <a:lnTo>
                    <a:pt x="505" y="171"/>
                  </a:lnTo>
                  <a:lnTo>
                    <a:pt x="495" y="169"/>
                  </a:lnTo>
                  <a:lnTo>
                    <a:pt x="485" y="169"/>
                  </a:lnTo>
                  <a:lnTo>
                    <a:pt x="475" y="167"/>
                  </a:lnTo>
                  <a:lnTo>
                    <a:pt x="466" y="167"/>
                  </a:lnTo>
                  <a:lnTo>
                    <a:pt x="464" y="167"/>
                  </a:lnTo>
                  <a:lnTo>
                    <a:pt x="464" y="167"/>
                  </a:lnTo>
                  <a:lnTo>
                    <a:pt x="462" y="169"/>
                  </a:lnTo>
                  <a:lnTo>
                    <a:pt x="458" y="169"/>
                  </a:lnTo>
                  <a:lnTo>
                    <a:pt x="458" y="171"/>
                  </a:lnTo>
                  <a:lnTo>
                    <a:pt x="460" y="173"/>
                  </a:lnTo>
                  <a:lnTo>
                    <a:pt x="466" y="177"/>
                  </a:lnTo>
                  <a:lnTo>
                    <a:pt x="468" y="177"/>
                  </a:lnTo>
                  <a:lnTo>
                    <a:pt x="471" y="179"/>
                  </a:lnTo>
                  <a:lnTo>
                    <a:pt x="471" y="181"/>
                  </a:lnTo>
                  <a:lnTo>
                    <a:pt x="468" y="183"/>
                  </a:lnTo>
                  <a:lnTo>
                    <a:pt x="466" y="183"/>
                  </a:lnTo>
                  <a:lnTo>
                    <a:pt x="464" y="183"/>
                  </a:lnTo>
                  <a:lnTo>
                    <a:pt x="460" y="183"/>
                  </a:lnTo>
                  <a:lnTo>
                    <a:pt x="460" y="186"/>
                  </a:lnTo>
                  <a:lnTo>
                    <a:pt x="462" y="188"/>
                  </a:lnTo>
                  <a:lnTo>
                    <a:pt x="462" y="188"/>
                  </a:lnTo>
                  <a:lnTo>
                    <a:pt x="462" y="190"/>
                  </a:lnTo>
                  <a:lnTo>
                    <a:pt x="462" y="190"/>
                  </a:lnTo>
                  <a:lnTo>
                    <a:pt x="462" y="190"/>
                  </a:lnTo>
                  <a:lnTo>
                    <a:pt x="460" y="190"/>
                  </a:lnTo>
                  <a:lnTo>
                    <a:pt x="460" y="190"/>
                  </a:lnTo>
                  <a:lnTo>
                    <a:pt x="456" y="190"/>
                  </a:lnTo>
                  <a:lnTo>
                    <a:pt x="452" y="188"/>
                  </a:lnTo>
                  <a:lnTo>
                    <a:pt x="452" y="186"/>
                  </a:lnTo>
                  <a:lnTo>
                    <a:pt x="452" y="186"/>
                  </a:lnTo>
                  <a:lnTo>
                    <a:pt x="454" y="183"/>
                  </a:lnTo>
                  <a:lnTo>
                    <a:pt x="454" y="183"/>
                  </a:lnTo>
                  <a:lnTo>
                    <a:pt x="452" y="181"/>
                  </a:lnTo>
                  <a:lnTo>
                    <a:pt x="450" y="181"/>
                  </a:lnTo>
                  <a:lnTo>
                    <a:pt x="448" y="179"/>
                  </a:lnTo>
                  <a:lnTo>
                    <a:pt x="448" y="179"/>
                  </a:lnTo>
                  <a:lnTo>
                    <a:pt x="448" y="179"/>
                  </a:lnTo>
                  <a:lnTo>
                    <a:pt x="442" y="181"/>
                  </a:lnTo>
                  <a:lnTo>
                    <a:pt x="440" y="181"/>
                  </a:lnTo>
                  <a:lnTo>
                    <a:pt x="440" y="181"/>
                  </a:lnTo>
                  <a:lnTo>
                    <a:pt x="432" y="186"/>
                  </a:lnTo>
                  <a:lnTo>
                    <a:pt x="429" y="188"/>
                  </a:lnTo>
                  <a:lnTo>
                    <a:pt x="425" y="186"/>
                  </a:lnTo>
                  <a:lnTo>
                    <a:pt x="423" y="186"/>
                  </a:lnTo>
                  <a:lnTo>
                    <a:pt x="419" y="186"/>
                  </a:lnTo>
                  <a:lnTo>
                    <a:pt x="415" y="186"/>
                  </a:lnTo>
                  <a:lnTo>
                    <a:pt x="413" y="186"/>
                  </a:lnTo>
                  <a:lnTo>
                    <a:pt x="411" y="186"/>
                  </a:lnTo>
                  <a:lnTo>
                    <a:pt x="409" y="186"/>
                  </a:lnTo>
                  <a:lnTo>
                    <a:pt x="405" y="188"/>
                  </a:lnTo>
                  <a:lnTo>
                    <a:pt x="403" y="190"/>
                  </a:lnTo>
                  <a:lnTo>
                    <a:pt x="405" y="192"/>
                  </a:lnTo>
                  <a:lnTo>
                    <a:pt x="403" y="192"/>
                  </a:lnTo>
                  <a:lnTo>
                    <a:pt x="401" y="192"/>
                  </a:lnTo>
                  <a:lnTo>
                    <a:pt x="399" y="192"/>
                  </a:lnTo>
                  <a:lnTo>
                    <a:pt x="399" y="192"/>
                  </a:lnTo>
                  <a:lnTo>
                    <a:pt x="397" y="192"/>
                  </a:lnTo>
                  <a:lnTo>
                    <a:pt x="395" y="192"/>
                  </a:lnTo>
                  <a:lnTo>
                    <a:pt x="393" y="192"/>
                  </a:lnTo>
                  <a:lnTo>
                    <a:pt x="393" y="192"/>
                  </a:lnTo>
                  <a:lnTo>
                    <a:pt x="388" y="192"/>
                  </a:lnTo>
                  <a:lnTo>
                    <a:pt x="386" y="192"/>
                  </a:lnTo>
                  <a:lnTo>
                    <a:pt x="384" y="192"/>
                  </a:lnTo>
                  <a:lnTo>
                    <a:pt x="384" y="190"/>
                  </a:lnTo>
                  <a:lnTo>
                    <a:pt x="384" y="190"/>
                  </a:lnTo>
                  <a:lnTo>
                    <a:pt x="388" y="190"/>
                  </a:lnTo>
                  <a:lnTo>
                    <a:pt x="388" y="190"/>
                  </a:lnTo>
                  <a:lnTo>
                    <a:pt x="390" y="190"/>
                  </a:lnTo>
                  <a:lnTo>
                    <a:pt x="393" y="188"/>
                  </a:lnTo>
                  <a:lnTo>
                    <a:pt x="390" y="188"/>
                  </a:lnTo>
                  <a:lnTo>
                    <a:pt x="388" y="186"/>
                  </a:lnTo>
                  <a:lnTo>
                    <a:pt x="388" y="183"/>
                  </a:lnTo>
                  <a:lnTo>
                    <a:pt x="388" y="183"/>
                  </a:lnTo>
                  <a:lnTo>
                    <a:pt x="388" y="183"/>
                  </a:lnTo>
                  <a:lnTo>
                    <a:pt x="390" y="181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6" y="181"/>
                  </a:lnTo>
                  <a:lnTo>
                    <a:pt x="388" y="181"/>
                  </a:lnTo>
                  <a:lnTo>
                    <a:pt x="395" y="179"/>
                  </a:lnTo>
                  <a:lnTo>
                    <a:pt x="395" y="179"/>
                  </a:lnTo>
                  <a:lnTo>
                    <a:pt x="390" y="179"/>
                  </a:lnTo>
                  <a:lnTo>
                    <a:pt x="386" y="179"/>
                  </a:lnTo>
                  <a:lnTo>
                    <a:pt x="382" y="181"/>
                  </a:lnTo>
                  <a:lnTo>
                    <a:pt x="376" y="183"/>
                  </a:lnTo>
                  <a:lnTo>
                    <a:pt x="372" y="186"/>
                  </a:lnTo>
                  <a:lnTo>
                    <a:pt x="372" y="186"/>
                  </a:lnTo>
                  <a:lnTo>
                    <a:pt x="374" y="186"/>
                  </a:lnTo>
                  <a:lnTo>
                    <a:pt x="376" y="188"/>
                  </a:lnTo>
                  <a:lnTo>
                    <a:pt x="376" y="188"/>
                  </a:lnTo>
                  <a:lnTo>
                    <a:pt x="376" y="190"/>
                  </a:lnTo>
                  <a:lnTo>
                    <a:pt x="374" y="190"/>
                  </a:lnTo>
                  <a:lnTo>
                    <a:pt x="374" y="190"/>
                  </a:lnTo>
                  <a:lnTo>
                    <a:pt x="374" y="190"/>
                  </a:lnTo>
                  <a:lnTo>
                    <a:pt x="372" y="190"/>
                  </a:lnTo>
                  <a:lnTo>
                    <a:pt x="372" y="190"/>
                  </a:lnTo>
                  <a:lnTo>
                    <a:pt x="372" y="190"/>
                  </a:lnTo>
                  <a:lnTo>
                    <a:pt x="372" y="188"/>
                  </a:lnTo>
                  <a:lnTo>
                    <a:pt x="370" y="188"/>
                  </a:lnTo>
                  <a:lnTo>
                    <a:pt x="368" y="188"/>
                  </a:lnTo>
                  <a:lnTo>
                    <a:pt x="368" y="188"/>
                  </a:lnTo>
                  <a:lnTo>
                    <a:pt x="364" y="188"/>
                  </a:lnTo>
                  <a:lnTo>
                    <a:pt x="362" y="190"/>
                  </a:lnTo>
                  <a:lnTo>
                    <a:pt x="358" y="190"/>
                  </a:lnTo>
                  <a:lnTo>
                    <a:pt x="356" y="190"/>
                  </a:lnTo>
                  <a:lnTo>
                    <a:pt x="354" y="190"/>
                  </a:lnTo>
                  <a:lnTo>
                    <a:pt x="351" y="192"/>
                  </a:lnTo>
                  <a:lnTo>
                    <a:pt x="349" y="192"/>
                  </a:lnTo>
                  <a:lnTo>
                    <a:pt x="345" y="194"/>
                  </a:lnTo>
                  <a:lnTo>
                    <a:pt x="337" y="198"/>
                  </a:lnTo>
                  <a:lnTo>
                    <a:pt x="335" y="198"/>
                  </a:lnTo>
                  <a:lnTo>
                    <a:pt x="335" y="198"/>
                  </a:lnTo>
                  <a:lnTo>
                    <a:pt x="333" y="198"/>
                  </a:lnTo>
                  <a:lnTo>
                    <a:pt x="333" y="198"/>
                  </a:lnTo>
                  <a:lnTo>
                    <a:pt x="333" y="198"/>
                  </a:lnTo>
                  <a:lnTo>
                    <a:pt x="335" y="200"/>
                  </a:lnTo>
                  <a:lnTo>
                    <a:pt x="335" y="200"/>
                  </a:lnTo>
                  <a:lnTo>
                    <a:pt x="333" y="200"/>
                  </a:lnTo>
                  <a:lnTo>
                    <a:pt x="329" y="200"/>
                  </a:lnTo>
                  <a:lnTo>
                    <a:pt x="325" y="202"/>
                  </a:lnTo>
                  <a:lnTo>
                    <a:pt x="325" y="202"/>
                  </a:lnTo>
                  <a:lnTo>
                    <a:pt x="325" y="204"/>
                  </a:lnTo>
                  <a:lnTo>
                    <a:pt x="325" y="206"/>
                  </a:lnTo>
                  <a:lnTo>
                    <a:pt x="325" y="206"/>
                  </a:lnTo>
                  <a:lnTo>
                    <a:pt x="325" y="210"/>
                  </a:lnTo>
                  <a:lnTo>
                    <a:pt x="325" y="212"/>
                  </a:lnTo>
                  <a:lnTo>
                    <a:pt x="323" y="212"/>
                  </a:lnTo>
                  <a:lnTo>
                    <a:pt x="312" y="214"/>
                  </a:lnTo>
                  <a:lnTo>
                    <a:pt x="312" y="214"/>
                  </a:lnTo>
                  <a:lnTo>
                    <a:pt x="310" y="214"/>
                  </a:lnTo>
                  <a:lnTo>
                    <a:pt x="310" y="214"/>
                  </a:lnTo>
                  <a:lnTo>
                    <a:pt x="308" y="214"/>
                  </a:lnTo>
                  <a:lnTo>
                    <a:pt x="306" y="214"/>
                  </a:lnTo>
                  <a:lnTo>
                    <a:pt x="304" y="214"/>
                  </a:lnTo>
                  <a:lnTo>
                    <a:pt x="304" y="212"/>
                  </a:lnTo>
                  <a:lnTo>
                    <a:pt x="302" y="212"/>
                  </a:lnTo>
                  <a:lnTo>
                    <a:pt x="298" y="208"/>
                  </a:lnTo>
                  <a:lnTo>
                    <a:pt x="292" y="206"/>
                  </a:lnTo>
                  <a:lnTo>
                    <a:pt x="290" y="206"/>
                  </a:lnTo>
                  <a:lnTo>
                    <a:pt x="290" y="204"/>
                  </a:lnTo>
                  <a:lnTo>
                    <a:pt x="290" y="204"/>
                  </a:lnTo>
                  <a:lnTo>
                    <a:pt x="294" y="200"/>
                  </a:lnTo>
                  <a:lnTo>
                    <a:pt x="296" y="200"/>
                  </a:lnTo>
                  <a:lnTo>
                    <a:pt x="302" y="198"/>
                  </a:lnTo>
                  <a:lnTo>
                    <a:pt x="306" y="198"/>
                  </a:lnTo>
                  <a:lnTo>
                    <a:pt x="308" y="198"/>
                  </a:lnTo>
                  <a:lnTo>
                    <a:pt x="308" y="196"/>
                  </a:lnTo>
                  <a:lnTo>
                    <a:pt x="304" y="194"/>
                  </a:lnTo>
                  <a:lnTo>
                    <a:pt x="300" y="192"/>
                  </a:lnTo>
                  <a:lnTo>
                    <a:pt x="296" y="188"/>
                  </a:lnTo>
                  <a:lnTo>
                    <a:pt x="292" y="188"/>
                  </a:lnTo>
                  <a:lnTo>
                    <a:pt x="286" y="186"/>
                  </a:lnTo>
                  <a:lnTo>
                    <a:pt x="275" y="188"/>
                  </a:lnTo>
                  <a:lnTo>
                    <a:pt x="273" y="188"/>
                  </a:lnTo>
                  <a:lnTo>
                    <a:pt x="267" y="186"/>
                  </a:lnTo>
                  <a:lnTo>
                    <a:pt x="265" y="186"/>
                  </a:lnTo>
                  <a:lnTo>
                    <a:pt x="265" y="186"/>
                  </a:lnTo>
                  <a:lnTo>
                    <a:pt x="265" y="186"/>
                  </a:lnTo>
                  <a:lnTo>
                    <a:pt x="265" y="186"/>
                  </a:lnTo>
                  <a:lnTo>
                    <a:pt x="275" y="190"/>
                  </a:lnTo>
                  <a:lnTo>
                    <a:pt x="278" y="192"/>
                  </a:lnTo>
                  <a:lnTo>
                    <a:pt x="278" y="194"/>
                  </a:lnTo>
                  <a:lnTo>
                    <a:pt x="278" y="194"/>
                  </a:lnTo>
                  <a:lnTo>
                    <a:pt x="278" y="194"/>
                  </a:lnTo>
                  <a:lnTo>
                    <a:pt x="278" y="196"/>
                  </a:lnTo>
                  <a:lnTo>
                    <a:pt x="278" y="200"/>
                  </a:lnTo>
                  <a:lnTo>
                    <a:pt x="278" y="204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8" y="208"/>
                  </a:lnTo>
                  <a:lnTo>
                    <a:pt x="280" y="208"/>
                  </a:lnTo>
                  <a:lnTo>
                    <a:pt x="284" y="210"/>
                  </a:lnTo>
                  <a:lnTo>
                    <a:pt x="286" y="210"/>
                  </a:lnTo>
                  <a:lnTo>
                    <a:pt x="286" y="212"/>
                  </a:lnTo>
                  <a:lnTo>
                    <a:pt x="286" y="214"/>
                  </a:lnTo>
                  <a:lnTo>
                    <a:pt x="288" y="216"/>
                  </a:lnTo>
                  <a:lnTo>
                    <a:pt x="286" y="218"/>
                  </a:lnTo>
                  <a:lnTo>
                    <a:pt x="286" y="220"/>
                  </a:lnTo>
                  <a:lnTo>
                    <a:pt x="284" y="223"/>
                  </a:lnTo>
                  <a:lnTo>
                    <a:pt x="286" y="225"/>
                  </a:lnTo>
                  <a:lnTo>
                    <a:pt x="286" y="227"/>
                  </a:lnTo>
                  <a:lnTo>
                    <a:pt x="286" y="227"/>
                  </a:lnTo>
                  <a:lnTo>
                    <a:pt x="284" y="227"/>
                  </a:lnTo>
                  <a:lnTo>
                    <a:pt x="284" y="225"/>
                  </a:lnTo>
                  <a:lnTo>
                    <a:pt x="282" y="225"/>
                  </a:lnTo>
                  <a:lnTo>
                    <a:pt x="282" y="225"/>
                  </a:lnTo>
                  <a:lnTo>
                    <a:pt x="280" y="225"/>
                  </a:lnTo>
                  <a:lnTo>
                    <a:pt x="278" y="225"/>
                  </a:lnTo>
                  <a:lnTo>
                    <a:pt x="278" y="225"/>
                  </a:lnTo>
                  <a:lnTo>
                    <a:pt x="280" y="223"/>
                  </a:lnTo>
                  <a:lnTo>
                    <a:pt x="278" y="223"/>
                  </a:lnTo>
                  <a:lnTo>
                    <a:pt x="278" y="223"/>
                  </a:lnTo>
                  <a:lnTo>
                    <a:pt x="273" y="220"/>
                  </a:lnTo>
                  <a:lnTo>
                    <a:pt x="271" y="220"/>
                  </a:lnTo>
                  <a:lnTo>
                    <a:pt x="267" y="220"/>
                  </a:lnTo>
                  <a:lnTo>
                    <a:pt x="265" y="220"/>
                  </a:lnTo>
                  <a:lnTo>
                    <a:pt x="263" y="218"/>
                  </a:lnTo>
                  <a:lnTo>
                    <a:pt x="261" y="218"/>
                  </a:lnTo>
                  <a:lnTo>
                    <a:pt x="261" y="218"/>
                  </a:lnTo>
                  <a:lnTo>
                    <a:pt x="259" y="220"/>
                  </a:lnTo>
                  <a:lnTo>
                    <a:pt x="257" y="223"/>
                  </a:lnTo>
                  <a:lnTo>
                    <a:pt x="253" y="225"/>
                  </a:lnTo>
                  <a:lnTo>
                    <a:pt x="249" y="227"/>
                  </a:lnTo>
                  <a:lnTo>
                    <a:pt x="245" y="227"/>
                  </a:lnTo>
                  <a:lnTo>
                    <a:pt x="245" y="227"/>
                  </a:lnTo>
                  <a:lnTo>
                    <a:pt x="243" y="229"/>
                  </a:lnTo>
                  <a:lnTo>
                    <a:pt x="241" y="231"/>
                  </a:lnTo>
                  <a:lnTo>
                    <a:pt x="234" y="233"/>
                  </a:lnTo>
                  <a:lnTo>
                    <a:pt x="234" y="235"/>
                  </a:lnTo>
                  <a:lnTo>
                    <a:pt x="234" y="235"/>
                  </a:lnTo>
                  <a:lnTo>
                    <a:pt x="236" y="237"/>
                  </a:lnTo>
                  <a:lnTo>
                    <a:pt x="236" y="239"/>
                  </a:lnTo>
                  <a:lnTo>
                    <a:pt x="241" y="241"/>
                  </a:lnTo>
                  <a:lnTo>
                    <a:pt x="243" y="243"/>
                  </a:lnTo>
                  <a:lnTo>
                    <a:pt x="245" y="245"/>
                  </a:lnTo>
                  <a:lnTo>
                    <a:pt x="247" y="247"/>
                  </a:lnTo>
                  <a:lnTo>
                    <a:pt x="245" y="247"/>
                  </a:lnTo>
                  <a:lnTo>
                    <a:pt x="243" y="247"/>
                  </a:lnTo>
                  <a:lnTo>
                    <a:pt x="241" y="247"/>
                  </a:lnTo>
                  <a:lnTo>
                    <a:pt x="239" y="247"/>
                  </a:lnTo>
                  <a:lnTo>
                    <a:pt x="239" y="249"/>
                  </a:lnTo>
                  <a:lnTo>
                    <a:pt x="239" y="249"/>
                  </a:lnTo>
                  <a:lnTo>
                    <a:pt x="236" y="249"/>
                  </a:lnTo>
                  <a:lnTo>
                    <a:pt x="228" y="247"/>
                  </a:lnTo>
                  <a:lnTo>
                    <a:pt x="224" y="247"/>
                  </a:lnTo>
                  <a:lnTo>
                    <a:pt x="222" y="247"/>
                  </a:lnTo>
                  <a:lnTo>
                    <a:pt x="220" y="245"/>
                  </a:lnTo>
                  <a:lnTo>
                    <a:pt x="220" y="245"/>
                  </a:lnTo>
                  <a:lnTo>
                    <a:pt x="218" y="245"/>
                  </a:lnTo>
                  <a:lnTo>
                    <a:pt x="216" y="245"/>
                  </a:lnTo>
                  <a:lnTo>
                    <a:pt x="216" y="245"/>
                  </a:lnTo>
                  <a:lnTo>
                    <a:pt x="210" y="241"/>
                  </a:lnTo>
                  <a:lnTo>
                    <a:pt x="204" y="239"/>
                  </a:lnTo>
                  <a:lnTo>
                    <a:pt x="204" y="239"/>
                  </a:lnTo>
                  <a:lnTo>
                    <a:pt x="202" y="241"/>
                  </a:lnTo>
                  <a:lnTo>
                    <a:pt x="200" y="243"/>
                  </a:lnTo>
                  <a:lnTo>
                    <a:pt x="200" y="245"/>
                  </a:lnTo>
                  <a:lnTo>
                    <a:pt x="197" y="243"/>
                  </a:lnTo>
                  <a:lnTo>
                    <a:pt x="197" y="245"/>
                  </a:lnTo>
                  <a:lnTo>
                    <a:pt x="197" y="247"/>
                  </a:lnTo>
                  <a:lnTo>
                    <a:pt x="200" y="247"/>
                  </a:lnTo>
                  <a:lnTo>
                    <a:pt x="202" y="247"/>
                  </a:lnTo>
                  <a:lnTo>
                    <a:pt x="206" y="251"/>
                  </a:lnTo>
                  <a:lnTo>
                    <a:pt x="208" y="253"/>
                  </a:lnTo>
                  <a:lnTo>
                    <a:pt x="208" y="253"/>
                  </a:lnTo>
                  <a:lnTo>
                    <a:pt x="210" y="253"/>
                  </a:lnTo>
                  <a:lnTo>
                    <a:pt x="214" y="253"/>
                  </a:lnTo>
                  <a:lnTo>
                    <a:pt x="216" y="253"/>
                  </a:lnTo>
                  <a:lnTo>
                    <a:pt x="216" y="253"/>
                  </a:lnTo>
                  <a:lnTo>
                    <a:pt x="218" y="255"/>
                  </a:lnTo>
                  <a:lnTo>
                    <a:pt x="218" y="258"/>
                  </a:lnTo>
                  <a:lnTo>
                    <a:pt x="220" y="260"/>
                  </a:lnTo>
                  <a:lnTo>
                    <a:pt x="218" y="260"/>
                  </a:lnTo>
                  <a:lnTo>
                    <a:pt x="214" y="262"/>
                  </a:lnTo>
                  <a:lnTo>
                    <a:pt x="212" y="262"/>
                  </a:lnTo>
                  <a:lnTo>
                    <a:pt x="212" y="262"/>
                  </a:lnTo>
                  <a:lnTo>
                    <a:pt x="206" y="262"/>
                  </a:lnTo>
                  <a:lnTo>
                    <a:pt x="204" y="260"/>
                  </a:lnTo>
                  <a:lnTo>
                    <a:pt x="197" y="260"/>
                  </a:lnTo>
                  <a:lnTo>
                    <a:pt x="197" y="260"/>
                  </a:lnTo>
                  <a:lnTo>
                    <a:pt x="195" y="255"/>
                  </a:lnTo>
                  <a:lnTo>
                    <a:pt x="189" y="253"/>
                  </a:lnTo>
                  <a:lnTo>
                    <a:pt x="187" y="253"/>
                  </a:lnTo>
                  <a:lnTo>
                    <a:pt x="185" y="253"/>
                  </a:lnTo>
                  <a:lnTo>
                    <a:pt x="183" y="253"/>
                  </a:lnTo>
                  <a:lnTo>
                    <a:pt x="181" y="251"/>
                  </a:lnTo>
                  <a:lnTo>
                    <a:pt x="177" y="249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79" y="247"/>
                  </a:lnTo>
                  <a:lnTo>
                    <a:pt x="177" y="247"/>
                  </a:lnTo>
                  <a:lnTo>
                    <a:pt x="177" y="245"/>
                  </a:lnTo>
                  <a:lnTo>
                    <a:pt x="175" y="243"/>
                  </a:lnTo>
                  <a:lnTo>
                    <a:pt x="173" y="241"/>
                  </a:lnTo>
                  <a:lnTo>
                    <a:pt x="171" y="239"/>
                  </a:lnTo>
                  <a:lnTo>
                    <a:pt x="169" y="237"/>
                  </a:lnTo>
                  <a:lnTo>
                    <a:pt x="171" y="235"/>
                  </a:lnTo>
                  <a:lnTo>
                    <a:pt x="171" y="235"/>
                  </a:lnTo>
                  <a:lnTo>
                    <a:pt x="173" y="233"/>
                  </a:lnTo>
                  <a:lnTo>
                    <a:pt x="173" y="231"/>
                  </a:lnTo>
                  <a:lnTo>
                    <a:pt x="173" y="231"/>
                  </a:lnTo>
                  <a:lnTo>
                    <a:pt x="173" y="231"/>
                  </a:lnTo>
                  <a:lnTo>
                    <a:pt x="173" y="229"/>
                  </a:lnTo>
                  <a:lnTo>
                    <a:pt x="171" y="229"/>
                  </a:lnTo>
                  <a:lnTo>
                    <a:pt x="167" y="225"/>
                  </a:lnTo>
                  <a:lnTo>
                    <a:pt x="163" y="223"/>
                  </a:lnTo>
                  <a:lnTo>
                    <a:pt x="156" y="223"/>
                  </a:lnTo>
                  <a:lnTo>
                    <a:pt x="154" y="223"/>
                  </a:lnTo>
                  <a:lnTo>
                    <a:pt x="154" y="223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4" y="218"/>
                  </a:lnTo>
                  <a:lnTo>
                    <a:pt x="152" y="218"/>
                  </a:lnTo>
                  <a:lnTo>
                    <a:pt x="150" y="218"/>
                  </a:lnTo>
                  <a:lnTo>
                    <a:pt x="152" y="216"/>
                  </a:lnTo>
                  <a:lnTo>
                    <a:pt x="150" y="216"/>
                  </a:lnTo>
                  <a:lnTo>
                    <a:pt x="148" y="216"/>
                  </a:lnTo>
                  <a:lnTo>
                    <a:pt x="146" y="216"/>
                  </a:lnTo>
                  <a:lnTo>
                    <a:pt x="146" y="214"/>
                  </a:lnTo>
                  <a:lnTo>
                    <a:pt x="144" y="214"/>
                  </a:lnTo>
                  <a:lnTo>
                    <a:pt x="142" y="212"/>
                  </a:lnTo>
                  <a:lnTo>
                    <a:pt x="142" y="210"/>
                  </a:lnTo>
                  <a:lnTo>
                    <a:pt x="140" y="210"/>
                  </a:lnTo>
                  <a:lnTo>
                    <a:pt x="138" y="210"/>
                  </a:lnTo>
                  <a:lnTo>
                    <a:pt x="136" y="208"/>
                  </a:lnTo>
                  <a:lnTo>
                    <a:pt x="134" y="208"/>
                  </a:lnTo>
                  <a:lnTo>
                    <a:pt x="140" y="208"/>
                  </a:lnTo>
                  <a:lnTo>
                    <a:pt x="146" y="210"/>
                  </a:lnTo>
                  <a:lnTo>
                    <a:pt x="146" y="210"/>
                  </a:lnTo>
                  <a:lnTo>
                    <a:pt x="146" y="210"/>
                  </a:lnTo>
                  <a:lnTo>
                    <a:pt x="148" y="212"/>
                  </a:lnTo>
                  <a:lnTo>
                    <a:pt x="150" y="214"/>
                  </a:lnTo>
                  <a:lnTo>
                    <a:pt x="154" y="214"/>
                  </a:lnTo>
                  <a:lnTo>
                    <a:pt x="154" y="214"/>
                  </a:lnTo>
                  <a:lnTo>
                    <a:pt x="156" y="214"/>
                  </a:lnTo>
                  <a:lnTo>
                    <a:pt x="158" y="214"/>
                  </a:lnTo>
                  <a:lnTo>
                    <a:pt x="158" y="216"/>
                  </a:lnTo>
                  <a:lnTo>
                    <a:pt x="163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8"/>
                  </a:lnTo>
                  <a:lnTo>
                    <a:pt x="169" y="218"/>
                  </a:lnTo>
                  <a:lnTo>
                    <a:pt x="171" y="216"/>
                  </a:lnTo>
                  <a:lnTo>
                    <a:pt x="179" y="220"/>
                  </a:lnTo>
                  <a:lnTo>
                    <a:pt x="179" y="220"/>
                  </a:lnTo>
                  <a:lnTo>
                    <a:pt x="191" y="223"/>
                  </a:lnTo>
                  <a:lnTo>
                    <a:pt x="195" y="223"/>
                  </a:lnTo>
                  <a:lnTo>
                    <a:pt x="197" y="223"/>
                  </a:lnTo>
                  <a:lnTo>
                    <a:pt x="202" y="223"/>
                  </a:lnTo>
                  <a:lnTo>
                    <a:pt x="206" y="225"/>
                  </a:lnTo>
                  <a:lnTo>
                    <a:pt x="210" y="225"/>
                  </a:lnTo>
                  <a:lnTo>
                    <a:pt x="216" y="227"/>
                  </a:lnTo>
                  <a:lnTo>
                    <a:pt x="220" y="227"/>
                  </a:lnTo>
                  <a:lnTo>
                    <a:pt x="226" y="225"/>
                  </a:lnTo>
                  <a:lnTo>
                    <a:pt x="236" y="223"/>
                  </a:lnTo>
                  <a:lnTo>
                    <a:pt x="241" y="220"/>
                  </a:lnTo>
                  <a:lnTo>
                    <a:pt x="247" y="214"/>
                  </a:lnTo>
                  <a:lnTo>
                    <a:pt x="247" y="212"/>
                  </a:lnTo>
                  <a:lnTo>
                    <a:pt x="249" y="208"/>
                  </a:lnTo>
                  <a:lnTo>
                    <a:pt x="247" y="208"/>
                  </a:lnTo>
                  <a:lnTo>
                    <a:pt x="247" y="208"/>
                  </a:lnTo>
                  <a:lnTo>
                    <a:pt x="245" y="206"/>
                  </a:lnTo>
                  <a:lnTo>
                    <a:pt x="245" y="204"/>
                  </a:lnTo>
                  <a:lnTo>
                    <a:pt x="243" y="204"/>
                  </a:lnTo>
                  <a:lnTo>
                    <a:pt x="241" y="200"/>
                  </a:lnTo>
                  <a:lnTo>
                    <a:pt x="239" y="200"/>
                  </a:lnTo>
                  <a:lnTo>
                    <a:pt x="236" y="198"/>
                  </a:lnTo>
                  <a:lnTo>
                    <a:pt x="234" y="198"/>
                  </a:lnTo>
                  <a:lnTo>
                    <a:pt x="232" y="198"/>
                  </a:lnTo>
                  <a:lnTo>
                    <a:pt x="230" y="196"/>
                  </a:lnTo>
                  <a:lnTo>
                    <a:pt x="228" y="196"/>
                  </a:lnTo>
                  <a:lnTo>
                    <a:pt x="226" y="194"/>
                  </a:lnTo>
                  <a:lnTo>
                    <a:pt x="226" y="194"/>
                  </a:lnTo>
                  <a:lnTo>
                    <a:pt x="224" y="194"/>
                  </a:lnTo>
                  <a:lnTo>
                    <a:pt x="226" y="194"/>
                  </a:lnTo>
                  <a:lnTo>
                    <a:pt x="226" y="194"/>
                  </a:lnTo>
                  <a:lnTo>
                    <a:pt x="222" y="194"/>
                  </a:lnTo>
                  <a:lnTo>
                    <a:pt x="214" y="190"/>
                  </a:lnTo>
                  <a:lnTo>
                    <a:pt x="212" y="190"/>
                  </a:lnTo>
                  <a:lnTo>
                    <a:pt x="212" y="190"/>
                  </a:lnTo>
                  <a:lnTo>
                    <a:pt x="208" y="190"/>
                  </a:lnTo>
                  <a:lnTo>
                    <a:pt x="208" y="190"/>
                  </a:lnTo>
                  <a:lnTo>
                    <a:pt x="200" y="186"/>
                  </a:lnTo>
                  <a:lnTo>
                    <a:pt x="185" y="179"/>
                  </a:lnTo>
                  <a:lnTo>
                    <a:pt x="175" y="177"/>
                  </a:lnTo>
                  <a:lnTo>
                    <a:pt x="169" y="175"/>
                  </a:lnTo>
                  <a:lnTo>
                    <a:pt x="167" y="175"/>
                  </a:lnTo>
                  <a:lnTo>
                    <a:pt x="167" y="175"/>
                  </a:lnTo>
                  <a:lnTo>
                    <a:pt x="165" y="177"/>
                  </a:lnTo>
                  <a:lnTo>
                    <a:pt x="163" y="175"/>
                  </a:lnTo>
                  <a:lnTo>
                    <a:pt x="156" y="175"/>
                  </a:lnTo>
                  <a:lnTo>
                    <a:pt x="154" y="175"/>
                  </a:lnTo>
                  <a:lnTo>
                    <a:pt x="148" y="175"/>
                  </a:lnTo>
                  <a:lnTo>
                    <a:pt x="148" y="175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4" y="179"/>
                  </a:lnTo>
                  <a:lnTo>
                    <a:pt x="144" y="177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6" y="173"/>
                  </a:lnTo>
                  <a:lnTo>
                    <a:pt x="144" y="173"/>
                  </a:lnTo>
                  <a:lnTo>
                    <a:pt x="144" y="173"/>
                  </a:lnTo>
                  <a:lnTo>
                    <a:pt x="140" y="173"/>
                  </a:lnTo>
                  <a:lnTo>
                    <a:pt x="140" y="173"/>
                  </a:lnTo>
                  <a:lnTo>
                    <a:pt x="140" y="173"/>
                  </a:lnTo>
                  <a:lnTo>
                    <a:pt x="140" y="173"/>
                  </a:lnTo>
                  <a:lnTo>
                    <a:pt x="140" y="173"/>
                  </a:lnTo>
                  <a:lnTo>
                    <a:pt x="136" y="173"/>
                  </a:lnTo>
                  <a:lnTo>
                    <a:pt x="134" y="173"/>
                  </a:lnTo>
                  <a:lnTo>
                    <a:pt x="132" y="171"/>
                  </a:lnTo>
                  <a:lnTo>
                    <a:pt x="130" y="171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8" y="171"/>
                  </a:lnTo>
                  <a:lnTo>
                    <a:pt x="140" y="171"/>
                  </a:lnTo>
                  <a:lnTo>
                    <a:pt x="140" y="169"/>
                  </a:lnTo>
                  <a:lnTo>
                    <a:pt x="140" y="169"/>
                  </a:lnTo>
                  <a:lnTo>
                    <a:pt x="140" y="169"/>
                  </a:lnTo>
                  <a:lnTo>
                    <a:pt x="138" y="169"/>
                  </a:lnTo>
                  <a:lnTo>
                    <a:pt x="134" y="167"/>
                  </a:lnTo>
                  <a:lnTo>
                    <a:pt x="132" y="167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28" y="167"/>
                  </a:lnTo>
                  <a:lnTo>
                    <a:pt x="128" y="167"/>
                  </a:lnTo>
                  <a:lnTo>
                    <a:pt x="126" y="167"/>
                  </a:lnTo>
                  <a:lnTo>
                    <a:pt x="126" y="167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2" y="169"/>
                  </a:lnTo>
                  <a:lnTo>
                    <a:pt x="117" y="167"/>
                  </a:lnTo>
                  <a:lnTo>
                    <a:pt x="115" y="167"/>
                  </a:lnTo>
                  <a:lnTo>
                    <a:pt x="115" y="169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3" y="171"/>
                  </a:lnTo>
                  <a:lnTo>
                    <a:pt x="109" y="171"/>
                  </a:lnTo>
                  <a:lnTo>
                    <a:pt x="107" y="169"/>
                  </a:lnTo>
                  <a:lnTo>
                    <a:pt x="107" y="169"/>
                  </a:lnTo>
                  <a:lnTo>
                    <a:pt x="107" y="169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7" y="173"/>
                  </a:lnTo>
                  <a:lnTo>
                    <a:pt x="107" y="173"/>
                  </a:lnTo>
                  <a:lnTo>
                    <a:pt x="105" y="173"/>
                  </a:lnTo>
                  <a:lnTo>
                    <a:pt x="103" y="173"/>
                  </a:lnTo>
                  <a:lnTo>
                    <a:pt x="99" y="175"/>
                  </a:lnTo>
                  <a:lnTo>
                    <a:pt x="99" y="175"/>
                  </a:lnTo>
                  <a:lnTo>
                    <a:pt x="97" y="177"/>
                  </a:lnTo>
                  <a:lnTo>
                    <a:pt x="97" y="179"/>
                  </a:lnTo>
                  <a:lnTo>
                    <a:pt x="97" y="179"/>
                  </a:lnTo>
                  <a:lnTo>
                    <a:pt x="95" y="179"/>
                  </a:lnTo>
                  <a:lnTo>
                    <a:pt x="93" y="179"/>
                  </a:lnTo>
                  <a:lnTo>
                    <a:pt x="91" y="179"/>
                  </a:lnTo>
                  <a:lnTo>
                    <a:pt x="91" y="181"/>
                  </a:lnTo>
                  <a:lnTo>
                    <a:pt x="89" y="181"/>
                  </a:lnTo>
                  <a:lnTo>
                    <a:pt x="89" y="181"/>
                  </a:lnTo>
                  <a:lnTo>
                    <a:pt x="91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3" y="183"/>
                  </a:lnTo>
                  <a:lnTo>
                    <a:pt x="93" y="183"/>
                  </a:lnTo>
                  <a:lnTo>
                    <a:pt x="91" y="188"/>
                  </a:lnTo>
                  <a:lnTo>
                    <a:pt x="91" y="188"/>
                  </a:lnTo>
                  <a:lnTo>
                    <a:pt x="91" y="190"/>
                  </a:lnTo>
                  <a:lnTo>
                    <a:pt x="93" y="192"/>
                  </a:lnTo>
                  <a:lnTo>
                    <a:pt x="97" y="194"/>
                  </a:lnTo>
                  <a:lnTo>
                    <a:pt x="101" y="194"/>
                  </a:lnTo>
                  <a:lnTo>
                    <a:pt x="103" y="196"/>
                  </a:lnTo>
                  <a:lnTo>
                    <a:pt x="107" y="200"/>
                  </a:lnTo>
                  <a:lnTo>
                    <a:pt x="109" y="200"/>
                  </a:lnTo>
                  <a:lnTo>
                    <a:pt x="109" y="200"/>
                  </a:lnTo>
                  <a:lnTo>
                    <a:pt x="109" y="202"/>
                  </a:lnTo>
                  <a:lnTo>
                    <a:pt x="107" y="204"/>
                  </a:lnTo>
                  <a:lnTo>
                    <a:pt x="105" y="206"/>
                  </a:lnTo>
                  <a:lnTo>
                    <a:pt x="103" y="208"/>
                  </a:lnTo>
                  <a:lnTo>
                    <a:pt x="103" y="210"/>
                  </a:lnTo>
                  <a:lnTo>
                    <a:pt x="101" y="212"/>
                  </a:lnTo>
                  <a:lnTo>
                    <a:pt x="101" y="212"/>
                  </a:lnTo>
                  <a:lnTo>
                    <a:pt x="101" y="212"/>
                  </a:lnTo>
                  <a:lnTo>
                    <a:pt x="101" y="214"/>
                  </a:lnTo>
                  <a:lnTo>
                    <a:pt x="103" y="216"/>
                  </a:lnTo>
                  <a:lnTo>
                    <a:pt x="105" y="216"/>
                  </a:lnTo>
                  <a:lnTo>
                    <a:pt x="107" y="218"/>
                  </a:lnTo>
                  <a:lnTo>
                    <a:pt x="107" y="220"/>
                  </a:lnTo>
                  <a:lnTo>
                    <a:pt x="109" y="220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11" y="225"/>
                  </a:lnTo>
                  <a:lnTo>
                    <a:pt x="113" y="225"/>
                  </a:lnTo>
                  <a:lnTo>
                    <a:pt x="113" y="227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15" y="233"/>
                  </a:lnTo>
                  <a:lnTo>
                    <a:pt x="115" y="233"/>
                  </a:lnTo>
                  <a:lnTo>
                    <a:pt x="113" y="233"/>
                  </a:lnTo>
                  <a:lnTo>
                    <a:pt x="111" y="233"/>
                  </a:lnTo>
                  <a:lnTo>
                    <a:pt x="111" y="233"/>
                  </a:lnTo>
                  <a:lnTo>
                    <a:pt x="113" y="235"/>
                  </a:lnTo>
                  <a:lnTo>
                    <a:pt x="111" y="235"/>
                  </a:lnTo>
                  <a:lnTo>
                    <a:pt x="111" y="237"/>
                  </a:lnTo>
                  <a:lnTo>
                    <a:pt x="111" y="239"/>
                  </a:lnTo>
                  <a:lnTo>
                    <a:pt x="111" y="239"/>
                  </a:lnTo>
                  <a:lnTo>
                    <a:pt x="111" y="239"/>
                  </a:lnTo>
                  <a:lnTo>
                    <a:pt x="111" y="239"/>
                  </a:lnTo>
                  <a:lnTo>
                    <a:pt x="113" y="239"/>
                  </a:lnTo>
                  <a:lnTo>
                    <a:pt x="113" y="241"/>
                  </a:lnTo>
                  <a:lnTo>
                    <a:pt x="113" y="241"/>
                  </a:lnTo>
                  <a:lnTo>
                    <a:pt x="113" y="241"/>
                  </a:lnTo>
                  <a:lnTo>
                    <a:pt x="113" y="241"/>
                  </a:lnTo>
                  <a:lnTo>
                    <a:pt x="111" y="243"/>
                  </a:lnTo>
                  <a:lnTo>
                    <a:pt x="111" y="243"/>
                  </a:lnTo>
                  <a:lnTo>
                    <a:pt x="111" y="243"/>
                  </a:lnTo>
                  <a:lnTo>
                    <a:pt x="113" y="245"/>
                  </a:lnTo>
                  <a:lnTo>
                    <a:pt x="113" y="245"/>
                  </a:lnTo>
                  <a:lnTo>
                    <a:pt x="115" y="247"/>
                  </a:lnTo>
                  <a:lnTo>
                    <a:pt x="117" y="247"/>
                  </a:lnTo>
                  <a:lnTo>
                    <a:pt x="119" y="247"/>
                  </a:lnTo>
                  <a:lnTo>
                    <a:pt x="119" y="247"/>
                  </a:lnTo>
                  <a:lnTo>
                    <a:pt x="119" y="249"/>
                  </a:lnTo>
                  <a:lnTo>
                    <a:pt x="117" y="249"/>
                  </a:lnTo>
                  <a:lnTo>
                    <a:pt x="117" y="251"/>
                  </a:lnTo>
                  <a:lnTo>
                    <a:pt x="119" y="251"/>
                  </a:lnTo>
                  <a:lnTo>
                    <a:pt x="119" y="253"/>
                  </a:lnTo>
                  <a:lnTo>
                    <a:pt x="124" y="255"/>
                  </a:lnTo>
                  <a:lnTo>
                    <a:pt x="124" y="255"/>
                  </a:lnTo>
                  <a:lnTo>
                    <a:pt x="126" y="255"/>
                  </a:lnTo>
                  <a:lnTo>
                    <a:pt x="126" y="258"/>
                  </a:lnTo>
                  <a:lnTo>
                    <a:pt x="126" y="258"/>
                  </a:lnTo>
                  <a:lnTo>
                    <a:pt x="126" y="260"/>
                  </a:lnTo>
                  <a:lnTo>
                    <a:pt x="124" y="260"/>
                  </a:lnTo>
                  <a:lnTo>
                    <a:pt x="122" y="262"/>
                  </a:lnTo>
                  <a:lnTo>
                    <a:pt x="119" y="264"/>
                  </a:lnTo>
                  <a:lnTo>
                    <a:pt x="119" y="264"/>
                  </a:lnTo>
                  <a:lnTo>
                    <a:pt x="119" y="264"/>
                  </a:lnTo>
                  <a:lnTo>
                    <a:pt x="126" y="268"/>
                  </a:lnTo>
                  <a:lnTo>
                    <a:pt x="128" y="270"/>
                  </a:lnTo>
                  <a:lnTo>
                    <a:pt x="134" y="270"/>
                  </a:lnTo>
                  <a:lnTo>
                    <a:pt x="136" y="272"/>
                  </a:lnTo>
                  <a:lnTo>
                    <a:pt x="136" y="274"/>
                  </a:lnTo>
                  <a:lnTo>
                    <a:pt x="138" y="274"/>
                  </a:lnTo>
                  <a:lnTo>
                    <a:pt x="140" y="276"/>
                  </a:lnTo>
                  <a:lnTo>
                    <a:pt x="140" y="276"/>
                  </a:lnTo>
                  <a:lnTo>
                    <a:pt x="140" y="276"/>
                  </a:lnTo>
                  <a:lnTo>
                    <a:pt x="140" y="278"/>
                  </a:lnTo>
                  <a:lnTo>
                    <a:pt x="140" y="280"/>
                  </a:lnTo>
                  <a:lnTo>
                    <a:pt x="140" y="280"/>
                  </a:lnTo>
                  <a:lnTo>
                    <a:pt x="138" y="282"/>
                  </a:lnTo>
                  <a:lnTo>
                    <a:pt x="138" y="284"/>
                  </a:lnTo>
                  <a:lnTo>
                    <a:pt x="136" y="286"/>
                  </a:lnTo>
                  <a:lnTo>
                    <a:pt x="130" y="290"/>
                  </a:lnTo>
                  <a:lnTo>
                    <a:pt x="130" y="290"/>
                  </a:lnTo>
                  <a:lnTo>
                    <a:pt x="128" y="292"/>
                  </a:lnTo>
                  <a:lnTo>
                    <a:pt x="124" y="297"/>
                  </a:lnTo>
                  <a:lnTo>
                    <a:pt x="124" y="297"/>
                  </a:lnTo>
                  <a:lnTo>
                    <a:pt x="122" y="301"/>
                  </a:lnTo>
                  <a:lnTo>
                    <a:pt x="119" y="301"/>
                  </a:lnTo>
                  <a:lnTo>
                    <a:pt x="119" y="301"/>
                  </a:lnTo>
                  <a:lnTo>
                    <a:pt x="115" y="305"/>
                  </a:lnTo>
                  <a:lnTo>
                    <a:pt x="113" y="307"/>
                  </a:lnTo>
                  <a:lnTo>
                    <a:pt x="109" y="307"/>
                  </a:lnTo>
                  <a:lnTo>
                    <a:pt x="109" y="309"/>
                  </a:lnTo>
                  <a:lnTo>
                    <a:pt x="107" y="309"/>
                  </a:lnTo>
                  <a:lnTo>
                    <a:pt x="107" y="311"/>
                  </a:lnTo>
                  <a:lnTo>
                    <a:pt x="105" y="311"/>
                  </a:lnTo>
                  <a:lnTo>
                    <a:pt x="103" y="313"/>
                  </a:lnTo>
                  <a:lnTo>
                    <a:pt x="99" y="317"/>
                  </a:lnTo>
                  <a:lnTo>
                    <a:pt x="103" y="315"/>
                  </a:lnTo>
                  <a:lnTo>
                    <a:pt x="107" y="315"/>
                  </a:lnTo>
                  <a:lnTo>
                    <a:pt x="109" y="315"/>
                  </a:lnTo>
                  <a:lnTo>
                    <a:pt x="109" y="315"/>
                  </a:lnTo>
                  <a:lnTo>
                    <a:pt x="109" y="317"/>
                  </a:lnTo>
                  <a:lnTo>
                    <a:pt x="109" y="317"/>
                  </a:lnTo>
                  <a:lnTo>
                    <a:pt x="107" y="317"/>
                  </a:lnTo>
                  <a:lnTo>
                    <a:pt x="109" y="317"/>
                  </a:lnTo>
                  <a:lnTo>
                    <a:pt x="109" y="319"/>
                  </a:lnTo>
                  <a:lnTo>
                    <a:pt x="113" y="319"/>
                  </a:lnTo>
                  <a:lnTo>
                    <a:pt x="115" y="323"/>
                  </a:lnTo>
                  <a:lnTo>
                    <a:pt x="119" y="323"/>
                  </a:lnTo>
                  <a:lnTo>
                    <a:pt x="122" y="321"/>
                  </a:lnTo>
                  <a:lnTo>
                    <a:pt x="124" y="323"/>
                  </a:lnTo>
                  <a:lnTo>
                    <a:pt x="126" y="323"/>
                  </a:lnTo>
                  <a:lnTo>
                    <a:pt x="128" y="325"/>
                  </a:lnTo>
                  <a:lnTo>
                    <a:pt x="130" y="325"/>
                  </a:lnTo>
                  <a:lnTo>
                    <a:pt x="132" y="325"/>
                  </a:lnTo>
                  <a:lnTo>
                    <a:pt x="132" y="327"/>
                  </a:lnTo>
                  <a:lnTo>
                    <a:pt x="130" y="327"/>
                  </a:lnTo>
                  <a:lnTo>
                    <a:pt x="124" y="325"/>
                  </a:lnTo>
                  <a:lnTo>
                    <a:pt x="117" y="325"/>
                  </a:lnTo>
                  <a:lnTo>
                    <a:pt x="117" y="325"/>
                  </a:lnTo>
                  <a:lnTo>
                    <a:pt x="115" y="327"/>
                  </a:lnTo>
                  <a:lnTo>
                    <a:pt x="115" y="327"/>
                  </a:lnTo>
                  <a:lnTo>
                    <a:pt x="115" y="329"/>
                  </a:lnTo>
                  <a:lnTo>
                    <a:pt x="113" y="329"/>
                  </a:lnTo>
                  <a:lnTo>
                    <a:pt x="113" y="329"/>
                  </a:lnTo>
                  <a:lnTo>
                    <a:pt x="111" y="329"/>
                  </a:lnTo>
                  <a:lnTo>
                    <a:pt x="109" y="327"/>
                  </a:lnTo>
                  <a:lnTo>
                    <a:pt x="109" y="329"/>
                  </a:lnTo>
                  <a:lnTo>
                    <a:pt x="109" y="329"/>
                  </a:lnTo>
                  <a:lnTo>
                    <a:pt x="107" y="332"/>
                  </a:lnTo>
                  <a:lnTo>
                    <a:pt x="105" y="329"/>
                  </a:lnTo>
                  <a:lnTo>
                    <a:pt x="105" y="329"/>
                  </a:lnTo>
                  <a:lnTo>
                    <a:pt x="103" y="329"/>
                  </a:lnTo>
                  <a:lnTo>
                    <a:pt x="103" y="329"/>
                  </a:lnTo>
                  <a:lnTo>
                    <a:pt x="103" y="332"/>
                  </a:lnTo>
                  <a:lnTo>
                    <a:pt x="105" y="334"/>
                  </a:lnTo>
                  <a:lnTo>
                    <a:pt x="103" y="334"/>
                  </a:lnTo>
                  <a:lnTo>
                    <a:pt x="105" y="336"/>
                  </a:lnTo>
                  <a:lnTo>
                    <a:pt x="105" y="336"/>
                  </a:lnTo>
                  <a:lnTo>
                    <a:pt x="105" y="336"/>
                  </a:lnTo>
                  <a:lnTo>
                    <a:pt x="105" y="336"/>
                  </a:lnTo>
                  <a:lnTo>
                    <a:pt x="105" y="336"/>
                  </a:lnTo>
                  <a:lnTo>
                    <a:pt x="105" y="338"/>
                  </a:lnTo>
                  <a:lnTo>
                    <a:pt x="105" y="338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3" y="340"/>
                  </a:lnTo>
                  <a:lnTo>
                    <a:pt x="101" y="342"/>
                  </a:lnTo>
                  <a:lnTo>
                    <a:pt x="99" y="344"/>
                  </a:lnTo>
                  <a:lnTo>
                    <a:pt x="99" y="344"/>
                  </a:lnTo>
                  <a:lnTo>
                    <a:pt x="99" y="346"/>
                  </a:lnTo>
                  <a:lnTo>
                    <a:pt x="97" y="346"/>
                  </a:lnTo>
                  <a:lnTo>
                    <a:pt x="97" y="348"/>
                  </a:lnTo>
                  <a:lnTo>
                    <a:pt x="99" y="352"/>
                  </a:lnTo>
                  <a:lnTo>
                    <a:pt x="99" y="352"/>
                  </a:lnTo>
                  <a:lnTo>
                    <a:pt x="99" y="354"/>
                  </a:lnTo>
                  <a:lnTo>
                    <a:pt x="99" y="354"/>
                  </a:lnTo>
                  <a:lnTo>
                    <a:pt x="99" y="356"/>
                  </a:lnTo>
                  <a:lnTo>
                    <a:pt x="101" y="356"/>
                  </a:lnTo>
                  <a:lnTo>
                    <a:pt x="103" y="358"/>
                  </a:lnTo>
                  <a:lnTo>
                    <a:pt x="103" y="360"/>
                  </a:lnTo>
                  <a:lnTo>
                    <a:pt x="103" y="360"/>
                  </a:lnTo>
                  <a:lnTo>
                    <a:pt x="103" y="362"/>
                  </a:lnTo>
                  <a:lnTo>
                    <a:pt x="105" y="362"/>
                  </a:lnTo>
                  <a:lnTo>
                    <a:pt x="105" y="362"/>
                  </a:lnTo>
                  <a:lnTo>
                    <a:pt x="103" y="362"/>
                  </a:lnTo>
                  <a:lnTo>
                    <a:pt x="101" y="362"/>
                  </a:lnTo>
                  <a:lnTo>
                    <a:pt x="101" y="364"/>
                  </a:lnTo>
                  <a:lnTo>
                    <a:pt x="101" y="364"/>
                  </a:lnTo>
                  <a:lnTo>
                    <a:pt x="99" y="364"/>
                  </a:lnTo>
                  <a:lnTo>
                    <a:pt x="99" y="366"/>
                  </a:lnTo>
                  <a:lnTo>
                    <a:pt x="99" y="366"/>
                  </a:lnTo>
                  <a:lnTo>
                    <a:pt x="99" y="366"/>
                  </a:lnTo>
                  <a:lnTo>
                    <a:pt x="101" y="369"/>
                  </a:lnTo>
                  <a:lnTo>
                    <a:pt x="101" y="369"/>
                  </a:lnTo>
                  <a:lnTo>
                    <a:pt x="101" y="369"/>
                  </a:lnTo>
                  <a:lnTo>
                    <a:pt x="103" y="371"/>
                  </a:lnTo>
                  <a:lnTo>
                    <a:pt x="105" y="371"/>
                  </a:lnTo>
                  <a:lnTo>
                    <a:pt x="105" y="371"/>
                  </a:lnTo>
                  <a:lnTo>
                    <a:pt x="107" y="373"/>
                  </a:lnTo>
                  <a:lnTo>
                    <a:pt x="107" y="373"/>
                  </a:lnTo>
                  <a:lnTo>
                    <a:pt x="105" y="373"/>
                  </a:lnTo>
                  <a:lnTo>
                    <a:pt x="105" y="375"/>
                  </a:lnTo>
                  <a:lnTo>
                    <a:pt x="105" y="375"/>
                  </a:lnTo>
                  <a:lnTo>
                    <a:pt x="105" y="377"/>
                  </a:lnTo>
                  <a:lnTo>
                    <a:pt x="105" y="379"/>
                  </a:lnTo>
                  <a:lnTo>
                    <a:pt x="105" y="379"/>
                  </a:lnTo>
                  <a:lnTo>
                    <a:pt x="107" y="379"/>
                  </a:lnTo>
                  <a:lnTo>
                    <a:pt x="107" y="379"/>
                  </a:lnTo>
                  <a:lnTo>
                    <a:pt x="107" y="379"/>
                  </a:lnTo>
                  <a:lnTo>
                    <a:pt x="107" y="381"/>
                  </a:lnTo>
                  <a:lnTo>
                    <a:pt x="109" y="381"/>
                  </a:lnTo>
                  <a:lnTo>
                    <a:pt x="109" y="383"/>
                  </a:lnTo>
                  <a:lnTo>
                    <a:pt x="109" y="383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7"/>
                  </a:lnTo>
                  <a:lnTo>
                    <a:pt x="113" y="389"/>
                  </a:lnTo>
                  <a:lnTo>
                    <a:pt x="113" y="389"/>
                  </a:lnTo>
                  <a:lnTo>
                    <a:pt x="113" y="391"/>
                  </a:lnTo>
                  <a:lnTo>
                    <a:pt x="113" y="391"/>
                  </a:lnTo>
                  <a:lnTo>
                    <a:pt x="115" y="393"/>
                  </a:lnTo>
                  <a:lnTo>
                    <a:pt x="115" y="393"/>
                  </a:lnTo>
                  <a:lnTo>
                    <a:pt x="115" y="393"/>
                  </a:lnTo>
                  <a:lnTo>
                    <a:pt x="115" y="391"/>
                  </a:lnTo>
                  <a:lnTo>
                    <a:pt x="117" y="391"/>
                  </a:lnTo>
                  <a:lnTo>
                    <a:pt x="119" y="393"/>
                  </a:lnTo>
                  <a:lnTo>
                    <a:pt x="119" y="393"/>
                  </a:lnTo>
                  <a:lnTo>
                    <a:pt x="122" y="395"/>
                  </a:lnTo>
                  <a:lnTo>
                    <a:pt x="122" y="395"/>
                  </a:lnTo>
                  <a:lnTo>
                    <a:pt x="124" y="393"/>
                  </a:lnTo>
                  <a:lnTo>
                    <a:pt x="124" y="393"/>
                  </a:lnTo>
                  <a:lnTo>
                    <a:pt x="126" y="393"/>
                  </a:lnTo>
                  <a:lnTo>
                    <a:pt x="128" y="395"/>
                  </a:lnTo>
                  <a:lnTo>
                    <a:pt x="130" y="395"/>
                  </a:lnTo>
                  <a:lnTo>
                    <a:pt x="130" y="395"/>
                  </a:lnTo>
                  <a:lnTo>
                    <a:pt x="130" y="395"/>
                  </a:lnTo>
                  <a:lnTo>
                    <a:pt x="130" y="397"/>
                  </a:lnTo>
                  <a:lnTo>
                    <a:pt x="130" y="397"/>
                  </a:lnTo>
                  <a:lnTo>
                    <a:pt x="130" y="399"/>
                  </a:lnTo>
                  <a:lnTo>
                    <a:pt x="132" y="399"/>
                  </a:lnTo>
                  <a:lnTo>
                    <a:pt x="134" y="397"/>
                  </a:lnTo>
                  <a:lnTo>
                    <a:pt x="134" y="397"/>
                  </a:lnTo>
                  <a:lnTo>
                    <a:pt x="134" y="397"/>
                  </a:lnTo>
                  <a:lnTo>
                    <a:pt x="136" y="397"/>
                  </a:lnTo>
                  <a:lnTo>
                    <a:pt x="136" y="397"/>
                  </a:lnTo>
                  <a:lnTo>
                    <a:pt x="138" y="397"/>
                  </a:lnTo>
                  <a:lnTo>
                    <a:pt x="138" y="397"/>
                  </a:lnTo>
                  <a:lnTo>
                    <a:pt x="142" y="397"/>
                  </a:lnTo>
                  <a:lnTo>
                    <a:pt x="144" y="397"/>
                  </a:lnTo>
                  <a:lnTo>
                    <a:pt x="144" y="397"/>
                  </a:lnTo>
                  <a:lnTo>
                    <a:pt x="146" y="399"/>
                  </a:lnTo>
                  <a:lnTo>
                    <a:pt x="146" y="399"/>
                  </a:lnTo>
                  <a:lnTo>
                    <a:pt x="148" y="399"/>
                  </a:lnTo>
                  <a:lnTo>
                    <a:pt x="148" y="399"/>
                  </a:lnTo>
                  <a:lnTo>
                    <a:pt x="148" y="401"/>
                  </a:lnTo>
                  <a:lnTo>
                    <a:pt x="150" y="401"/>
                  </a:lnTo>
                  <a:lnTo>
                    <a:pt x="150" y="401"/>
                  </a:lnTo>
                  <a:lnTo>
                    <a:pt x="150" y="401"/>
                  </a:lnTo>
                  <a:lnTo>
                    <a:pt x="150" y="401"/>
                  </a:lnTo>
                  <a:lnTo>
                    <a:pt x="150" y="403"/>
                  </a:lnTo>
                  <a:lnTo>
                    <a:pt x="150" y="406"/>
                  </a:lnTo>
                  <a:lnTo>
                    <a:pt x="150" y="406"/>
                  </a:lnTo>
                  <a:lnTo>
                    <a:pt x="150" y="406"/>
                  </a:lnTo>
                  <a:lnTo>
                    <a:pt x="150" y="406"/>
                  </a:lnTo>
                  <a:lnTo>
                    <a:pt x="150" y="408"/>
                  </a:lnTo>
                  <a:lnTo>
                    <a:pt x="152" y="408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52" y="412"/>
                  </a:lnTo>
                  <a:lnTo>
                    <a:pt x="150" y="412"/>
                  </a:lnTo>
                  <a:lnTo>
                    <a:pt x="150" y="414"/>
                  </a:lnTo>
                  <a:lnTo>
                    <a:pt x="150" y="414"/>
                  </a:lnTo>
                  <a:lnTo>
                    <a:pt x="150" y="414"/>
                  </a:lnTo>
                  <a:lnTo>
                    <a:pt x="154" y="416"/>
                  </a:lnTo>
                  <a:lnTo>
                    <a:pt x="156" y="418"/>
                  </a:lnTo>
                  <a:lnTo>
                    <a:pt x="156" y="418"/>
                  </a:lnTo>
                  <a:lnTo>
                    <a:pt x="156" y="418"/>
                  </a:lnTo>
                  <a:lnTo>
                    <a:pt x="156" y="420"/>
                  </a:lnTo>
                  <a:lnTo>
                    <a:pt x="156" y="420"/>
                  </a:lnTo>
                  <a:lnTo>
                    <a:pt x="156" y="420"/>
                  </a:lnTo>
                  <a:lnTo>
                    <a:pt x="158" y="422"/>
                  </a:lnTo>
                  <a:lnTo>
                    <a:pt x="158" y="424"/>
                  </a:lnTo>
                  <a:lnTo>
                    <a:pt x="161" y="424"/>
                  </a:lnTo>
                  <a:lnTo>
                    <a:pt x="165" y="426"/>
                  </a:lnTo>
                  <a:lnTo>
                    <a:pt x="167" y="428"/>
                  </a:lnTo>
                  <a:lnTo>
                    <a:pt x="167" y="428"/>
                  </a:lnTo>
                  <a:lnTo>
                    <a:pt x="167" y="428"/>
                  </a:lnTo>
                  <a:lnTo>
                    <a:pt x="167" y="430"/>
                  </a:lnTo>
                  <a:lnTo>
                    <a:pt x="167" y="430"/>
                  </a:lnTo>
                  <a:lnTo>
                    <a:pt x="167" y="432"/>
                  </a:lnTo>
                  <a:lnTo>
                    <a:pt x="167" y="432"/>
                  </a:lnTo>
                  <a:lnTo>
                    <a:pt x="169" y="432"/>
                  </a:lnTo>
                  <a:lnTo>
                    <a:pt x="173" y="432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5" y="434"/>
                  </a:lnTo>
                  <a:lnTo>
                    <a:pt x="177" y="436"/>
                  </a:lnTo>
                  <a:lnTo>
                    <a:pt x="177" y="436"/>
                  </a:lnTo>
                  <a:lnTo>
                    <a:pt x="179" y="438"/>
                  </a:lnTo>
                  <a:lnTo>
                    <a:pt x="181" y="438"/>
                  </a:lnTo>
                  <a:lnTo>
                    <a:pt x="181" y="438"/>
                  </a:lnTo>
                  <a:lnTo>
                    <a:pt x="181" y="440"/>
                  </a:lnTo>
                  <a:lnTo>
                    <a:pt x="179" y="440"/>
                  </a:lnTo>
                  <a:lnTo>
                    <a:pt x="179" y="440"/>
                  </a:lnTo>
                  <a:lnTo>
                    <a:pt x="177" y="440"/>
                  </a:lnTo>
                  <a:lnTo>
                    <a:pt x="177" y="443"/>
                  </a:lnTo>
                  <a:lnTo>
                    <a:pt x="175" y="443"/>
                  </a:lnTo>
                  <a:lnTo>
                    <a:pt x="173" y="445"/>
                  </a:lnTo>
                  <a:lnTo>
                    <a:pt x="173" y="445"/>
                  </a:lnTo>
                  <a:lnTo>
                    <a:pt x="169" y="445"/>
                  </a:lnTo>
                  <a:lnTo>
                    <a:pt x="169" y="443"/>
                  </a:lnTo>
                  <a:lnTo>
                    <a:pt x="167" y="443"/>
                  </a:lnTo>
                  <a:lnTo>
                    <a:pt x="167" y="443"/>
                  </a:lnTo>
                  <a:lnTo>
                    <a:pt x="165" y="443"/>
                  </a:lnTo>
                  <a:lnTo>
                    <a:pt x="163" y="443"/>
                  </a:lnTo>
                  <a:lnTo>
                    <a:pt x="163" y="443"/>
                  </a:lnTo>
                  <a:lnTo>
                    <a:pt x="163" y="443"/>
                  </a:lnTo>
                  <a:lnTo>
                    <a:pt x="163" y="445"/>
                  </a:lnTo>
                  <a:lnTo>
                    <a:pt x="161" y="445"/>
                  </a:lnTo>
                  <a:lnTo>
                    <a:pt x="163" y="447"/>
                  </a:lnTo>
                  <a:lnTo>
                    <a:pt x="163" y="447"/>
                  </a:lnTo>
                  <a:lnTo>
                    <a:pt x="165" y="449"/>
                  </a:lnTo>
                  <a:lnTo>
                    <a:pt x="165" y="449"/>
                  </a:lnTo>
                  <a:lnTo>
                    <a:pt x="167" y="451"/>
                  </a:lnTo>
                  <a:lnTo>
                    <a:pt x="167" y="451"/>
                  </a:lnTo>
                  <a:lnTo>
                    <a:pt x="165" y="451"/>
                  </a:lnTo>
                  <a:lnTo>
                    <a:pt x="167" y="453"/>
                  </a:lnTo>
                  <a:lnTo>
                    <a:pt x="167" y="453"/>
                  </a:lnTo>
                  <a:lnTo>
                    <a:pt x="167" y="455"/>
                  </a:lnTo>
                  <a:lnTo>
                    <a:pt x="167" y="455"/>
                  </a:lnTo>
                  <a:lnTo>
                    <a:pt x="167" y="457"/>
                  </a:lnTo>
                  <a:lnTo>
                    <a:pt x="167" y="459"/>
                  </a:lnTo>
                  <a:lnTo>
                    <a:pt x="169" y="459"/>
                  </a:lnTo>
                  <a:lnTo>
                    <a:pt x="169" y="459"/>
                  </a:lnTo>
                  <a:lnTo>
                    <a:pt x="171" y="461"/>
                  </a:lnTo>
                  <a:lnTo>
                    <a:pt x="171" y="461"/>
                  </a:lnTo>
                  <a:lnTo>
                    <a:pt x="171" y="461"/>
                  </a:lnTo>
                  <a:lnTo>
                    <a:pt x="171" y="463"/>
                  </a:lnTo>
                  <a:lnTo>
                    <a:pt x="173" y="463"/>
                  </a:lnTo>
                  <a:lnTo>
                    <a:pt x="175" y="463"/>
                  </a:lnTo>
                  <a:lnTo>
                    <a:pt x="175" y="463"/>
                  </a:lnTo>
                  <a:lnTo>
                    <a:pt x="177" y="461"/>
                  </a:lnTo>
                  <a:lnTo>
                    <a:pt x="177" y="461"/>
                  </a:lnTo>
                  <a:lnTo>
                    <a:pt x="179" y="459"/>
                  </a:lnTo>
                  <a:lnTo>
                    <a:pt x="179" y="459"/>
                  </a:lnTo>
                  <a:lnTo>
                    <a:pt x="179" y="457"/>
                  </a:lnTo>
                  <a:lnTo>
                    <a:pt x="179" y="457"/>
                  </a:lnTo>
                  <a:lnTo>
                    <a:pt x="181" y="459"/>
                  </a:lnTo>
                  <a:lnTo>
                    <a:pt x="185" y="459"/>
                  </a:lnTo>
                  <a:lnTo>
                    <a:pt x="185" y="459"/>
                  </a:lnTo>
                  <a:lnTo>
                    <a:pt x="189" y="457"/>
                  </a:lnTo>
                  <a:lnTo>
                    <a:pt x="191" y="457"/>
                  </a:lnTo>
                  <a:lnTo>
                    <a:pt x="193" y="457"/>
                  </a:lnTo>
                  <a:lnTo>
                    <a:pt x="195" y="457"/>
                  </a:lnTo>
                  <a:lnTo>
                    <a:pt x="197" y="457"/>
                  </a:lnTo>
                  <a:lnTo>
                    <a:pt x="197" y="457"/>
                  </a:lnTo>
                  <a:lnTo>
                    <a:pt x="200" y="459"/>
                  </a:lnTo>
                  <a:lnTo>
                    <a:pt x="202" y="461"/>
                  </a:lnTo>
                  <a:lnTo>
                    <a:pt x="204" y="463"/>
                  </a:lnTo>
                  <a:lnTo>
                    <a:pt x="208" y="467"/>
                  </a:lnTo>
                  <a:lnTo>
                    <a:pt x="208" y="467"/>
                  </a:lnTo>
                  <a:lnTo>
                    <a:pt x="208" y="469"/>
                  </a:lnTo>
                  <a:lnTo>
                    <a:pt x="206" y="469"/>
                  </a:lnTo>
                  <a:lnTo>
                    <a:pt x="204" y="469"/>
                  </a:lnTo>
                  <a:lnTo>
                    <a:pt x="204" y="469"/>
                  </a:lnTo>
                  <a:lnTo>
                    <a:pt x="204" y="469"/>
                  </a:lnTo>
                  <a:lnTo>
                    <a:pt x="206" y="471"/>
                  </a:lnTo>
                  <a:lnTo>
                    <a:pt x="206" y="473"/>
                  </a:lnTo>
                  <a:lnTo>
                    <a:pt x="206" y="473"/>
                  </a:lnTo>
                  <a:lnTo>
                    <a:pt x="206" y="475"/>
                  </a:lnTo>
                  <a:lnTo>
                    <a:pt x="208" y="475"/>
                  </a:lnTo>
                  <a:lnTo>
                    <a:pt x="208" y="475"/>
                  </a:lnTo>
                  <a:lnTo>
                    <a:pt x="206" y="475"/>
                  </a:lnTo>
                  <a:lnTo>
                    <a:pt x="206" y="478"/>
                  </a:lnTo>
                  <a:lnTo>
                    <a:pt x="206" y="478"/>
                  </a:lnTo>
                  <a:lnTo>
                    <a:pt x="210" y="478"/>
                  </a:lnTo>
                  <a:lnTo>
                    <a:pt x="212" y="478"/>
                  </a:lnTo>
                  <a:lnTo>
                    <a:pt x="214" y="478"/>
                  </a:lnTo>
                  <a:lnTo>
                    <a:pt x="214" y="478"/>
                  </a:lnTo>
                  <a:lnTo>
                    <a:pt x="216" y="478"/>
                  </a:lnTo>
                  <a:lnTo>
                    <a:pt x="218" y="478"/>
                  </a:lnTo>
                  <a:lnTo>
                    <a:pt x="218" y="478"/>
                  </a:lnTo>
                  <a:lnTo>
                    <a:pt x="218" y="478"/>
                  </a:lnTo>
                  <a:lnTo>
                    <a:pt x="220" y="480"/>
                  </a:lnTo>
                  <a:lnTo>
                    <a:pt x="220" y="480"/>
                  </a:lnTo>
                  <a:lnTo>
                    <a:pt x="220" y="480"/>
                  </a:lnTo>
                  <a:lnTo>
                    <a:pt x="222" y="480"/>
                  </a:lnTo>
                  <a:lnTo>
                    <a:pt x="222" y="480"/>
                  </a:lnTo>
                  <a:lnTo>
                    <a:pt x="222" y="482"/>
                  </a:lnTo>
                  <a:lnTo>
                    <a:pt x="222" y="482"/>
                  </a:lnTo>
                  <a:lnTo>
                    <a:pt x="222" y="482"/>
                  </a:lnTo>
                  <a:lnTo>
                    <a:pt x="222" y="484"/>
                  </a:lnTo>
                  <a:lnTo>
                    <a:pt x="224" y="484"/>
                  </a:lnTo>
                  <a:lnTo>
                    <a:pt x="224" y="486"/>
                  </a:lnTo>
                  <a:lnTo>
                    <a:pt x="224" y="486"/>
                  </a:lnTo>
                  <a:lnTo>
                    <a:pt x="224" y="486"/>
                  </a:lnTo>
                  <a:lnTo>
                    <a:pt x="224" y="488"/>
                  </a:lnTo>
                  <a:lnTo>
                    <a:pt x="224" y="488"/>
                  </a:lnTo>
                  <a:lnTo>
                    <a:pt x="224" y="490"/>
                  </a:lnTo>
                  <a:lnTo>
                    <a:pt x="226" y="490"/>
                  </a:lnTo>
                  <a:lnTo>
                    <a:pt x="226" y="492"/>
                  </a:lnTo>
                  <a:lnTo>
                    <a:pt x="228" y="492"/>
                  </a:lnTo>
                  <a:lnTo>
                    <a:pt x="228" y="492"/>
                  </a:lnTo>
                  <a:lnTo>
                    <a:pt x="230" y="492"/>
                  </a:lnTo>
                  <a:lnTo>
                    <a:pt x="232" y="492"/>
                  </a:lnTo>
                  <a:lnTo>
                    <a:pt x="232" y="492"/>
                  </a:lnTo>
                  <a:lnTo>
                    <a:pt x="234" y="492"/>
                  </a:lnTo>
                  <a:lnTo>
                    <a:pt x="236" y="492"/>
                  </a:lnTo>
                  <a:lnTo>
                    <a:pt x="236" y="494"/>
                  </a:lnTo>
                  <a:lnTo>
                    <a:pt x="239" y="494"/>
                  </a:lnTo>
                  <a:lnTo>
                    <a:pt x="239" y="494"/>
                  </a:lnTo>
                  <a:lnTo>
                    <a:pt x="241" y="494"/>
                  </a:lnTo>
                  <a:lnTo>
                    <a:pt x="241" y="494"/>
                  </a:lnTo>
                  <a:lnTo>
                    <a:pt x="243" y="496"/>
                  </a:lnTo>
                  <a:lnTo>
                    <a:pt x="243" y="494"/>
                  </a:lnTo>
                  <a:lnTo>
                    <a:pt x="245" y="494"/>
                  </a:lnTo>
                  <a:lnTo>
                    <a:pt x="247" y="492"/>
                  </a:lnTo>
                  <a:lnTo>
                    <a:pt x="249" y="492"/>
                  </a:lnTo>
                  <a:lnTo>
                    <a:pt x="249" y="492"/>
                  </a:lnTo>
                  <a:lnTo>
                    <a:pt x="251" y="492"/>
                  </a:lnTo>
                  <a:lnTo>
                    <a:pt x="253" y="492"/>
                  </a:lnTo>
                  <a:lnTo>
                    <a:pt x="253" y="492"/>
                  </a:lnTo>
                  <a:lnTo>
                    <a:pt x="255" y="492"/>
                  </a:lnTo>
                  <a:lnTo>
                    <a:pt x="255" y="494"/>
                  </a:lnTo>
                  <a:lnTo>
                    <a:pt x="257" y="494"/>
                  </a:lnTo>
                  <a:lnTo>
                    <a:pt x="257" y="496"/>
                  </a:lnTo>
                  <a:lnTo>
                    <a:pt x="261" y="500"/>
                  </a:lnTo>
                  <a:lnTo>
                    <a:pt x="263" y="500"/>
                  </a:lnTo>
                  <a:lnTo>
                    <a:pt x="263" y="500"/>
                  </a:lnTo>
                  <a:lnTo>
                    <a:pt x="265" y="500"/>
                  </a:lnTo>
                  <a:lnTo>
                    <a:pt x="265" y="500"/>
                  </a:lnTo>
                  <a:lnTo>
                    <a:pt x="265" y="498"/>
                  </a:lnTo>
                  <a:lnTo>
                    <a:pt x="265" y="498"/>
                  </a:lnTo>
                  <a:lnTo>
                    <a:pt x="265" y="498"/>
                  </a:lnTo>
                  <a:lnTo>
                    <a:pt x="269" y="500"/>
                  </a:lnTo>
                  <a:lnTo>
                    <a:pt x="269" y="500"/>
                  </a:lnTo>
                  <a:lnTo>
                    <a:pt x="271" y="500"/>
                  </a:lnTo>
                  <a:lnTo>
                    <a:pt x="273" y="500"/>
                  </a:lnTo>
                  <a:lnTo>
                    <a:pt x="275" y="502"/>
                  </a:lnTo>
                  <a:lnTo>
                    <a:pt x="278" y="502"/>
                  </a:lnTo>
                  <a:lnTo>
                    <a:pt x="278" y="502"/>
                  </a:lnTo>
                  <a:lnTo>
                    <a:pt x="280" y="502"/>
                  </a:lnTo>
                  <a:lnTo>
                    <a:pt x="280" y="502"/>
                  </a:lnTo>
                  <a:lnTo>
                    <a:pt x="280" y="502"/>
                  </a:lnTo>
                  <a:lnTo>
                    <a:pt x="282" y="504"/>
                  </a:lnTo>
                  <a:lnTo>
                    <a:pt x="282" y="504"/>
                  </a:lnTo>
                  <a:lnTo>
                    <a:pt x="284" y="504"/>
                  </a:lnTo>
                  <a:lnTo>
                    <a:pt x="286" y="504"/>
                  </a:lnTo>
                  <a:lnTo>
                    <a:pt x="288" y="506"/>
                  </a:lnTo>
                  <a:lnTo>
                    <a:pt x="290" y="506"/>
                  </a:lnTo>
                  <a:lnTo>
                    <a:pt x="292" y="506"/>
                  </a:lnTo>
                  <a:lnTo>
                    <a:pt x="292" y="506"/>
                  </a:lnTo>
                  <a:lnTo>
                    <a:pt x="292" y="506"/>
                  </a:lnTo>
                  <a:lnTo>
                    <a:pt x="294" y="506"/>
                  </a:lnTo>
                  <a:lnTo>
                    <a:pt x="292" y="508"/>
                  </a:lnTo>
                  <a:lnTo>
                    <a:pt x="292" y="508"/>
                  </a:lnTo>
                  <a:lnTo>
                    <a:pt x="294" y="510"/>
                  </a:lnTo>
                  <a:lnTo>
                    <a:pt x="294" y="510"/>
                  </a:lnTo>
                  <a:lnTo>
                    <a:pt x="294" y="512"/>
                  </a:lnTo>
                  <a:lnTo>
                    <a:pt x="294" y="512"/>
                  </a:lnTo>
                  <a:lnTo>
                    <a:pt x="292" y="515"/>
                  </a:lnTo>
                  <a:lnTo>
                    <a:pt x="292" y="515"/>
                  </a:lnTo>
                  <a:lnTo>
                    <a:pt x="290" y="517"/>
                  </a:lnTo>
                  <a:lnTo>
                    <a:pt x="288" y="517"/>
                  </a:lnTo>
                  <a:lnTo>
                    <a:pt x="290" y="517"/>
                  </a:lnTo>
                  <a:lnTo>
                    <a:pt x="290" y="519"/>
                  </a:lnTo>
                  <a:lnTo>
                    <a:pt x="292" y="519"/>
                  </a:lnTo>
                  <a:lnTo>
                    <a:pt x="294" y="519"/>
                  </a:lnTo>
                  <a:lnTo>
                    <a:pt x="294" y="521"/>
                  </a:lnTo>
                  <a:lnTo>
                    <a:pt x="294" y="521"/>
                  </a:lnTo>
                  <a:lnTo>
                    <a:pt x="292" y="521"/>
                  </a:lnTo>
                  <a:lnTo>
                    <a:pt x="290" y="521"/>
                  </a:lnTo>
                  <a:lnTo>
                    <a:pt x="290" y="521"/>
                  </a:lnTo>
                  <a:lnTo>
                    <a:pt x="290" y="521"/>
                  </a:lnTo>
                  <a:lnTo>
                    <a:pt x="290" y="523"/>
                  </a:lnTo>
                  <a:lnTo>
                    <a:pt x="290" y="525"/>
                  </a:lnTo>
                  <a:lnTo>
                    <a:pt x="292" y="525"/>
                  </a:lnTo>
                  <a:lnTo>
                    <a:pt x="292" y="525"/>
                  </a:lnTo>
                  <a:lnTo>
                    <a:pt x="292" y="527"/>
                  </a:lnTo>
                  <a:lnTo>
                    <a:pt x="294" y="527"/>
                  </a:lnTo>
                  <a:lnTo>
                    <a:pt x="294" y="529"/>
                  </a:lnTo>
                  <a:lnTo>
                    <a:pt x="292" y="529"/>
                  </a:lnTo>
                  <a:lnTo>
                    <a:pt x="294" y="529"/>
                  </a:lnTo>
                  <a:lnTo>
                    <a:pt x="294" y="529"/>
                  </a:lnTo>
                  <a:lnTo>
                    <a:pt x="294" y="529"/>
                  </a:lnTo>
                  <a:lnTo>
                    <a:pt x="294" y="529"/>
                  </a:lnTo>
                  <a:lnTo>
                    <a:pt x="294" y="531"/>
                  </a:lnTo>
                  <a:lnTo>
                    <a:pt x="294" y="531"/>
                  </a:lnTo>
                  <a:lnTo>
                    <a:pt x="294" y="533"/>
                  </a:lnTo>
                  <a:lnTo>
                    <a:pt x="292" y="535"/>
                  </a:lnTo>
                  <a:lnTo>
                    <a:pt x="294" y="537"/>
                  </a:lnTo>
                  <a:lnTo>
                    <a:pt x="292" y="537"/>
                  </a:lnTo>
                  <a:lnTo>
                    <a:pt x="292" y="537"/>
                  </a:lnTo>
                  <a:lnTo>
                    <a:pt x="288" y="537"/>
                  </a:lnTo>
                  <a:lnTo>
                    <a:pt x="284" y="537"/>
                  </a:lnTo>
                  <a:lnTo>
                    <a:pt x="284" y="537"/>
                  </a:lnTo>
                  <a:lnTo>
                    <a:pt x="282" y="537"/>
                  </a:lnTo>
                  <a:lnTo>
                    <a:pt x="280" y="537"/>
                  </a:lnTo>
                  <a:lnTo>
                    <a:pt x="278" y="539"/>
                  </a:lnTo>
                  <a:lnTo>
                    <a:pt x="278" y="541"/>
                  </a:lnTo>
                  <a:lnTo>
                    <a:pt x="275" y="541"/>
                  </a:lnTo>
                  <a:lnTo>
                    <a:pt x="273" y="541"/>
                  </a:lnTo>
                  <a:lnTo>
                    <a:pt x="273" y="543"/>
                  </a:lnTo>
                  <a:lnTo>
                    <a:pt x="273" y="543"/>
                  </a:lnTo>
                  <a:lnTo>
                    <a:pt x="273" y="545"/>
                  </a:lnTo>
                  <a:lnTo>
                    <a:pt x="273" y="545"/>
                  </a:lnTo>
                  <a:lnTo>
                    <a:pt x="271" y="545"/>
                  </a:lnTo>
                  <a:lnTo>
                    <a:pt x="271" y="547"/>
                  </a:lnTo>
                  <a:lnTo>
                    <a:pt x="271" y="547"/>
                  </a:lnTo>
                  <a:lnTo>
                    <a:pt x="273" y="547"/>
                  </a:lnTo>
                  <a:lnTo>
                    <a:pt x="273" y="547"/>
                  </a:lnTo>
                  <a:lnTo>
                    <a:pt x="273" y="547"/>
                  </a:lnTo>
                  <a:lnTo>
                    <a:pt x="273" y="547"/>
                  </a:lnTo>
                  <a:lnTo>
                    <a:pt x="273" y="549"/>
                  </a:lnTo>
                  <a:lnTo>
                    <a:pt x="271" y="549"/>
                  </a:lnTo>
                  <a:lnTo>
                    <a:pt x="273" y="549"/>
                  </a:lnTo>
                  <a:lnTo>
                    <a:pt x="273" y="552"/>
                  </a:lnTo>
                  <a:lnTo>
                    <a:pt x="275" y="549"/>
                  </a:lnTo>
                  <a:lnTo>
                    <a:pt x="278" y="547"/>
                  </a:lnTo>
                  <a:lnTo>
                    <a:pt x="280" y="547"/>
                  </a:lnTo>
                  <a:lnTo>
                    <a:pt x="280" y="547"/>
                  </a:lnTo>
                  <a:lnTo>
                    <a:pt x="280" y="549"/>
                  </a:lnTo>
                  <a:lnTo>
                    <a:pt x="278" y="549"/>
                  </a:lnTo>
                  <a:lnTo>
                    <a:pt x="280" y="549"/>
                  </a:lnTo>
                  <a:lnTo>
                    <a:pt x="284" y="549"/>
                  </a:lnTo>
                  <a:lnTo>
                    <a:pt x="284" y="547"/>
                  </a:lnTo>
                  <a:lnTo>
                    <a:pt x="286" y="547"/>
                  </a:lnTo>
                  <a:lnTo>
                    <a:pt x="288" y="549"/>
                  </a:lnTo>
                  <a:lnTo>
                    <a:pt x="288" y="552"/>
                  </a:lnTo>
                  <a:lnTo>
                    <a:pt x="288" y="552"/>
                  </a:lnTo>
                  <a:lnTo>
                    <a:pt x="288" y="552"/>
                  </a:lnTo>
                  <a:lnTo>
                    <a:pt x="286" y="552"/>
                  </a:lnTo>
                  <a:lnTo>
                    <a:pt x="282" y="554"/>
                  </a:lnTo>
                  <a:lnTo>
                    <a:pt x="280" y="556"/>
                  </a:lnTo>
                  <a:lnTo>
                    <a:pt x="278" y="556"/>
                  </a:lnTo>
                  <a:lnTo>
                    <a:pt x="278" y="558"/>
                  </a:lnTo>
                  <a:lnTo>
                    <a:pt x="278" y="558"/>
                  </a:lnTo>
                  <a:lnTo>
                    <a:pt x="275" y="558"/>
                  </a:lnTo>
                  <a:lnTo>
                    <a:pt x="273" y="558"/>
                  </a:lnTo>
                  <a:lnTo>
                    <a:pt x="273" y="558"/>
                  </a:lnTo>
                  <a:lnTo>
                    <a:pt x="271" y="560"/>
                  </a:lnTo>
                  <a:lnTo>
                    <a:pt x="269" y="560"/>
                  </a:lnTo>
                  <a:lnTo>
                    <a:pt x="267" y="560"/>
                  </a:lnTo>
                  <a:lnTo>
                    <a:pt x="269" y="562"/>
                  </a:lnTo>
                  <a:lnTo>
                    <a:pt x="269" y="564"/>
                  </a:lnTo>
                  <a:lnTo>
                    <a:pt x="271" y="564"/>
                  </a:lnTo>
                  <a:lnTo>
                    <a:pt x="273" y="564"/>
                  </a:lnTo>
                  <a:lnTo>
                    <a:pt x="275" y="566"/>
                  </a:lnTo>
                  <a:lnTo>
                    <a:pt x="280" y="568"/>
                  </a:lnTo>
                  <a:lnTo>
                    <a:pt x="278" y="570"/>
                  </a:lnTo>
                  <a:lnTo>
                    <a:pt x="278" y="568"/>
                  </a:lnTo>
                  <a:lnTo>
                    <a:pt x="275" y="568"/>
                  </a:lnTo>
                  <a:lnTo>
                    <a:pt x="273" y="570"/>
                  </a:lnTo>
                  <a:lnTo>
                    <a:pt x="273" y="572"/>
                  </a:lnTo>
                  <a:lnTo>
                    <a:pt x="273" y="570"/>
                  </a:lnTo>
                  <a:lnTo>
                    <a:pt x="273" y="570"/>
                  </a:lnTo>
                  <a:lnTo>
                    <a:pt x="273" y="570"/>
                  </a:lnTo>
                  <a:lnTo>
                    <a:pt x="271" y="570"/>
                  </a:lnTo>
                  <a:lnTo>
                    <a:pt x="271" y="574"/>
                  </a:lnTo>
                  <a:lnTo>
                    <a:pt x="269" y="576"/>
                  </a:lnTo>
                  <a:lnTo>
                    <a:pt x="267" y="578"/>
                  </a:lnTo>
                  <a:lnTo>
                    <a:pt x="267" y="580"/>
                  </a:lnTo>
                  <a:lnTo>
                    <a:pt x="267" y="580"/>
                  </a:lnTo>
                  <a:lnTo>
                    <a:pt x="269" y="580"/>
                  </a:lnTo>
                  <a:lnTo>
                    <a:pt x="269" y="580"/>
                  </a:lnTo>
                  <a:lnTo>
                    <a:pt x="269" y="582"/>
                  </a:lnTo>
                  <a:lnTo>
                    <a:pt x="263" y="582"/>
                  </a:lnTo>
                  <a:lnTo>
                    <a:pt x="263" y="584"/>
                  </a:lnTo>
                  <a:lnTo>
                    <a:pt x="261" y="582"/>
                  </a:lnTo>
                  <a:lnTo>
                    <a:pt x="259" y="582"/>
                  </a:lnTo>
                  <a:lnTo>
                    <a:pt x="257" y="580"/>
                  </a:lnTo>
                  <a:lnTo>
                    <a:pt x="257" y="580"/>
                  </a:lnTo>
                  <a:lnTo>
                    <a:pt x="255" y="582"/>
                  </a:lnTo>
                  <a:lnTo>
                    <a:pt x="255" y="582"/>
                  </a:lnTo>
                  <a:lnTo>
                    <a:pt x="257" y="582"/>
                  </a:lnTo>
                  <a:lnTo>
                    <a:pt x="259" y="582"/>
                  </a:lnTo>
                  <a:lnTo>
                    <a:pt x="257" y="584"/>
                  </a:lnTo>
                  <a:lnTo>
                    <a:pt x="255" y="584"/>
                  </a:lnTo>
                  <a:lnTo>
                    <a:pt x="255" y="586"/>
                  </a:lnTo>
                  <a:lnTo>
                    <a:pt x="255" y="586"/>
                  </a:lnTo>
                  <a:lnTo>
                    <a:pt x="259" y="586"/>
                  </a:lnTo>
                  <a:lnTo>
                    <a:pt x="263" y="591"/>
                  </a:lnTo>
                  <a:lnTo>
                    <a:pt x="265" y="591"/>
                  </a:lnTo>
                  <a:lnTo>
                    <a:pt x="265" y="593"/>
                  </a:lnTo>
                  <a:lnTo>
                    <a:pt x="267" y="595"/>
                  </a:lnTo>
                  <a:lnTo>
                    <a:pt x="267" y="595"/>
                  </a:lnTo>
                  <a:lnTo>
                    <a:pt x="269" y="595"/>
                  </a:lnTo>
                  <a:lnTo>
                    <a:pt x="271" y="597"/>
                  </a:lnTo>
                  <a:lnTo>
                    <a:pt x="273" y="595"/>
                  </a:lnTo>
                  <a:lnTo>
                    <a:pt x="280" y="601"/>
                  </a:lnTo>
                  <a:lnTo>
                    <a:pt x="282" y="601"/>
                  </a:lnTo>
                  <a:lnTo>
                    <a:pt x="286" y="603"/>
                  </a:lnTo>
                  <a:lnTo>
                    <a:pt x="288" y="603"/>
                  </a:lnTo>
                  <a:lnTo>
                    <a:pt x="296" y="609"/>
                  </a:lnTo>
                  <a:lnTo>
                    <a:pt x="300" y="613"/>
                  </a:lnTo>
                  <a:lnTo>
                    <a:pt x="306" y="617"/>
                  </a:lnTo>
                  <a:lnTo>
                    <a:pt x="308" y="617"/>
                  </a:lnTo>
                  <a:lnTo>
                    <a:pt x="308" y="617"/>
                  </a:lnTo>
                  <a:lnTo>
                    <a:pt x="308" y="615"/>
                  </a:lnTo>
                  <a:lnTo>
                    <a:pt x="310" y="615"/>
                  </a:lnTo>
                  <a:lnTo>
                    <a:pt x="312" y="615"/>
                  </a:lnTo>
                  <a:lnTo>
                    <a:pt x="315" y="615"/>
                  </a:lnTo>
                  <a:lnTo>
                    <a:pt x="317" y="615"/>
                  </a:lnTo>
                  <a:lnTo>
                    <a:pt x="319" y="617"/>
                  </a:lnTo>
                  <a:lnTo>
                    <a:pt x="321" y="617"/>
                  </a:lnTo>
                  <a:lnTo>
                    <a:pt x="323" y="619"/>
                  </a:lnTo>
                  <a:lnTo>
                    <a:pt x="327" y="619"/>
                  </a:lnTo>
                  <a:lnTo>
                    <a:pt x="329" y="621"/>
                  </a:lnTo>
                  <a:lnTo>
                    <a:pt x="331" y="621"/>
                  </a:lnTo>
                  <a:lnTo>
                    <a:pt x="339" y="621"/>
                  </a:lnTo>
                  <a:lnTo>
                    <a:pt x="339" y="621"/>
                  </a:lnTo>
                  <a:lnTo>
                    <a:pt x="339" y="621"/>
                  </a:lnTo>
                  <a:lnTo>
                    <a:pt x="341" y="621"/>
                  </a:lnTo>
                  <a:lnTo>
                    <a:pt x="343" y="621"/>
                  </a:lnTo>
                  <a:lnTo>
                    <a:pt x="345" y="623"/>
                  </a:lnTo>
                  <a:lnTo>
                    <a:pt x="347" y="623"/>
                  </a:lnTo>
                  <a:lnTo>
                    <a:pt x="349" y="621"/>
                  </a:lnTo>
                  <a:lnTo>
                    <a:pt x="351" y="623"/>
                  </a:lnTo>
                  <a:lnTo>
                    <a:pt x="351" y="623"/>
                  </a:lnTo>
                  <a:lnTo>
                    <a:pt x="354" y="623"/>
                  </a:lnTo>
                  <a:lnTo>
                    <a:pt x="354" y="626"/>
                  </a:lnTo>
                  <a:lnTo>
                    <a:pt x="358" y="628"/>
                  </a:lnTo>
                  <a:lnTo>
                    <a:pt x="362" y="628"/>
                  </a:lnTo>
                  <a:lnTo>
                    <a:pt x="362" y="630"/>
                  </a:lnTo>
                  <a:lnTo>
                    <a:pt x="366" y="630"/>
                  </a:lnTo>
                  <a:lnTo>
                    <a:pt x="366" y="630"/>
                  </a:lnTo>
                  <a:lnTo>
                    <a:pt x="366" y="630"/>
                  </a:lnTo>
                  <a:lnTo>
                    <a:pt x="364" y="632"/>
                  </a:lnTo>
                  <a:lnTo>
                    <a:pt x="364" y="632"/>
                  </a:lnTo>
                  <a:lnTo>
                    <a:pt x="366" y="632"/>
                  </a:lnTo>
                  <a:lnTo>
                    <a:pt x="366" y="634"/>
                  </a:lnTo>
                  <a:lnTo>
                    <a:pt x="368" y="634"/>
                  </a:lnTo>
                  <a:lnTo>
                    <a:pt x="368" y="632"/>
                  </a:lnTo>
                  <a:lnTo>
                    <a:pt x="370" y="632"/>
                  </a:lnTo>
                  <a:lnTo>
                    <a:pt x="372" y="632"/>
                  </a:lnTo>
                  <a:lnTo>
                    <a:pt x="374" y="630"/>
                  </a:lnTo>
                  <a:lnTo>
                    <a:pt x="376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8" y="630"/>
                  </a:lnTo>
                  <a:lnTo>
                    <a:pt x="380" y="632"/>
                  </a:lnTo>
                  <a:lnTo>
                    <a:pt x="380" y="630"/>
                  </a:lnTo>
                  <a:lnTo>
                    <a:pt x="380" y="630"/>
                  </a:lnTo>
                  <a:lnTo>
                    <a:pt x="382" y="630"/>
                  </a:lnTo>
                  <a:lnTo>
                    <a:pt x="384" y="632"/>
                  </a:lnTo>
                  <a:lnTo>
                    <a:pt x="386" y="632"/>
                  </a:lnTo>
                  <a:lnTo>
                    <a:pt x="386" y="632"/>
                  </a:lnTo>
                  <a:lnTo>
                    <a:pt x="388" y="634"/>
                  </a:lnTo>
                  <a:lnTo>
                    <a:pt x="393" y="634"/>
                  </a:lnTo>
                  <a:lnTo>
                    <a:pt x="393" y="634"/>
                  </a:lnTo>
                  <a:lnTo>
                    <a:pt x="395" y="634"/>
                  </a:lnTo>
                  <a:lnTo>
                    <a:pt x="395" y="634"/>
                  </a:lnTo>
                  <a:lnTo>
                    <a:pt x="395" y="636"/>
                  </a:lnTo>
                  <a:lnTo>
                    <a:pt x="395" y="638"/>
                  </a:lnTo>
                  <a:lnTo>
                    <a:pt x="395" y="640"/>
                  </a:lnTo>
                  <a:lnTo>
                    <a:pt x="395" y="640"/>
                  </a:lnTo>
                  <a:lnTo>
                    <a:pt x="397" y="642"/>
                  </a:lnTo>
                  <a:lnTo>
                    <a:pt x="399" y="642"/>
                  </a:lnTo>
                  <a:lnTo>
                    <a:pt x="399" y="642"/>
                  </a:lnTo>
                  <a:lnTo>
                    <a:pt x="401" y="642"/>
                  </a:lnTo>
                  <a:lnTo>
                    <a:pt x="403" y="644"/>
                  </a:lnTo>
                  <a:lnTo>
                    <a:pt x="403" y="644"/>
                  </a:lnTo>
                  <a:lnTo>
                    <a:pt x="403" y="644"/>
                  </a:lnTo>
                  <a:lnTo>
                    <a:pt x="407" y="644"/>
                  </a:lnTo>
                  <a:lnTo>
                    <a:pt x="407" y="644"/>
                  </a:lnTo>
                  <a:lnTo>
                    <a:pt x="409" y="646"/>
                  </a:lnTo>
                  <a:lnTo>
                    <a:pt x="409" y="646"/>
                  </a:lnTo>
                  <a:lnTo>
                    <a:pt x="409" y="646"/>
                  </a:lnTo>
                  <a:lnTo>
                    <a:pt x="409" y="646"/>
                  </a:lnTo>
                  <a:lnTo>
                    <a:pt x="411" y="646"/>
                  </a:lnTo>
                  <a:lnTo>
                    <a:pt x="411" y="646"/>
                  </a:lnTo>
                  <a:lnTo>
                    <a:pt x="413" y="648"/>
                  </a:lnTo>
                  <a:lnTo>
                    <a:pt x="415" y="648"/>
                  </a:lnTo>
                  <a:lnTo>
                    <a:pt x="415" y="650"/>
                  </a:lnTo>
                  <a:lnTo>
                    <a:pt x="415" y="650"/>
                  </a:lnTo>
                  <a:lnTo>
                    <a:pt x="417" y="650"/>
                  </a:lnTo>
                  <a:lnTo>
                    <a:pt x="417" y="652"/>
                  </a:lnTo>
                  <a:lnTo>
                    <a:pt x="419" y="652"/>
                  </a:lnTo>
                  <a:lnTo>
                    <a:pt x="421" y="654"/>
                  </a:lnTo>
                  <a:lnTo>
                    <a:pt x="421" y="656"/>
                  </a:lnTo>
                  <a:lnTo>
                    <a:pt x="425" y="656"/>
                  </a:lnTo>
                  <a:lnTo>
                    <a:pt x="425" y="656"/>
                  </a:lnTo>
                  <a:lnTo>
                    <a:pt x="429" y="656"/>
                  </a:lnTo>
                  <a:lnTo>
                    <a:pt x="429" y="656"/>
                  </a:lnTo>
                  <a:lnTo>
                    <a:pt x="432" y="654"/>
                  </a:lnTo>
                  <a:lnTo>
                    <a:pt x="432" y="652"/>
                  </a:lnTo>
                  <a:lnTo>
                    <a:pt x="434" y="652"/>
                  </a:lnTo>
                  <a:lnTo>
                    <a:pt x="436" y="650"/>
                  </a:lnTo>
                  <a:lnTo>
                    <a:pt x="436" y="650"/>
                  </a:lnTo>
                  <a:lnTo>
                    <a:pt x="436" y="648"/>
                  </a:lnTo>
                  <a:lnTo>
                    <a:pt x="438" y="646"/>
                  </a:lnTo>
                  <a:lnTo>
                    <a:pt x="438" y="646"/>
                  </a:lnTo>
                  <a:lnTo>
                    <a:pt x="436" y="644"/>
                  </a:lnTo>
                  <a:lnTo>
                    <a:pt x="436" y="644"/>
                  </a:lnTo>
                  <a:lnTo>
                    <a:pt x="436" y="644"/>
                  </a:lnTo>
                  <a:lnTo>
                    <a:pt x="434" y="642"/>
                  </a:lnTo>
                  <a:lnTo>
                    <a:pt x="432" y="640"/>
                  </a:lnTo>
                  <a:lnTo>
                    <a:pt x="429" y="636"/>
                  </a:lnTo>
                  <a:lnTo>
                    <a:pt x="425" y="632"/>
                  </a:lnTo>
                  <a:lnTo>
                    <a:pt x="423" y="632"/>
                  </a:lnTo>
                  <a:lnTo>
                    <a:pt x="423" y="632"/>
                  </a:lnTo>
                  <a:lnTo>
                    <a:pt x="423" y="630"/>
                  </a:lnTo>
                  <a:lnTo>
                    <a:pt x="421" y="628"/>
                  </a:lnTo>
                  <a:lnTo>
                    <a:pt x="419" y="626"/>
                  </a:lnTo>
                  <a:lnTo>
                    <a:pt x="419" y="626"/>
                  </a:lnTo>
                  <a:lnTo>
                    <a:pt x="419" y="626"/>
                  </a:lnTo>
                  <a:lnTo>
                    <a:pt x="419" y="621"/>
                  </a:lnTo>
                  <a:lnTo>
                    <a:pt x="417" y="621"/>
                  </a:lnTo>
                  <a:lnTo>
                    <a:pt x="417" y="619"/>
                  </a:lnTo>
                  <a:lnTo>
                    <a:pt x="417" y="615"/>
                  </a:lnTo>
                  <a:lnTo>
                    <a:pt x="417" y="613"/>
                  </a:lnTo>
                  <a:lnTo>
                    <a:pt x="419" y="611"/>
                  </a:lnTo>
                  <a:lnTo>
                    <a:pt x="419" y="609"/>
                  </a:lnTo>
                  <a:lnTo>
                    <a:pt x="417" y="611"/>
                  </a:lnTo>
                  <a:lnTo>
                    <a:pt x="417" y="615"/>
                  </a:lnTo>
                  <a:lnTo>
                    <a:pt x="415" y="611"/>
                  </a:lnTo>
                  <a:lnTo>
                    <a:pt x="413" y="607"/>
                  </a:lnTo>
                  <a:lnTo>
                    <a:pt x="413" y="605"/>
                  </a:lnTo>
                  <a:lnTo>
                    <a:pt x="411" y="605"/>
                  </a:lnTo>
                  <a:lnTo>
                    <a:pt x="409" y="603"/>
                  </a:lnTo>
                  <a:lnTo>
                    <a:pt x="407" y="601"/>
                  </a:lnTo>
                  <a:lnTo>
                    <a:pt x="407" y="601"/>
                  </a:lnTo>
                  <a:lnTo>
                    <a:pt x="403" y="601"/>
                  </a:lnTo>
                  <a:lnTo>
                    <a:pt x="403" y="599"/>
                  </a:lnTo>
                  <a:lnTo>
                    <a:pt x="403" y="599"/>
                  </a:lnTo>
                  <a:lnTo>
                    <a:pt x="403" y="597"/>
                  </a:lnTo>
                  <a:lnTo>
                    <a:pt x="403" y="597"/>
                  </a:lnTo>
                  <a:lnTo>
                    <a:pt x="405" y="595"/>
                  </a:lnTo>
                  <a:lnTo>
                    <a:pt x="405" y="595"/>
                  </a:lnTo>
                  <a:lnTo>
                    <a:pt x="405" y="593"/>
                  </a:lnTo>
                  <a:lnTo>
                    <a:pt x="405" y="593"/>
                  </a:lnTo>
                  <a:lnTo>
                    <a:pt x="407" y="593"/>
                  </a:lnTo>
                  <a:lnTo>
                    <a:pt x="407" y="593"/>
                  </a:lnTo>
                  <a:lnTo>
                    <a:pt x="407" y="591"/>
                  </a:lnTo>
                  <a:lnTo>
                    <a:pt x="407" y="591"/>
                  </a:lnTo>
                  <a:lnTo>
                    <a:pt x="409" y="589"/>
                  </a:lnTo>
                  <a:lnTo>
                    <a:pt x="409" y="586"/>
                  </a:lnTo>
                  <a:lnTo>
                    <a:pt x="409" y="584"/>
                  </a:lnTo>
                  <a:lnTo>
                    <a:pt x="411" y="582"/>
                  </a:lnTo>
                  <a:lnTo>
                    <a:pt x="411" y="580"/>
                  </a:lnTo>
                  <a:lnTo>
                    <a:pt x="411" y="580"/>
                  </a:lnTo>
                  <a:lnTo>
                    <a:pt x="411" y="580"/>
                  </a:lnTo>
                  <a:lnTo>
                    <a:pt x="411" y="580"/>
                  </a:lnTo>
                  <a:lnTo>
                    <a:pt x="411" y="578"/>
                  </a:lnTo>
                  <a:lnTo>
                    <a:pt x="411" y="578"/>
                  </a:lnTo>
                  <a:lnTo>
                    <a:pt x="409" y="576"/>
                  </a:lnTo>
                  <a:lnTo>
                    <a:pt x="411" y="576"/>
                  </a:lnTo>
                  <a:lnTo>
                    <a:pt x="411" y="576"/>
                  </a:lnTo>
                  <a:lnTo>
                    <a:pt x="411" y="576"/>
                  </a:lnTo>
                  <a:lnTo>
                    <a:pt x="413" y="578"/>
                  </a:lnTo>
                  <a:lnTo>
                    <a:pt x="413" y="576"/>
                  </a:lnTo>
                  <a:lnTo>
                    <a:pt x="413" y="576"/>
                  </a:lnTo>
                  <a:lnTo>
                    <a:pt x="415" y="576"/>
                  </a:lnTo>
                  <a:lnTo>
                    <a:pt x="415" y="576"/>
                  </a:lnTo>
                  <a:lnTo>
                    <a:pt x="419" y="576"/>
                  </a:lnTo>
                  <a:lnTo>
                    <a:pt x="419" y="576"/>
                  </a:lnTo>
                  <a:lnTo>
                    <a:pt x="421" y="574"/>
                  </a:lnTo>
                  <a:lnTo>
                    <a:pt x="423" y="572"/>
                  </a:lnTo>
                  <a:lnTo>
                    <a:pt x="425" y="572"/>
                  </a:lnTo>
                  <a:lnTo>
                    <a:pt x="425" y="572"/>
                  </a:lnTo>
                  <a:lnTo>
                    <a:pt x="425" y="572"/>
                  </a:lnTo>
                  <a:lnTo>
                    <a:pt x="427" y="572"/>
                  </a:lnTo>
                  <a:lnTo>
                    <a:pt x="427" y="572"/>
                  </a:lnTo>
                  <a:lnTo>
                    <a:pt x="427" y="572"/>
                  </a:lnTo>
                  <a:lnTo>
                    <a:pt x="427" y="570"/>
                  </a:lnTo>
                  <a:lnTo>
                    <a:pt x="427" y="570"/>
                  </a:lnTo>
                  <a:lnTo>
                    <a:pt x="425" y="568"/>
                  </a:lnTo>
                  <a:lnTo>
                    <a:pt x="427" y="568"/>
                  </a:lnTo>
                  <a:lnTo>
                    <a:pt x="427" y="568"/>
                  </a:lnTo>
                  <a:lnTo>
                    <a:pt x="432" y="568"/>
                  </a:lnTo>
                  <a:lnTo>
                    <a:pt x="432" y="566"/>
                  </a:lnTo>
                  <a:lnTo>
                    <a:pt x="432" y="566"/>
                  </a:lnTo>
                  <a:lnTo>
                    <a:pt x="434" y="566"/>
                  </a:lnTo>
                  <a:lnTo>
                    <a:pt x="434" y="564"/>
                  </a:lnTo>
                  <a:lnTo>
                    <a:pt x="432" y="564"/>
                  </a:lnTo>
                  <a:lnTo>
                    <a:pt x="429" y="562"/>
                  </a:lnTo>
                  <a:lnTo>
                    <a:pt x="425" y="562"/>
                  </a:lnTo>
                  <a:lnTo>
                    <a:pt x="423" y="560"/>
                  </a:lnTo>
                  <a:lnTo>
                    <a:pt x="423" y="560"/>
                  </a:lnTo>
                  <a:lnTo>
                    <a:pt x="423" y="560"/>
                  </a:lnTo>
                  <a:lnTo>
                    <a:pt x="421" y="560"/>
                  </a:lnTo>
                  <a:lnTo>
                    <a:pt x="421" y="558"/>
                  </a:lnTo>
                  <a:lnTo>
                    <a:pt x="421" y="558"/>
                  </a:lnTo>
                  <a:lnTo>
                    <a:pt x="421" y="558"/>
                  </a:lnTo>
                  <a:lnTo>
                    <a:pt x="423" y="558"/>
                  </a:lnTo>
                  <a:lnTo>
                    <a:pt x="423" y="558"/>
                  </a:lnTo>
                  <a:lnTo>
                    <a:pt x="423" y="558"/>
                  </a:lnTo>
                  <a:lnTo>
                    <a:pt x="425" y="558"/>
                  </a:lnTo>
                  <a:lnTo>
                    <a:pt x="427" y="558"/>
                  </a:lnTo>
                  <a:lnTo>
                    <a:pt x="427" y="558"/>
                  </a:lnTo>
                  <a:lnTo>
                    <a:pt x="427" y="556"/>
                  </a:lnTo>
                  <a:lnTo>
                    <a:pt x="425" y="554"/>
                  </a:lnTo>
                  <a:lnTo>
                    <a:pt x="423" y="552"/>
                  </a:lnTo>
                  <a:lnTo>
                    <a:pt x="421" y="547"/>
                  </a:lnTo>
                  <a:lnTo>
                    <a:pt x="419" y="547"/>
                  </a:lnTo>
                  <a:lnTo>
                    <a:pt x="417" y="545"/>
                  </a:lnTo>
                  <a:lnTo>
                    <a:pt x="415" y="541"/>
                  </a:lnTo>
                  <a:lnTo>
                    <a:pt x="413" y="539"/>
                  </a:lnTo>
                  <a:lnTo>
                    <a:pt x="413" y="539"/>
                  </a:lnTo>
                  <a:lnTo>
                    <a:pt x="409" y="539"/>
                  </a:lnTo>
                  <a:lnTo>
                    <a:pt x="405" y="539"/>
                  </a:lnTo>
                  <a:lnTo>
                    <a:pt x="403" y="537"/>
                  </a:lnTo>
                  <a:lnTo>
                    <a:pt x="403" y="539"/>
                  </a:lnTo>
                  <a:lnTo>
                    <a:pt x="401" y="539"/>
                  </a:lnTo>
                  <a:lnTo>
                    <a:pt x="399" y="539"/>
                  </a:lnTo>
                  <a:lnTo>
                    <a:pt x="399" y="537"/>
                  </a:lnTo>
                  <a:lnTo>
                    <a:pt x="397" y="535"/>
                  </a:lnTo>
                  <a:lnTo>
                    <a:pt x="397" y="535"/>
                  </a:lnTo>
                  <a:lnTo>
                    <a:pt x="397" y="533"/>
                  </a:lnTo>
                  <a:lnTo>
                    <a:pt x="397" y="531"/>
                  </a:lnTo>
                  <a:lnTo>
                    <a:pt x="395" y="529"/>
                  </a:lnTo>
                  <a:lnTo>
                    <a:pt x="393" y="529"/>
                  </a:lnTo>
                  <a:lnTo>
                    <a:pt x="390" y="527"/>
                  </a:lnTo>
                  <a:lnTo>
                    <a:pt x="388" y="525"/>
                  </a:lnTo>
                  <a:lnTo>
                    <a:pt x="388" y="521"/>
                  </a:lnTo>
                  <a:lnTo>
                    <a:pt x="390" y="517"/>
                  </a:lnTo>
                  <a:lnTo>
                    <a:pt x="393" y="517"/>
                  </a:lnTo>
                  <a:lnTo>
                    <a:pt x="393" y="515"/>
                  </a:lnTo>
                  <a:lnTo>
                    <a:pt x="393" y="515"/>
                  </a:lnTo>
                  <a:lnTo>
                    <a:pt x="393" y="512"/>
                  </a:lnTo>
                  <a:lnTo>
                    <a:pt x="390" y="512"/>
                  </a:lnTo>
                  <a:lnTo>
                    <a:pt x="388" y="510"/>
                  </a:lnTo>
                  <a:lnTo>
                    <a:pt x="388" y="510"/>
                  </a:lnTo>
                  <a:lnTo>
                    <a:pt x="388" y="508"/>
                  </a:lnTo>
                  <a:lnTo>
                    <a:pt x="388" y="504"/>
                  </a:lnTo>
                  <a:lnTo>
                    <a:pt x="388" y="502"/>
                  </a:lnTo>
                  <a:lnTo>
                    <a:pt x="390" y="500"/>
                  </a:lnTo>
                  <a:lnTo>
                    <a:pt x="393" y="498"/>
                  </a:lnTo>
                  <a:lnTo>
                    <a:pt x="393" y="498"/>
                  </a:lnTo>
                  <a:lnTo>
                    <a:pt x="393" y="496"/>
                  </a:lnTo>
                  <a:lnTo>
                    <a:pt x="393" y="494"/>
                  </a:lnTo>
                  <a:lnTo>
                    <a:pt x="393" y="494"/>
                  </a:lnTo>
                  <a:lnTo>
                    <a:pt x="393" y="494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7" y="492"/>
                  </a:lnTo>
                  <a:lnTo>
                    <a:pt x="397" y="492"/>
                  </a:lnTo>
                  <a:lnTo>
                    <a:pt x="401" y="494"/>
                  </a:lnTo>
                  <a:lnTo>
                    <a:pt x="403" y="498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9" y="502"/>
                  </a:lnTo>
                  <a:lnTo>
                    <a:pt x="409" y="502"/>
                  </a:lnTo>
                  <a:lnTo>
                    <a:pt x="411" y="500"/>
                  </a:lnTo>
                  <a:lnTo>
                    <a:pt x="413" y="500"/>
                  </a:lnTo>
                  <a:lnTo>
                    <a:pt x="415" y="500"/>
                  </a:lnTo>
                  <a:lnTo>
                    <a:pt x="415" y="498"/>
                  </a:lnTo>
                  <a:lnTo>
                    <a:pt x="413" y="496"/>
                  </a:lnTo>
                  <a:lnTo>
                    <a:pt x="413" y="496"/>
                  </a:lnTo>
                  <a:lnTo>
                    <a:pt x="413" y="494"/>
                  </a:lnTo>
                  <a:lnTo>
                    <a:pt x="411" y="492"/>
                  </a:lnTo>
                  <a:lnTo>
                    <a:pt x="411" y="490"/>
                  </a:lnTo>
                  <a:lnTo>
                    <a:pt x="409" y="488"/>
                  </a:lnTo>
                  <a:lnTo>
                    <a:pt x="409" y="488"/>
                  </a:lnTo>
                  <a:lnTo>
                    <a:pt x="411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5" y="486"/>
                  </a:lnTo>
                  <a:lnTo>
                    <a:pt x="419" y="484"/>
                  </a:lnTo>
                  <a:lnTo>
                    <a:pt x="419" y="482"/>
                  </a:lnTo>
                  <a:lnTo>
                    <a:pt x="419" y="480"/>
                  </a:lnTo>
                  <a:lnTo>
                    <a:pt x="419" y="480"/>
                  </a:lnTo>
                  <a:lnTo>
                    <a:pt x="421" y="480"/>
                  </a:lnTo>
                  <a:lnTo>
                    <a:pt x="423" y="480"/>
                  </a:lnTo>
                  <a:lnTo>
                    <a:pt x="425" y="478"/>
                  </a:lnTo>
                  <a:lnTo>
                    <a:pt x="427" y="478"/>
                  </a:lnTo>
                  <a:lnTo>
                    <a:pt x="429" y="475"/>
                  </a:lnTo>
                  <a:lnTo>
                    <a:pt x="429" y="475"/>
                  </a:lnTo>
                  <a:lnTo>
                    <a:pt x="432" y="475"/>
                  </a:lnTo>
                  <a:lnTo>
                    <a:pt x="432" y="471"/>
                  </a:lnTo>
                  <a:lnTo>
                    <a:pt x="434" y="471"/>
                  </a:lnTo>
                  <a:lnTo>
                    <a:pt x="436" y="469"/>
                  </a:lnTo>
                  <a:lnTo>
                    <a:pt x="436" y="467"/>
                  </a:lnTo>
                  <a:lnTo>
                    <a:pt x="436" y="469"/>
                  </a:lnTo>
                  <a:lnTo>
                    <a:pt x="438" y="469"/>
                  </a:lnTo>
                  <a:lnTo>
                    <a:pt x="440" y="469"/>
                  </a:lnTo>
                  <a:lnTo>
                    <a:pt x="442" y="471"/>
                  </a:lnTo>
                  <a:lnTo>
                    <a:pt x="444" y="471"/>
                  </a:lnTo>
                  <a:lnTo>
                    <a:pt x="444" y="471"/>
                  </a:lnTo>
                  <a:lnTo>
                    <a:pt x="444" y="473"/>
                  </a:lnTo>
                  <a:lnTo>
                    <a:pt x="444" y="473"/>
                  </a:lnTo>
                  <a:lnTo>
                    <a:pt x="446" y="473"/>
                  </a:lnTo>
                  <a:lnTo>
                    <a:pt x="448" y="473"/>
                  </a:lnTo>
                  <a:lnTo>
                    <a:pt x="450" y="471"/>
                  </a:lnTo>
                  <a:lnTo>
                    <a:pt x="452" y="469"/>
                  </a:lnTo>
                  <a:lnTo>
                    <a:pt x="454" y="469"/>
                  </a:lnTo>
                  <a:lnTo>
                    <a:pt x="456" y="469"/>
                  </a:lnTo>
                  <a:lnTo>
                    <a:pt x="458" y="471"/>
                  </a:lnTo>
                  <a:lnTo>
                    <a:pt x="460" y="471"/>
                  </a:lnTo>
                  <a:lnTo>
                    <a:pt x="460" y="473"/>
                  </a:lnTo>
                  <a:lnTo>
                    <a:pt x="462" y="473"/>
                  </a:lnTo>
                  <a:lnTo>
                    <a:pt x="462" y="473"/>
                  </a:lnTo>
                  <a:lnTo>
                    <a:pt x="462" y="471"/>
                  </a:lnTo>
                  <a:lnTo>
                    <a:pt x="462" y="471"/>
                  </a:lnTo>
                  <a:lnTo>
                    <a:pt x="464" y="471"/>
                  </a:lnTo>
                  <a:lnTo>
                    <a:pt x="466" y="473"/>
                  </a:lnTo>
                  <a:lnTo>
                    <a:pt x="468" y="473"/>
                  </a:lnTo>
                  <a:lnTo>
                    <a:pt x="471" y="473"/>
                  </a:lnTo>
                  <a:lnTo>
                    <a:pt x="471" y="471"/>
                  </a:lnTo>
                  <a:lnTo>
                    <a:pt x="473" y="473"/>
                  </a:lnTo>
                  <a:lnTo>
                    <a:pt x="473" y="473"/>
                  </a:lnTo>
                  <a:lnTo>
                    <a:pt x="475" y="473"/>
                  </a:lnTo>
                  <a:lnTo>
                    <a:pt x="477" y="478"/>
                  </a:lnTo>
                  <a:lnTo>
                    <a:pt x="479" y="478"/>
                  </a:lnTo>
                  <a:lnTo>
                    <a:pt x="481" y="478"/>
                  </a:lnTo>
                  <a:lnTo>
                    <a:pt x="483" y="480"/>
                  </a:lnTo>
                  <a:lnTo>
                    <a:pt x="485" y="480"/>
                  </a:lnTo>
                  <a:lnTo>
                    <a:pt x="485" y="482"/>
                  </a:lnTo>
                  <a:lnTo>
                    <a:pt x="487" y="482"/>
                  </a:lnTo>
                  <a:lnTo>
                    <a:pt x="489" y="486"/>
                  </a:lnTo>
                  <a:lnTo>
                    <a:pt x="491" y="488"/>
                  </a:lnTo>
                  <a:lnTo>
                    <a:pt x="491" y="488"/>
                  </a:lnTo>
                  <a:lnTo>
                    <a:pt x="493" y="490"/>
                  </a:lnTo>
                  <a:lnTo>
                    <a:pt x="493" y="490"/>
                  </a:lnTo>
                  <a:lnTo>
                    <a:pt x="493" y="490"/>
                  </a:lnTo>
                  <a:lnTo>
                    <a:pt x="493" y="488"/>
                  </a:lnTo>
                  <a:lnTo>
                    <a:pt x="493" y="488"/>
                  </a:lnTo>
                  <a:lnTo>
                    <a:pt x="493" y="486"/>
                  </a:lnTo>
                  <a:lnTo>
                    <a:pt x="491" y="484"/>
                  </a:lnTo>
                  <a:lnTo>
                    <a:pt x="491" y="482"/>
                  </a:lnTo>
                  <a:lnTo>
                    <a:pt x="491" y="482"/>
                  </a:lnTo>
                  <a:lnTo>
                    <a:pt x="491" y="482"/>
                  </a:lnTo>
                  <a:lnTo>
                    <a:pt x="491" y="482"/>
                  </a:lnTo>
                  <a:lnTo>
                    <a:pt x="493" y="482"/>
                  </a:lnTo>
                  <a:lnTo>
                    <a:pt x="495" y="482"/>
                  </a:lnTo>
                  <a:lnTo>
                    <a:pt x="497" y="484"/>
                  </a:lnTo>
                  <a:lnTo>
                    <a:pt x="501" y="486"/>
                  </a:lnTo>
                  <a:lnTo>
                    <a:pt x="503" y="488"/>
                  </a:lnTo>
                  <a:lnTo>
                    <a:pt x="505" y="488"/>
                  </a:lnTo>
                  <a:lnTo>
                    <a:pt x="508" y="488"/>
                  </a:lnTo>
                  <a:lnTo>
                    <a:pt x="510" y="488"/>
                  </a:lnTo>
                  <a:lnTo>
                    <a:pt x="512" y="488"/>
                  </a:lnTo>
                  <a:lnTo>
                    <a:pt x="514" y="486"/>
                  </a:lnTo>
                  <a:lnTo>
                    <a:pt x="514" y="486"/>
                  </a:lnTo>
                  <a:lnTo>
                    <a:pt x="514" y="484"/>
                  </a:lnTo>
                  <a:lnTo>
                    <a:pt x="516" y="482"/>
                  </a:lnTo>
                  <a:lnTo>
                    <a:pt x="518" y="482"/>
                  </a:lnTo>
                  <a:lnTo>
                    <a:pt x="518" y="482"/>
                  </a:lnTo>
                  <a:lnTo>
                    <a:pt x="520" y="482"/>
                  </a:lnTo>
                  <a:lnTo>
                    <a:pt x="522" y="480"/>
                  </a:lnTo>
                  <a:lnTo>
                    <a:pt x="522" y="480"/>
                  </a:lnTo>
                  <a:lnTo>
                    <a:pt x="524" y="480"/>
                  </a:lnTo>
                  <a:lnTo>
                    <a:pt x="528" y="480"/>
                  </a:lnTo>
                  <a:lnTo>
                    <a:pt x="530" y="482"/>
                  </a:lnTo>
                  <a:lnTo>
                    <a:pt x="532" y="484"/>
                  </a:lnTo>
                  <a:lnTo>
                    <a:pt x="532" y="484"/>
                  </a:lnTo>
                  <a:lnTo>
                    <a:pt x="534" y="482"/>
                  </a:lnTo>
                  <a:lnTo>
                    <a:pt x="534" y="482"/>
                  </a:lnTo>
                  <a:lnTo>
                    <a:pt x="536" y="480"/>
                  </a:lnTo>
                  <a:lnTo>
                    <a:pt x="536" y="480"/>
                  </a:lnTo>
                  <a:lnTo>
                    <a:pt x="536" y="480"/>
                  </a:lnTo>
                  <a:lnTo>
                    <a:pt x="538" y="480"/>
                  </a:lnTo>
                  <a:lnTo>
                    <a:pt x="540" y="480"/>
                  </a:lnTo>
                  <a:lnTo>
                    <a:pt x="540" y="480"/>
                  </a:lnTo>
                  <a:lnTo>
                    <a:pt x="544" y="480"/>
                  </a:lnTo>
                  <a:lnTo>
                    <a:pt x="547" y="482"/>
                  </a:lnTo>
                  <a:lnTo>
                    <a:pt x="549" y="484"/>
                  </a:lnTo>
                  <a:lnTo>
                    <a:pt x="551" y="486"/>
                  </a:lnTo>
                  <a:lnTo>
                    <a:pt x="553" y="486"/>
                  </a:lnTo>
                  <a:lnTo>
                    <a:pt x="555" y="486"/>
                  </a:lnTo>
                  <a:lnTo>
                    <a:pt x="555" y="488"/>
                  </a:lnTo>
                  <a:lnTo>
                    <a:pt x="557" y="488"/>
                  </a:lnTo>
                  <a:lnTo>
                    <a:pt x="561" y="488"/>
                  </a:lnTo>
                  <a:lnTo>
                    <a:pt x="561" y="488"/>
                  </a:lnTo>
                  <a:lnTo>
                    <a:pt x="563" y="488"/>
                  </a:lnTo>
                  <a:lnTo>
                    <a:pt x="563" y="490"/>
                  </a:lnTo>
                  <a:lnTo>
                    <a:pt x="563" y="490"/>
                  </a:lnTo>
                  <a:lnTo>
                    <a:pt x="565" y="490"/>
                  </a:lnTo>
                  <a:lnTo>
                    <a:pt x="567" y="488"/>
                  </a:lnTo>
                  <a:lnTo>
                    <a:pt x="567" y="486"/>
                  </a:lnTo>
                  <a:lnTo>
                    <a:pt x="567" y="484"/>
                  </a:lnTo>
                  <a:lnTo>
                    <a:pt x="567" y="484"/>
                  </a:lnTo>
                  <a:lnTo>
                    <a:pt x="569" y="484"/>
                  </a:lnTo>
                  <a:lnTo>
                    <a:pt x="569" y="484"/>
                  </a:lnTo>
                  <a:lnTo>
                    <a:pt x="571" y="486"/>
                  </a:lnTo>
                  <a:lnTo>
                    <a:pt x="571" y="486"/>
                  </a:lnTo>
                  <a:lnTo>
                    <a:pt x="573" y="486"/>
                  </a:lnTo>
                  <a:lnTo>
                    <a:pt x="575" y="488"/>
                  </a:lnTo>
                  <a:lnTo>
                    <a:pt x="577" y="488"/>
                  </a:lnTo>
                  <a:lnTo>
                    <a:pt x="581" y="486"/>
                  </a:lnTo>
                  <a:lnTo>
                    <a:pt x="586" y="486"/>
                  </a:lnTo>
                  <a:lnTo>
                    <a:pt x="588" y="484"/>
                  </a:lnTo>
                  <a:lnTo>
                    <a:pt x="588" y="482"/>
                  </a:lnTo>
                  <a:lnTo>
                    <a:pt x="588" y="480"/>
                  </a:lnTo>
                  <a:lnTo>
                    <a:pt x="588" y="478"/>
                  </a:lnTo>
                  <a:lnTo>
                    <a:pt x="588" y="475"/>
                  </a:lnTo>
                  <a:lnTo>
                    <a:pt x="583" y="473"/>
                  </a:lnTo>
                  <a:lnTo>
                    <a:pt x="583" y="473"/>
                  </a:lnTo>
                  <a:lnTo>
                    <a:pt x="577" y="471"/>
                  </a:lnTo>
                  <a:lnTo>
                    <a:pt x="577" y="471"/>
                  </a:lnTo>
                  <a:lnTo>
                    <a:pt x="577" y="471"/>
                  </a:lnTo>
                  <a:lnTo>
                    <a:pt x="573" y="469"/>
                  </a:lnTo>
                  <a:lnTo>
                    <a:pt x="569" y="469"/>
                  </a:lnTo>
                  <a:lnTo>
                    <a:pt x="569" y="469"/>
                  </a:lnTo>
                  <a:lnTo>
                    <a:pt x="569" y="467"/>
                  </a:lnTo>
                  <a:lnTo>
                    <a:pt x="567" y="467"/>
                  </a:lnTo>
                  <a:lnTo>
                    <a:pt x="563" y="465"/>
                  </a:lnTo>
                  <a:lnTo>
                    <a:pt x="563" y="465"/>
                  </a:lnTo>
                  <a:lnTo>
                    <a:pt x="563" y="463"/>
                  </a:lnTo>
                  <a:lnTo>
                    <a:pt x="565" y="463"/>
                  </a:lnTo>
                  <a:lnTo>
                    <a:pt x="567" y="461"/>
                  </a:lnTo>
                  <a:lnTo>
                    <a:pt x="567" y="461"/>
                  </a:lnTo>
                  <a:lnTo>
                    <a:pt x="569" y="461"/>
                  </a:lnTo>
                  <a:lnTo>
                    <a:pt x="571" y="459"/>
                  </a:lnTo>
                  <a:lnTo>
                    <a:pt x="573" y="459"/>
                  </a:lnTo>
                  <a:lnTo>
                    <a:pt x="573" y="457"/>
                  </a:lnTo>
                  <a:lnTo>
                    <a:pt x="573" y="457"/>
                  </a:lnTo>
                  <a:lnTo>
                    <a:pt x="569" y="453"/>
                  </a:lnTo>
                  <a:lnTo>
                    <a:pt x="569" y="451"/>
                  </a:lnTo>
                  <a:lnTo>
                    <a:pt x="569" y="451"/>
                  </a:lnTo>
                  <a:lnTo>
                    <a:pt x="569" y="449"/>
                  </a:lnTo>
                  <a:lnTo>
                    <a:pt x="569" y="449"/>
                  </a:lnTo>
                  <a:lnTo>
                    <a:pt x="571" y="447"/>
                  </a:lnTo>
                  <a:lnTo>
                    <a:pt x="571" y="447"/>
                  </a:lnTo>
                  <a:lnTo>
                    <a:pt x="573" y="447"/>
                  </a:lnTo>
                  <a:lnTo>
                    <a:pt x="575" y="447"/>
                  </a:lnTo>
                  <a:lnTo>
                    <a:pt x="577" y="447"/>
                  </a:lnTo>
                  <a:lnTo>
                    <a:pt x="579" y="447"/>
                  </a:lnTo>
                  <a:lnTo>
                    <a:pt x="583" y="447"/>
                  </a:lnTo>
                  <a:lnTo>
                    <a:pt x="583" y="447"/>
                  </a:lnTo>
                  <a:lnTo>
                    <a:pt x="586" y="447"/>
                  </a:lnTo>
                  <a:lnTo>
                    <a:pt x="586" y="447"/>
                  </a:lnTo>
                  <a:lnTo>
                    <a:pt x="586" y="445"/>
                  </a:lnTo>
                  <a:lnTo>
                    <a:pt x="583" y="445"/>
                  </a:lnTo>
                  <a:lnTo>
                    <a:pt x="579" y="443"/>
                  </a:lnTo>
                  <a:lnTo>
                    <a:pt x="577" y="443"/>
                  </a:lnTo>
                  <a:lnTo>
                    <a:pt x="577" y="443"/>
                  </a:lnTo>
                  <a:lnTo>
                    <a:pt x="575" y="443"/>
                  </a:lnTo>
                  <a:lnTo>
                    <a:pt x="573" y="440"/>
                  </a:lnTo>
                  <a:lnTo>
                    <a:pt x="571" y="440"/>
                  </a:lnTo>
                  <a:lnTo>
                    <a:pt x="571" y="440"/>
                  </a:lnTo>
                  <a:lnTo>
                    <a:pt x="571" y="438"/>
                  </a:lnTo>
                  <a:lnTo>
                    <a:pt x="571" y="438"/>
                  </a:lnTo>
                  <a:lnTo>
                    <a:pt x="571" y="438"/>
                  </a:lnTo>
                  <a:lnTo>
                    <a:pt x="573" y="438"/>
                  </a:lnTo>
                  <a:lnTo>
                    <a:pt x="575" y="436"/>
                  </a:lnTo>
                  <a:lnTo>
                    <a:pt x="575" y="436"/>
                  </a:lnTo>
                  <a:lnTo>
                    <a:pt x="575" y="436"/>
                  </a:lnTo>
                  <a:lnTo>
                    <a:pt x="573" y="436"/>
                  </a:lnTo>
                  <a:lnTo>
                    <a:pt x="573" y="436"/>
                  </a:lnTo>
                  <a:lnTo>
                    <a:pt x="573" y="436"/>
                  </a:lnTo>
                  <a:lnTo>
                    <a:pt x="571" y="436"/>
                  </a:lnTo>
                  <a:lnTo>
                    <a:pt x="571" y="436"/>
                  </a:lnTo>
                  <a:lnTo>
                    <a:pt x="569" y="436"/>
                  </a:lnTo>
                  <a:lnTo>
                    <a:pt x="567" y="434"/>
                  </a:lnTo>
                  <a:lnTo>
                    <a:pt x="567" y="434"/>
                  </a:lnTo>
                  <a:lnTo>
                    <a:pt x="567" y="434"/>
                  </a:lnTo>
                  <a:lnTo>
                    <a:pt x="567" y="432"/>
                  </a:lnTo>
                  <a:lnTo>
                    <a:pt x="567" y="432"/>
                  </a:lnTo>
                  <a:lnTo>
                    <a:pt x="567" y="430"/>
                  </a:lnTo>
                  <a:lnTo>
                    <a:pt x="567" y="428"/>
                  </a:lnTo>
                  <a:lnTo>
                    <a:pt x="567" y="428"/>
                  </a:lnTo>
                  <a:lnTo>
                    <a:pt x="569" y="428"/>
                  </a:lnTo>
                  <a:lnTo>
                    <a:pt x="573" y="428"/>
                  </a:lnTo>
                  <a:lnTo>
                    <a:pt x="577" y="430"/>
                  </a:lnTo>
                  <a:lnTo>
                    <a:pt x="577" y="428"/>
                  </a:lnTo>
                  <a:lnTo>
                    <a:pt x="579" y="428"/>
                  </a:lnTo>
                  <a:lnTo>
                    <a:pt x="579" y="428"/>
                  </a:lnTo>
                  <a:lnTo>
                    <a:pt x="586" y="428"/>
                  </a:lnTo>
                  <a:lnTo>
                    <a:pt x="586" y="428"/>
                  </a:lnTo>
                  <a:lnTo>
                    <a:pt x="586" y="428"/>
                  </a:lnTo>
                  <a:lnTo>
                    <a:pt x="592" y="426"/>
                  </a:lnTo>
                  <a:lnTo>
                    <a:pt x="594" y="426"/>
                  </a:lnTo>
                  <a:lnTo>
                    <a:pt x="594" y="426"/>
                  </a:lnTo>
                  <a:lnTo>
                    <a:pt x="596" y="426"/>
                  </a:lnTo>
                  <a:lnTo>
                    <a:pt x="596" y="426"/>
                  </a:lnTo>
                  <a:lnTo>
                    <a:pt x="598" y="424"/>
                  </a:lnTo>
                  <a:lnTo>
                    <a:pt x="600" y="424"/>
                  </a:lnTo>
                  <a:lnTo>
                    <a:pt x="600" y="424"/>
                  </a:lnTo>
                  <a:lnTo>
                    <a:pt x="602" y="424"/>
                  </a:lnTo>
                  <a:lnTo>
                    <a:pt x="604" y="424"/>
                  </a:lnTo>
                  <a:lnTo>
                    <a:pt x="604" y="424"/>
                  </a:lnTo>
                  <a:lnTo>
                    <a:pt x="604" y="424"/>
                  </a:lnTo>
                  <a:lnTo>
                    <a:pt x="606" y="422"/>
                  </a:lnTo>
                  <a:lnTo>
                    <a:pt x="610" y="422"/>
                  </a:lnTo>
                  <a:lnTo>
                    <a:pt x="610" y="422"/>
                  </a:lnTo>
                  <a:lnTo>
                    <a:pt x="612" y="422"/>
                  </a:lnTo>
                  <a:lnTo>
                    <a:pt x="614" y="422"/>
                  </a:lnTo>
                  <a:lnTo>
                    <a:pt x="616" y="422"/>
                  </a:lnTo>
                  <a:lnTo>
                    <a:pt x="616" y="422"/>
                  </a:lnTo>
                  <a:lnTo>
                    <a:pt x="618" y="422"/>
                  </a:lnTo>
                  <a:lnTo>
                    <a:pt x="618" y="422"/>
                  </a:lnTo>
                  <a:lnTo>
                    <a:pt x="618" y="420"/>
                  </a:lnTo>
                  <a:lnTo>
                    <a:pt x="618" y="420"/>
                  </a:lnTo>
                  <a:lnTo>
                    <a:pt x="620" y="418"/>
                  </a:lnTo>
                  <a:lnTo>
                    <a:pt x="620" y="418"/>
                  </a:lnTo>
                  <a:lnTo>
                    <a:pt x="622" y="418"/>
                  </a:lnTo>
                  <a:lnTo>
                    <a:pt x="622" y="418"/>
                  </a:lnTo>
                  <a:lnTo>
                    <a:pt x="625" y="418"/>
                  </a:lnTo>
                  <a:lnTo>
                    <a:pt x="627" y="416"/>
                  </a:lnTo>
                  <a:lnTo>
                    <a:pt x="629" y="418"/>
                  </a:lnTo>
                  <a:lnTo>
                    <a:pt x="631" y="416"/>
                  </a:lnTo>
                  <a:lnTo>
                    <a:pt x="637" y="416"/>
                  </a:lnTo>
                  <a:lnTo>
                    <a:pt x="639" y="416"/>
                  </a:lnTo>
                  <a:lnTo>
                    <a:pt x="643" y="414"/>
                  </a:lnTo>
                  <a:lnTo>
                    <a:pt x="645" y="414"/>
                  </a:lnTo>
                  <a:lnTo>
                    <a:pt x="647" y="414"/>
                  </a:lnTo>
                  <a:lnTo>
                    <a:pt x="651" y="414"/>
                  </a:lnTo>
                  <a:lnTo>
                    <a:pt x="651" y="412"/>
                  </a:lnTo>
                  <a:lnTo>
                    <a:pt x="653" y="412"/>
                  </a:lnTo>
                  <a:lnTo>
                    <a:pt x="655" y="412"/>
                  </a:lnTo>
                  <a:lnTo>
                    <a:pt x="655" y="412"/>
                  </a:lnTo>
                  <a:lnTo>
                    <a:pt x="657" y="412"/>
                  </a:lnTo>
                  <a:lnTo>
                    <a:pt x="657" y="410"/>
                  </a:lnTo>
                  <a:lnTo>
                    <a:pt x="655" y="410"/>
                  </a:lnTo>
                  <a:lnTo>
                    <a:pt x="655" y="408"/>
                  </a:lnTo>
                  <a:lnTo>
                    <a:pt x="657" y="408"/>
                  </a:lnTo>
                  <a:lnTo>
                    <a:pt x="657" y="408"/>
                  </a:lnTo>
                  <a:lnTo>
                    <a:pt x="659" y="408"/>
                  </a:lnTo>
                  <a:lnTo>
                    <a:pt x="661" y="406"/>
                  </a:lnTo>
                  <a:lnTo>
                    <a:pt x="664" y="406"/>
                  </a:lnTo>
                  <a:lnTo>
                    <a:pt x="664" y="403"/>
                  </a:lnTo>
                  <a:lnTo>
                    <a:pt x="668" y="406"/>
                  </a:lnTo>
                  <a:lnTo>
                    <a:pt x="672" y="406"/>
                  </a:lnTo>
                  <a:lnTo>
                    <a:pt x="676" y="406"/>
                  </a:lnTo>
                  <a:lnTo>
                    <a:pt x="678" y="408"/>
                  </a:lnTo>
                  <a:lnTo>
                    <a:pt x="680" y="408"/>
                  </a:lnTo>
                  <a:lnTo>
                    <a:pt x="680" y="408"/>
                  </a:lnTo>
                  <a:lnTo>
                    <a:pt x="682" y="408"/>
                  </a:lnTo>
                  <a:lnTo>
                    <a:pt x="684" y="408"/>
                  </a:lnTo>
                  <a:lnTo>
                    <a:pt x="684" y="408"/>
                  </a:lnTo>
                  <a:lnTo>
                    <a:pt x="684" y="408"/>
                  </a:lnTo>
                  <a:lnTo>
                    <a:pt x="686" y="406"/>
                  </a:lnTo>
                  <a:lnTo>
                    <a:pt x="688" y="406"/>
                  </a:lnTo>
                  <a:lnTo>
                    <a:pt x="690" y="406"/>
                  </a:lnTo>
                  <a:lnTo>
                    <a:pt x="692" y="410"/>
                  </a:lnTo>
                  <a:lnTo>
                    <a:pt x="694" y="412"/>
                  </a:lnTo>
                  <a:lnTo>
                    <a:pt x="698" y="416"/>
                  </a:lnTo>
                  <a:lnTo>
                    <a:pt x="700" y="418"/>
                  </a:lnTo>
                  <a:lnTo>
                    <a:pt x="700" y="420"/>
                  </a:lnTo>
                  <a:lnTo>
                    <a:pt x="700" y="420"/>
                  </a:lnTo>
                  <a:lnTo>
                    <a:pt x="700" y="422"/>
                  </a:lnTo>
                  <a:lnTo>
                    <a:pt x="700" y="424"/>
                  </a:lnTo>
                  <a:lnTo>
                    <a:pt x="700" y="424"/>
                  </a:lnTo>
                  <a:lnTo>
                    <a:pt x="705" y="426"/>
                  </a:lnTo>
                  <a:lnTo>
                    <a:pt x="709" y="426"/>
                  </a:lnTo>
                  <a:lnTo>
                    <a:pt x="711" y="424"/>
                  </a:lnTo>
                  <a:lnTo>
                    <a:pt x="713" y="424"/>
                  </a:lnTo>
                  <a:lnTo>
                    <a:pt x="715" y="424"/>
                  </a:lnTo>
                  <a:lnTo>
                    <a:pt x="715" y="422"/>
                  </a:lnTo>
                  <a:lnTo>
                    <a:pt x="715" y="422"/>
                  </a:lnTo>
                  <a:lnTo>
                    <a:pt x="717" y="424"/>
                  </a:lnTo>
                  <a:lnTo>
                    <a:pt x="717" y="426"/>
                  </a:lnTo>
                  <a:lnTo>
                    <a:pt x="719" y="426"/>
                  </a:lnTo>
                  <a:lnTo>
                    <a:pt x="719" y="428"/>
                  </a:lnTo>
                  <a:lnTo>
                    <a:pt x="721" y="428"/>
                  </a:lnTo>
                  <a:lnTo>
                    <a:pt x="721" y="430"/>
                  </a:lnTo>
                  <a:lnTo>
                    <a:pt x="721" y="428"/>
                  </a:lnTo>
                  <a:lnTo>
                    <a:pt x="723" y="428"/>
                  </a:lnTo>
                  <a:lnTo>
                    <a:pt x="723" y="428"/>
                  </a:lnTo>
                  <a:lnTo>
                    <a:pt x="723" y="428"/>
                  </a:lnTo>
                  <a:lnTo>
                    <a:pt x="721" y="426"/>
                  </a:lnTo>
                  <a:lnTo>
                    <a:pt x="721" y="426"/>
                  </a:lnTo>
                  <a:lnTo>
                    <a:pt x="723" y="426"/>
                  </a:lnTo>
                  <a:lnTo>
                    <a:pt x="723" y="426"/>
                  </a:lnTo>
                  <a:lnTo>
                    <a:pt x="727" y="426"/>
                  </a:lnTo>
                  <a:lnTo>
                    <a:pt x="729" y="428"/>
                  </a:lnTo>
                  <a:lnTo>
                    <a:pt x="731" y="428"/>
                  </a:lnTo>
                  <a:lnTo>
                    <a:pt x="731" y="428"/>
                  </a:lnTo>
                  <a:lnTo>
                    <a:pt x="733" y="428"/>
                  </a:lnTo>
                  <a:lnTo>
                    <a:pt x="735" y="428"/>
                  </a:lnTo>
                  <a:lnTo>
                    <a:pt x="735" y="428"/>
                  </a:lnTo>
                  <a:lnTo>
                    <a:pt x="735" y="428"/>
                  </a:lnTo>
                  <a:lnTo>
                    <a:pt x="737" y="428"/>
                  </a:lnTo>
                  <a:lnTo>
                    <a:pt x="737" y="428"/>
                  </a:lnTo>
                  <a:lnTo>
                    <a:pt x="737" y="428"/>
                  </a:lnTo>
                  <a:lnTo>
                    <a:pt x="737" y="430"/>
                  </a:lnTo>
                  <a:lnTo>
                    <a:pt x="737" y="430"/>
                  </a:lnTo>
                  <a:lnTo>
                    <a:pt x="735" y="432"/>
                  </a:lnTo>
                  <a:lnTo>
                    <a:pt x="735" y="434"/>
                  </a:lnTo>
                  <a:lnTo>
                    <a:pt x="735" y="434"/>
                  </a:lnTo>
                  <a:lnTo>
                    <a:pt x="735" y="436"/>
                  </a:lnTo>
                  <a:lnTo>
                    <a:pt x="737" y="436"/>
                  </a:lnTo>
                  <a:lnTo>
                    <a:pt x="737" y="438"/>
                  </a:lnTo>
                  <a:lnTo>
                    <a:pt x="737" y="438"/>
                  </a:lnTo>
                  <a:lnTo>
                    <a:pt x="737" y="438"/>
                  </a:lnTo>
                  <a:lnTo>
                    <a:pt x="740" y="436"/>
                  </a:lnTo>
                  <a:lnTo>
                    <a:pt x="742" y="434"/>
                  </a:lnTo>
                  <a:lnTo>
                    <a:pt x="744" y="434"/>
                  </a:lnTo>
                  <a:lnTo>
                    <a:pt x="746" y="434"/>
                  </a:lnTo>
                  <a:lnTo>
                    <a:pt x="748" y="436"/>
                  </a:lnTo>
                  <a:lnTo>
                    <a:pt x="750" y="436"/>
                  </a:lnTo>
                  <a:lnTo>
                    <a:pt x="750" y="436"/>
                  </a:lnTo>
                  <a:lnTo>
                    <a:pt x="752" y="436"/>
                  </a:lnTo>
                  <a:lnTo>
                    <a:pt x="752" y="436"/>
                  </a:lnTo>
                  <a:lnTo>
                    <a:pt x="750" y="434"/>
                  </a:lnTo>
                  <a:lnTo>
                    <a:pt x="750" y="434"/>
                  </a:lnTo>
                  <a:lnTo>
                    <a:pt x="754" y="432"/>
                  </a:lnTo>
                  <a:lnTo>
                    <a:pt x="754" y="432"/>
                  </a:lnTo>
                  <a:lnTo>
                    <a:pt x="756" y="430"/>
                  </a:lnTo>
                  <a:lnTo>
                    <a:pt x="756" y="432"/>
                  </a:lnTo>
                  <a:lnTo>
                    <a:pt x="758" y="432"/>
                  </a:lnTo>
                  <a:lnTo>
                    <a:pt x="760" y="430"/>
                  </a:lnTo>
                  <a:lnTo>
                    <a:pt x="760" y="428"/>
                  </a:lnTo>
                  <a:lnTo>
                    <a:pt x="760" y="428"/>
                  </a:lnTo>
                  <a:lnTo>
                    <a:pt x="760" y="428"/>
                  </a:lnTo>
                  <a:lnTo>
                    <a:pt x="760" y="426"/>
                  </a:lnTo>
                  <a:lnTo>
                    <a:pt x="764" y="426"/>
                  </a:lnTo>
                  <a:lnTo>
                    <a:pt x="764" y="426"/>
                  </a:lnTo>
                  <a:lnTo>
                    <a:pt x="766" y="426"/>
                  </a:lnTo>
                  <a:lnTo>
                    <a:pt x="768" y="424"/>
                  </a:lnTo>
                  <a:lnTo>
                    <a:pt x="770" y="422"/>
                  </a:lnTo>
                  <a:lnTo>
                    <a:pt x="774" y="422"/>
                  </a:lnTo>
                  <a:lnTo>
                    <a:pt x="774" y="422"/>
                  </a:lnTo>
                  <a:lnTo>
                    <a:pt x="774" y="422"/>
                  </a:lnTo>
                  <a:lnTo>
                    <a:pt x="776" y="420"/>
                  </a:lnTo>
                  <a:lnTo>
                    <a:pt x="776" y="420"/>
                  </a:lnTo>
                  <a:lnTo>
                    <a:pt x="779" y="422"/>
                  </a:lnTo>
                  <a:lnTo>
                    <a:pt x="776" y="426"/>
                  </a:lnTo>
                  <a:lnTo>
                    <a:pt x="776" y="426"/>
                  </a:lnTo>
                  <a:lnTo>
                    <a:pt x="774" y="426"/>
                  </a:lnTo>
                  <a:lnTo>
                    <a:pt x="774" y="426"/>
                  </a:lnTo>
                  <a:lnTo>
                    <a:pt x="774" y="428"/>
                  </a:lnTo>
                  <a:lnTo>
                    <a:pt x="776" y="428"/>
                  </a:lnTo>
                  <a:lnTo>
                    <a:pt x="776" y="428"/>
                  </a:lnTo>
                  <a:lnTo>
                    <a:pt x="776" y="430"/>
                  </a:lnTo>
                  <a:lnTo>
                    <a:pt x="783" y="432"/>
                  </a:lnTo>
                  <a:lnTo>
                    <a:pt x="787" y="434"/>
                  </a:lnTo>
                  <a:lnTo>
                    <a:pt x="793" y="436"/>
                  </a:lnTo>
                  <a:lnTo>
                    <a:pt x="797" y="438"/>
                  </a:lnTo>
                  <a:lnTo>
                    <a:pt x="799" y="440"/>
                  </a:lnTo>
                  <a:lnTo>
                    <a:pt x="799" y="440"/>
                  </a:lnTo>
                  <a:lnTo>
                    <a:pt x="803" y="445"/>
                  </a:lnTo>
                  <a:lnTo>
                    <a:pt x="807" y="447"/>
                  </a:lnTo>
                  <a:lnTo>
                    <a:pt x="813" y="453"/>
                  </a:lnTo>
                  <a:lnTo>
                    <a:pt x="818" y="457"/>
                  </a:lnTo>
                  <a:lnTo>
                    <a:pt x="824" y="463"/>
                  </a:lnTo>
                  <a:lnTo>
                    <a:pt x="828" y="465"/>
                  </a:lnTo>
                  <a:lnTo>
                    <a:pt x="834" y="471"/>
                  </a:lnTo>
                  <a:lnTo>
                    <a:pt x="836" y="473"/>
                  </a:lnTo>
                  <a:lnTo>
                    <a:pt x="840" y="478"/>
                  </a:lnTo>
                  <a:lnTo>
                    <a:pt x="844" y="482"/>
                  </a:lnTo>
                  <a:lnTo>
                    <a:pt x="846" y="486"/>
                  </a:lnTo>
                  <a:lnTo>
                    <a:pt x="848" y="486"/>
                  </a:lnTo>
                  <a:lnTo>
                    <a:pt x="848" y="484"/>
                  </a:lnTo>
                  <a:lnTo>
                    <a:pt x="848" y="484"/>
                  </a:lnTo>
                  <a:lnTo>
                    <a:pt x="848" y="484"/>
                  </a:lnTo>
                  <a:lnTo>
                    <a:pt x="850" y="482"/>
                  </a:lnTo>
                  <a:lnTo>
                    <a:pt x="850" y="482"/>
                  </a:lnTo>
                  <a:lnTo>
                    <a:pt x="850" y="482"/>
                  </a:lnTo>
                  <a:lnTo>
                    <a:pt x="852" y="482"/>
                  </a:lnTo>
                  <a:lnTo>
                    <a:pt x="852" y="482"/>
                  </a:lnTo>
                  <a:lnTo>
                    <a:pt x="850" y="480"/>
                  </a:lnTo>
                  <a:lnTo>
                    <a:pt x="850" y="480"/>
                  </a:lnTo>
                  <a:lnTo>
                    <a:pt x="850" y="478"/>
                  </a:lnTo>
                  <a:lnTo>
                    <a:pt x="850" y="478"/>
                  </a:lnTo>
                  <a:lnTo>
                    <a:pt x="852" y="478"/>
                  </a:lnTo>
                  <a:lnTo>
                    <a:pt x="852" y="478"/>
                  </a:lnTo>
                  <a:lnTo>
                    <a:pt x="852" y="475"/>
                  </a:lnTo>
                  <a:lnTo>
                    <a:pt x="854" y="475"/>
                  </a:lnTo>
                  <a:lnTo>
                    <a:pt x="854" y="475"/>
                  </a:lnTo>
                  <a:lnTo>
                    <a:pt x="857" y="475"/>
                  </a:lnTo>
                  <a:lnTo>
                    <a:pt x="857" y="478"/>
                  </a:lnTo>
                  <a:lnTo>
                    <a:pt x="859" y="478"/>
                  </a:lnTo>
                  <a:lnTo>
                    <a:pt x="859" y="478"/>
                  </a:lnTo>
                  <a:lnTo>
                    <a:pt x="861" y="478"/>
                  </a:lnTo>
                  <a:lnTo>
                    <a:pt x="861" y="478"/>
                  </a:lnTo>
                  <a:lnTo>
                    <a:pt x="861" y="480"/>
                  </a:lnTo>
                  <a:lnTo>
                    <a:pt x="861" y="482"/>
                  </a:lnTo>
                  <a:lnTo>
                    <a:pt x="861" y="482"/>
                  </a:lnTo>
                  <a:lnTo>
                    <a:pt x="863" y="482"/>
                  </a:lnTo>
                  <a:lnTo>
                    <a:pt x="865" y="482"/>
                  </a:lnTo>
                  <a:lnTo>
                    <a:pt x="865" y="482"/>
                  </a:lnTo>
                  <a:lnTo>
                    <a:pt x="867" y="482"/>
                  </a:lnTo>
                  <a:lnTo>
                    <a:pt x="867" y="484"/>
                  </a:lnTo>
                  <a:lnTo>
                    <a:pt x="867" y="484"/>
                  </a:lnTo>
                  <a:lnTo>
                    <a:pt x="867" y="486"/>
                  </a:lnTo>
                  <a:lnTo>
                    <a:pt x="869" y="486"/>
                  </a:lnTo>
                  <a:lnTo>
                    <a:pt x="871" y="486"/>
                  </a:lnTo>
                  <a:lnTo>
                    <a:pt x="873" y="486"/>
                  </a:lnTo>
                  <a:lnTo>
                    <a:pt x="875" y="486"/>
                  </a:lnTo>
                  <a:lnTo>
                    <a:pt x="877" y="486"/>
                  </a:lnTo>
                  <a:lnTo>
                    <a:pt x="879" y="486"/>
                  </a:lnTo>
                  <a:lnTo>
                    <a:pt x="879" y="486"/>
                  </a:lnTo>
                  <a:lnTo>
                    <a:pt x="883" y="486"/>
                  </a:lnTo>
                  <a:lnTo>
                    <a:pt x="883" y="486"/>
                  </a:lnTo>
                  <a:lnTo>
                    <a:pt x="885" y="484"/>
                  </a:lnTo>
                  <a:lnTo>
                    <a:pt x="885" y="484"/>
                  </a:lnTo>
                  <a:lnTo>
                    <a:pt x="885" y="484"/>
                  </a:lnTo>
                  <a:lnTo>
                    <a:pt x="887" y="484"/>
                  </a:lnTo>
                  <a:lnTo>
                    <a:pt x="889" y="484"/>
                  </a:lnTo>
                  <a:lnTo>
                    <a:pt x="889" y="482"/>
                  </a:lnTo>
                  <a:lnTo>
                    <a:pt x="889" y="482"/>
                  </a:lnTo>
                  <a:lnTo>
                    <a:pt x="891" y="482"/>
                  </a:lnTo>
                  <a:lnTo>
                    <a:pt x="893" y="482"/>
                  </a:lnTo>
                  <a:lnTo>
                    <a:pt x="896" y="482"/>
                  </a:lnTo>
                  <a:lnTo>
                    <a:pt x="898" y="484"/>
                  </a:lnTo>
                  <a:lnTo>
                    <a:pt x="902" y="484"/>
                  </a:lnTo>
                  <a:lnTo>
                    <a:pt x="902" y="486"/>
                  </a:lnTo>
                  <a:lnTo>
                    <a:pt x="904" y="486"/>
                  </a:lnTo>
                  <a:lnTo>
                    <a:pt x="906" y="488"/>
                  </a:lnTo>
                  <a:lnTo>
                    <a:pt x="908" y="490"/>
                  </a:lnTo>
                  <a:lnTo>
                    <a:pt x="908" y="492"/>
                  </a:lnTo>
                  <a:lnTo>
                    <a:pt x="910" y="494"/>
                  </a:lnTo>
                  <a:lnTo>
                    <a:pt x="912" y="494"/>
                  </a:lnTo>
                  <a:lnTo>
                    <a:pt x="912" y="494"/>
                  </a:lnTo>
                  <a:lnTo>
                    <a:pt x="914" y="494"/>
                  </a:lnTo>
                  <a:lnTo>
                    <a:pt x="916" y="496"/>
                  </a:lnTo>
                  <a:lnTo>
                    <a:pt x="920" y="498"/>
                  </a:lnTo>
                  <a:lnTo>
                    <a:pt x="922" y="498"/>
                  </a:lnTo>
                  <a:lnTo>
                    <a:pt x="922" y="498"/>
                  </a:lnTo>
                  <a:lnTo>
                    <a:pt x="922" y="498"/>
                  </a:lnTo>
                  <a:lnTo>
                    <a:pt x="922" y="500"/>
                  </a:lnTo>
                  <a:lnTo>
                    <a:pt x="924" y="500"/>
                  </a:lnTo>
                  <a:lnTo>
                    <a:pt x="926" y="502"/>
                  </a:lnTo>
                  <a:lnTo>
                    <a:pt x="926" y="504"/>
                  </a:lnTo>
                  <a:lnTo>
                    <a:pt x="928" y="504"/>
                  </a:lnTo>
                  <a:lnTo>
                    <a:pt x="928" y="506"/>
                  </a:lnTo>
                  <a:lnTo>
                    <a:pt x="930" y="506"/>
                  </a:lnTo>
                  <a:lnTo>
                    <a:pt x="930" y="506"/>
                  </a:lnTo>
                  <a:lnTo>
                    <a:pt x="932" y="506"/>
                  </a:lnTo>
                  <a:lnTo>
                    <a:pt x="939" y="506"/>
                  </a:lnTo>
                  <a:lnTo>
                    <a:pt x="939" y="506"/>
                  </a:lnTo>
                  <a:lnTo>
                    <a:pt x="941" y="508"/>
                  </a:lnTo>
                  <a:lnTo>
                    <a:pt x="941" y="508"/>
                  </a:lnTo>
                  <a:lnTo>
                    <a:pt x="943" y="508"/>
                  </a:lnTo>
                  <a:lnTo>
                    <a:pt x="943" y="508"/>
                  </a:lnTo>
                  <a:lnTo>
                    <a:pt x="945" y="506"/>
                  </a:lnTo>
                  <a:lnTo>
                    <a:pt x="945" y="506"/>
                  </a:lnTo>
                  <a:lnTo>
                    <a:pt x="945" y="504"/>
                  </a:lnTo>
                  <a:lnTo>
                    <a:pt x="947" y="504"/>
                  </a:lnTo>
                  <a:lnTo>
                    <a:pt x="947" y="502"/>
                  </a:lnTo>
                  <a:lnTo>
                    <a:pt x="949" y="502"/>
                  </a:lnTo>
                  <a:lnTo>
                    <a:pt x="949" y="504"/>
                  </a:lnTo>
                  <a:lnTo>
                    <a:pt x="949" y="504"/>
                  </a:lnTo>
                  <a:lnTo>
                    <a:pt x="949" y="504"/>
                  </a:lnTo>
                  <a:lnTo>
                    <a:pt x="949" y="506"/>
                  </a:lnTo>
                  <a:lnTo>
                    <a:pt x="949" y="506"/>
                  </a:lnTo>
                  <a:lnTo>
                    <a:pt x="951" y="506"/>
                  </a:lnTo>
                  <a:lnTo>
                    <a:pt x="953" y="508"/>
                  </a:lnTo>
                  <a:lnTo>
                    <a:pt x="955" y="510"/>
                  </a:lnTo>
                  <a:lnTo>
                    <a:pt x="957" y="512"/>
                  </a:lnTo>
                  <a:lnTo>
                    <a:pt x="957" y="512"/>
                  </a:lnTo>
                  <a:lnTo>
                    <a:pt x="959" y="512"/>
                  </a:lnTo>
                  <a:lnTo>
                    <a:pt x="961" y="512"/>
                  </a:lnTo>
                  <a:lnTo>
                    <a:pt x="961" y="515"/>
                  </a:lnTo>
                  <a:lnTo>
                    <a:pt x="963" y="515"/>
                  </a:lnTo>
                  <a:lnTo>
                    <a:pt x="963" y="515"/>
                  </a:lnTo>
                  <a:lnTo>
                    <a:pt x="965" y="515"/>
                  </a:lnTo>
                  <a:lnTo>
                    <a:pt x="965" y="515"/>
                  </a:lnTo>
                  <a:lnTo>
                    <a:pt x="965" y="515"/>
                  </a:lnTo>
                  <a:lnTo>
                    <a:pt x="967" y="515"/>
                  </a:lnTo>
                  <a:lnTo>
                    <a:pt x="967" y="515"/>
                  </a:lnTo>
                  <a:lnTo>
                    <a:pt x="969" y="515"/>
                  </a:lnTo>
                  <a:lnTo>
                    <a:pt x="969" y="515"/>
                  </a:lnTo>
                  <a:lnTo>
                    <a:pt x="972" y="515"/>
                  </a:lnTo>
                  <a:lnTo>
                    <a:pt x="972" y="512"/>
                  </a:lnTo>
                  <a:lnTo>
                    <a:pt x="972" y="512"/>
                  </a:lnTo>
                  <a:lnTo>
                    <a:pt x="972" y="512"/>
                  </a:lnTo>
                  <a:lnTo>
                    <a:pt x="972" y="510"/>
                  </a:lnTo>
                  <a:lnTo>
                    <a:pt x="972" y="510"/>
                  </a:lnTo>
                  <a:lnTo>
                    <a:pt x="972" y="508"/>
                  </a:lnTo>
                  <a:lnTo>
                    <a:pt x="974" y="508"/>
                  </a:lnTo>
                  <a:lnTo>
                    <a:pt x="976" y="508"/>
                  </a:lnTo>
                  <a:lnTo>
                    <a:pt x="976" y="508"/>
                  </a:lnTo>
                  <a:lnTo>
                    <a:pt x="978" y="508"/>
                  </a:lnTo>
                  <a:lnTo>
                    <a:pt x="978" y="508"/>
                  </a:lnTo>
                  <a:lnTo>
                    <a:pt x="980" y="508"/>
                  </a:lnTo>
                  <a:lnTo>
                    <a:pt x="980" y="508"/>
                  </a:lnTo>
                  <a:lnTo>
                    <a:pt x="982" y="508"/>
                  </a:lnTo>
                  <a:lnTo>
                    <a:pt x="982" y="508"/>
                  </a:lnTo>
                  <a:lnTo>
                    <a:pt x="982" y="506"/>
                  </a:lnTo>
                  <a:lnTo>
                    <a:pt x="982" y="506"/>
                  </a:lnTo>
                  <a:lnTo>
                    <a:pt x="982" y="508"/>
                  </a:lnTo>
                  <a:lnTo>
                    <a:pt x="982" y="508"/>
                  </a:lnTo>
                  <a:lnTo>
                    <a:pt x="984" y="508"/>
                  </a:lnTo>
                  <a:lnTo>
                    <a:pt x="984" y="508"/>
                  </a:lnTo>
                  <a:lnTo>
                    <a:pt x="986" y="506"/>
                  </a:lnTo>
                  <a:lnTo>
                    <a:pt x="986" y="506"/>
                  </a:lnTo>
                  <a:lnTo>
                    <a:pt x="986" y="506"/>
                  </a:lnTo>
                  <a:lnTo>
                    <a:pt x="986" y="506"/>
                  </a:lnTo>
                  <a:lnTo>
                    <a:pt x="988" y="506"/>
                  </a:lnTo>
                  <a:lnTo>
                    <a:pt x="988" y="504"/>
                  </a:lnTo>
                  <a:lnTo>
                    <a:pt x="990" y="504"/>
                  </a:lnTo>
                  <a:lnTo>
                    <a:pt x="990" y="504"/>
                  </a:lnTo>
                  <a:lnTo>
                    <a:pt x="990" y="504"/>
                  </a:lnTo>
                  <a:lnTo>
                    <a:pt x="990" y="502"/>
                  </a:lnTo>
                  <a:lnTo>
                    <a:pt x="990" y="500"/>
                  </a:lnTo>
                  <a:lnTo>
                    <a:pt x="990" y="500"/>
                  </a:lnTo>
                  <a:lnTo>
                    <a:pt x="992" y="500"/>
                  </a:lnTo>
                  <a:lnTo>
                    <a:pt x="994" y="498"/>
                  </a:lnTo>
                  <a:lnTo>
                    <a:pt x="992" y="498"/>
                  </a:lnTo>
                  <a:lnTo>
                    <a:pt x="994" y="498"/>
                  </a:lnTo>
                  <a:lnTo>
                    <a:pt x="994" y="496"/>
                  </a:lnTo>
                  <a:lnTo>
                    <a:pt x="996" y="496"/>
                  </a:lnTo>
                  <a:lnTo>
                    <a:pt x="996" y="496"/>
                  </a:lnTo>
                  <a:lnTo>
                    <a:pt x="996" y="496"/>
                  </a:lnTo>
                  <a:lnTo>
                    <a:pt x="998" y="494"/>
                  </a:lnTo>
                  <a:lnTo>
                    <a:pt x="1000" y="494"/>
                  </a:lnTo>
                  <a:lnTo>
                    <a:pt x="1002" y="494"/>
                  </a:lnTo>
                  <a:lnTo>
                    <a:pt x="1002" y="494"/>
                  </a:lnTo>
                  <a:lnTo>
                    <a:pt x="1002" y="494"/>
                  </a:lnTo>
                  <a:lnTo>
                    <a:pt x="1002" y="492"/>
                  </a:lnTo>
                  <a:lnTo>
                    <a:pt x="1004" y="492"/>
                  </a:lnTo>
                  <a:lnTo>
                    <a:pt x="1004" y="492"/>
                  </a:lnTo>
                  <a:lnTo>
                    <a:pt x="1006" y="490"/>
                  </a:lnTo>
                  <a:lnTo>
                    <a:pt x="1008" y="490"/>
                  </a:lnTo>
                  <a:lnTo>
                    <a:pt x="1008" y="490"/>
                  </a:lnTo>
                  <a:lnTo>
                    <a:pt x="1008" y="490"/>
                  </a:lnTo>
                  <a:lnTo>
                    <a:pt x="1008" y="490"/>
                  </a:lnTo>
                  <a:lnTo>
                    <a:pt x="1011" y="488"/>
                  </a:lnTo>
                  <a:lnTo>
                    <a:pt x="1011" y="488"/>
                  </a:lnTo>
                  <a:lnTo>
                    <a:pt x="1011" y="488"/>
                  </a:lnTo>
                  <a:lnTo>
                    <a:pt x="1013" y="488"/>
                  </a:lnTo>
                  <a:lnTo>
                    <a:pt x="1013" y="486"/>
                  </a:lnTo>
                  <a:lnTo>
                    <a:pt x="1015" y="486"/>
                  </a:lnTo>
                  <a:lnTo>
                    <a:pt x="1017" y="486"/>
                  </a:lnTo>
                  <a:lnTo>
                    <a:pt x="1019" y="486"/>
                  </a:lnTo>
                  <a:lnTo>
                    <a:pt x="1019" y="486"/>
                  </a:lnTo>
                  <a:lnTo>
                    <a:pt x="1019" y="484"/>
                  </a:lnTo>
                  <a:lnTo>
                    <a:pt x="1019" y="484"/>
                  </a:lnTo>
                  <a:lnTo>
                    <a:pt x="1019" y="484"/>
                  </a:lnTo>
                  <a:lnTo>
                    <a:pt x="1021" y="484"/>
                  </a:lnTo>
                  <a:lnTo>
                    <a:pt x="1023" y="486"/>
                  </a:lnTo>
                  <a:lnTo>
                    <a:pt x="1023" y="486"/>
                  </a:lnTo>
                  <a:lnTo>
                    <a:pt x="1025" y="486"/>
                  </a:lnTo>
                  <a:lnTo>
                    <a:pt x="1025" y="486"/>
                  </a:lnTo>
                  <a:lnTo>
                    <a:pt x="1027" y="486"/>
                  </a:lnTo>
                  <a:lnTo>
                    <a:pt x="1027" y="486"/>
                  </a:lnTo>
                  <a:lnTo>
                    <a:pt x="1027" y="486"/>
                  </a:lnTo>
                  <a:lnTo>
                    <a:pt x="1029" y="486"/>
                  </a:lnTo>
                  <a:lnTo>
                    <a:pt x="1029" y="486"/>
                  </a:lnTo>
                  <a:lnTo>
                    <a:pt x="1029" y="486"/>
                  </a:lnTo>
                  <a:lnTo>
                    <a:pt x="1031" y="488"/>
                  </a:lnTo>
                  <a:lnTo>
                    <a:pt x="1031" y="488"/>
                  </a:lnTo>
                  <a:lnTo>
                    <a:pt x="1033" y="488"/>
                  </a:lnTo>
                  <a:lnTo>
                    <a:pt x="1035" y="488"/>
                  </a:lnTo>
                  <a:lnTo>
                    <a:pt x="1035" y="488"/>
                  </a:lnTo>
                  <a:lnTo>
                    <a:pt x="1037" y="488"/>
                  </a:lnTo>
                  <a:lnTo>
                    <a:pt x="1039" y="488"/>
                  </a:lnTo>
                  <a:lnTo>
                    <a:pt x="1039" y="488"/>
                  </a:lnTo>
                  <a:lnTo>
                    <a:pt x="1041" y="488"/>
                  </a:lnTo>
                  <a:lnTo>
                    <a:pt x="1045" y="488"/>
                  </a:lnTo>
                  <a:lnTo>
                    <a:pt x="1045" y="488"/>
                  </a:lnTo>
                  <a:lnTo>
                    <a:pt x="1047" y="490"/>
                  </a:lnTo>
                  <a:lnTo>
                    <a:pt x="1050" y="490"/>
                  </a:lnTo>
                  <a:lnTo>
                    <a:pt x="1052" y="492"/>
                  </a:lnTo>
                  <a:lnTo>
                    <a:pt x="1052" y="494"/>
                  </a:lnTo>
                  <a:lnTo>
                    <a:pt x="1054" y="494"/>
                  </a:lnTo>
                  <a:lnTo>
                    <a:pt x="1054" y="496"/>
                  </a:lnTo>
                  <a:lnTo>
                    <a:pt x="1054" y="496"/>
                  </a:lnTo>
                  <a:lnTo>
                    <a:pt x="1056" y="496"/>
                  </a:lnTo>
                  <a:lnTo>
                    <a:pt x="1058" y="498"/>
                  </a:lnTo>
                  <a:lnTo>
                    <a:pt x="1058" y="498"/>
                  </a:lnTo>
                  <a:lnTo>
                    <a:pt x="1060" y="498"/>
                  </a:lnTo>
                  <a:lnTo>
                    <a:pt x="1060" y="498"/>
                  </a:lnTo>
                  <a:lnTo>
                    <a:pt x="1060" y="498"/>
                  </a:lnTo>
                  <a:lnTo>
                    <a:pt x="1062" y="498"/>
                  </a:lnTo>
                  <a:lnTo>
                    <a:pt x="1064" y="498"/>
                  </a:lnTo>
                  <a:lnTo>
                    <a:pt x="1064" y="500"/>
                  </a:lnTo>
                  <a:lnTo>
                    <a:pt x="1066" y="500"/>
                  </a:lnTo>
                  <a:lnTo>
                    <a:pt x="1066" y="500"/>
                  </a:lnTo>
                  <a:lnTo>
                    <a:pt x="1068" y="500"/>
                  </a:lnTo>
                  <a:lnTo>
                    <a:pt x="1070" y="500"/>
                  </a:lnTo>
                  <a:lnTo>
                    <a:pt x="1070" y="500"/>
                  </a:lnTo>
                  <a:lnTo>
                    <a:pt x="1072" y="500"/>
                  </a:lnTo>
                  <a:lnTo>
                    <a:pt x="1072" y="500"/>
                  </a:lnTo>
                  <a:lnTo>
                    <a:pt x="1074" y="500"/>
                  </a:lnTo>
                  <a:lnTo>
                    <a:pt x="1074" y="498"/>
                  </a:lnTo>
                  <a:lnTo>
                    <a:pt x="1076" y="498"/>
                  </a:lnTo>
                  <a:lnTo>
                    <a:pt x="1076" y="498"/>
                  </a:lnTo>
                  <a:lnTo>
                    <a:pt x="1076" y="500"/>
                  </a:lnTo>
                  <a:lnTo>
                    <a:pt x="1078" y="500"/>
                  </a:lnTo>
                  <a:lnTo>
                    <a:pt x="1078" y="498"/>
                  </a:lnTo>
                  <a:lnTo>
                    <a:pt x="1078" y="498"/>
                  </a:lnTo>
                  <a:lnTo>
                    <a:pt x="1080" y="498"/>
                  </a:lnTo>
                  <a:lnTo>
                    <a:pt x="1080" y="500"/>
                  </a:lnTo>
                  <a:lnTo>
                    <a:pt x="1082" y="500"/>
                  </a:lnTo>
                  <a:lnTo>
                    <a:pt x="1084" y="500"/>
                  </a:lnTo>
                  <a:lnTo>
                    <a:pt x="1084" y="500"/>
                  </a:lnTo>
                  <a:lnTo>
                    <a:pt x="1084" y="500"/>
                  </a:lnTo>
                  <a:lnTo>
                    <a:pt x="1086" y="500"/>
                  </a:lnTo>
                  <a:lnTo>
                    <a:pt x="1086" y="500"/>
                  </a:lnTo>
                  <a:lnTo>
                    <a:pt x="1089" y="500"/>
                  </a:lnTo>
                  <a:lnTo>
                    <a:pt x="1089" y="500"/>
                  </a:lnTo>
                  <a:lnTo>
                    <a:pt x="1093" y="500"/>
                  </a:lnTo>
                  <a:lnTo>
                    <a:pt x="1095" y="502"/>
                  </a:lnTo>
                  <a:lnTo>
                    <a:pt x="1095" y="502"/>
                  </a:lnTo>
                  <a:lnTo>
                    <a:pt x="1095" y="502"/>
                  </a:lnTo>
                  <a:lnTo>
                    <a:pt x="1097" y="504"/>
                  </a:lnTo>
                  <a:lnTo>
                    <a:pt x="1099" y="504"/>
                  </a:lnTo>
                  <a:lnTo>
                    <a:pt x="1099" y="502"/>
                  </a:lnTo>
                  <a:lnTo>
                    <a:pt x="1101" y="502"/>
                  </a:lnTo>
                  <a:lnTo>
                    <a:pt x="1101" y="500"/>
                  </a:lnTo>
                  <a:lnTo>
                    <a:pt x="1101" y="500"/>
                  </a:lnTo>
                  <a:lnTo>
                    <a:pt x="1103" y="500"/>
                  </a:lnTo>
                  <a:lnTo>
                    <a:pt x="1103" y="500"/>
                  </a:lnTo>
                  <a:lnTo>
                    <a:pt x="1105" y="500"/>
                  </a:lnTo>
                  <a:lnTo>
                    <a:pt x="1105" y="498"/>
                  </a:lnTo>
                  <a:lnTo>
                    <a:pt x="1105" y="498"/>
                  </a:lnTo>
                  <a:lnTo>
                    <a:pt x="1107" y="498"/>
                  </a:lnTo>
                  <a:lnTo>
                    <a:pt x="1107" y="496"/>
                  </a:lnTo>
                  <a:lnTo>
                    <a:pt x="1107" y="496"/>
                  </a:lnTo>
                  <a:lnTo>
                    <a:pt x="1107" y="494"/>
                  </a:lnTo>
                  <a:lnTo>
                    <a:pt x="1107" y="494"/>
                  </a:lnTo>
                  <a:lnTo>
                    <a:pt x="1107" y="492"/>
                  </a:lnTo>
                  <a:lnTo>
                    <a:pt x="1105" y="490"/>
                  </a:lnTo>
                  <a:lnTo>
                    <a:pt x="1105" y="490"/>
                  </a:lnTo>
                  <a:lnTo>
                    <a:pt x="1105" y="490"/>
                  </a:lnTo>
                  <a:lnTo>
                    <a:pt x="1103" y="488"/>
                  </a:lnTo>
                  <a:lnTo>
                    <a:pt x="1101" y="488"/>
                  </a:lnTo>
                  <a:lnTo>
                    <a:pt x="1101" y="488"/>
                  </a:lnTo>
                  <a:lnTo>
                    <a:pt x="1099" y="486"/>
                  </a:lnTo>
                  <a:lnTo>
                    <a:pt x="1099" y="486"/>
                  </a:lnTo>
                  <a:lnTo>
                    <a:pt x="1099" y="484"/>
                  </a:lnTo>
                  <a:lnTo>
                    <a:pt x="1097" y="484"/>
                  </a:lnTo>
                  <a:lnTo>
                    <a:pt x="1097" y="484"/>
                  </a:lnTo>
                  <a:lnTo>
                    <a:pt x="1095" y="482"/>
                  </a:lnTo>
                  <a:lnTo>
                    <a:pt x="1095" y="482"/>
                  </a:lnTo>
                  <a:lnTo>
                    <a:pt x="1095" y="480"/>
                  </a:lnTo>
                  <a:lnTo>
                    <a:pt x="1095" y="478"/>
                  </a:lnTo>
                  <a:lnTo>
                    <a:pt x="1095" y="478"/>
                  </a:lnTo>
                  <a:lnTo>
                    <a:pt x="1095" y="478"/>
                  </a:lnTo>
                  <a:lnTo>
                    <a:pt x="1093" y="475"/>
                  </a:lnTo>
                  <a:lnTo>
                    <a:pt x="1093" y="475"/>
                  </a:lnTo>
                  <a:lnTo>
                    <a:pt x="1093" y="473"/>
                  </a:lnTo>
                  <a:lnTo>
                    <a:pt x="1093" y="473"/>
                  </a:lnTo>
                  <a:lnTo>
                    <a:pt x="1095" y="473"/>
                  </a:lnTo>
                  <a:lnTo>
                    <a:pt x="1095" y="473"/>
                  </a:lnTo>
                  <a:lnTo>
                    <a:pt x="1095" y="471"/>
                  </a:lnTo>
                  <a:lnTo>
                    <a:pt x="1095" y="471"/>
                  </a:lnTo>
                  <a:lnTo>
                    <a:pt x="1095" y="469"/>
                  </a:lnTo>
                  <a:lnTo>
                    <a:pt x="1095" y="469"/>
                  </a:lnTo>
                  <a:lnTo>
                    <a:pt x="1095" y="469"/>
                  </a:lnTo>
                  <a:lnTo>
                    <a:pt x="1099" y="467"/>
                  </a:lnTo>
                  <a:lnTo>
                    <a:pt x="1099" y="465"/>
                  </a:lnTo>
                  <a:lnTo>
                    <a:pt x="1099" y="463"/>
                  </a:lnTo>
                  <a:lnTo>
                    <a:pt x="1099" y="463"/>
                  </a:lnTo>
                  <a:lnTo>
                    <a:pt x="1099" y="461"/>
                  </a:lnTo>
                  <a:lnTo>
                    <a:pt x="1101" y="461"/>
                  </a:lnTo>
                  <a:lnTo>
                    <a:pt x="1103" y="463"/>
                  </a:lnTo>
                  <a:lnTo>
                    <a:pt x="1103" y="463"/>
                  </a:lnTo>
                  <a:lnTo>
                    <a:pt x="1105" y="463"/>
                  </a:lnTo>
                  <a:lnTo>
                    <a:pt x="1109" y="465"/>
                  </a:lnTo>
                  <a:lnTo>
                    <a:pt x="1111" y="465"/>
                  </a:lnTo>
                  <a:lnTo>
                    <a:pt x="1111" y="465"/>
                  </a:lnTo>
                  <a:lnTo>
                    <a:pt x="1113" y="465"/>
                  </a:lnTo>
                  <a:lnTo>
                    <a:pt x="1115" y="467"/>
                  </a:lnTo>
                  <a:lnTo>
                    <a:pt x="1117" y="467"/>
                  </a:lnTo>
                  <a:lnTo>
                    <a:pt x="1119" y="467"/>
                  </a:lnTo>
                  <a:lnTo>
                    <a:pt x="1121" y="467"/>
                  </a:lnTo>
                  <a:lnTo>
                    <a:pt x="1125" y="467"/>
                  </a:lnTo>
                  <a:lnTo>
                    <a:pt x="1125" y="469"/>
                  </a:lnTo>
                  <a:lnTo>
                    <a:pt x="1130" y="469"/>
                  </a:lnTo>
                  <a:lnTo>
                    <a:pt x="1132" y="471"/>
                  </a:lnTo>
                  <a:lnTo>
                    <a:pt x="1136" y="471"/>
                  </a:lnTo>
                  <a:lnTo>
                    <a:pt x="1138" y="471"/>
                  </a:lnTo>
                  <a:lnTo>
                    <a:pt x="1138" y="473"/>
                  </a:lnTo>
                  <a:lnTo>
                    <a:pt x="1140" y="473"/>
                  </a:lnTo>
                  <a:lnTo>
                    <a:pt x="1142" y="473"/>
                  </a:lnTo>
                  <a:lnTo>
                    <a:pt x="1142" y="473"/>
                  </a:lnTo>
                  <a:lnTo>
                    <a:pt x="1146" y="473"/>
                  </a:lnTo>
                  <a:lnTo>
                    <a:pt x="1148" y="473"/>
                  </a:lnTo>
                  <a:lnTo>
                    <a:pt x="1150" y="475"/>
                  </a:lnTo>
                  <a:lnTo>
                    <a:pt x="1152" y="475"/>
                  </a:lnTo>
                  <a:lnTo>
                    <a:pt x="1152" y="475"/>
                  </a:lnTo>
                  <a:lnTo>
                    <a:pt x="1152" y="478"/>
                  </a:lnTo>
                  <a:lnTo>
                    <a:pt x="1154" y="480"/>
                  </a:lnTo>
                  <a:lnTo>
                    <a:pt x="1154" y="480"/>
                  </a:lnTo>
                  <a:lnTo>
                    <a:pt x="1156" y="482"/>
                  </a:lnTo>
                  <a:lnTo>
                    <a:pt x="1156" y="484"/>
                  </a:lnTo>
                  <a:lnTo>
                    <a:pt x="1158" y="484"/>
                  </a:lnTo>
                  <a:lnTo>
                    <a:pt x="1158" y="486"/>
                  </a:lnTo>
                  <a:lnTo>
                    <a:pt x="1158" y="486"/>
                  </a:lnTo>
                  <a:lnTo>
                    <a:pt x="1160" y="486"/>
                  </a:lnTo>
                  <a:lnTo>
                    <a:pt x="1160" y="488"/>
                  </a:lnTo>
                  <a:lnTo>
                    <a:pt x="1160" y="488"/>
                  </a:lnTo>
                  <a:lnTo>
                    <a:pt x="1160" y="488"/>
                  </a:lnTo>
                  <a:lnTo>
                    <a:pt x="1162" y="490"/>
                  </a:lnTo>
                  <a:lnTo>
                    <a:pt x="1162" y="490"/>
                  </a:lnTo>
                  <a:lnTo>
                    <a:pt x="1165" y="490"/>
                  </a:lnTo>
                  <a:lnTo>
                    <a:pt x="1165" y="490"/>
                  </a:lnTo>
                  <a:lnTo>
                    <a:pt x="1169" y="492"/>
                  </a:lnTo>
                  <a:lnTo>
                    <a:pt x="1169" y="492"/>
                  </a:lnTo>
                  <a:lnTo>
                    <a:pt x="1171" y="492"/>
                  </a:lnTo>
                  <a:lnTo>
                    <a:pt x="1175" y="494"/>
                  </a:lnTo>
                  <a:lnTo>
                    <a:pt x="1175" y="494"/>
                  </a:lnTo>
                  <a:lnTo>
                    <a:pt x="1177" y="494"/>
                  </a:lnTo>
                  <a:lnTo>
                    <a:pt x="1179" y="496"/>
                  </a:lnTo>
                  <a:lnTo>
                    <a:pt x="1181" y="496"/>
                  </a:lnTo>
                  <a:lnTo>
                    <a:pt x="1181" y="496"/>
                  </a:lnTo>
                  <a:lnTo>
                    <a:pt x="1183" y="496"/>
                  </a:lnTo>
                  <a:lnTo>
                    <a:pt x="1185" y="496"/>
                  </a:lnTo>
                  <a:lnTo>
                    <a:pt x="1185" y="496"/>
                  </a:lnTo>
                  <a:lnTo>
                    <a:pt x="1187" y="496"/>
                  </a:lnTo>
                  <a:lnTo>
                    <a:pt x="1187" y="496"/>
                  </a:lnTo>
                  <a:lnTo>
                    <a:pt x="1189" y="496"/>
                  </a:lnTo>
                  <a:lnTo>
                    <a:pt x="1191" y="496"/>
                  </a:lnTo>
                  <a:lnTo>
                    <a:pt x="1191" y="494"/>
                  </a:lnTo>
                  <a:lnTo>
                    <a:pt x="1193" y="494"/>
                  </a:lnTo>
                  <a:lnTo>
                    <a:pt x="1193" y="494"/>
                  </a:lnTo>
                  <a:lnTo>
                    <a:pt x="1195" y="494"/>
                  </a:lnTo>
                  <a:lnTo>
                    <a:pt x="1197" y="492"/>
                  </a:lnTo>
                  <a:lnTo>
                    <a:pt x="1199" y="492"/>
                  </a:lnTo>
                  <a:lnTo>
                    <a:pt x="1201" y="492"/>
                  </a:lnTo>
                  <a:lnTo>
                    <a:pt x="1204" y="492"/>
                  </a:lnTo>
                  <a:lnTo>
                    <a:pt x="1204" y="490"/>
                  </a:lnTo>
                  <a:lnTo>
                    <a:pt x="1206" y="490"/>
                  </a:lnTo>
                  <a:lnTo>
                    <a:pt x="1208" y="492"/>
                  </a:lnTo>
                  <a:lnTo>
                    <a:pt x="1210" y="492"/>
                  </a:lnTo>
                  <a:lnTo>
                    <a:pt x="1212" y="492"/>
                  </a:lnTo>
                  <a:lnTo>
                    <a:pt x="1214" y="492"/>
                  </a:lnTo>
                  <a:lnTo>
                    <a:pt x="1216" y="492"/>
                  </a:lnTo>
                  <a:lnTo>
                    <a:pt x="1218" y="494"/>
                  </a:lnTo>
                  <a:lnTo>
                    <a:pt x="1220" y="494"/>
                  </a:lnTo>
                  <a:lnTo>
                    <a:pt x="1224" y="492"/>
                  </a:lnTo>
                  <a:lnTo>
                    <a:pt x="1226" y="494"/>
                  </a:lnTo>
                  <a:lnTo>
                    <a:pt x="1228" y="494"/>
                  </a:lnTo>
                  <a:lnTo>
                    <a:pt x="1230" y="496"/>
                  </a:lnTo>
                  <a:lnTo>
                    <a:pt x="1232" y="498"/>
                  </a:lnTo>
                  <a:lnTo>
                    <a:pt x="1234" y="498"/>
                  </a:lnTo>
                  <a:lnTo>
                    <a:pt x="1236" y="498"/>
                  </a:lnTo>
                  <a:lnTo>
                    <a:pt x="1236" y="498"/>
                  </a:lnTo>
                  <a:lnTo>
                    <a:pt x="1240" y="498"/>
                  </a:lnTo>
                  <a:lnTo>
                    <a:pt x="1245" y="500"/>
                  </a:lnTo>
                  <a:lnTo>
                    <a:pt x="1247" y="500"/>
                  </a:lnTo>
                  <a:lnTo>
                    <a:pt x="1247" y="500"/>
                  </a:lnTo>
                  <a:lnTo>
                    <a:pt x="1247" y="502"/>
                  </a:lnTo>
                  <a:lnTo>
                    <a:pt x="1249" y="504"/>
                  </a:lnTo>
                  <a:lnTo>
                    <a:pt x="1249" y="504"/>
                  </a:lnTo>
                  <a:lnTo>
                    <a:pt x="1249" y="504"/>
                  </a:lnTo>
                  <a:lnTo>
                    <a:pt x="1251" y="504"/>
                  </a:lnTo>
                  <a:lnTo>
                    <a:pt x="1251" y="506"/>
                  </a:lnTo>
                  <a:lnTo>
                    <a:pt x="1253" y="506"/>
                  </a:lnTo>
                  <a:lnTo>
                    <a:pt x="1255" y="506"/>
                  </a:lnTo>
                  <a:lnTo>
                    <a:pt x="1257" y="510"/>
                  </a:lnTo>
                  <a:lnTo>
                    <a:pt x="1259" y="510"/>
                  </a:lnTo>
                  <a:lnTo>
                    <a:pt x="1261" y="510"/>
                  </a:lnTo>
                  <a:lnTo>
                    <a:pt x="1263" y="510"/>
                  </a:lnTo>
                  <a:lnTo>
                    <a:pt x="1265" y="510"/>
                  </a:lnTo>
                  <a:lnTo>
                    <a:pt x="1269" y="510"/>
                  </a:lnTo>
                  <a:lnTo>
                    <a:pt x="1273" y="510"/>
                  </a:lnTo>
                  <a:lnTo>
                    <a:pt x="1275" y="512"/>
                  </a:lnTo>
                  <a:lnTo>
                    <a:pt x="1277" y="512"/>
                  </a:lnTo>
                  <a:lnTo>
                    <a:pt x="1282" y="512"/>
                  </a:lnTo>
                  <a:lnTo>
                    <a:pt x="1286" y="515"/>
                  </a:lnTo>
                  <a:lnTo>
                    <a:pt x="1286" y="512"/>
                  </a:lnTo>
                  <a:lnTo>
                    <a:pt x="1288" y="512"/>
                  </a:lnTo>
                  <a:lnTo>
                    <a:pt x="1290" y="512"/>
                  </a:lnTo>
                  <a:lnTo>
                    <a:pt x="1292" y="515"/>
                  </a:lnTo>
                  <a:lnTo>
                    <a:pt x="1292" y="515"/>
                  </a:lnTo>
                  <a:lnTo>
                    <a:pt x="1294" y="515"/>
                  </a:lnTo>
                  <a:lnTo>
                    <a:pt x="1298" y="510"/>
                  </a:lnTo>
                  <a:lnTo>
                    <a:pt x="1300" y="510"/>
                  </a:lnTo>
                  <a:lnTo>
                    <a:pt x="1300" y="510"/>
                  </a:lnTo>
                  <a:lnTo>
                    <a:pt x="1302" y="510"/>
                  </a:lnTo>
                  <a:lnTo>
                    <a:pt x="1302" y="510"/>
                  </a:lnTo>
                  <a:lnTo>
                    <a:pt x="1304" y="510"/>
                  </a:lnTo>
                  <a:lnTo>
                    <a:pt x="1306" y="510"/>
                  </a:lnTo>
                  <a:lnTo>
                    <a:pt x="1308" y="508"/>
                  </a:lnTo>
                  <a:lnTo>
                    <a:pt x="1310" y="508"/>
                  </a:lnTo>
                  <a:lnTo>
                    <a:pt x="1312" y="508"/>
                  </a:lnTo>
                  <a:lnTo>
                    <a:pt x="1314" y="506"/>
                  </a:lnTo>
                  <a:lnTo>
                    <a:pt x="1316" y="508"/>
                  </a:lnTo>
                  <a:lnTo>
                    <a:pt x="1318" y="506"/>
                  </a:lnTo>
                  <a:lnTo>
                    <a:pt x="1321" y="506"/>
                  </a:lnTo>
                  <a:lnTo>
                    <a:pt x="1321" y="506"/>
                  </a:lnTo>
                  <a:lnTo>
                    <a:pt x="1321" y="504"/>
                  </a:lnTo>
                  <a:lnTo>
                    <a:pt x="1321" y="502"/>
                  </a:lnTo>
                  <a:lnTo>
                    <a:pt x="1323" y="500"/>
                  </a:lnTo>
                  <a:lnTo>
                    <a:pt x="1323" y="500"/>
                  </a:lnTo>
                  <a:lnTo>
                    <a:pt x="1325" y="498"/>
                  </a:lnTo>
                  <a:lnTo>
                    <a:pt x="1327" y="498"/>
                  </a:lnTo>
                  <a:lnTo>
                    <a:pt x="1329" y="496"/>
                  </a:lnTo>
                  <a:lnTo>
                    <a:pt x="1329" y="496"/>
                  </a:lnTo>
                  <a:lnTo>
                    <a:pt x="1331" y="494"/>
                  </a:lnTo>
                  <a:lnTo>
                    <a:pt x="1333" y="494"/>
                  </a:lnTo>
                  <a:lnTo>
                    <a:pt x="1333" y="494"/>
                  </a:lnTo>
                  <a:lnTo>
                    <a:pt x="1337" y="494"/>
                  </a:lnTo>
                  <a:lnTo>
                    <a:pt x="1337" y="494"/>
                  </a:lnTo>
                  <a:lnTo>
                    <a:pt x="1339" y="494"/>
                  </a:lnTo>
                  <a:lnTo>
                    <a:pt x="1341" y="496"/>
                  </a:lnTo>
                  <a:lnTo>
                    <a:pt x="1343" y="496"/>
                  </a:lnTo>
                  <a:lnTo>
                    <a:pt x="1345" y="498"/>
                  </a:lnTo>
                  <a:lnTo>
                    <a:pt x="1349" y="500"/>
                  </a:lnTo>
                  <a:lnTo>
                    <a:pt x="1351" y="500"/>
                  </a:lnTo>
                  <a:lnTo>
                    <a:pt x="1351" y="500"/>
                  </a:lnTo>
                  <a:lnTo>
                    <a:pt x="1353" y="500"/>
                  </a:lnTo>
                  <a:lnTo>
                    <a:pt x="1355" y="500"/>
                  </a:lnTo>
                  <a:lnTo>
                    <a:pt x="1357" y="500"/>
                  </a:lnTo>
                  <a:lnTo>
                    <a:pt x="1357" y="500"/>
                  </a:lnTo>
                  <a:lnTo>
                    <a:pt x="1362" y="498"/>
                  </a:lnTo>
                  <a:lnTo>
                    <a:pt x="1362" y="498"/>
                  </a:lnTo>
                  <a:lnTo>
                    <a:pt x="1364" y="500"/>
                  </a:lnTo>
                  <a:lnTo>
                    <a:pt x="1368" y="500"/>
                  </a:lnTo>
                  <a:lnTo>
                    <a:pt x="1370" y="500"/>
                  </a:lnTo>
                  <a:lnTo>
                    <a:pt x="1370" y="502"/>
                  </a:lnTo>
                  <a:lnTo>
                    <a:pt x="1374" y="504"/>
                  </a:lnTo>
                  <a:lnTo>
                    <a:pt x="1376" y="504"/>
                  </a:lnTo>
                  <a:lnTo>
                    <a:pt x="1380" y="506"/>
                  </a:lnTo>
                  <a:lnTo>
                    <a:pt x="1384" y="506"/>
                  </a:lnTo>
                  <a:lnTo>
                    <a:pt x="1388" y="506"/>
                  </a:lnTo>
                  <a:lnTo>
                    <a:pt x="1390" y="508"/>
                  </a:lnTo>
                  <a:lnTo>
                    <a:pt x="1390" y="508"/>
                  </a:lnTo>
                  <a:lnTo>
                    <a:pt x="1392" y="504"/>
                  </a:lnTo>
                  <a:lnTo>
                    <a:pt x="1394" y="502"/>
                  </a:lnTo>
                  <a:lnTo>
                    <a:pt x="1399" y="500"/>
                  </a:lnTo>
                  <a:lnTo>
                    <a:pt x="1401" y="500"/>
                  </a:lnTo>
                  <a:lnTo>
                    <a:pt x="1403" y="498"/>
                  </a:lnTo>
                  <a:lnTo>
                    <a:pt x="1405" y="498"/>
                  </a:lnTo>
                  <a:lnTo>
                    <a:pt x="1405" y="496"/>
                  </a:lnTo>
                  <a:lnTo>
                    <a:pt x="1403" y="494"/>
                  </a:lnTo>
                  <a:lnTo>
                    <a:pt x="1401" y="492"/>
                  </a:lnTo>
                  <a:lnTo>
                    <a:pt x="1399" y="492"/>
                  </a:lnTo>
                  <a:lnTo>
                    <a:pt x="1399" y="492"/>
                  </a:lnTo>
                  <a:lnTo>
                    <a:pt x="1399" y="492"/>
                  </a:lnTo>
                  <a:lnTo>
                    <a:pt x="1399" y="490"/>
                  </a:lnTo>
                  <a:lnTo>
                    <a:pt x="1399" y="488"/>
                  </a:lnTo>
                  <a:lnTo>
                    <a:pt x="1399" y="488"/>
                  </a:lnTo>
                  <a:lnTo>
                    <a:pt x="1401" y="486"/>
                  </a:lnTo>
                  <a:lnTo>
                    <a:pt x="1399" y="486"/>
                  </a:lnTo>
                  <a:lnTo>
                    <a:pt x="1399" y="484"/>
                  </a:lnTo>
                  <a:lnTo>
                    <a:pt x="1399" y="482"/>
                  </a:lnTo>
                  <a:lnTo>
                    <a:pt x="1399" y="480"/>
                  </a:lnTo>
                  <a:lnTo>
                    <a:pt x="1399" y="480"/>
                  </a:lnTo>
                  <a:lnTo>
                    <a:pt x="1399" y="478"/>
                  </a:lnTo>
                  <a:lnTo>
                    <a:pt x="1399" y="475"/>
                  </a:lnTo>
                  <a:lnTo>
                    <a:pt x="1399" y="473"/>
                  </a:lnTo>
                  <a:lnTo>
                    <a:pt x="1399" y="471"/>
                  </a:lnTo>
                  <a:lnTo>
                    <a:pt x="1399" y="467"/>
                  </a:lnTo>
                  <a:lnTo>
                    <a:pt x="1401" y="465"/>
                  </a:lnTo>
                  <a:lnTo>
                    <a:pt x="1403" y="463"/>
                  </a:lnTo>
                  <a:lnTo>
                    <a:pt x="1403" y="461"/>
                  </a:lnTo>
                  <a:lnTo>
                    <a:pt x="1401" y="459"/>
                  </a:lnTo>
                  <a:lnTo>
                    <a:pt x="1399" y="459"/>
                  </a:lnTo>
                  <a:lnTo>
                    <a:pt x="1397" y="457"/>
                  </a:lnTo>
                  <a:lnTo>
                    <a:pt x="1397" y="455"/>
                  </a:lnTo>
                  <a:lnTo>
                    <a:pt x="1394" y="453"/>
                  </a:lnTo>
                  <a:lnTo>
                    <a:pt x="1392" y="453"/>
                  </a:lnTo>
                  <a:lnTo>
                    <a:pt x="1390" y="453"/>
                  </a:lnTo>
                  <a:lnTo>
                    <a:pt x="1388" y="453"/>
                  </a:lnTo>
                  <a:lnTo>
                    <a:pt x="1386" y="453"/>
                  </a:lnTo>
                  <a:lnTo>
                    <a:pt x="1384" y="451"/>
                  </a:lnTo>
                  <a:lnTo>
                    <a:pt x="1384" y="449"/>
                  </a:lnTo>
                  <a:lnTo>
                    <a:pt x="1386" y="449"/>
                  </a:lnTo>
                  <a:lnTo>
                    <a:pt x="1388" y="447"/>
                  </a:lnTo>
                  <a:lnTo>
                    <a:pt x="1388" y="443"/>
                  </a:lnTo>
                  <a:lnTo>
                    <a:pt x="1390" y="440"/>
                  </a:lnTo>
                  <a:lnTo>
                    <a:pt x="1397" y="440"/>
                  </a:lnTo>
                  <a:lnTo>
                    <a:pt x="1401" y="438"/>
                  </a:lnTo>
                  <a:lnTo>
                    <a:pt x="1405" y="438"/>
                  </a:lnTo>
                  <a:lnTo>
                    <a:pt x="1407" y="436"/>
                  </a:lnTo>
                  <a:lnTo>
                    <a:pt x="1409" y="438"/>
                  </a:lnTo>
                  <a:lnTo>
                    <a:pt x="1411" y="438"/>
                  </a:lnTo>
                  <a:lnTo>
                    <a:pt x="1413" y="438"/>
                  </a:lnTo>
                  <a:lnTo>
                    <a:pt x="1415" y="436"/>
                  </a:lnTo>
                  <a:lnTo>
                    <a:pt x="1417" y="436"/>
                  </a:lnTo>
                  <a:lnTo>
                    <a:pt x="1419" y="436"/>
                  </a:lnTo>
                  <a:lnTo>
                    <a:pt x="1421" y="436"/>
                  </a:lnTo>
                  <a:lnTo>
                    <a:pt x="1423" y="436"/>
                  </a:lnTo>
                  <a:lnTo>
                    <a:pt x="1423" y="436"/>
                  </a:lnTo>
                  <a:lnTo>
                    <a:pt x="1423" y="436"/>
                  </a:lnTo>
                  <a:lnTo>
                    <a:pt x="1423" y="436"/>
                  </a:lnTo>
                  <a:lnTo>
                    <a:pt x="1425" y="436"/>
                  </a:lnTo>
                  <a:lnTo>
                    <a:pt x="1431" y="438"/>
                  </a:lnTo>
                  <a:lnTo>
                    <a:pt x="1433" y="440"/>
                  </a:lnTo>
                  <a:lnTo>
                    <a:pt x="1436" y="438"/>
                  </a:lnTo>
                  <a:lnTo>
                    <a:pt x="1436" y="440"/>
                  </a:lnTo>
                  <a:lnTo>
                    <a:pt x="1438" y="440"/>
                  </a:lnTo>
                  <a:lnTo>
                    <a:pt x="1440" y="443"/>
                  </a:lnTo>
                  <a:lnTo>
                    <a:pt x="1442" y="443"/>
                  </a:lnTo>
                  <a:lnTo>
                    <a:pt x="1446" y="443"/>
                  </a:lnTo>
                  <a:lnTo>
                    <a:pt x="1446" y="443"/>
                  </a:lnTo>
                  <a:lnTo>
                    <a:pt x="1446" y="443"/>
                  </a:lnTo>
                  <a:lnTo>
                    <a:pt x="1448" y="443"/>
                  </a:lnTo>
                  <a:lnTo>
                    <a:pt x="1448" y="443"/>
                  </a:lnTo>
                  <a:lnTo>
                    <a:pt x="1450" y="443"/>
                  </a:lnTo>
                  <a:lnTo>
                    <a:pt x="1454" y="445"/>
                  </a:lnTo>
                  <a:lnTo>
                    <a:pt x="1456" y="445"/>
                  </a:lnTo>
                  <a:lnTo>
                    <a:pt x="1458" y="445"/>
                  </a:lnTo>
                  <a:lnTo>
                    <a:pt x="1458" y="445"/>
                  </a:lnTo>
                  <a:lnTo>
                    <a:pt x="1460" y="447"/>
                  </a:lnTo>
                  <a:lnTo>
                    <a:pt x="1460" y="447"/>
                  </a:lnTo>
                  <a:lnTo>
                    <a:pt x="1460" y="447"/>
                  </a:lnTo>
                  <a:lnTo>
                    <a:pt x="1462" y="449"/>
                  </a:lnTo>
                  <a:lnTo>
                    <a:pt x="1462" y="449"/>
                  </a:lnTo>
                  <a:lnTo>
                    <a:pt x="1464" y="449"/>
                  </a:lnTo>
                  <a:lnTo>
                    <a:pt x="1464" y="449"/>
                  </a:lnTo>
                  <a:lnTo>
                    <a:pt x="1466" y="451"/>
                  </a:lnTo>
                  <a:lnTo>
                    <a:pt x="1468" y="451"/>
                  </a:lnTo>
                  <a:lnTo>
                    <a:pt x="1468" y="451"/>
                  </a:lnTo>
                  <a:lnTo>
                    <a:pt x="1468" y="451"/>
                  </a:lnTo>
                  <a:lnTo>
                    <a:pt x="1468" y="451"/>
                  </a:lnTo>
                  <a:lnTo>
                    <a:pt x="1468" y="453"/>
                  </a:lnTo>
                  <a:lnTo>
                    <a:pt x="1468" y="453"/>
                  </a:lnTo>
                  <a:lnTo>
                    <a:pt x="1470" y="453"/>
                  </a:lnTo>
                  <a:lnTo>
                    <a:pt x="1470" y="453"/>
                  </a:lnTo>
                  <a:lnTo>
                    <a:pt x="1472" y="455"/>
                  </a:lnTo>
                  <a:lnTo>
                    <a:pt x="1472" y="455"/>
                  </a:lnTo>
                  <a:lnTo>
                    <a:pt x="1475" y="455"/>
                  </a:lnTo>
                  <a:lnTo>
                    <a:pt x="1475" y="457"/>
                  </a:lnTo>
                  <a:lnTo>
                    <a:pt x="1477" y="457"/>
                  </a:lnTo>
                  <a:lnTo>
                    <a:pt x="1477" y="457"/>
                  </a:lnTo>
                  <a:lnTo>
                    <a:pt x="1477" y="457"/>
                  </a:lnTo>
                  <a:lnTo>
                    <a:pt x="1479" y="459"/>
                  </a:lnTo>
                  <a:lnTo>
                    <a:pt x="1479" y="459"/>
                  </a:lnTo>
                  <a:lnTo>
                    <a:pt x="1479" y="461"/>
                  </a:lnTo>
                  <a:lnTo>
                    <a:pt x="1481" y="461"/>
                  </a:lnTo>
                  <a:lnTo>
                    <a:pt x="1483" y="463"/>
                  </a:lnTo>
                  <a:lnTo>
                    <a:pt x="1485" y="465"/>
                  </a:lnTo>
                  <a:lnTo>
                    <a:pt x="1487" y="467"/>
                  </a:lnTo>
                  <a:lnTo>
                    <a:pt x="1489" y="469"/>
                  </a:lnTo>
                  <a:lnTo>
                    <a:pt x="1491" y="469"/>
                  </a:lnTo>
                  <a:lnTo>
                    <a:pt x="1491" y="471"/>
                  </a:lnTo>
                  <a:lnTo>
                    <a:pt x="1493" y="471"/>
                  </a:lnTo>
                  <a:lnTo>
                    <a:pt x="1493" y="471"/>
                  </a:lnTo>
                  <a:lnTo>
                    <a:pt x="1493" y="473"/>
                  </a:lnTo>
                  <a:lnTo>
                    <a:pt x="1495" y="473"/>
                  </a:lnTo>
                  <a:lnTo>
                    <a:pt x="1495" y="473"/>
                  </a:lnTo>
                  <a:lnTo>
                    <a:pt x="1495" y="475"/>
                  </a:lnTo>
                  <a:lnTo>
                    <a:pt x="1497" y="475"/>
                  </a:lnTo>
                  <a:lnTo>
                    <a:pt x="1497" y="478"/>
                  </a:lnTo>
                  <a:lnTo>
                    <a:pt x="1499" y="478"/>
                  </a:lnTo>
                  <a:lnTo>
                    <a:pt x="1499" y="480"/>
                  </a:lnTo>
                  <a:lnTo>
                    <a:pt x="1501" y="482"/>
                  </a:lnTo>
                  <a:lnTo>
                    <a:pt x="1507" y="484"/>
                  </a:lnTo>
                  <a:lnTo>
                    <a:pt x="1509" y="486"/>
                  </a:lnTo>
                  <a:lnTo>
                    <a:pt x="1511" y="488"/>
                  </a:lnTo>
                  <a:lnTo>
                    <a:pt x="1511" y="490"/>
                  </a:lnTo>
                  <a:lnTo>
                    <a:pt x="1511" y="490"/>
                  </a:lnTo>
                  <a:lnTo>
                    <a:pt x="1511" y="490"/>
                  </a:lnTo>
                  <a:lnTo>
                    <a:pt x="1514" y="492"/>
                  </a:lnTo>
                  <a:lnTo>
                    <a:pt x="1514" y="492"/>
                  </a:lnTo>
                  <a:lnTo>
                    <a:pt x="1514" y="492"/>
                  </a:lnTo>
                  <a:lnTo>
                    <a:pt x="1516" y="494"/>
                  </a:lnTo>
                  <a:lnTo>
                    <a:pt x="1520" y="496"/>
                  </a:lnTo>
                  <a:lnTo>
                    <a:pt x="1520" y="498"/>
                  </a:lnTo>
                  <a:lnTo>
                    <a:pt x="1520" y="500"/>
                  </a:lnTo>
                  <a:lnTo>
                    <a:pt x="1522" y="500"/>
                  </a:lnTo>
                  <a:lnTo>
                    <a:pt x="1524" y="502"/>
                  </a:lnTo>
                  <a:lnTo>
                    <a:pt x="1526" y="502"/>
                  </a:lnTo>
                  <a:lnTo>
                    <a:pt x="1526" y="504"/>
                  </a:lnTo>
                  <a:lnTo>
                    <a:pt x="1528" y="504"/>
                  </a:lnTo>
                  <a:lnTo>
                    <a:pt x="1530" y="506"/>
                  </a:lnTo>
                  <a:lnTo>
                    <a:pt x="1532" y="506"/>
                  </a:lnTo>
                  <a:lnTo>
                    <a:pt x="1536" y="506"/>
                  </a:lnTo>
                  <a:lnTo>
                    <a:pt x="1540" y="506"/>
                  </a:lnTo>
                  <a:lnTo>
                    <a:pt x="1542" y="506"/>
                  </a:lnTo>
                  <a:lnTo>
                    <a:pt x="1542" y="506"/>
                  </a:lnTo>
                  <a:lnTo>
                    <a:pt x="1544" y="506"/>
                  </a:lnTo>
                  <a:lnTo>
                    <a:pt x="1544" y="508"/>
                  </a:lnTo>
                  <a:lnTo>
                    <a:pt x="1544" y="508"/>
                  </a:lnTo>
                  <a:lnTo>
                    <a:pt x="1546" y="508"/>
                  </a:lnTo>
                  <a:lnTo>
                    <a:pt x="1548" y="508"/>
                  </a:lnTo>
                  <a:lnTo>
                    <a:pt x="1550" y="510"/>
                  </a:lnTo>
                  <a:lnTo>
                    <a:pt x="1550" y="510"/>
                  </a:lnTo>
                  <a:lnTo>
                    <a:pt x="1550" y="510"/>
                  </a:lnTo>
                  <a:lnTo>
                    <a:pt x="1553" y="510"/>
                  </a:lnTo>
                  <a:lnTo>
                    <a:pt x="1553" y="510"/>
                  </a:lnTo>
                  <a:lnTo>
                    <a:pt x="1555" y="510"/>
                  </a:lnTo>
                  <a:lnTo>
                    <a:pt x="1555" y="510"/>
                  </a:lnTo>
                  <a:lnTo>
                    <a:pt x="1555" y="510"/>
                  </a:lnTo>
                  <a:lnTo>
                    <a:pt x="1555" y="510"/>
                  </a:lnTo>
                  <a:lnTo>
                    <a:pt x="1557" y="510"/>
                  </a:lnTo>
                  <a:lnTo>
                    <a:pt x="1559" y="512"/>
                  </a:lnTo>
                  <a:lnTo>
                    <a:pt x="1559" y="512"/>
                  </a:lnTo>
                  <a:lnTo>
                    <a:pt x="1563" y="512"/>
                  </a:lnTo>
                  <a:lnTo>
                    <a:pt x="1569" y="517"/>
                  </a:lnTo>
                  <a:lnTo>
                    <a:pt x="1571" y="519"/>
                  </a:lnTo>
                  <a:lnTo>
                    <a:pt x="1573" y="519"/>
                  </a:lnTo>
                  <a:lnTo>
                    <a:pt x="1577" y="519"/>
                  </a:lnTo>
                  <a:lnTo>
                    <a:pt x="1579" y="521"/>
                  </a:lnTo>
                  <a:lnTo>
                    <a:pt x="1579" y="523"/>
                  </a:lnTo>
                  <a:lnTo>
                    <a:pt x="1579" y="523"/>
                  </a:lnTo>
                  <a:lnTo>
                    <a:pt x="1581" y="525"/>
                  </a:lnTo>
                  <a:lnTo>
                    <a:pt x="1581" y="527"/>
                  </a:lnTo>
                  <a:lnTo>
                    <a:pt x="1583" y="527"/>
                  </a:lnTo>
                  <a:lnTo>
                    <a:pt x="1585" y="527"/>
                  </a:lnTo>
                  <a:lnTo>
                    <a:pt x="1585" y="529"/>
                  </a:lnTo>
                  <a:lnTo>
                    <a:pt x="1587" y="531"/>
                  </a:lnTo>
                  <a:lnTo>
                    <a:pt x="1587" y="533"/>
                  </a:lnTo>
                  <a:lnTo>
                    <a:pt x="1590" y="535"/>
                  </a:lnTo>
                  <a:lnTo>
                    <a:pt x="1592" y="535"/>
                  </a:lnTo>
                  <a:lnTo>
                    <a:pt x="1594" y="537"/>
                  </a:lnTo>
                  <a:lnTo>
                    <a:pt x="1594" y="539"/>
                  </a:lnTo>
                  <a:lnTo>
                    <a:pt x="1596" y="539"/>
                  </a:lnTo>
                  <a:lnTo>
                    <a:pt x="1596" y="539"/>
                  </a:lnTo>
                  <a:lnTo>
                    <a:pt x="1598" y="539"/>
                  </a:lnTo>
                  <a:lnTo>
                    <a:pt x="1600" y="539"/>
                  </a:lnTo>
                  <a:lnTo>
                    <a:pt x="1602" y="539"/>
                  </a:lnTo>
                  <a:lnTo>
                    <a:pt x="1604" y="541"/>
                  </a:lnTo>
                  <a:lnTo>
                    <a:pt x="1608" y="541"/>
                  </a:lnTo>
                  <a:lnTo>
                    <a:pt x="1612" y="539"/>
                  </a:lnTo>
                  <a:lnTo>
                    <a:pt x="1616" y="539"/>
                  </a:lnTo>
                  <a:lnTo>
                    <a:pt x="1616" y="539"/>
                  </a:lnTo>
                  <a:lnTo>
                    <a:pt x="1618" y="539"/>
                  </a:lnTo>
                  <a:lnTo>
                    <a:pt x="1616" y="537"/>
                  </a:lnTo>
                  <a:lnTo>
                    <a:pt x="1618" y="535"/>
                  </a:lnTo>
                  <a:lnTo>
                    <a:pt x="1618" y="535"/>
                  </a:lnTo>
                  <a:lnTo>
                    <a:pt x="1620" y="535"/>
                  </a:lnTo>
                  <a:lnTo>
                    <a:pt x="1620" y="533"/>
                  </a:lnTo>
                  <a:lnTo>
                    <a:pt x="1622" y="533"/>
                  </a:lnTo>
                  <a:lnTo>
                    <a:pt x="1624" y="533"/>
                  </a:lnTo>
                  <a:lnTo>
                    <a:pt x="1626" y="533"/>
                  </a:lnTo>
                  <a:lnTo>
                    <a:pt x="1629" y="533"/>
                  </a:lnTo>
                  <a:lnTo>
                    <a:pt x="1629" y="531"/>
                  </a:lnTo>
                  <a:lnTo>
                    <a:pt x="1631" y="529"/>
                  </a:lnTo>
                  <a:lnTo>
                    <a:pt x="1635" y="529"/>
                  </a:lnTo>
                  <a:lnTo>
                    <a:pt x="1635" y="527"/>
                  </a:lnTo>
                  <a:lnTo>
                    <a:pt x="1637" y="529"/>
                  </a:lnTo>
                  <a:lnTo>
                    <a:pt x="1637" y="529"/>
                  </a:lnTo>
                  <a:lnTo>
                    <a:pt x="1639" y="529"/>
                  </a:lnTo>
                  <a:lnTo>
                    <a:pt x="1643" y="531"/>
                  </a:lnTo>
                  <a:lnTo>
                    <a:pt x="1643" y="531"/>
                  </a:lnTo>
                  <a:lnTo>
                    <a:pt x="1643" y="531"/>
                  </a:lnTo>
                  <a:lnTo>
                    <a:pt x="1643" y="533"/>
                  </a:lnTo>
                  <a:lnTo>
                    <a:pt x="1643" y="533"/>
                  </a:lnTo>
                  <a:lnTo>
                    <a:pt x="1643" y="535"/>
                  </a:lnTo>
                  <a:lnTo>
                    <a:pt x="1645" y="535"/>
                  </a:lnTo>
                  <a:lnTo>
                    <a:pt x="1647" y="537"/>
                  </a:lnTo>
                  <a:lnTo>
                    <a:pt x="1647" y="537"/>
                  </a:lnTo>
                  <a:lnTo>
                    <a:pt x="1649" y="539"/>
                  </a:lnTo>
                  <a:lnTo>
                    <a:pt x="1649" y="541"/>
                  </a:lnTo>
                  <a:lnTo>
                    <a:pt x="1649" y="541"/>
                  </a:lnTo>
                  <a:lnTo>
                    <a:pt x="1649" y="543"/>
                  </a:lnTo>
                  <a:lnTo>
                    <a:pt x="1649" y="543"/>
                  </a:lnTo>
                  <a:lnTo>
                    <a:pt x="1649" y="545"/>
                  </a:lnTo>
                  <a:lnTo>
                    <a:pt x="1647" y="545"/>
                  </a:lnTo>
                  <a:lnTo>
                    <a:pt x="1647" y="545"/>
                  </a:lnTo>
                  <a:lnTo>
                    <a:pt x="1647" y="545"/>
                  </a:lnTo>
                  <a:lnTo>
                    <a:pt x="1647" y="545"/>
                  </a:lnTo>
                  <a:lnTo>
                    <a:pt x="1645" y="545"/>
                  </a:lnTo>
                  <a:lnTo>
                    <a:pt x="1645" y="547"/>
                  </a:lnTo>
                  <a:lnTo>
                    <a:pt x="1647" y="547"/>
                  </a:lnTo>
                  <a:lnTo>
                    <a:pt x="1647" y="549"/>
                  </a:lnTo>
                  <a:lnTo>
                    <a:pt x="1647" y="549"/>
                  </a:lnTo>
                  <a:lnTo>
                    <a:pt x="1647" y="552"/>
                  </a:lnTo>
                  <a:lnTo>
                    <a:pt x="1647" y="554"/>
                  </a:lnTo>
                  <a:lnTo>
                    <a:pt x="1649" y="554"/>
                  </a:lnTo>
                  <a:lnTo>
                    <a:pt x="1649" y="556"/>
                  </a:lnTo>
                  <a:lnTo>
                    <a:pt x="1649" y="556"/>
                  </a:lnTo>
                  <a:lnTo>
                    <a:pt x="1649" y="558"/>
                  </a:lnTo>
                  <a:lnTo>
                    <a:pt x="1651" y="560"/>
                  </a:lnTo>
                  <a:lnTo>
                    <a:pt x="1651" y="562"/>
                  </a:lnTo>
                  <a:lnTo>
                    <a:pt x="1651" y="562"/>
                  </a:lnTo>
                  <a:lnTo>
                    <a:pt x="1651" y="564"/>
                  </a:lnTo>
                  <a:lnTo>
                    <a:pt x="1651" y="564"/>
                  </a:lnTo>
                  <a:lnTo>
                    <a:pt x="1653" y="566"/>
                  </a:lnTo>
                  <a:lnTo>
                    <a:pt x="1653" y="566"/>
                  </a:lnTo>
                  <a:lnTo>
                    <a:pt x="1653" y="566"/>
                  </a:lnTo>
                  <a:lnTo>
                    <a:pt x="1651" y="568"/>
                  </a:lnTo>
                  <a:lnTo>
                    <a:pt x="1651" y="568"/>
                  </a:lnTo>
                  <a:lnTo>
                    <a:pt x="1653" y="570"/>
                  </a:lnTo>
                  <a:lnTo>
                    <a:pt x="1653" y="570"/>
                  </a:lnTo>
                  <a:lnTo>
                    <a:pt x="1653" y="572"/>
                  </a:lnTo>
                  <a:lnTo>
                    <a:pt x="1653" y="572"/>
                  </a:lnTo>
                  <a:lnTo>
                    <a:pt x="1651" y="572"/>
                  </a:lnTo>
                  <a:lnTo>
                    <a:pt x="1651" y="572"/>
                  </a:lnTo>
                  <a:lnTo>
                    <a:pt x="1651" y="574"/>
                  </a:lnTo>
                  <a:lnTo>
                    <a:pt x="1653" y="574"/>
                  </a:lnTo>
                  <a:lnTo>
                    <a:pt x="1653" y="576"/>
                  </a:lnTo>
                  <a:lnTo>
                    <a:pt x="1653" y="576"/>
                  </a:lnTo>
                  <a:lnTo>
                    <a:pt x="1653" y="578"/>
                  </a:lnTo>
                  <a:lnTo>
                    <a:pt x="1653" y="578"/>
                  </a:lnTo>
                  <a:lnTo>
                    <a:pt x="1653" y="578"/>
                  </a:lnTo>
                  <a:lnTo>
                    <a:pt x="1651" y="578"/>
                  </a:lnTo>
                  <a:lnTo>
                    <a:pt x="1651" y="580"/>
                  </a:lnTo>
                  <a:lnTo>
                    <a:pt x="1651" y="582"/>
                  </a:lnTo>
                  <a:lnTo>
                    <a:pt x="1653" y="584"/>
                  </a:lnTo>
                  <a:lnTo>
                    <a:pt x="1653" y="586"/>
                  </a:lnTo>
                  <a:lnTo>
                    <a:pt x="1653" y="586"/>
                  </a:lnTo>
                  <a:lnTo>
                    <a:pt x="1653" y="589"/>
                  </a:lnTo>
                  <a:lnTo>
                    <a:pt x="1651" y="589"/>
                  </a:lnTo>
                  <a:lnTo>
                    <a:pt x="1651" y="586"/>
                  </a:lnTo>
                  <a:lnTo>
                    <a:pt x="1649" y="586"/>
                  </a:lnTo>
                  <a:lnTo>
                    <a:pt x="1647" y="586"/>
                  </a:lnTo>
                  <a:lnTo>
                    <a:pt x="1645" y="586"/>
                  </a:lnTo>
                  <a:lnTo>
                    <a:pt x="1643" y="586"/>
                  </a:lnTo>
                  <a:lnTo>
                    <a:pt x="1639" y="584"/>
                  </a:lnTo>
                  <a:lnTo>
                    <a:pt x="1639" y="584"/>
                  </a:lnTo>
                  <a:lnTo>
                    <a:pt x="1637" y="584"/>
                  </a:lnTo>
                  <a:lnTo>
                    <a:pt x="1635" y="584"/>
                  </a:lnTo>
                  <a:lnTo>
                    <a:pt x="1633" y="582"/>
                  </a:lnTo>
                  <a:lnTo>
                    <a:pt x="1633" y="582"/>
                  </a:lnTo>
                  <a:lnTo>
                    <a:pt x="1633" y="584"/>
                  </a:lnTo>
                  <a:lnTo>
                    <a:pt x="1633" y="584"/>
                  </a:lnTo>
                  <a:lnTo>
                    <a:pt x="1633" y="586"/>
                  </a:lnTo>
                  <a:lnTo>
                    <a:pt x="1633" y="586"/>
                  </a:lnTo>
                  <a:lnTo>
                    <a:pt x="1633" y="589"/>
                  </a:lnTo>
                  <a:lnTo>
                    <a:pt x="1631" y="591"/>
                  </a:lnTo>
                  <a:lnTo>
                    <a:pt x="1629" y="591"/>
                  </a:lnTo>
                  <a:lnTo>
                    <a:pt x="1629" y="591"/>
                  </a:lnTo>
                  <a:lnTo>
                    <a:pt x="1626" y="591"/>
                  </a:lnTo>
                  <a:lnTo>
                    <a:pt x="1626" y="593"/>
                  </a:lnTo>
                  <a:lnTo>
                    <a:pt x="1626" y="593"/>
                  </a:lnTo>
                  <a:lnTo>
                    <a:pt x="1626" y="593"/>
                  </a:lnTo>
                  <a:lnTo>
                    <a:pt x="1626" y="595"/>
                  </a:lnTo>
                  <a:lnTo>
                    <a:pt x="1629" y="597"/>
                  </a:lnTo>
                  <a:lnTo>
                    <a:pt x="1631" y="597"/>
                  </a:lnTo>
                  <a:lnTo>
                    <a:pt x="1633" y="599"/>
                  </a:lnTo>
                  <a:lnTo>
                    <a:pt x="1639" y="607"/>
                  </a:lnTo>
                  <a:lnTo>
                    <a:pt x="1639" y="607"/>
                  </a:lnTo>
                  <a:lnTo>
                    <a:pt x="1641" y="613"/>
                  </a:lnTo>
                  <a:lnTo>
                    <a:pt x="1641" y="613"/>
                  </a:lnTo>
                  <a:lnTo>
                    <a:pt x="1643" y="615"/>
                  </a:lnTo>
                  <a:lnTo>
                    <a:pt x="1643" y="617"/>
                  </a:lnTo>
                  <a:lnTo>
                    <a:pt x="1643" y="617"/>
                  </a:lnTo>
                  <a:lnTo>
                    <a:pt x="1645" y="617"/>
                  </a:lnTo>
                  <a:lnTo>
                    <a:pt x="1645" y="617"/>
                  </a:lnTo>
                  <a:lnTo>
                    <a:pt x="1645" y="619"/>
                  </a:lnTo>
                  <a:lnTo>
                    <a:pt x="1645" y="619"/>
                  </a:lnTo>
                  <a:lnTo>
                    <a:pt x="1645" y="621"/>
                  </a:lnTo>
                  <a:lnTo>
                    <a:pt x="1647" y="623"/>
                  </a:lnTo>
                  <a:lnTo>
                    <a:pt x="1647" y="623"/>
                  </a:lnTo>
                  <a:lnTo>
                    <a:pt x="1647" y="623"/>
                  </a:lnTo>
                  <a:lnTo>
                    <a:pt x="1647" y="626"/>
                  </a:lnTo>
                  <a:lnTo>
                    <a:pt x="1647" y="626"/>
                  </a:lnTo>
                  <a:lnTo>
                    <a:pt x="1647" y="628"/>
                  </a:lnTo>
                  <a:lnTo>
                    <a:pt x="1647" y="628"/>
                  </a:lnTo>
                  <a:lnTo>
                    <a:pt x="1645" y="628"/>
                  </a:lnTo>
                  <a:lnTo>
                    <a:pt x="1645" y="628"/>
                  </a:lnTo>
                  <a:lnTo>
                    <a:pt x="1643" y="628"/>
                  </a:lnTo>
                  <a:lnTo>
                    <a:pt x="1643" y="628"/>
                  </a:lnTo>
                  <a:lnTo>
                    <a:pt x="1641" y="630"/>
                  </a:lnTo>
                  <a:lnTo>
                    <a:pt x="1641" y="630"/>
                  </a:lnTo>
                  <a:lnTo>
                    <a:pt x="1639" y="630"/>
                  </a:lnTo>
                  <a:lnTo>
                    <a:pt x="1639" y="630"/>
                  </a:lnTo>
                  <a:lnTo>
                    <a:pt x="1639" y="630"/>
                  </a:lnTo>
                  <a:lnTo>
                    <a:pt x="1641" y="632"/>
                  </a:lnTo>
                  <a:lnTo>
                    <a:pt x="1641" y="632"/>
                  </a:lnTo>
                  <a:lnTo>
                    <a:pt x="1643" y="632"/>
                  </a:lnTo>
                  <a:lnTo>
                    <a:pt x="1643" y="634"/>
                  </a:lnTo>
                  <a:lnTo>
                    <a:pt x="1643" y="634"/>
                  </a:lnTo>
                  <a:lnTo>
                    <a:pt x="1643" y="634"/>
                  </a:lnTo>
                  <a:lnTo>
                    <a:pt x="1645" y="636"/>
                  </a:lnTo>
                  <a:lnTo>
                    <a:pt x="1647" y="636"/>
                  </a:lnTo>
                  <a:lnTo>
                    <a:pt x="1647" y="638"/>
                  </a:lnTo>
                  <a:lnTo>
                    <a:pt x="1647" y="638"/>
                  </a:lnTo>
                  <a:lnTo>
                    <a:pt x="1647" y="638"/>
                  </a:lnTo>
                  <a:lnTo>
                    <a:pt x="1647" y="634"/>
                  </a:lnTo>
                  <a:lnTo>
                    <a:pt x="1645" y="632"/>
                  </a:lnTo>
                  <a:lnTo>
                    <a:pt x="1645" y="632"/>
                  </a:lnTo>
                  <a:lnTo>
                    <a:pt x="1649" y="632"/>
                  </a:lnTo>
                  <a:lnTo>
                    <a:pt x="1649" y="632"/>
                  </a:lnTo>
                  <a:lnTo>
                    <a:pt x="1651" y="632"/>
                  </a:lnTo>
                  <a:lnTo>
                    <a:pt x="1651" y="630"/>
                  </a:lnTo>
                  <a:lnTo>
                    <a:pt x="1651" y="630"/>
                  </a:lnTo>
                  <a:lnTo>
                    <a:pt x="1653" y="628"/>
                  </a:lnTo>
                  <a:lnTo>
                    <a:pt x="1653" y="626"/>
                  </a:lnTo>
                  <a:lnTo>
                    <a:pt x="1653" y="621"/>
                  </a:lnTo>
                  <a:lnTo>
                    <a:pt x="1655" y="621"/>
                  </a:lnTo>
                  <a:lnTo>
                    <a:pt x="1655" y="619"/>
                  </a:lnTo>
                  <a:lnTo>
                    <a:pt x="1657" y="619"/>
                  </a:lnTo>
                  <a:lnTo>
                    <a:pt x="1657" y="619"/>
                  </a:lnTo>
                  <a:lnTo>
                    <a:pt x="1657" y="621"/>
                  </a:lnTo>
                  <a:lnTo>
                    <a:pt x="1657" y="623"/>
                  </a:lnTo>
                  <a:lnTo>
                    <a:pt x="1657" y="623"/>
                  </a:lnTo>
                  <a:lnTo>
                    <a:pt x="1659" y="623"/>
                  </a:lnTo>
                  <a:lnTo>
                    <a:pt x="1661" y="621"/>
                  </a:lnTo>
                  <a:lnTo>
                    <a:pt x="1661" y="619"/>
                  </a:lnTo>
                  <a:lnTo>
                    <a:pt x="1661" y="621"/>
                  </a:lnTo>
                  <a:lnTo>
                    <a:pt x="1665" y="628"/>
                  </a:lnTo>
                  <a:lnTo>
                    <a:pt x="1668" y="628"/>
                  </a:lnTo>
                  <a:lnTo>
                    <a:pt x="1670" y="628"/>
                  </a:lnTo>
                  <a:lnTo>
                    <a:pt x="1672" y="628"/>
                  </a:lnTo>
                  <a:lnTo>
                    <a:pt x="1674" y="630"/>
                  </a:lnTo>
                  <a:lnTo>
                    <a:pt x="1676" y="630"/>
                  </a:lnTo>
                  <a:lnTo>
                    <a:pt x="1676" y="630"/>
                  </a:lnTo>
                  <a:lnTo>
                    <a:pt x="1678" y="630"/>
                  </a:lnTo>
                  <a:lnTo>
                    <a:pt x="1680" y="632"/>
                  </a:lnTo>
                  <a:lnTo>
                    <a:pt x="1682" y="630"/>
                  </a:lnTo>
                  <a:lnTo>
                    <a:pt x="1684" y="628"/>
                  </a:lnTo>
                  <a:lnTo>
                    <a:pt x="1686" y="628"/>
                  </a:lnTo>
                  <a:lnTo>
                    <a:pt x="1690" y="626"/>
                  </a:lnTo>
                  <a:lnTo>
                    <a:pt x="1690" y="626"/>
                  </a:lnTo>
                  <a:lnTo>
                    <a:pt x="1696" y="619"/>
                  </a:lnTo>
                  <a:lnTo>
                    <a:pt x="1698" y="617"/>
                  </a:lnTo>
                  <a:lnTo>
                    <a:pt x="1700" y="615"/>
                  </a:lnTo>
                  <a:lnTo>
                    <a:pt x="1700" y="613"/>
                  </a:lnTo>
                  <a:lnTo>
                    <a:pt x="1702" y="611"/>
                  </a:lnTo>
                  <a:lnTo>
                    <a:pt x="1702" y="609"/>
                  </a:lnTo>
                  <a:lnTo>
                    <a:pt x="1702" y="609"/>
                  </a:lnTo>
                  <a:lnTo>
                    <a:pt x="1702" y="601"/>
                  </a:lnTo>
                  <a:lnTo>
                    <a:pt x="1702" y="599"/>
                  </a:lnTo>
                  <a:lnTo>
                    <a:pt x="1704" y="599"/>
                  </a:lnTo>
                  <a:lnTo>
                    <a:pt x="1704" y="597"/>
                  </a:lnTo>
                  <a:lnTo>
                    <a:pt x="1704" y="597"/>
                  </a:lnTo>
                  <a:lnTo>
                    <a:pt x="1707" y="593"/>
                  </a:lnTo>
                  <a:lnTo>
                    <a:pt x="1707" y="591"/>
                  </a:lnTo>
                  <a:lnTo>
                    <a:pt x="1707" y="586"/>
                  </a:lnTo>
                  <a:lnTo>
                    <a:pt x="1707" y="584"/>
                  </a:lnTo>
                  <a:lnTo>
                    <a:pt x="1709" y="580"/>
                  </a:lnTo>
                  <a:lnTo>
                    <a:pt x="1711" y="576"/>
                  </a:lnTo>
                  <a:lnTo>
                    <a:pt x="1713" y="574"/>
                  </a:lnTo>
                  <a:lnTo>
                    <a:pt x="1713" y="572"/>
                  </a:lnTo>
                  <a:lnTo>
                    <a:pt x="1715" y="566"/>
                  </a:lnTo>
                  <a:lnTo>
                    <a:pt x="1713" y="562"/>
                  </a:lnTo>
                  <a:lnTo>
                    <a:pt x="1715" y="560"/>
                  </a:lnTo>
                  <a:lnTo>
                    <a:pt x="1713" y="558"/>
                  </a:lnTo>
                  <a:lnTo>
                    <a:pt x="1713" y="554"/>
                  </a:lnTo>
                  <a:lnTo>
                    <a:pt x="1713" y="554"/>
                  </a:lnTo>
                  <a:lnTo>
                    <a:pt x="1711" y="552"/>
                  </a:lnTo>
                  <a:lnTo>
                    <a:pt x="1715" y="545"/>
                  </a:lnTo>
                  <a:lnTo>
                    <a:pt x="1713" y="541"/>
                  </a:lnTo>
                  <a:lnTo>
                    <a:pt x="1713" y="537"/>
                  </a:lnTo>
                  <a:lnTo>
                    <a:pt x="1715" y="535"/>
                  </a:lnTo>
                  <a:lnTo>
                    <a:pt x="1715" y="533"/>
                  </a:lnTo>
                  <a:lnTo>
                    <a:pt x="1715" y="531"/>
                  </a:lnTo>
                  <a:lnTo>
                    <a:pt x="1717" y="529"/>
                  </a:lnTo>
                  <a:lnTo>
                    <a:pt x="1717" y="527"/>
                  </a:lnTo>
                  <a:lnTo>
                    <a:pt x="1717" y="525"/>
                  </a:lnTo>
                  <a:lnTo>
                    <a:pt x="1715" y="521"/>
                  </a:lnTo>
                  <a:lnTo>
                    <a:pt x="1715" y="517"/>
                  </a:lnTo>
                  <a:lnTo>
                    <a:pt x="1713" y="517"/>
                  </a:lnTo>
                  <a:lnTo>
                    <a:pt x="1713" y="517"/>
                  </a:lnTo>
                  <a:lnTo>
                    <a:pt x="1713" y="515"/>
                  </a:lnTo>
                  <a:lnTo>
                    <a:pt x="1711" y="515"/>
                  </a:lnTo>
                  <a:lnTo>
                    <a:pt x="1711" y="512"/>
                  </a:lnTo>
                  <a:lnTo>
                    <a:pt x="1711" y="512"/>
                  </a:lnTo>
                  <a:lnTo>
                    <a:pt x="1711" y="510"/>
                  </a:lnTo>
                  <a:lnTo>
                    <a:pt x="1709" y="506"/>
                  </a:lnTo>
                  <a:lnTo>
                    <a:pt x="1707" y="502"/>
                  </a:lnTo>
                  <a:lnTo>
                    <a:pt x="1704" y="502"/>
                  </a:lnTo>
                  <a:lnTo>
                    <a:pt x="1704" y="500"/>
                  </a:lnTo>
                  <a:lnTo>
                    <a:pt x="1704" y="498"/>
                  </a:lnTo>
                  <a:lnTo>
                    <a:pt x="1704" y="498"/>
                  </a:lnTo>
                  <a:lnTo>
                    <a:pt x="1704" y="498"/>
                  </a:lnTo>
                  <a:lnTo>
                    <a:pt x="1702" y="496"/>
                  </a:lnTo>
                  <a:lnTo>
                    <a:pt x="1702" y="496"/>
                  </a:lnTo>
                  <a:lnTo>
                    <a:pt x="1696" y="490"/>
                  </a:lnTo>
                  <a:lnTo>
                    <a:pt x="1692" y="484"/>
                  </a:lnTo>
                  <a:lnTo>
                    <a:pt x="1692" y="482"/>
                  </a:lnTo>
                  <a:lnTo>
                    <a:pt x="1692" y="480"/>
                  </a:lnTo>
                  <a:lnTo>
                    <a:pt x="1690" y="478"/>
                  </a:lnTo>
                  <a:lnTo>
                    <a:pt x="1690" y="473"/>
                  </a:lnTo>
                  <a:lnTo>
                    <a:pt x="1688" y="469"/>
                  </a:lnTo>
                  <a:lnTo>
                    <a:pt x="1690" y="467"/>
                  </a:lnTo>
                  <a:lnTo>
                    <a:pt x="1690" y="465"/>
                  </a:lnTo>
                  <a:lnTo>
                    <a:pt x="1690" y="465"/>
                  </a:lnTo>
                  <a:lnTo>
                    <a:pt x="1688" y="463"/>
                  </a:lnTo>
                  <a:lnTo>
                    <a:pt x="1688" y="461"/>
                  </a:lnTo>
                  <a:lnTo>
                    <a:pt x="1686" y="459"/>
                  </a:lnTo>
                  <a:lnTo>
                    <a:pt x="1684" y="459"/>
                  </a:lnTo>
                  <a:lnTo>
                    <a:pt x="1682" y="457"/>
                  </a:lnTo>
                  <a:lnTo>
                    <a:pt x="1680" y="455"/>
                  </a:lnTo>
                  <a:lnTo>
                    <a:pt x="1680" y="453"/>
                  </a:lnTo>
                  <a:lnTo>
                    <a:pt x="1678" y="453"/>
                  </a:lnTo>
                  <a:lnTo>
                    <a:pt x="1676" y="449"/>
                  </a:lnTo>
                  <a:lnTo>
                    <a:pt x="1672" y="447"/>
                  </a:lnTo>
                  <a:lnTo>
                    <a:pt x="1668" y="445"/>
                  </a:lnTo>
                  <a:lnTo>
                    <a:pt x="1665" y="445"/>
                  </a:lnTo>
                  <a:lnTo>
                    <a:pt x="1668" y="445"/>
                  </a:lnTo>
                  <a:lnTo>
                    <a:pt x="1672" y="445"/>
                  </a:lnTo>
                  <a:lnTo>
                    <a:pt x="1674" y="445"/>
                  </a:lnTo>
                  <a:lnTo>
                    <a:pt x="1674" y="443"/>
                  </a:lnTo>
                  <a:lnTo>
                    <a:pt x="1672" y="440"/>
                  </a:lnTo>
                  <a:lnTo>
                    <a:pt x="1668" y="440"/>
                  </a:lnTo>
                  <a:lnTo>
                    <a:pt x="1663" y="438"/>
                  </a:lnTo>
                  <a:lnTo>
                    <a:pt x="1663" y="436"/>
                  </a:lnTo>
                  <a:lnTo>
                    <a:pt x="1657" y="436"/>
                  </a:lnTo>
                  <a:lnTo>
                    <a:pt x="1649" y="432"/>
                  </a:lnTo>
                  <a:lnTo>
                    <a:pt x="1645" y="428"/>
                  </a:lnTo>
                  <a:lnTo>
                    <a:pt x="1643" y="428"/>
                  </a:lnTo>
                  <a:lnTo>
                    <a:pt x="1637" y="424"/>
                  </a:lnTo>
                  <a:lnTo>
                    <a:pt x="1635" y="424"/>
                  </a:lnTo>
                  <a:lnTo>
                    <a:pt x="1635" y="424"/>
                  </a:lnTo>
                  <a:lnTo>
                    <a:pt x="1631" y="424"/>
                  </a:lnTo>
                  <a:lnTo>
                    <a:pt x="1626" y="424"/>
                  </a:lnTo>
                  <a:lnTo>
                    <a:pt x="1620" y="422"/>
                  </a:lnTo>
                  <a:lnTo>
                    <a:pt x="1620" y="424"/>
                  </a:lnTo>
                  <a:lnTo>
                    <a:pt x="1620" y="424"/>
                  </a:lnTo>
                  <a:lnTo>
                    <a:pt x="1622" y="426"/>
                  </a:lnTo>
                  <a:lnTo>
                    <a:pt x="1624" y="428"/>
                  </a:lnTo>
                  <a:lnTo>
                    <a:pt x="1626" y="430"/>
                  </a:lnTo>
                  <a:lnTo>
                    <a:pt x="1626" y="432"/>
                  </a:lnTo>
                  <a:lnTo>
                    <a:pt x="1629" y="436"/>
                  </a:lnTo>
                  <a:lnTo>
                    <a:pt x="1626" y="436"/>
                  </a:lnTo>
                  <a:lnTo>
                    <a:pt x="1626" y="436"/>
                  </a:lnTo>
                  <a:lnTo>
                    <a:pt x="1624" y="436"/>
                  </a:lnTo>
                  <a:lnTo>
                    <a:pt x="1624" y="436"/>
                  </a:lnTo>
                  <a:lnTo>
                    <a:pt x="1624" y="434"/>
                  </a:lnTo>
                  <a:lnTo>
                    <a:pt x="1624" y="432"/>
                  </a:lnTo>
                  <a:lnTo>
                    <a:pt x="1622" y="430"/>
                  </a:lnTo>
                  <a:lnTo>
                    <a:pt x="1622" y="428"/>
                  </a:lnTo>
                  <a:lnTo>
                    <a:pt x="1622" y="428"/>
                  </a:lnTo>
                  <a:lnTo>
                    <a:pt x="1620" y="430"/>
                  </a:lnTo>
                  <a:lnTo>
                    <a:pt x="1622" y="432"/>
                  </a:lnTo>
                  <a:lnTo>
                    <a:pt x="1620" y="434"/>
                  </a:lnTo>
                  <a:lnTo>
                    <a:pt x="1616" y="436"/>
                  </a:lnTo>
                  <a:lnTo>
                    <a:pt x="1612" y="436"/>
                  </a:lnTo>
                  <a:lnTo>
                    <a:pt x="1610" y="436"/>
                  </a:lnTo>
                  <a:lnTo>
                    <a:pt x="1610" y="436"/>
                  </a:lnTo>
                  <a:lnTo>
                    <a:pt x="1610" y="434"/>
                  </a:lnTo>
                  <a:lnTo>
                    <a:pt x="1612" y="434"/>
                  </a:lnTo>
                  <a:lnTo>
                    <a:pt x="1612" y="430"/>
                  </a:lnTo>
                  <a:lnTo>
                    <a:pt x="1612" y="430"/>
                  </a:lnTo>
                  <a:lnTo>
                    <a:pt x="1612" y="430"/>
                  </a:lnTo>
                  <a:lnTo>
                    <a:pt x="1610" y="428"/>
                  </a:lnTo>
                  <a:lnTo>
                    <a:pt x="1608" y="428"/>
                  </a:lnTo>
                  <a:lnTo>
                    <a:pt x="1604" y="426"/>
                  </a:lnTo>
                  <a:lnTo>
                    <a:pt x="1604" y="426"/>
                  </a:lnTo>
                  <a:lnTo>
                    <a:pt x="1606" y="426"/>
                  </a:lnTo>
                  <a:lnTo>
                    <a:pt x="1606" y="426"/>
                  </a:lnTo>
                  <a:lnTo>
                    <a:pt x="1606" y="424"/>
                  </a:lnTo>
                  <a:lnTo>
                    <a:pt x="1604" y="424"/>
                  </a:lnTo>
                  <a:lnTo>
                    <a:pt x="1602" y="424"/>
                  </a:lnTo>
                  <a:lnTo>
                    <a:pt x="1600" y="426"/>
                  </a:lnTo>
                  <a:lnTo>
                    <a:pt x="1600" y="426"/>
                  </a:lnTo>
                  <a:lnTo>
                    <a:pt x="1602" y="428"/>
                  </a:lnTo>
                  <a:lnTo>
                    <a:pt x="1604" y="428"/>
                  </a:lnTo>
                  <a:lnTo>
                    <a:pt x="1606" y="432"/>
                  </a:lnTo>
                  <a:lnTo>
                    <a:pt x="1604" y="430"/>
                  </a:lnTo>
                  <a:lnTo>
                    <a:pt x="1602" y="430"/>
                  </a:lnTo>
                  <a:lnTo>
                    <a:pt x="1602" y="432"/>
                  </a:lnTo>
                  <a:lnTo>
                    <a:pt x="1600" y="432"/>
                  </a:lnTo>
                  <a:lnTo>
                    <a:pt x="1598" y="430"/>
                  </a:lnTo>
                  <a:lnTo>
                    <a:pt x="1596" y="428"/>
                  </a:lnTo>
                  <a:lnTo>
                    <a:pt x="1594" y="422"/>
                  </a:lnTo>
                  <a:lnTo>
                    <a:pt x="1592" y="420"/>
                  </a:lnTo>
                  <a:lnTo>
                    <a:pt x="1592" y="418"/>
                  </a:lnTo>
                  <a:lnTo>
                    <a:pt x="1590" y="418"/>
                  </a:lnTo>
                  <a:lnTo>
                    <a:pt x="1587" y="418"/>
                  </a:lnTo>
                  <a:lnTo>
                    <a:pt x="1587" y="418"/>
                  </a:lnTo>
                  <a:lnTo>
                    <a:pt x="1581" y="418"/>
                  </a:lnTo>
                  <a:lnTo>
                    <a:pt x="1577" y="418"/>
                  </a:lnTo>
                  <a:lnTo>
                    <a:pt x="1571" y="416"/>
                  </a:lnTo>
                  <a:lnTo>
                    <a:pt x="1569" y="416"/>
                  </a:lnTo>
                  <a:lnTo>
                    <a:pt x="1567" y="416"/>
                  </a:lnTo>
                  <a:lnTo>
                    <a:pt x="1565" y="414"/>
                  </a:lnTo>
                  <a:lnTo>
                    <a:pt x="1565" y="412"/>
                  </a:lnTo>
                  <a:lnTo>
                    <a:pt x="1565" y="412"/>
                  </a:lnTo>
                  <a:lnTo>
                    <a:pt x="1565" y="410"/>
                  </a:lnTo>
                  <a:lnTo>
                    <a:pt x="1567" y="408"/>
                  </a:lnTo>
                  <a:lnTo>
                    <a:pt x="1571" y="406"/>
                  </a:lnTo>
                  <a:lnTo>
                    <a:pt x="1571" y="401"/>
                  </a:lnTo>
                  <a:lnTo>
                    <a:pt x="1571" y="401"/>
                  </a:lnTo>
                  <a:lnTo>
                    <a:pt x="1575" y="399"/>
                  </a:lnTo>
                  <a:lnTo>
                    <a:pt x="1575" y="397"/>
                  </a:lnTo>
                  <a:lnTo>
                    <a:pt x="1577" y="395"/>
                  </a:lnTo>
                  <a:lnTo>
                    <a:pt x="1577" y="393"/>
                  </a:lnTo>
                  <a:lnTo>
                    <a:pt x="1579" y="391"/>
                  </a:lnTo>
                  <a:lnTo>
                    <a:pt x="1579" y="391"/>
                  </a:lnTo>
                  <a:lnTo>
                    <a:pt x="1581" y="387"/>
                  </a:lnTo>
                  <a:lnTo>
                    <a:pt x="1581" y="385"/>
                  </a:lnTo>
                  <a:lnTo>
                    <a:pt x="1579" y="383"/>
                  </a:lnTo>
                  <a:lnTo>
                    <a:pt x="1579" y="383"/>
                  </a:lnTo>
                  <a:lnTo>
                    <a:pt x="1581" y="377"/>
                  </a:lnTo>
                  <a:lnTo>
                    <a:pt x="1583" y="375"/>
                  </a:lnTo>
                  <a:lnTo>
                    <a:pt x="1583" y="373"/>
                  </a:lnTo>
                  <a:lnTo>
                    <a:pt x="1585" y="371"/>
                  </a:lnTo>
                  <a:lnTo>
                    <a:pt x="1585" y="371"/>
                  </a:lnTo>
                  <a:lnTo>
                    <a:pt x="1585" y="369"/>
                  </a:lnTo>
                  <a:lnTo>
                    <a:pt x="1587" y="369"/>
                  </a:lnTo>
                  <a:lnTo>
                    <a:pt x="1587" y="366"/>
                  </a:lnTo>
                  <a:lnTo>
                    <a:pt x="1587" y="364"/>
                  </a:lnTo>
                  <a:lnTo>
                    <a:pt x="1592" y="362"/>
                  </a:lnTo>
                  <a:lnTo>
                    <a:pt x="1592" y="362"/>
                  </a:lnTo>
                  <a:lnTo>
                    <a:pt x="1587" y="356"/>
                  </a:lnTo>
                  <a:lnTo>
                    <a:pt x="1587" y="354"/>
                  </a:lnTo>
                  <a:lnTo>
                    <a:pt x="1590" y="352"/>
                  </a:lnTo>
                  <a:lnTo>
                    <a:pt x="1592" y="350"/>
                  </a:lnTo>
                  <a:lnTo>
                    <a:pt x="1594" y="348"/>
                  </a:lnTo>
                  <a:lnTo>
                    <a:pt x="1594" y="346"/>
                  </a:lnTo>
                  <a:lnTo>
                    <a:pt x="1594" y="342"/>
                  </a:lnTo>
                  <a:lnTo>
                    <a:pt x="1596" y="340"/>
                  </a:lnTo>
                  <a:lnTo>
                    <a:pt x="1598" y="338"/>
                  </a:lnTo>
                  <a:lnTo>
                    <a:pt x="1602" y="336"/>
                  </a:lnTo>
                  <a:lnTo>
                    <a:pt x="1608" y="336"/>
                  </a:lnTo>
                  <a:lnTo>
                    <a:pt x="1610" y="336"/>
                  </a:lnTo>
                  <a:lnTo>
                    <a:pt x="1614" y="336"/>
                  </a:lnTo>
                  <a:lnTo>
                    <a:pt x="1620" y="336"/>
                  </a:lnTo>
                  <a:lnTo>
                    <a:pt x="1633" y="336"/>
                  </a:lnTo>
                  <a:lnTo>
                    <a:pt x="1637" y="336"/>
                  </a:lnTo>
                  <a:lnTo>
                    <a:pt x="1639" y="338"/>
                  </a:lnTo>
                  <a:lnTo>
                    <a:pt x="1641" y="340"/>
                  </a:lnTo>
                  <a:lnTo>
                    <a:pt x="1643" y="340"/>
                  </a:lnTo>
                  <a:lnTo>
                    <a:pt x="1645" y="338"/>
                  </a:lnTo>
                  <a:lnTo>
                    <a:pt x="1645" y="336"/>
                  </a:lnTo>
                  <a:lnTo>
                    <a:pt x="1645" y="336"/>
                  </a:lnTo>
                  <a:lnTo>
                    <a:pt x="1649" y="336"/>
                  </a:lnTo>
                  <a:lnTo>
                    <a:pt x="1653" y="336"/>
                  </a:lnTo>
                  <a:lnTo>
                    <a:pt x="1661" y="338"/>
                  </a:lnTo>
                  <a:lnTo>
                    <a:pt x="1663" y="338"/>
                  </a:lnTo>
                  <a:lnTo>
                    <a:pt x="1663" y="336"/>
                  </a:lnTo>
                  <a:lnTo>
                    <a:pt x="1668" y="336"/>
                  </a:lnTo>
                  <a:lnTo>
                    <a:pt x="1674" y="338"/>
                  </a:lnTo>
                  <a:lnTo>
                    <a:pt x="1676" y="338"/>
                  </a:lnTo>
                  <a:lnTo>
                    <a:pt x="1678" y="338"/>
                  </a:lnTo>
                  <a:lnTo>
                    <a:pt x="1678" y="336"/>
                  </a:lnTo>
                  <a:lnTo>
                    <a:pt x="1676" y="336"/>
                  </a:lnTo>
                  <a:lnTo>
                    <a:pt x="1676" y="336"/>
                  </a:lnTo>
                  <a:lnTo>
                    <a:pt x="1674" y="336"/>
                  </a:lnTo>
                  <a:lnTo>
                    <a:pt x="1674" y="334"/>
                  </a:lnTo>
                  <a:lnTo>
                    <a:pt x="1676" y="334"/>
                  </a:lnTo>
                  <a:lnTo>
                    <a:pt x="1678" y="334"/>
                  </a:lnTo>
                  <a:lnTo>
                    <a:pt x="1680" y="334"/>
                  </a:lnTo>
                  <a:lnTo>
                    <a:pt x="1678" y="334"/>
                  </a:lnTo>
                  <a:lnTo>
                    <a:pt x="1678" y="334"/>
                  </a:lnTo>
                  <a:lnTo>
                    <a:pt x="1676" y="332"/>
                  </a:lnTo>
                  <a:lnTo>
                    <a:pt x="1676" y="329"/>
                  </a:lnTo>
                  <a:lnTo>
                    <a:pt x="1678" y="329"/>
                  </a:lnTo>
                  <a:lnTo>
                    <a:pt x="1680" y="329"/>
                  </a:lnTo>
                  <a:lnTo>
                    <a:pt x="1690" y="332"/>
                  </a:lnTo>
                  <a:lnTo>
                    <a:pt x="1690" y="332"/>
                  </a:lnTo>
                  <a:lnTo>
                    <a:pt x="1694" y="332"/>
                  </a:lnTo>
                  <a:lnTo>
                    <a:pt x="1696" y="334"/>
                  </a:lnTo>
                  <a:lnTo>
                    <a:pt x="1696" y="334"/>
                  </a:lnTo>
                  <a:lnTo>
                    <a:pt x="1696" y="334"/>
                  </a:lnTo>
                  <a:lnTo>
                    <a:pt x="1696" y="334"/>
                  </a:lnTo>
                  <a:lnTo>
                    <a:pt x="1698" y="334"/>
                  </a:lnTo>
                  <a:lnTo>
                    <a:pt x="1700" y="336"/>
                  </a:lnTo>
                  <a:lnTo>
                    <a:pt x="1700" y="334"/>
                  </a:lnTo>
                  <a:lnTo>
                    <a:pt x="1700" y="334"/>
                  </a:lnTo>
                  <a:lnTo>
                    <a:pt x="1700" y="334"/>
                  </a:lnTo>
                  <a:lnTo>
                    <a:pt x="1700" y="332"/>
                  </a:lnTo>
                  <a:lnTo>
                    <a:pt x="1702" y="334"/>
                  </a:lnTo>
                  <a:lnTo>
                    <a:pt x="1707" y="334"/>
                  </a:lnTo>
                  <a:lnTo>
                    <a:pt x="1709" y="334"/>
                  </a:lnTo>
                  <a:lnTo>
                    <a:pt x="1715" y="338"/>
                  </a:lnTo>
                  <a:lnTo>
                    <a:pt x="1719" y="338"/>
                  </a:lnTo>
                  <a:lnTo>
                    <a:pt x="1721" y="338"/>
                  </a:lnTo>
                  <a:lnTo>
                    <a:pt x="1721" y="338"/>
                  </a:lnTo>
                  <a:lnTo>
                    <a:pt x="1723" y="338"/>
                  </a:lnTo>
                  <a:lnTo>
                    <a:pt x="1721" y="340"/>
                  </a:lnTo>
                  <a:lnTo>
                    <a:pt x="1717" y="340"/>
                  </a:lnTo>
                  <a:lnTo>
                    <a:pt x="1715" y="340"/>
                  </a:lnTo>
                  <a:lnTo>
                    <a:pt x="1711" y="342"/>
                  </a:lnTo>
                  <a:lnTo>
                    <a:pt x="1717" y="344"/>
                  </a:lnTo>
                  <a:lnTo>
                    <a:pt x="1723" y="344"/>
                  </a:lnTo>
                  <a:lnTo>
                    <a:pt x="1727" y="344"/>
                  </a:lnTo>
                  <a:lnTo>
                    <a:pt x="1725" y="342"/>
                  </a:lnTo>
                  <a:lnTo>
                    <a:pt x="1727" y="342"/>
                  </a:lnTo>
                  <a:lnTo>
                    <a:pt x="1729" y="342"/>
                  </a:lnTo>
                  <a:lnTo>
                    <a:pt x="1731" y="344"/>
                  </a:lnTo>
                  <a:lnTo>
                    <a:pt x="1735" y="344"/>
                  </a:lnTo>
                  <a:lnTo>
                    <a:pt x="1735" y="344"/>
                  </a:lnTo>
                  <a:lnTo>
                    <a:pt x="1737" y="342"/>
                  </a:lnTo>
                  <a:lnTo>
                    <a:pt x="1737" y="342"/>
                  </a:lnTo>
                  <a:lnTo>
                    <a:pt x="1739" y="342"/>
                  </a:lnTo>
                  <a:lnTo>
                    <a:pt x="1737" y="340"/>
                  </a:lnTo>
                  <a:lnTo>
                    <a:pt x="1741" y="338"/>
                  </a:lnTo>
                  <a:lnTo>
                    <a:pt x="1746" y="340"/>
                  </a:lnTo>
                  <a:lnTo>
                    <a:pt x="1750" y="342"/>
                  </a:lnTo>
                  <a:lnTo>
                    <a:pt x="1752" y="340"/>
                  </a:lnTo>
                  <a:lnTo>
                    <a:pt x="1752" y="340"/>
                  </a:lnTo>
                  <a:lnTo>
                    <a:pt x="1752" y="340"/>
                  </a:lnTo>
                  <a:lnTo>
                    <a:pt x="1756" y="340"/>
                  </a:lnTo>
                  <a:lnTo>
                    <a:pt x="1758" y="340"/>
                  </a:lnTo>
                  <a:lnTo>
                    <a:pt x="1760" y="340"/>
                  </a:lnTo>
                  <a:lnTo>
                    <a:pt x="1762" y="340"/>
                  </a:lnTo>
                  <a:lnTo>
                    <a:pt x="1760" y="338"/>
                  </a:lnTo>
                  <a:lnTo>
                    <a:pt x="1758" y="336"/>
                  </a:lnTo>
                  <a:lnTo>
                    <a:pt x="1754" y="336"/>
                  </a:lnTo>
                  <a:lnTo>
                    <a:pt x="1748" y="334"/>
                  </a:lnTo>
                  <a:lnTo>
                    <a:pt x="1746" y="334"/>
                  </a:lnTo>
                  <a:lnTo>
                    <a:pt x="1746" y="334"/>
                  </a:lnTo>
                  <a:lnTo>
                    <a:pt x="1743" y="334"/>
                  </a:lnTo>
                  <a:lnTo>
                    <a:pt x="1743" y="334"/>
                  </a:lnTo>
                  <a:lnTo>
                    <a:pt x="1741" y="332"/>
                  </a:lnTo>
                  <a:lnTo>
                    <a:pt x="1741" y="332"/>
                  </a:lnTo>
                  <a:lnTo>
                    <a:pt x="1741" y="329"/>
                  </a:lnTo>
                  <a:lnTo>
                    <a:pt x="1739" y="327"/>
                  </a:lnTo>
                  <a:lnTo>
                    <a:pt x="1739" y="327"/>
                  </a:lnTo>
                  <a:lnTo>
                    <a:pt x="1739" y="327"/>
                  </a:lnTo>
                  <a:lnTo>
                    <a:pt x="1737" y="323"/>
                  </a:lnTo>
                  <a:lnTo>
                    <a:pt x="1739" y="319"/>
                  </a:lnTo>
                  <a:lnTo>
                    <a:pt x="1741" y="317"/>
                  </a:lnTo>
                  <a:lnTo>
                    <a:pt x="1743" y="315"/>
                  </a:lnTo>
                  <a:lnTo>
                    <a:pt x="1743" y="313"/>
                  </a:lnTo>
                  <a:lnTo>
                    <a:pt x="1741" y="309"/>
                  </a:lnTo>
                  <a:lnTo>
                    <a:pt x="1741" y="307"/>
                  </a:lnTo>
                  <a:lnTo>
                    <a:pt x="1743" y="305"/>
                  </a:lnTo>
                  <a:lnTo>
                    <a:pt x="1743" y="305"/>
                  </a:lnTo>
                  <a:lnTo>
                    <a:pt x="1741" y="301"/>
                  </a:lnTo>
                  <a:lnTo>
                    <a:pt x="1741" y="301"/>
                  </a:lnTo>
                  <a:lnTo>
                    <a:pt x="1741" y="299"/>
                  </a:lnTo>
                  <a:lnTo>
                    <a:pt x="1741" y="297"/>
                  </a:lnTo>
                  <a:lnTo>
                    <a:pt x="1743" y="297"/>
                  </a:lnTo>
                  <a:lnTo>
                    <a:pt x="1746" y="295"/>
                  </a:lnTo>
                  <a:lnTo>
                    <a:pt x="1750" y="297"/>
                  </a:lnTo>
                  <a:lnTo>
                    <a:pt x="1754" y="297"/>
                  </a:lnTo>
                  <a:lnTo>
                    <a:pt x="1754" y="297"/>
                  </a:lnTo>
                  <a:lnTo>
                    <a:pt x="1756" y="295"/>
                  </a:lnTo>
                  <a:lnTo>
                    <a:pt x="1758" y="295"/>
                  </a:lnTo>
                  <a:lnTo>
                    <a:pt x="1762" y="295"/>
                  </a:lnTo>
                  <a:lnTo>
                    <a:pt x="1762" y="292"/>
                  </a:lnTo>
                  <a:lnTo>
                    <a:pt x="1764" y="292"/>
                  </a:lnTo>
                  <a:lnTo>
                    <a:pt x="1766" y="295"/>
                  </a:lnTo>
                  <a:lnTo>
                    <a:pt x="1770" y="295"/>
                  </a:lnTo>
                  <a:lnTo>
                    <a:pt x="1770" y="297"/>
                  </a:lnTo>
                  <a:lnTo>
                    <a:pt x="1772" y="297"/>
                  </a:lnTo>
                  <a:lnTo>
                    <a:pt x="1774" y="297"/>
                  </a:lnTo>
                  <a:lnTo>
                    <a:pt x="1776" y="295"/>
                  </a:lnTo>
                  <a:lnTo>
                    <a:pt x="1778" y="295"/>
                  </a:lnTo>
                  <a:lnTo>
                    <a:pt x="1778" y="295"/>
                  </a:lnTo>
                  <a:lnTo>
                    <a:pt x="1780" y="295"/>
                  </a:lnTo>
                  <a:lnTo>
                    <a:pt x="1780" y="297"/>
                  </a:lnTo>
                  <a:lnTo>
                    <a:pt x="1782" y="299"/>
                  </a:lnTo>
                  <a:lnTo>
                    <a:pt x="1785" y="301"/>
                  </a:lnTo>
                  <a:lnTo>
                    <a:pt x="1785" y="303"/>
                  </a:lnTo>
                  <a:lnTo>
                    <a:pt x="1785" y="305"/>
                  </a:lnTo>
                  <a:lnTo>
                    <a:pt x="1787" y="305"/>
                  </a:lnTo>
                  <a:lnTo>
                    <a:pt x="1789" y="307"/>
                  </a:lnTo>
                  <a:lnTo>
                    <a:pt x="1789" y="309"/>
                  </a:lnTo>
                  <a:lnTo>
                    <a:pt x="1791" y="309"/>
                  </a:lnTo>
                  <a:lnTo>
                    <a:pt x="1791" y="309"/>
                  </a:lnTo>
                  <a:lnTo>
                    <a:pt x="1791" y="309"/>
                  </a:lnTo>
                  <a:lnTo>
                    <a:pt x="1793" y="309"/>
                  </a:lnTo>
                  <a:lnTo>
                    <a:pt x="1795" y="309"/>
                  </a:lnTo>
                  <a:lnTo>
                    <a:pt x="1797" y="309"/>
                  </a:lnTo>
                  <a:lnTo>
                    <a:pt x="1797" y="311"/>
                  </a:lnTo>
                  <a:lnTo>
                    <a:pt x="1799" y="313"/>
                  </a:lnTo>
                  <a:lnTo>
                    <a:pt x="1799" y="313"/>
                  </a:lnTo>
                  <a:lnTo>
                    <a:pt x="1801" y="315"/>
                  </a:lnTo>
                  <a:lnTo>
                    <a:pt x="1801" y="315"/>
                  </a:lnTo>
                  <a:lnTo>
                    <a:pt x="1801" y="313"/>
                  </a:lnTo>
                  <a:lnTo>
                    <a:pt x="1803" y="313"/>
                  </a:lnTo>
                  <a:lnTo>
                    <a:pt x="1807" y="313"/>
                  </a:lnTo>
                  <a:lnTo>
                    <a:pt x="1805" y="311"/>
                  </a:lnTo>
                  <a:lnTo>
                    <a:pt x="1805" y="309"/>
                  </a:lnTo>
                  <a:lnTo>
                    <a:pt x="1809" y="301"/>
                  </a:lnTo>
                  <a:lnTo>
                    <a:pt x="1809" y="299"/>
                  </a:lnTo>
                  <a:lnTo>
                    <a:pt x="1811" y="299"/>
                  </a:lnTo>
                  <a:lnTo>
                    <a:pt x="1813" y="299"/>
                  </a:lnTo>
                  <a:lnTo>
                    <a:pt x="1813" y="299"/>
                  </a:lnTo>
                  <a:lnTo>
                    <a:pt x="1813" y="297"/>
                  </a:lnTo>
                  <a:lnTo>
                    <a:pt x="1813" y="297"/>
                  </a:lnTo>
                  <a:lnTo>
                    <a:pt x="1815" y="297"/>
                  </a:lnTo>
                  <a:lnTo>
                    <a:pt x="1817" y="299"/>
                  </a:lnTo>
                  <a:lnTo>
                    <a:pt x="1819" y="301"/>
                  </a:lnTo>
                  <a:lnTo>
                    <a:pt x="1819" y="299"/>
                  </a:lnTo>
                  <a:lnTo>
                    <a:pt x="1819" y="299"/>
                  </a:lnTo>
                  <a:lnTo>
                    <a:pt x="1819" y="299"/>
                  </a:lnTo>
                  <a:lnTo>
                    <a:pt x="1822" y="299"/>
                  </a:lnTo>
                  <a:lnTo>
                    <a:pt x="1819" y="297"/>
                  </a:lnTo>
                  <a:lnTo>
                    <a:pt x="1819" y="297"/>
                  </a:lnTo>
                  <a:lnTo>
                    <a:pt x="1815" y="297"/>
                  </a:lnTo>
                  <a:lnTo>
                    <a:pt x="1813" y="295"/>
                  </a:lnTo>
                  <a:lnTo>
                    <a:pt x="1811" y="290"/>
                  </a:lnTo>
                  <a:lnTo>
                    <a:pt x="1809" y="290"/>
                  </a:lnTo>
                  <a:lnTo>
                    <a:pt x="1809" y="288"/>
                  </a:lnTo>
                  <a:lnTo>
                    <a:pt x="1807" y="286"/>
                  </a:lnTo>
                  <a:lnTo>
                    <a:pt x="1807" y="286"/>
                  </a:lnTo>
                  <a:lnTo>
                    <a:pt x="1807" y="286"/>
                  </a:lnTo>
                  <a:lnTo>
                    <a:pt x="1805" y="284"/>
                  </a:lnTo>
                  <a:lnTo>
                    <a:pt x="1805" y="284"/>
                  </a:lnTo>
                  <a:lnTo>
                    <a:pt x="1805" y="282"/>
                  </a:lnTo>
                  <a:lnTo>
                    <a:pt x="1813" y="280"/>
                  </a:lnTo>
                  <a:lnTo>
                    <a:pt x="1815" y="280"/>
                  </a:lnTo>
                  <a:lnTo>
                    <a:pt x="1817" y="280"/>
                  </a:lnTo>
                  <a:lnTo>
                    <a:pt x="1824" y="282"/>
                  </a:lnTo>
                  <a:lnTo>
                    <a:pt x="1828" y="284"/>
                  </a:lnTo>
                  <a:lnTo>
                    <a:pt x="1832" y="284"/>
                  </a:lnTo>
                  <a:lnTo>
                    <a:pt x="1834" y="284"/>
                  </a:lnTo>
                  <a:lnTo>
                    <a:pt x="1832" y="284"/>
                  </a:lnTo>
                  <a:lnTo>
                    <a:pt x="1830" y="284"/>
                  </a:lnTo>
                  <a:lnTo>
                    <a:pt x="1832" y="286"/>
                  </a:lnTo>
                  <a:lnTo>
                    <a:pt x="1832" y="286"/>
                  </a:lnTo>
                  <a:lnTo>
                    <a:pt x="1830" y="286"/>
                  </a:lnTo>
                  <a:lnTo>
                    <a:pt x="1828" y="284"/>
                  </a:lnTo>
                  <a:lnTo>
                    <a:pt x="1824" y="284"/>
                  </a:lnTo>
                  <a:lnTo>
                    <a:pt x="1822" y="284"/>
                  </a:lnTo>
                  <a:lnTo>
                    <a:pt x="1822" y="286"/>
                  </a:lnTo>
                  <a:lnTo>
                    <a:pt x="1822" y="288"/>
                  </a:lnTo>
                  <a:lnTo>
                    <a:pt x="1824" y="292"/>
                  </a:lnTo>
                  <a:lnTo>
                    <a:pt x="1828" y="295"/>
                  </a:lnTo>
                  <a:lnTo>
                    <a:pt x="1830" y="297"/>
                  </a:lnTo>
                  <a:lnTo>
                    <a:pt x="1830" y="299"/>
                  </a:lnTo>
                  <a:lnTo>
                    <a:pt x="1830" y="299"/>
                  </a:lnTo>
                  <a:lnTo>
                    <a:pt x="1832" y="301"/>
                  </a:lnTo>
                  <a:lnTo>
                    <a:pt x="1834" y="303"/>
                  </a:lnTo>
                  <a:lnTo>
                    <a:pt x="1836" y="303"/>
                  </a:lnTo>
                  <a:lnTo>
                    <a:pt x="1836" y="303"/>
                  </a:lnTo>
                  <a:lnTo>
                    <a:pt x="1838" y="305"/>
                  </a:lnTo>
                  <a:lnTo>
                    <a:pt x="1836" y="307"/>
                  </a:lnTo>
                  <a:lnTo>
                    <a:pt x="1836" y="307"/>
                  </a:lnTo>
                  <a:lnTo>
                    <a:pt x="1836" y="309"/>
                  </a:lnTo>
                  <a:lnTo>
                    <a:pt x="1840" y="311"/>
                  </a:lnTo>
                  <a:lnTo>
                    <a:pt x="1840" y="311"/>
                  </a:lnTo>
                  <a:lnTo>
                    <a:pt x="1840" y="311"/>
                  </a:lnTo>
                  <a:lnTo>
                    <a:pt x="1838" y="313"/>
                  </a:lnTo>
                  <a:lnTo>
                    <a:pt x="1834" y="313"/>
                  </a:lnTo>
                  <a:lnTo>
                    <a:pt x="1834" y="315"/>
                  </a:lnTo>
                  <a:lnTo>
                    <a:pt x="1830" y="317"/>
                  </a:lnTo>
                  <a:lnTo>
                    <a:pt x="1828" y="317"/>
                  </a:lnTo>
                  <a:lnTo>
                    <a:pt x="1828" y="319"/>
                  </a:lnTo>
                  <a:lnTo>
                    <a:pt x="1830" y="321"/>
                  </a:lnTo>
                  <a:lnTo>
                    <a:pt x="1830" y="323"/>
                  </a:lnTo>
                  <a:lnTo>
                    <a:pt x="1828" y="325"/>
                  </a:lnTo>
                  <a:lnTo>
                    <a:pt x="1828" y="327"/>
                  </a:lnTo>
                  <a:lnTo>
                    <a:pt x="1828" y="332"/>
                  </a:lnTo>
                  <a:lnTo>
                    <a:pt x="1826" y="332"/>
                  </a:lnTo>
                  <a:lnTo>
                    <a:pt x="1826" y="334"/>
                  </a:lnTo>
                  <a:lnTo>
                    <a:pt x="1826" y="336"/>
                  </a:lnTo>
                  <a:lnTo>
                    <a:pt x="1824" y="340"/>
                  </a:lnTo>
                  <a:lnTo>
                    <a:pt x="1826" y="346"/>
                  </a:lnTo>
                  <a:lnTo>
                    <a:pt x="1826" y="348"/>
                  </a:lnTo>
                  <a:lnTo>
                    <a:pt x="1826" y="350"/>
                  </a:lnTo>
                  <a:lnTo>
                    <a:pt x="1826" y="350"/>
                  </a:lnTo>
                  <a:lnTo>
                    <a:pt x="1826" y="352"/>
                  </a:lnTo>
                  <a:lnTo>
                    <a:pt x="1824" y="354"/>
                  </a:lnTo>
                  <a:lnTo>
                    <a:pt x="1824" y="356"/>
                  </a:lnTo>
                  <a:lnTo>
                    <a:pt x="1822" y="358"/>
                  </a:lnTo>
                  <a:lnTo>
                    <a:pt x="1824" y="358"/>
                  </a:lnTo>
                  <a:lnTo>
                    <a:pt x="1822" y="358"/>
                  </a:lnTo>
                  <a:lnTo>
                    <a:pt x="1819" y="360"/>
                  </a:lnTo>
                  <a:lnTo>
                    <a:pt x="1815" y="358"/>
                  </a:lnTo>
                  <a:lnTo>
                    <a:pt x="1815" y="362"/>
                  </a:lnTo>
                  <a:lnTo>
                    <a:pt x="1813" y="362"/>
                  </a:lnTo>
                  <a:lnTo>
                    <a:pt x="1809" y="362"/>
                  </a:lnTo>
                  <a:lnTo>
                    <a:pt x="1809" y="362"/>
                  </a:lnTo>
                  <a:lnTo>
                    <a:pt x="1807" y="362"/>
                  </a:lnTo>
                  <a:lnTo>
                    <a:pt x="1807" y="364"/>
                  </a:lnTo>
                  <a:lnTo>
                    <a:pt x="1811" y="364"/>
                  </a:lnTo>
                  <a:lnTo>
                    <a:pt x="1813" y="366"/>
                  </a:lnTo>
                  <a:lnTo>
                    <a:pt x="1813" y="366"/>
                  </a:lnTo>
                  <a:lnTo>
                    <a:pt x="1815" y="369"/>
                  </a:lnTo>
                  <a:lnTo>
                    <a:pt x="1817" y="371"/>
                  </a:lnTo>
                  <a:lnTo>
                    <a:pt x="1817" y="375"/>
                  </a:lnTo>
                  <a:lnTo>
                    <a:pt x="1817" y="377"/>
                  </a:lnTo>
                  <a:lnTo>
                    <a:pt x="1815" y="381"/>
                  </a:lnTo>
                  <a:lnTo>
                    <a:pt x="1815" y="381"/>
                  </a:lnTo>
                  <a:lnTo>
                    <a:pt x="1815" y="381"/>
                  </a:lnTo>
                  <a:lnTo>
                    <a:pt x="1822" y="393"/>
                  </a:lnTo>
                  <a:lnTo>
                    <a:pt x="1826" y="397"/>
                  </a:lnTo>
                  <a:lnTo>
                    <a:pt x="1832" y="406"/>
                  </a:lnTo>
                  <a:lnTo>
                    <a:pt x="1834" y="408"/>
                  </a:lnTo>
                  <a:lnTo>
                    <a:pt x="1840" y="414"/>
                  </a:lnTo>
                  <a:lnTo>
                    <a:pt x="1848" y="420"/>
                  </a:lnTo>
                  <a:lnTo>
                    <a:pt x="1861" y="430"/>
                  </a:lnTo>
                  <a:lnTo>
                    <a:pt x="1863" y="432"/>
                  </a:lnTo>
                  <a:lnTo>
                    <a:pt x="1877" y="447"/>
                  </a:lnTo>
                  <a:lnTo>
                    <a:pt x="1879" y="449"/>
                  </a:lnTo>
                  <a:lnTo>
                    <a:pt x="1881" y="451"/>
                  </a:lnTo>
                  <a:lnTo>
                    <a:pt x="1885" y="453"/>
                  </a:lnTo>
                  <a:lnTo>
                    <a:pt x="1889" y="455"/>
                  </a:lnTo>
                  <a:lnTo>
                    <a:pt x="1891" y="457"/>
                  </a:lnTo>
                  <a:lnTo>
                    <a:pt x="1900" y="465"/>
                  </a:lnTo>
                  <a:lnTo>
                    <a:pt x="1906" y="473"/>
                  </a:lnTo>
                  <a:lnTo>
                    <a:pt x="1908" y="473"/>
                  </a:lnTo>
                  <a:lnTo>
                    <a:pt x="1910" y="475"/>
                  </a:lnTo>
                  <a:lnTo>
                    <a:pt x="1912" y="478"/>
                  </a:lnTo>
                  <a:lnTo>
                    <a:pt x="1914" y="480"/>
                  </a:lnTo>
                  <a:lnTo>
                    <a:pt x="1916" y="480"/>
                  </a:lnTo>
                  <a:lnTo>
                    <a:pt x="1918" y="482"/>
                  </a:lnTo>
                  <a:lnTo>
                    <a:pt x="1918" y="482"/>
                  </a:lnTo>
                  <a:lnTo>
                    <a:pt x="1920" y="478"/>
                  </a:lnTo>
                  <a:lnTo>
                    <a:pt x="1922" y="473"/>
                  </a:lnTo>
                  <a:lnTo>
                    <a:pt x="1920" y="473"/>
                  </a:lnTo>
                  <a:lnTo>
                    <a:pt x="1922" y="471"/>
                  </a:lnTo>
                  <a:lnTo>
                    <a:pt x="1922" y="469"/>
                  </a:lnTo>
                  <a:lnTo>
                    <a:pt x="1924" y="467"/>
                  </a:lnTo>
                  <a:lnTo>
                    <a:pt x="1922" y="461"/>
                  </a:lnTo>
                  <a:lnTo>
                    <a:pt x="1920" y="459"/>
                  </a:lnTo>
                  <a:lnTo>
                    <a:pt x="1920" y="457"/>
                  </a:lnTo>
                  <a:lnTo>
                    <a:pt x="1918" y="455"/>
                  </a:lnTo>
                  <a:lnTo>
                    <a:pt x="1916" y="453"/>
                  </a:lnTo>
                  <a:lnTo>
                    <a:pt x="1916" y="451"/>
                  </a:lnTo>
                  <a:lnTo>
                    <a:pt x="1914" y="449"/>
                  </a:lnTo>
                  <a:lnTo>
                    <a:pt x="1912" y="447"/>
                  </a:lnTo>
                  <a:lnTo>
                    <a:pt x="1910" y="447"/>
                  </a:lnTo>
                  <a:lnTo>
                    <a:pt x="1910" y="445"/>
                  </a:lnTo>
                  <a:lnTo>
                    <a:pt x="1910" y="445"/>
                  </a:lnTo>
                  <a:lnTo>
                    <a:pt x="1912" y="445"/>
                  </a:lnTo>
                  <a:lnTo>
                    <a:pt x="1914" y="447"/>
                  </a:lnTo>
                  <a:lnTo>
                    <a:pt x="1916" y="447"/>
                  </a:lnTo>
                  <a:lnTo>
                    <a:pt x="1916" y="445"/>
                  </a:lnTo>
                  <a:lnTo>
                    <a:pt x="1918" y="445"/>
                  </a:lnTo>
                  <a:lnTo>
                    <a:pt x="1922" y="443"/>
                  </a:lnTo>
                  <a:lnTo>
                    <a:pt x="1924" y="443"/>
                  </a:lnTo>
                  <a:lnTo>
                    <a:pt x="1928" y="445"/>
                  </a:lnTo>
                  <a:lnTo>
                    <a:pt x="1928" y="443"/>
                  </a:lnTo>
                  <a:lnTo>
                    <a:pt x="1926" y="440"/>
                  </a:lnTo>
                  <a:lnTo>
                    <a:pt x="1924" y="438"/>
                  </a:lnTo>
                  <a:lnTo>
                    <a:pt x="1922" y="438"/>
                  </a:lnTo>
                  <a:lnTo>
                    <a:pt x="1922" y="436"/>
                  </a:lnTo>
                  <a:lnTo>
                    <a:pt x="1920" y="434"/>
                  </a:lnTo>
                  <a:lnTo>
                    <a:pt x="1918" y="434"/>
                  </a:lnTo>
                  <a:lnTo>
                    <a:pt x="1916" y="432"/>
                  </a:lnTo>
                  <a:lnTo>
                    <a:pt x="1914" y="428"/>
                  </a:lnTo>
                  <a:lnTo>
                    <a:pt x="1912" y="426"/>
                  </a:lnTo>
                  <a:lnTo>
                    <a:pt x="1912" y="424"/>
                  </a:lnTo>
                  <a:lnTo>
                    <a:pt x="1914" y="424"/>
                  </a:lnTo>
                  <a:lnTo>
                    <a:pt x="1914" y="420"/>
                  </a:lnTo>
                  <a:lnTo>
                    <a:pt x="1916" y="420"/>
                  </a:lnTo>
                  <a:lnTo>
                    <a:pt x="1918" y="418"/>
                  </a:lnTo>
                  <a:lnTo>
                    <a:pt x="1920" y="418"/>
                  </a:lnTo>
                  <a:lnTo>
                    <a:pt x="1924" y="420"/>
                  </a:lnTo>
                  <a:lnTo>
                    <a:pt x="1928" y="420"/>
                  </a:lnTo>
                  <a:lnTo>
                    <a:pt x="1928" y="420"/>
                  </a:lnTo>
                  <a:lnTo>
                    <a:pt x="1930" y="416"/>
                  </a:lnTo>
                  <a:lnTo>
                    <a:pt x="1930" y="416"/>
                  </a:lnTo>
                  <a:lnTo>
                    <a:pt x="1928" y="414"/>
                  </a:lnTo>
                  <a:lnTo>
                    <a:pt x="1924" y="412"/>
                  </a:lnTo>
                  <a:lnTo>
                    <a:pt x="1920" y="408"/>
                  </a:lnTo>
                  <a:lnTo>
                    <a:pt x="1918" y="408"/>
                  </a:lnTo>
                  <a:lnTo>
                    <a:pt x="1916" y="406"/>
                  </a:lnTo>
                  <a:lnTo>
                    <a:pt x="1912" y="401"/>
                  </a:lnTo>
                  <a:lnTo>
                    <a:pt x="1910" y="399"/>
                  </a:lnTo>
                  <a:lnTo>
                    <a:pt x="1910" y="397"/>
                  </a:lnTo>
                  <a:lnTo>
                    <a:pt x="1908" y="391"/>
                  </a:lnTo>
                  <a:lnTo>
                    <a:pt x="1908" y="391"/>
                  </a:lnTo>
                  <a:lnTo>
                    <a:pt x="1910" y="391"/>
                  </a:lnTo>
                  <a:lnTo>
                    <a:pt x="1910" y="389"/>
                  </a:lnTo>
                  <a:lnTo>
                    <a:pt x="1910" y="389"/>
                  </a:lnTo>
                  <a:lnTo>
                    <a:pt x="1908" y="387"/>
                  </a:lnTo>
                  <a:lnTo>
                    <a:pt x="1908" y="385"/>
                  </a:lnTo>
                  <a:lnTo>
                    <a:pt x="1908" y="385"/>
                  </a:lnTo>
                  <a:lnTo>
                    <a:pt x="1912" y="385"/>
                  </a:lnTo>
                  <a:lnTo>
                    <a:pt x="1912" y="385"/>
                  </a:lnTo>
                  <a:lnTo>
                    <a:pt x="1912" y="385"/>
                  </a:lnTo>
                  <a:lnTo>
                    <a:pt x="1914" y="385"/>
                  </a:lnTo>
                  <a:lnTo>
                    <a:pt x="1912" y="387"/>
                  </a:lnTo>
                  <a:lnTo>
                    <a:pt x="1912" y="387"/>
                  </a:lnTo>
                  <a:lnTo>
                    <a:pt x="1912" y="389"/>
                  </a:lnTo>
                  <a:lnTo>
                    <a:pt x="1918" y="393"/>
                  </a:lnTo>
                  <a:lnTo>
                    <a:pt x="1920" y="393"/>
                  </a:lnTo>
                  <a:lnTo>
                    <a:pt x="1920" y="393"/>
                  </a:lnTo>
                  <a:lnTo>
                    <a:pt x="1922" y="391"/>
                  </a:lnTo>
                  <a:lnTo>
                    <a:pt x="1922" y="391"/>
                  </a:lnTo>
                  <a:lnTo>
                    <a:pt x="1922" y="389"/>
                  </a:lnTo>
                  <a:lnTo>
                    <a:pt x="1918" y="385"/>
                  </a:lnTo>
                  <a:lnTo>
                    <a:pt x="1914" y="385"/>
                  </a:lnTo>
                  <a:lnTo>
                    <a:pt x="1912" y="381"/>
                  </a:lnTo>
                  <a:lnTo>
                    <a:pt x="1910" y="381"/>
                  </a:lnTo>
                  <a:lnTo>
                    <a:pt x="1908" y="381"/>
                  </a:lnTo>
                  <a:lnTo>
                    <a:pt x="1908" y="381"/>
                  </a:lnTo>
                  <a:lnTo>
                    <a:pt x="1906" y="381"/>
                  </a:lnTo>
                  <a:lnTo>
                    <a:pt x="1904" y="379"/>
                  </a:lnTo>
                  <a:lnTo>
                    <a:pt x="1904" y="379"/>
                  </a:lnTo>
                  <a:lnTo>
                    <a:pt x="1902" y="377"/>
                  </a:lnTo>
                  <a:lnTo>
                    <a:pt x="1900" y="375"/>
                  </a:lnTo>
                  <a:lnTo>
                    <a:pt x="1895" y="373"/>
                  </a:lnTo>
                  <a:lnTo>
                    <a:pt x="1895" y="373"/>
                  </a:lnTo>
                  <a:lnTo>
                    <a:pt x="1893" y="371"/>
                  </a:lnTo>
                  <a:lnTo>
                    <a:pt x="1895" y="369"/>
                  </a:lnTo>
                  <a:lnTo>
                    <a:pt x="1895" y="366"/>
                  </a:lnTo>
                  <a:lnTo>
                    <a:pt x="1895" y="366"/>
                  </a:lnTo>
                  <a:lnTo>
                    <a:pt x="1893" y="364"/>
                  </a:lnTo>
                  <a:lnTo>
                    <a:pt x="1891" y="362"/>
                  </a:lnTo>
                  <a:lnTo>
                    <a:pt x="1891" y="362"/>
                  </a:lnTo>
                  <a:lnTo>
                    <a:pt x="1883" y="360"/>
                  </a:lnTo>
                  <a:lnTo>
                    <a:pt x="1881" y="360"/>
                  </a:lnTo>
                  <a:lnTo>
                    <a:pt x="1881" y="360"/>
                  </a:lnTo>
                  <a:lnTo>
                    <a:pt x="1883" y="364"/>
                  </a:lnTo>
                  <a:lnTo>
                    <a:pt x="1883" y="364"/>
                  </a:lnTo>
                  <a:lnTo>
                    <a:pt x="1883" y="364"/>
                  </a:lnTo>
                  <a:lnTo>
                    <a:pt x="1881" y="362"/>
                  </a:lnTo>
                  <a:lnTo>
                    <a:pt x="1879" y="362"/>
                  </a:lnTo>
                  <a:lnTo>
                    <a:pt x="1877" y="362"/>
                  </a:lnTo>
                  <a:lnTo>
                    <a:pt x="1875" y="360"/>
                  </a:lnTo>
                  <a:lnTo>
                    <a:pt x="1873" y="360"/>
                  </a:lnTo>
                  <a:lnTo>
                    <a:pt x="1871" y="358"/>
                  </a:lnTo>
                  <a:lnTo>
                    <a:pt x="1869" y="354"/>
                  </a:lnTo>
                  <a:lnTo>
                    <a:pt x="1867" y="352"/>
                  </a:lnTo>
                  <a:lnTo>
                    <a:pt x="1865" y="348"/>
                  </a:lnTo>
                  <a:lnTo>
                    <a:pt x="1867" y="346"/>
                  </a:lnTo>
                  <a:lnTo>
                    <a:pt x="1867" y="344"/>
                  </a:lnTo>
                  <a:lnTo>
                    <a:pt x="1867" y="344"/>
                  </a:lnTo>
                  <a:lnTo>
                    <a:pt x="1867" y="342"/>
                  </a:lnTo>
                  <a:lnTo>
                    <a:pt x="1867" y="342"/>
                  </a:lnTo>
                  <a:lnTo>
                    <a:pt x="1865" y="340"/>
                  </a:lnTo>
                  <a:lnTo>
                    <a:pt x="1865" y="340"/>
                  </a:lnTo>
                  <a:lnTo>
                    <a:pt x="1865" y="340"/>
                  </a:lnTo>
                  <a:lnTo>
                    <a:pt x="1867" y="340"/>
                  </a:lnTo>
                  <a:lnTo>
                    <a:pt x="1865" y="338"/>
                  </a:lnTo>
                  <a:lnTo>
                    <a:pt x="1861" y="334"/>
                  </a:lnTo>
                  <a:lnTo>
                    <a:pt x="1858" y="332"/>
                  </a:lnTo>
                  <a:lnTo>
                    <a:pt x="1858" y="329"/>
                  </a:lnTo>
                  <a:lnTo>
                    <a:pt x="1856" y="327"/>
                  </a:lnTo>
                  <a:lnTo>
                    <a:pt x="1856" y="327"/>
                  </a:lnTo>
                  <a:lnTo>
                    <a:pt x="1858" y="327"/>
                  </a:lnTo>
                  <a:lnTo>
                    <a:pt x="1858" y="325"/>
                  </a:lnTo>
                  <a:lnTo>
                    <a:pt x="1858" y="325"/>
                  </a:lnTo>
                  <a:lnTo>
                    <a:pt x="1858" y="325"/>
                  </a:lnTo>
                  <a:lnTo>
                    <a:pt x="1861" y="325"/>
                  </a:lnTo>
                  <a:lnTo>
                    <a:pt x="1863" y="325"/>
                  </a:lnTo>
                  <a:lnTo>
                    <a:pt x="1865" y="325"/>
                  </a:lnTo>
                  <a:lnTo>
                    <a:pt x="1865" y="327"/>
                  </a:lnTo>
                  <a:lnTo>
                    <a:pt x="1865" y="325"/>
                  </a:lnTo>
                  <a:lnTo>
                    <a:pt x="1865" y="325"/>
                  </a:lnTo>
                  <a:lnTo>
                    <a:pt x="1867" y="325"/>
                  </a:lnTo>
                  <a:lnTo>
                    <a:pt x="1867" y="325"/>
                  </a:lnTo>
                  <a:lnTo>
                    <a:pt x="1871" y="325"/>
                  </a:lnTo>
                  <a:lnTo>
                    <a:pt x="1875" y="327"/>
                  </a:lnTo>
                  <a:lnTo>
                    <a:pt x="1875" y="327"/>
                  </a:lnTo>
                  <a:lnTo>
                    <a:pt x="1877" y="327"/>
                  </a:lnTo>
                  <a:lnTo>
                    <a:pt x="1877" y="327"/>
                  </a:lnTo>
                  <a:lnTo>
                    <a:pt x="1877" y="327"/>
                  </a:lnTo>
                  <a:lnTo>
                    <a:pt x="1875" y="323"/>
                  </a:lnTo>
                  <a:lnTo>
                    <a:pt x="1875" y="323"/>
                  </a:lnTo>
                  <a:lnTo>
                    <a:pt x="1875" y="323"/>
                  </a:lnTo>
                  <a:lnTo>
                    <a:pt x="1877" y="321"/>
                  </a:lnTo>
                  <a:lnTo>
                    <a:pt x="1877" y="321"/>
                  </a:lnTo>
                  <a:lnTo>
                    <a:pt x="1881" y="319"/>
                  </a:lnTo>
                  <a:lnTo>
                    <a:pt x="1881" y="317"/>
                  </a:lnTo>
                  <a:lnTo>
                    <a:pt x="1883" y="317"/>
                  </a:lnTo>
                  <a:lnTo>
                    <a:pt x="1883" y="319"/>
                  </a:lnTo>
                  <a:lnTo>
                    <a:pt x="1885" y="319"/>
                  </a:lnTo>
                  <a:lnTo>
                    <a:pt x="1887" y="323"/>
                  </a:lnTo>
                  <a:lnTo>
                    <a:pt x="1887" y="323"/>
                  </a:lnTo>
                  <a:lnTo>
                    <a:pt x="1889" y="325"/>
                  </a:lnTo>
                  <a:lnTo>
                    <a:pt x="1891" y="327"/>
                  </a:lnTo>
                  <a:lnTo>
                    <a:pt x="1893" y="327"/>
                  </a:lnTo>
                  <a:lnTo>
                    <a:pt x="1893" y="327"/>
                  </a:lnTo>
                  <a:lnTo>
                    <a:pt x="1895" y="327"/>
                  </a:lnTo>
                  <a:lnTo>
                    <a:pt x="1895" y="327"/>
                  </a:lnTo>
                  <a:lnTo>
                    <a:pt x="1893" y="321"/>
                  </a:lnTo>
                  <a:lnTo>
                    <a:pt x="1895" y="319"/>
                  </a:lnTo>
                  <a:lnTo>
                    <a:pt x="1900" y="317"/>
                  </a:lnTo>
                  <a:lnTo>
                    <a:pt x="1900" y="317"/>
                  </a:lnTo>
                  <a:lnTo>
                    <a:pt x="1904" y="315"/>
                  </a:lnTo>
                  <a:lnTo>
                    <a:pt x="1908" y="315"/>
                  </a:lnTo>
                  <a:lnTo>
                    <a:pt x="1912" y="317"/>
                  </a:lnTo>
                  <a:lnTo>
                    <a:pt x="1912" y="315"/>
                  </a:lnTo>
                  <a:lnTo>
                    <a:pt x="1918" y="315"/>
                  </a:lnTo>
                  <a:lnTo>
                    <a:pt x="1920" y="317"/>
                  </a:lnTo>
                  <a:lnTo>
                    <a:pt x="1926" y="319"/>
                  </a:lnTo>
                  <a:lnTo>
                    <a:pt x="1932" y="321"/>
                  </a:lnTo>
                  <a:lnTo>
                    <a:pt x="1932" y="321"/>
                  </a:lnTo>
                  <a:lnTo>
                    <a:pt x="1934" y="321"/>
                  </a:lnTo>
                  <a:lnTo>
                    <a:pt x="1934" y="323"/>
                  </a:lnTo>
                  <a:lnTo>
                    <a:pt x="1936" y="323"/>
                  </a:lnTo>
                  <a:lnTo>
                    <a:pt x="1939" y="325"/>
                  </a:lnTo>
                  <a:lnTo>
                    <a:pt x="1943" y="325"/>
                  </a:lnTo>
                  <a:lnTo>
                    <a:pt x="1945" y="325"/>
                  </a:lnTo>
                  <a:lnTo>
                    <a:pt x="1945" y="325"/>
                  </a:lnTo>
                  <a:lnTo>
                    <a:pt x="1945" y="325"/>
                  </a:lnTo>
                  <a:lnTo>
                    <a:pt x="1941" y="321"/>
                  </a:lnTo>
                  <a:lnTo>
                    <a:pt x="1941" y="319"/>
                  </a:lnTo>
                  <a:lnTo>
                    <a:pt x="1939" y="319"/>
                  </a:lnTo>
                  <a:lnTo>
                    <a:pt x="1939" y="319"/>
                  </a:lnTo>
                  <a:lnTo>
                    <a:pt x="1941" y="317"/>
                  </a:lnTo>
                  <a:lnTo>
                    <a:pt x="1941" y="317"/>
                  </a:lnTo>
                  <a:lnTo>
                    <a:pt x="1945" y="313"/>
                  </a:lnTo>
                  <a:lnTo>
                    <a:pt x="1945" y="311"/>
                  </a:lnTo>
                  <a:lnTo>
                    <a:pt x="1947" y="311"/>
                  </a:lnTo>
                  <a:lnTo>
                    <a:pt x="1947" y="311"/>
                  </a:lnTo>
                  <a:lnTo>
                    <a:pt x="1947" y="311"/>
                  </a:lnTo>
                  <a:lnTo>
                    <a:pt x="1949" y="311"/>
                  </a:lnTo>
                  <a:lnTo>
                    <a:pt x="1949" y="309"/>
                  </a:lnTo>
                  <a:lnTo>
                    <a:pt x="1949" y="307"/>
                  </a:lnTo>
                  <a:lnTo>
                    <a:pt x="1949" y="307"/>
                  </a:lnTo>
                  <a:lnTo>
                    <a:pt x="1947" y="307"/>
                  </a:lnTo>
                  <a:lnTo>
                    <a:pt x="1949" y="305"/>
                  </a:lnTo>
                  <a:lnTo>
                    <a:pt x="1949" y="305"/>
                  </a:lnTo>
                  <a:lnTo>
                    <a:pt x="1949" y="305"/>
                  </a:lnTo>
                  <a:lnTo>
                    <a:pt x="1949" y="305"/>
                  </a:lnTo>
                  <a:lnTo>
                    <a:pt x="1949" y="303"/>
                  </a:lnTo>
                  <a:lnTo>
                    <a:pt x="1949" y="303"/>
                  </a:lnTo>
                  <a:lnTo>
                    <a:pt x="1951" y="305"/>
                  </a:lnTo>
                  <a:lnTo>
                    <a:pt x="1951" y="303"/>
                  </a:lnTo>
                  <a:lnTo>
                    <a:pt x="1949" y="303"/>
                  </a:lnTo>
                  <a:lnTo>
                    <a:pt x="1947" y="301"/>
                  </a:lnTo>
                  <a:lnTo>
                    <a:pt x="1947" y="301"/>
                  </a:lnTo>
                  <a:lnTo>
                    <a:pt x="1951" y="303"/>
                  </a:lnTo>
                  <a:lnTo>
                    <a:pt x="1951" y="303"/>
                  </a:lnTo>
                  <a:lnTo>
                    <a:pt x="1953" y="299"/>
                  </a:lnTo>
                  <a:lnTo>
                    <a:pt x="1951" y="297"/>
                  </a:lnTo>
                  <a:lnTo>
                    <a:pt x="1955" y="297"/>
                  </a:lnTo>
                  <a:lnTo>
                    <a:pt x="1957" y="297"/>
                  </a:lnTo>
                  <a:lnTo>
                    <a:pt x="1959" y="295"/>
                  </a:lnTo>
                  <a:lnTo>
                    <a:pt x="1961" y="295"/>
                  </a:lnTo>
                  <a:lnTo>
                    <a:pt x="1961" y="295"/>
                  </a:lnTo>
                  <a:lnTo>
                    <a:pt x="1961" y="292"/>
                  </a:lnTo>
                  <a:lnTo>
                    <a:pt x="1963" y="292"/>
                  </a:lnTo>
                  <a:lnTo>
                    <a:pt x="1965" y="292"/>
                  </a:lnTo>
                  <a:lnTo>
                    <a:pt x="1965" y="290"/>
                  </a:lnTo>
                  <a:lnTo>
                    <a:pt x="1965" y="290"/>
                  </a:lnTo>
                  <a:lnTo>
                    <a:pt x="1967" y="290"/>
                  </a:lnTo>
                  <a:lnTo>
                    <a:pt x="1967" y="288"/>
                  </a:lnTo>
                  <a:lnTo>
                    <a:pt x="1973" y="286"/>
                  </a:lnTo>
                  <a:lnTo>
                    <a:pt x="1973" y="286"/>
                  </a:lnTo>
                  <a:lnTo>
                    <a:pt x="1975" y="284"/>
                  </a:lnTo>
                  <a:lnTo>
                    <a:pt x="1975" y="284"/>
                  </a:lnTo>
                  <a:lnTo>
                    <a:pt x="1980" y="282"/>
                  </a:lnTo>
                  <a:lnTo>
                    <a:pt x="1980" y="282"/>
                  </a:lnTo>
                  <a:lnTo>
                    <a:pt x="1975" y="282"/>
                  </a:lnTo>
                  <a:lnTo>
                    <a:pt x="1975" y="282"/>
                  </a:lnTo>
                  <a:lnTo>
                    <a:pt x="1973" y="280"/>
                  </a:lnTo>
                  <a:lnTo>
                    <a:pt x="1973" y="280"/>
                  </a:lnTo>
                  <a:lnTo>
                    <a:pt x="1973" y="280"/>
                  </a:lnTo>
                  <a:lnTo>
                    <a:pt x="1973" y="280"/>
                  </a:lnTo>
                  <a:lnTo>
                    <a:pt x="1975" y="280"/>
                  </a:lnTo>
                  <a:lnTo>
                    <a:pt x="1975" y="280"/>
                  </a:lnTo>
                  <a:lnTo>
                    <a:pt x="1975" y="280"/>
                  </a:lnTo>
                  <a:lnTo>
                    <a:pt x="1978" y="280"/>
                  </a:lnTo>
                  <a:lnTo>
                    <a:pt x="1978" y="280"/>
                  </a:lnTo>
                  <a:lnTo>
                    <a:pt x="1978" y="280"/>
                  </a:lnTo>
                  <a:lnTo>
                    <a:pt x="1980" y="282"/>
                  </a:lnTo>
                  <a:lnTo>
                    <a:pt x="1980" y="282"/>
                  </a:lnTo>
                  <a:lnTo>
                    <a:pt x="1982" y="282"/>
                  </a:lnTo>
                  <a:lnTo>
                    <a:pt x="1986" y="282"/>
                  </a:lnTo>
                  <a:lnTo>
                    <a:pt x="1990" y="282"/>
                  </a:lnTo>
                  <a:lnTo>
                    <a:pt x="2006" y="286"/>
                  </a:lnTo>
                  <a:lnTo>
                    <a:pt x="2008" y="286"/>
                  </a:lnTo>
                  <a:lnTo>
                    <a:pt x="2008" y="286"/>
                  </a:lnTo>
                  <a:lnTo>
                    <a:pt x="2008" y="286"/>
                  </a:lnTo>
                  <a:lnTo>
                    <a:pt x="2006" y="284"/>
                  </a:lnTo>
                  <a:lnTo>
                    <a:pt x="2006" y="284"/>
                  </a:lnTo>
                  <a:lnTo>
                    <a:pt x="2006" y="282"/>
                  </a:lnTo>
                  <a:lnTo>
                    <a:pt x="2006" y="280"/>
                  </a:lnTo>
                  <a:lnTo>
                    <a:pt x="2004" y="280"/>
                  </a:lnTo>
                  <a:lnTo>
                    <a:pt x="2002" y="278"/>
                  </a:lnTo>
                  <a:lnTo>
                    <a:pt x="2000" y="278"/>
                  </a:lnTo>
                  <a:lnTo>
                    <a:pt x="1998" y="276"/>
                  </a:lnTo>
                  <a:lnTo>
                    <a:pt x="1996" y="276"/>
                  </a:lnTo>
                  <a:lnTo>
                    <a:pt x="1996" y="274"/>
                  </a:lnTo>
                  <a:lnTo>
                    <a:pt x="1996" y="274"/>
                  </a:lnTo>
                  <a:lnTo>
                    <a:pt x="1994" y="274"/>
                  </a:lnTo>
                  <a:lnTo>
                    <a:pt x="1994" y="272"/>
                  </a:lnTo>
                  <a:lnTo>
                    <a:pt x="1988" y="272"/>
                  </a:lnTo>
                  <a:lnTo>
                    <a:pt x="1984" y="270"/>
                  </a:lnTo>
                  <a:lnTo>
                    <a:pt x="1984" y="270"/>
                  </a:lnTo>
                  <a:lnTo>
                    <a:pt x="1980" y="268"/>
                  </a:lnTo>
                  <a:lnTo>
                    <a:pt x="1980" y="268"/>
                  </a:lnTo>
                  <a:lnTo>
                    <a:pt x="1982" y="268"/>
                  </a:lnTo>
                  <a:lnTo>
                    <a:pt x="1982" y="270"/>
                  </a:lnTo>
                  <a:lnTo>
                    <a:pt x="1980" y="270"/>
                  </a:lnTo>
                  <a:lnTo>
                    <a:pt x="1980" y="268"/>
                  </a:lnTo>
                  <a:lnTo>
                    <a:pt x="1978" y="268"/>
                  </a:lnTo>
                  <a:lnTo>
                    <a:pt x="1978" y="266"/>
                  </a:lnTo>
                  <a:lnTo>
                    <a:pt x="1973" y="266"/>
                  </a:lnTo>
                  <a:lnTo>
                    <a:pt x="1973" y="266"/>
                  </a:lnTo>
                  <a:lnTo>
                    <a:pt x="1973" y="266"/>
                  </a:lnTo>
                  <a:lnTo>
                    <a:pt x="1975" y="266"/>
                  </a:lnTo>
                  <a:lnTo>
                    <a:pt x="1975" y="266"/>
                  </a:lnTo>
                  <a:lnTo>
                    <a:pt x="1971" y="262"/>
                  </a:lnTo>
                  <a:lnTo>
                    <a:pt x="1967" y="260"/>
                  </a:lnTo>
                  <a:lnTo>
                    <a:pt x="1967" y="260"/>
                  </a:lnTo>
                  <a:lnTo>
                    <a:pt x="1965" y="260"/>
                  </a:lnTo>
                  <a:lnTo>
                    <a:pt x="1963" y="258"/>
                  </a:lnTo>
                  <a:lnTo>
                    <a:pt x="1963" y="258"/>
                  </a:lnTo>
                  <a:lnTo>
                    <a:pt x="1959" y="255"/>
                  </a:lnTo>
                  <a:lnTo>
                    <a:pt x="1957" y="253"/>
                  </a:lnTo>
                  <a:lnTo>
                    <a:pt x="1955" y="253"/>
                  </a:lnTo>
                  <a:lnTo>
                    <a:pt x="1955" y="253"/>
                  </a:lnTo>
                  <a:lnTo>
                    <a:pt x="1955" y="255"/>
                  </a:lnTo>
                  <a:lnTo>
                    <a:pt x="1955" y="255"/>
                  </a:lnTo>
                  <a:lnTo>
                    <a:pt x="1953" y="255"/>
                  </a:lnTo>
                  <a:lnTo>
                    <a:pt x="1949" y="253"/>
                  </a:lnTo>
                  <a:lnTo>
                    <a:pt x="1943" y="251"/>
                  </a:lnTo>
                  <a:lnTo>
                    <a:pt x="1941" y="249"/>
                  </a:lnTo>
                  <a:lnTo>
                    <a:pt x="1936" y="247"/>
                  </a:lnTo>
                  <a:lnTo>
                    <a:pt x="1936" y="247"/>
                  </a:lnTo>
                  <a:lnTo>
                    <a:pt x="1934" y="247"/>
                  </a:lnTo>
                  <a:lnTo>
                    <a:pt x="1932" y="247"/>
                  </a:lnTo>
                  <a:lnTo>
                    <a:pt x="1930" y="249"/>
                  </a:lnTo>
                  <a:lnTo>
                    <a:pt x="1930" y="249"/>
                  </a:lnTo>
                  <a:lnTo>
                    <a:pt x="1926" y="247"/>
                  </a:lnTo>
                  <a:lnTo>
                    <a:pt x="1924" y="249"/>
                  </a:lnTo>
                  <a:lnTo>
                    <a:pt x="1924" y="249"/>
                  </a:lnTo>
                  <a:lnTo>
                    <a:pt x="1924" y="249"/>
                  </a:lnTo>
                  <a:lnTo>
                    <a:pt x="1924" y="247"/>
                  </a:lnTo>
                  <a:lnTo>
                    <a:pt x="1922" y="247"/>
                  </a:lnTo>
                  <a:lnTo>
                    <a:pt x="1920" y="245"/>
                  </a:lnTo>
                  <a:lnTo>
                    <a:pt x="1918" y="245"/>
                  </a:lnTo>
                  <a:lnTo>
                    <a:pt x="1916" y="245"/>
                  </a:lnTo>
                  <a:lnTo>
                    <a:pt x="1916" y="245"/>
                  </a:lnTo>
                  <a:lnTo>
                    <a:pt x="1916" y="245"/>
                  </a:lnTo>
                  <a:lnTo>
                    <a:pt x="1914" y="247"/>
                  </a:lnTo>
                  <a:lnTo>
                    <a:pt x="1910" y="247"/>
                  </a:lnTo>
                  <a:lnTo>
                    <a:pt x="1908" y="247"/>
                  </a:lnTo>
                  <a:lnTo>
                    <a:pt x="1904" y="247"/>
                  </a:lnTo>
                  <a:lnTo>
                    <a:pt x="1902" y="247"/>
                  </a:lnTo>
                  <a:lnTo>
                    <a:pt x="1906" y="247"/>
                  </a:lnTo>
                  <a:lnTo>
                    <a:pt x="1910" y="247"/>
                  </a:lnTo>
                  <a:lnTo>
                    <a:pt x="1914" y="245"/>
                  </a:lnTo>
                  <a:lnTo>
                    <a:pt x="1914" y="243"/>
                  </a:lnTo>
                  <a:lnTo>
                    <a:pt x="1922" y="245"/>
                  </a:lnTo>
                  <a:lnTo>
                    <a:pt x="1924" y="245"/>
                  </a:lnTo>
                  <a:lnTo>
                    <a:pt x="1926" y="245"/>
                  </a:lnTo>
                  <a:lnTo>
                    <a:pt x="1930" y="247"/>
                  </a:lnTo>
                  <a:lnTo>
                    <a:pt x="1932" y="247"/>
                  </a:lnTo>
                  <a:lnTo>
                    <a:pt x="1930" y="245"/>
                  </a:lnTo>
                  <a:lnTo>
                    <a:pt x="1928" y="243"/>
                  </a:lnTo>
                  <a:lnTo>
                    <a:pt x="1926" y="243"/>
                  </a:lnTo>
                  <a:lnTo>
                    <a:pt x="1924" y="243"/>
                  </a:lnTo>
                  <a:lnTo>
                    <a:pt x="1920" y="243"/>
                  </a:lnTo>
                  <a:lnTo>
                    <a:pt x="1918" y="243"/>
                  </a:lnTo>
                  <a:lnTo>
                    <a:pt x="1916" y="243"/>
                  </a:lnTo>
                  <a:lnTo>
                    <a:pt x="1916" y="241"/>
                  </a:lnTo>
                  <a:lnTo>
                    <a:pt x="1920" y="243"/>
                  </a:lnTo>
                  <a:lnTo>
                    <a:pt x="1922" y="241"/>
                  </a:lnTo>
                  <a:lnTo>
                    <a:pt x="1928" y="243"/>
                  </a:lnTo>
                  <a:lnTo>
                    <a:pt x="1930" y="243"/>
                  </a:lnTo>
                  <a:lnTo>
                    <a:pt x="1930" y="245"/>
                  </a:lnTo>
                  <a:lnTo>
                    <a:pt x="1936" y="247"/>
                  </a:lnTo>
                  <a:lnTo>
                    <a:pt x="1941" y="247"/>
                  </a:lnTo>
                  <a:lnTo>
                    <a:pt x="1949" y="249"/>
                  </a:lnTo>
                  <a:lnTo>
                    <a:pt x="1953" y="249"/>
                  </a:lnTo>
                  <a:lnTo>
                    <a:pt x="1955" y="249"/>
                  </a:lnTo>
                  <a:lnTo>
                    <a:pt x="1957" y="247"/>
                  </a:lnTo>
                  <a:lnTo>
                    <a:pt x="1959" y="245"/>
                  </a:lnTo>
                  <a:lnTo>
                    <a:pt x="1959" y="245"/>
                  </a:lnTo>
                  <a:lnTo>
                    <a:pt x="1959" y="243"/>
                  </a:lnTo>
                  <a:lnTo>
                    <a:pt x="1961" y="243"/>
                  </a:lnTo>
                  <a:lnTo>
                    <a:pt x="1961" y="241"/>
                  </a:lnTo>
                  <a:lnTo>
                    <a:pt x="1961" y="241"/>
                  </a:lnTo>
                  <a:lnTo>
                    <a:pt x="1961" y="241"/>
                  </a:lnTo>
                  <a:lnTo>
                    <a:pt x="1961" y="239"/>
                  </a:lnTo>
                  <a:lnTo>
                    <a:pt x="1959" y="237"/>
                  </a:lnTo>
                  <a:lnTo>
                    <a:pt x="1959" y="237"/>
                  </a:lnTo>
                  <a:lnTo>
                    <a:pt x="1959" y="235"/>
                  </a:lnTo>
                  <a:lnTo>
                    <a:pt x="1957" y="233"/>
                  </a:lnTo>
                  <a:lnTo>
                    <a:pt x="1957" y="233"/>
                  </a:lnTo>
                  <a:lnTo>
                    <a:pt x="1955" y="233"/>
                  </a:lnTo>
                  <a:lnTo>
                    <a:pt x="1951" y="231"/>
                  </a:lnTo>
                  <a:lnTo>
                    <a:pt x="1949" y="231"/>
                  </a:lnTo>
                  <a:lnTo>
                    <a:pt x="1945" y="229"/>
                  </a:lnTo>
                  <a:lnTo>
                    <a:pt x="1943" y="227"/>
                  </a:lnTo>
                  <a:lnTo>
                    <a:pt x="1941" y="225"/>
                  </a:lnTo>
                  <a:lnTo>
                    <a:pt x="1941" y="225"/>
                  </a:lnTo>
                  <a:lnTo>
                    <a:pt x="1943" y="225"/>
                  </a:lnTo>
                  <a:lnTo>
                    <a:pt x="1945" y="225"/>
                  </a:lnTo>
                  <a:lnTo>
                    <a:pt x="1945" y="225"/>
                  </a:lnTo>
                  <a:lnTo>
                    <a:pt x="1945" y="223"/>
                  </a:lnTo>
                  <a:lnTo>
                    <a:pt x="1943" y="223"/>
                  </a:lnTo>
                  <a:lnTo>
                    <a:pt x="1943" y="223"/>
                  </a:lnTo>
                  <a:lnTo>
                    <a:pt x="1943" y="223"/>
                  </a:lnTo>
                  <a:lnTo>
                    <a:pt x="1943" y="220"/>
                  </a:lnTo>
                  <a:lnTo>
                    <a:pt x="1943" y="220"/>
                  </a:lnTo>
                  <a:lnTo>
                    <a:pt x="1943" y="220"/>
                  </a:lnTo>
                  <a:lnTo>
                    <a:pt x="1947" y="223"/>
                  </a:lnTo>
                  <a:lnTo>
                    <a:pt x="1947" y="225"/>
                  </a:lnTo>
                  <a:lnTo>
                    <a:pt x="1949" y="225"/>
                  </a:lnTo>
                  <a:lnTo>
                    <a:pt x="1951" y="225"/>
                  </a:lnTo>
                  <a:lnTo>
                    <a:pt x="1951" y="225"/>
                  </a:lnTo>
                  <a:lnTo>
                    <a:pt x="1951" y="223"/>
                  </a:lnTo>
                  <a:lnTo>
                    <a:pt x="1949" y="220"/>
                  </a:lnTo>
                  <a:lnTo>
                    <a:pt x="1949" y="220"/>
                  </a:lnTo>
                  <a:lnTo>
                    <a:pt x="1951" y="223"/>
                  </a:lnTo>
                  <a:lnTo>
                    <a:pt x="1953" y="225"/>
                  </a:lnTo>
                  <a:lnTo>
                    <a:pt x="1953" y="225"/>
                  </a:lnTo>
                  <a:lnTo>
                    <a:pt x="1953" y="225"/>
                  </a:lnTo>
                  <a:lnTo>
                    <a:pt x="1955" y="227"/>
                  </a:lnTo>
                  <a:lnTo>
                    <a:pt x="1955" y="227"/>
                  </a:lnTo>
                  <a:lnTo>
                    <a:pt x="1953" y="227"/>
                  </a:lnTo>
                  <a:lnTo>
                    <a:pt x="1953" y="227"/>
                  </a:lnTo>
                  <a:lnTo>
                    <a:pt x="1955" y="229"/>
                  </a:lnTo>
                  <a:lnTo>
                    <a:pt x="1959" y="229"/>
                  </a:lnTo>
                  <a:lnTo>
                    <a:pt x="1961" y="231"/>
                  </a:lnTo>
                  <a:lnTo>
                    <a:pt x="1963" y="231"/>
                  </a:lnTo>
                  <a:lnTo>
                    <a:pt x="1963" y="231"/>
                  </a:lnTo>
                  <a:lnTo>
                    <a:pt x="1965" y="231"/>
                  </a:lnTo>
                  <a:lnTo>
                    <a:pt x="1965" y="233"/>
                  </a:lnTo>
                  <a:lnTo>
                    <a:pt x="1967" y="233"/>
                  </a:lnTo>
                  <a:lnTo>
                    <a:pt x="1969" y="235"/>
                  </a:lnTo>
                  <a:lnTo>
                    <a:pt x="1971" y="235"/>
                  </a:lnTo>
                  <a:lnTo>
                    <a:pt x="1971" y="235"/>
                  </a:lnTo>
                  <a:lnTo>
                    <a:pt x="1980" y="235"/>
                  </a:lnTo>
                  <a:lnTo>
                    <a:pt x="1982" y="235"/>
                  </a:lnTo>
                  <a:lnTo>
                    <a:pt x="1984" y="233"/>
                  </a:lnTo>
                  <a:lnTo>
                    <a:pt x="1986" y="233"/>
                  </a:lnTo>
                  <a:lnTo>
                    <a:pt x="1986" y="233"/>
                  </a:lnTo>
                  <a:lnTo>
                    <a:pt x="1992" y="235"/>
                  </a:lnTo>
                  <a:lnTo>
                    <a:pt x="2000" y="235"/>
                  </a:lnTo>
                  <a:lnTo>
                    <a:pt x="2004" y="237"/>
                  </a:lnTo>
                  <a:lnTo>
                    <a:pt x="2008" y="239"/>
                  </a:lnTo>
                  <a:lnTo>
                    <a:pt x="2010" y="241"/>
                  </a:lnTo>
                  <a:lnTo>
                    <a:pt x="2012" y="243"/>
                  </a:lnTo>
                  <a:lnTo>
                    <a:pt x="2012" y="243"/>
                  </a:lnTo>
                  <a:lnTo>
                    <a:pt x="2017" y="243"/>
                  </a:lnTo>
                  <a:lnTo>
                    <a:pt x="2021" y="245"/>
                  </a:lnTo>
                  <a:lnTo>
                    <a:pt x="2021" y="245"/>
                  </a:lnTo>
                  <a:lnTo>
                    <a:pt x="2023" y="245"/>
                  </a:lnTo>
                  <a:lnTo>
                    <a:pt x="2023" y="247"/>
                  </a:lnTo>
                  <a:lnTo>
                    <a:pt x="2025" y="247"/>
                  </a:lnTo>
                  <a:lnTo>
                    <a:pt x="2027" y="245"/>
                  </a:lnTo>
                  <a:lnTo>
                    <a:pt x="2027" y="245"/>
                  </a:lnTo>
                  <a:lnTo>
                    <a:pt x="2031" y="247"/>
                  </a:lnTo>
                  <a:lnTo>
                    <a:pt x="2035" y="247"/>
                  </a:lnTo>
                  <a:lnTo>
                    <a:pt x="2041" y="249"/>
                  </a:lnTo>
                  <a:lnTo>
                    <a:pt x="2043" y="249"/>
                  </a:lnTo>
                  <a:lnTo>
                    <a:pt x="2049" y="251"/>
                  </a:lnTo>
                  <a:lnTo>
                    <a:pt x="2051" y="253"/>
                  </a:lnTo>
                  <a:lnTo>
                    <a:pt x="2054" y="253"/>
                  </a:lnTo>
                  <a:lnTo>
                    <a:pt x="2056" y="253"/>
                  </a:lnTo>
                  <a:lnTo>
                    <a:pt x="2056" y="253"/>
                  </a:lnTo>
                  <a:lnTo>
                    <a:pt x="2056" y="251"/>
                  </a:lnTo>
                  <a:lnTo>
                    <a:pt x="2056" y="251"/>
                  </a:lnTo>
                  <a:lnTo>
                    <a:pt x="2056" y="251"/>
                  </a:lnTo>
                  <a:lnTo>
                    <a:pt x="2056" y="251"/>
                  </a:lnTo>
                  <a:lnTo>
                    <a:pt x="2058" y="251"/>
                  </a:lnTo>
                  <a:lnTo>
                    <a:pt x="2058" y="253"/>
                  </a:lnTo>
                  <a:lnTo>
                    <a:pt x="2058" y="253"/>
                  </a:lnTo>
                  <a:lnTo>
                    <a:pt x="2062" y="255"/>
                  </a:lnTo>
                  <a:lnTo>
                    <a:pt x="2064" y="255"/>
                  </a:lnTo>
                  <a:lnTo>
                    <a:pt x="2064" y="255"/>
                  </a:lnTo>
                  <a:lnTo>
                    <a:pt x="2064" y="253"/>
                  </a:lnTo>
                  <a:lnTo>
                    <a:pt x="2064" y="253"/>
                  </a:lnTo>
                  <a:lnTo>
                    <a:pt x="2060" y="251"/>
                  </a:lnTo>
                  <a:lnTo>
                    <a:pt x="2060" y="251"/>
                  </a:lnTo>
                  <a:lnTo>
                    <a:pt x="2062" y="251"/>
                  </a:lnTo>
                  <a:lnTo>
                    <a:pt x="2064" y="251"/>
                  </a:lnTo>
                  <a:lnTo>
                    <a:pt x="2066" y="253"/>
                  </a:lnTo>
                  <a:lnTo>
                    <a:pt x="2066" y="253"/>
                  </a:lnTo>
                  <a:lnTo>
                    <a:pt x="2070" y="253"/>
                  </a:lnTo>
                  <a:lnTo>
                    <a:pt x="2070" y="251"/>
                  </a:lnTo>
                  <a:close/>
                  <a:moveTo>
                    <a:pt x="341" y="3"/>
                  </a:moveTo>
                  <a:lnTo>
                    <a:pt x="345" y="3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4" y="0"/>
                  </a:lnTo>
                  <a:lnTo>
                    <a:pt x="343" y="0"/>
                  </a:lnTo>
                  <a:lnTo>
                    <a:pt x="341" y="0"/>
                  </a:lnTo>
                  <a:lnTo>
                    <a:pt x="341" y="0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close/>
                  <a:moveTo>
                    <a:pt x="356" y="13"/>
                  </a:moveTo>
                  <a:lnTo>
                    <a:pt x="358" y="13"/>
                  </a:lnTo>
                  <a:lnTo>
                    <a:pt x="358" y="13"/>
                  </a:lnTo>
                  <a:lnTo>
                    <a:pt x="358" y="11"/>
                  </a:lnTo>
                  <a:lnTo>
                    <a:pt x="356" y="11"/>
                  </a:lnTo>
                  <a:lnTo>
                    <a:pt x="356" y="11"/>
                  </a:lnTo>
                  <a:lnTo>
                    <a:pt x="354" y="9"/>
                  </a:lnTo>
                  <a:lnTo>
                    <a:pt x="351" y="9"/>
                  </a:lnTo>
                  <a:lnTo>
                    <a:pt x="349" y="9"/>
                  </a:lnTo>
                  <a:lnTo>
                    <a:pt x="347" y="9"/>
                  </a:lnTo>
                  <a:lnTo>
                    <a:pt x="347" y="9"/>
                  </a:lnTo>
                  <a:lnTo>
                    <a:pt x="343" y="11"/>
                  </a:lnTo>
                  <a:lnTo>
                    <a:pt x="341" y="9"/>
                  </a:lnTo>
                  <a:lnTo>
                    <a:pt x="339" y="11"/>
                  </a:lnTo>
                  <a:lnTo>
                    <a:pt x="343" y="11"/>
                  </a:lnTo>
                  <a:lnTo>
                    <a:pt x="345" y="11"/>
                  </a:lnTo>
                  <a:lnTo>
                    <a:pt x="349" y="13"/>
                  </a:lnTo>
                  <a:lnTo>
                    <a:pt x="354" y="13"/>
                  </a:lnTo>
                  <a:lnTo>
                    <a:pt x="356" y="13"/>
                  </a:lnTo>
                  <a:close/>
                  <a:moveTo>
                    <a:pt x="347" y="17"/>
                  </a:moveTo>
                  <a:lnTo>
                    <a:pt x="343" y="17"/>
                  </a:lnTo>
                  <a:lnTo>
                    <a:pt x="341" y="17"/>
                  </a:lnTo>
                  <a:lnTo>
                    <a:pt x="343" y="17"/>
                  </a:lnTo>
                  <a:lnTo>
                    <a:pt x="345" y="17"/>
                  </a:lnTo>
                  <a:lnTo>
                    <a:pt x="345" y="17"/>
                  </a:lnTo>
                  <a:lnTo>
                    <a:pt x="345" y="19"/>
                  </a:lnTo>
                  <a:lnTo>
                    <a:pt x="347" y="19"/>
                  </a:lnTo>
                  <a:lnTo>
                    <a:pt x="347" y="21"/>
                  </a:lnTo>
                  <a:lnTo>
                    <a:pt x="349" y="21"/>
                  </a:lnTo>
                  <a:lnTo>
                    <a:pt x="354" y="21"/>
                  </a:lnTo>
                  <a:lnTo>
                    <a:pt x="354" y="21"/>
                  </a:lnTo>
                  <a:lnTo>
                    <a:pt x="356" y="19"/>
                  </a:lnTo>
                  <a:lnTo>
                    <a:pt x="358" y="19"/>
                  </a:lnTo>
                  <a:lnTo>
                    <a:pt x="358" y="19"/>
                  </a:lnTo>
                  <a:lnTo>
                    <a:pt x="356" y="19"/>
                  </a:lnTo>
                  <a:lnTo>
                    <a:pt x="358" y="19"/>
                  </a:lnTo>
                  <a:lnTo>
                    <a:pt x="366" y="19"/>
                  </a:lnTo>
                  <a:lnTo>
                    <a:pt x="364" y="17"/>
                  </a:lnTo>
                  <a:lnTo>
                    <a:pt x="362" y="17"/>
                  </a:lnTo>
                  <a:lnTo>
                    <a:pt x="358" y="17"/>
                  </a:lnTo>
                  <a:lnTo>
                    <a:pt x="347" y="17"/>
                  </a:lnTo>
                  <a:close/>
                  <a:moveTo>
                    <a:pt x="364" y="17"/>
                  </a:moveTo>
                  <a:lnTo>
                    <a:pt x="366" y="17"/>
                  </a:lnTo>
                  <a:lnTo>
                    <a:pt x="368" y="17"/>
                  </a:lnTo>
                  <a:lnTo>
                    <a:pt x="372" y="17"/>
                  </a:lnTo>
                  <a:lnTo>
                    <a:pt x="374" y="17"/>
                  </a:lnTo>
                  <a:lnTo>
                    <a:pt x="380" y="17"/>
                  </a:lnTo>
                  <a:lnTo>
                    <a:pt x="382" y="17"/>
                  </a:lnTo>
                  <a:lnTo>
                    <a:pt x="384" y="17"/>
                  </a:lnTo>
                  <a:lnTo>
                    <a:pt x="388" y="15"/>
                  </a:lnTo>
                  <a:lnTo>
                    <a:pt x="388" y="15"/>
                  </a:lnTo>
                  <a:lnTo>
                    <a:pt x="388" y="15"/>
                  </a:lnTo>
                  <a:lnTo>
                    <a:pt x="390" y="15"/>
                  </a:lnTo>
                  <a:lnTo>
                    <a:pt x="390" y="15"/>
                  </a:lnTo>
                  <a:lnTo>
                    <a:pt x="393" y="13"/>
                  </a:lnTo>
                  <a:lnTo>
                    <a:pt x="390" y="13"/>
                  </a:lnTo>
                  <a:lnTo>
                    <a:pt x="390" y="13"/>
                  </a:lnTo>
                  <a:lnTo>
                    <a:pt x="390" y="11"/>
                  </a:lnTo>
                  <a:lnTo>
                    <a:pt x="386" y="11"/>
                  </a:lnTo>
                  <a:lnTo>
                    <a:pt x="384" y="11"/>
                  </a:lnTo>
                  <a:lnTo>
                    <a:pt x="382" y="13"/>
                  </a:lnTo>
                  <a:lnTo>
                    <a:pt x="378" y="13"/>
                  </a:lnTo>
                  <a:lnTo>
                    <a:pt x="374" y="13"/>
                  </a:lnTo>
                  <a:lnTo>
                    <a:pt x="372" y="13"/>
                  </a:lnTo>
                  <a:lnTo>
                    <a:pt x="372" y="13"/>
                  </a:lnTo>
                  <a:lnTo>
                    <a:pt x="370" y="13"/>
                  </a:lnTo>
                  <a:lnTo>
                    <a:pt x="366" y="13"/>
                  </a:lnTo>
                  <a:lnTo>
                    <a:pt x="366" y="13"/>
                  </a:lnTo>
                  <a:lnTo>
                    <a:pt x="366" y="13"/>
                  </a:lnTo>
                  <a:lnTo>
                    <a:pt x="364" y="13"/>
                  </a:lnTo>
                  <a:lnTo>
                    <a:pt x="364" y="13"/>
                  </a:lnTo>
                  <a:lnTo>
                    <a:pt x="364" y="15"/>
                  </a:lnTo>
                  <a:lnTo>
                    <a:pt x="364" y="15"/>
                  </a:lnTo>
                  <a:lnTo>
                    <a:pt x="364" y="17"/>
                  </a:lnTo>
                  <a:close/>
                  <a:moveTo>
                    <a:pt x="351" y="7"/>
                  </a:moveTo>
                  <a:lnTo>
                    <a:pt x="351" y="7"/>
                  </a:lnTo>
                  <a:lnTo>
                    <a:pt x="354" y="7"/>
                  </a:lnTo>
                  <a:lnTo>
                    <a:pt x="356" y="7"/>
                  </a:lnTo>
                  <a:lnTo>
                    <a:pt x="358" y="7"/>
                  </a:lnTo>
                  <a:lnTo>
                    <a:pt x="360" y="7"/>
                  </a:lnTo>
                  <a:lnTo>
                    <a:pt x="358" y="7"/>
                  </a:lnTo>
                  <a:lnTo>
                    <a:pt x="356" y="5"/>
                  </a:lnTo>
                  <a:lnTo>
                    <a:pt x="354" y="5"/>
                  </a:lnTo>
                  <a:lnTo>
                    <a:pt x="351" y="7"/>
                  </a:lnTo>
                  <a:close/>
                  <a:moveTo>
                    <a:pt x="376" y="11"/>
                  </a:moveTo>
                  <a:lnTo>
                    <a:pt x="380" y="11"/>
                  </a:lnTo>
                  <a:lnTo>
                    <a:pt x="382" y="11"/>
                  </a:lnTo>
                  <a:lnTo>
                    <a:pt x="382" y="9"/>
                  </a:lnTo>
                  <a:lnTo>
                    <a:pt x="380" y="9"/>
                  </a:lnTo>
                  <a:lnTo>
                    <a:pt x="372" y="9"/>
                  </a:lnTo>
                  <a:lnTo>
                    <a:pt x="370" y="11"/>
                  </a:lnTo>
                  <a:lnTo>
                    <a:pt x="368" y="11"/>
                  </a:lnTo>
                  <a:lnTo>
                    <a:pt x="368" y="11"/>
                  </a:lnTo>
                  <a:lnTo>
                    <a:pt x="372" y="11"/>
                  </a:lnTo>
                  <a:lnTo>
                    <a:pt x="376" y="11"/>
                  </a:lnTo>
                  <a:close/>
                  <a:moveTo>
                    <a:pt x="321" y="175"/>
                  </a:moveTo>
                  <a:lnTo>
                    <a:pt x="321" y="177"/>
                  </a:lnTo>
                  <a:lnTo>
                    <a:pt x="321" y="177"/>
                  </a:lnTo>
                  <a:lnTo>
                    <a:pt x="321" y="179"/>
                  </a:lnTo>
                  <a:lnTo>
                    <a:pt x="323" y="179"/>
                  </a:lnTo>
                  <a:lnTo>
                    <a:pt x="323" y="181"/>
                  </a:lnTo>
                  <a:lnTo>
                    <a:pt x="325" y="183"/>
                  </a:lnTo>
                  <a:lnTo>
                    <a:pt x="327" y="183"/>
                  </a:lnTo>
                  <a:lnTo>
                    <a:pt x="331" y="183"/>
                  </a:lnTo>
                  <a:lnTo>
                    <a:pt x="333" y="183"/>
                  </a:lnTo>
                  <a:lnTo>
                    <a:pt x="339" y="181"/>
                  </a:lnTo>
                  <a:lnTo>
                    <a:pt x="341" y="179"/>
                  </a:lnTo>
                  <a:lnTo>
                    <a:pt x="341" y="179"/>
                  </a:lnTo>
                  <a:lnTo>
                    <a:pt x="343" y="177"/>
                  </a:lnTo>
                  <a:lnTo>
                    <a:pt x="343" y="177"/>
                  </a:lnTo>
                  <a:lnTo>
                    <a:pt x="343" y="179"/>
                  </a:lnTo>
                  <a:lnTo>
                    <a:pt x="345" y="179"/>
                  </a:lnTo>
                  <a:lnTo>
                    <a:pt x="345" y="179"/>
                  </a:lnTo>
                  <a:lnTo>
                    <a:pt x="343" y="177"/>
                  </a:lnTo>
                  <a:lnTo>
                    <a:pt x="343" y="175"/>
                  </a:lnTo>
                  <a:lnTo>
                    <a:pt x="341" y="175"/>
                  </a:lnTo>
                  <a:lnTo>
                    <a:pt x="331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3" y="173"/>
                  </a:lnTo>
                  <a:lnTo>
                    <a:pt x="321" y="175"/>
                  </a:lnTo>
                  <a:lnTo>
                    <a:pt x="321" y="175"/>
                  </a:lnTo>
                  <a:close/>
                  <a:moveTo>
                    <a:pt x="368" y="23"/>
                  </a:moveTo>
                  <a:lnTo>
                    <a:pt x="368" y="23"/>
                  </a:lnTo>
                  <a:lnTo>
                    <a:pt x="370" y="23"/>
                  </a:lnTo>
                  <a:lnTo>
                    <a:pt x="374" y="23"/>
                  </a:lnTo>
                  <a:lnTo>
                    <a:pt x="374" y="23"/>
                  </a:lnTo>
                  <a:lnTo>
                    <a:pt x="374" y="21"/>
                  </a:lnTo>
                  <a:lnTo>
                    <a:pt x="370" y="21"/>
                  </a:lnTo>
                  <a:lnTo>
                    <a:pt x="366" y="21"/>
                  </a:lnTo>
                  <a:lnTo>
                    <a:pt x="366" y="21"/>
                  </a:lnTo>
                  <a:lnTo>
                    <a:pt x="366" y="23"/>
                  </a:lnTo>
                  <a:lnTo>
                    <a:pt x="368" y="23"/>
                  </a:lnTo>
                  <a:lnTo>
                    <a:pt x="368" y="23"/>
                  </a:lnTo>
                  <a:close/>
                  <a:moveTo>
                    <a:pt x="327" y="19"/>
                  </a:moveTo>
                  <a:lnTo>
                    <a:pt x="329" y="19"/>
                  </a:lnTo>
                  <a:lnTo>
                    <a:pt x="327" y="19"/>
                  </a:lnTo>
                  <a:lnTo>
                    <a:pt x="327" y="19"/>
                  </a:lnTo>
                  <a:lnTo>
                    <a:pt x="325" y="19"/>
                  </a:lnTo>
                  <a:lnTo>
                    <a:pt x="325" y="19"/>
                  </a:lnTo>
                  <a:lnTo>
                    <a:pt x="323" y="19"/>
                  </a:lnTo>
                  <a:lnTo>
                    <a:pt x="325" y="19"/>
                  </a:lnTo>
                  <a:lnTo>
                    <a:pt x="327" y="19"/>
                  </a:lnTo>
                  <a:close/>
                  <a:moveTo>
                    <a:pt x="386" y="3"/>
                  </a:moveTo>
                  <a:lnTo>
                    <a:pt x="388" y="3"/>
                  </a:lnTo>
                  <a:lnTo>
                    <a:pt x="390" y="3"/>
                  </a:lnTo>
                  <a:lnTo>
                    <a:pt x="397" y="3"/>
                  </a:lnTo>
                  <a:lnTo>
                    <a:pt x="399" y="3"/>
                  </a:lnTo>
                  <a:lnTo>
                    <a:pt x="399" y="3"/>
                  </a:lnTo>
                  <a:lnTo>
                    <a:pt x="399" y="3"/>
                  </a:lnTo>
                  <a:lnTo>
                    <a:pt x="399" y="3"/>
                  </a:lnTo>
                  <a:lnTo>
                    <a:pt x="388" y="3"/>
                  </a:lnTo>
                  <a:lnTo>
                    <a:pt x="384" y="3"/>
                  </a:lnTo>
                  <a:lnTo>
                    <a:pt x="382" y="3"/>
                  </a:lnTo>
                  <a:lnTo>
                    <a:pt x="386" y="3"/>
                  </a:lnTo>
                  <a:lnTo>
                    <a:pt x="386" y="3"/>
                  </a:lnTo>
                  <a:close/>
                  <a:moveTo>
                    <a:pt x="333" y="21"/>
                  </a:moveTo>
                  <a:lnTo>
                    <a:pt x="333" y="21"/>
                  </a:lnTo>
                  <a:lnTo>
                    <a:pt x="337" y="21"/>
                  </a:lnTo>
                  <a:lnTo>
                    <a:pt x="345" y="21"/>
                  </a:lnTo>
                  <a:lnTo>
                    <a:pt x="345" y="21"/>
                  </a:lnTo>
                  <a:lnTo>
                    <a:pt x="345" y="21"/>
                  </a:lnTo>
                  <a:lnTo>
                    <a:pt x="345" y="19"/>
                  </a:lnTo>
                  <a:lnTo>
                    <a:pt x="345" y="19"/>
                  </a:lnTo>
                  <a:lnTo>
                    <a:pt x="343" y="19"/>
                  </a:lnTo>
                  <a:lnTo>
                    <a:pt x="343" y="17"/>
                  </a:lnTo>
                  <a:lnTo>
                    <a:pt x="339" y="17"/>
                  </a:lnTo>
                  <a:lnTo>
                    <a:pt x="339" y="19"/>
                  </a:lnTo>
                  <a:lnTo>
                    <a:pt x="333" y="19"/>
                  </a:lnTo>
                  <a:lnTo>
                    <a:pt x="333" y="19"/>
                  </a:lnTo>
                  <a:lnTo>
                    <a:pt x="335" y="19"/>
                  </a:lnTo>
                  <a:lnTo>
                    <a:pt x="333" y="21"/>
                  </a:lnTo>
                  <a:lnTo>
                    <a:pt x="333" y="21"/>
                  </a:lnTo>
                  <a:close/>
                  <a:moveTo>
                    <a:pt x="397" y="11"/>
                  </a:moveTo>
                  <a:lnTo>
                    <a:pt x="395" y="13"/>
                  </a:lnTo>
                  <a:lnTo>
                    <a:pt x="395" y="13"/>
                  </a:lnTo>
                  <a:lnTo>
                    <a:pt x="397" y="13"/>
                  </a:lnTo>
                  <a:lnTo>
                    <a:pt x="401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15" y="13"/>
                  </a:lnTo>
                  <a:lnTo>
                    <a:pt x="419" y="13"/>
                  </a:lnTo>
                  <a:lnTo>
                    <a:pt x="421" y="11"/>
                  </a:lnTo>
                  <a:lnTo>
                    <a:pt x="421" y="11"/>
                  </a:lnTo>
                  <a:lnTo>
                    <a:pt x="421" y="11"/>
                  </a:lnTo>
                  <a:lnTo>
                    <a:pt x="421" y="9"/>
                  </a:lnTo>
                  <a:lnTo>
                    <a:pt x="419" y="9"/>
                  </a:lnTo>
                  <a:lnTo>
                    <a:pt x="417" y="9"/>
                  </a:lnTo>
                  <a:lnTo>
                    <a:pt x="415" y="9"/>
                  </a:lnTo>
                  <a:lnTo>
                    <a:pt x="413" y="9"/>
                  </a:lnTo>
                  <a:lnTo>
                    <a:pt x="411" y="9"/>
                  </a:lnTo>
                  <a:lnTo>
                    <a:pt x="409" y="9"/>
                  </a:lnTo>
                  <a:lnTo>
                    <a:pt x="409" y="9"/>
                  </a:lnTo>
                  <a:lnTo>
                    <a:pt x="409" y="9"/>
                  </a:lnTo>
                  <a:lnTo>
                    <a:pt x="409" y="11"/>
                  </a:lnTo>
                  <a:lnTo>
                    <a:pt x="409" y="11"/>
                  </a:lnTo>
                  <a:lnTo>
                    <a:pt x="407" y="11"/>
                  </a:lnTo>
                  <a:lnTo>
                    <a:pt x="403" y="11"/>
                  </a:lnTo>
                  <a:lnTo>
                    <a:pt x="399" y="11"/>
                  </a:lnTo>
                  <a:lnTo>
                    <a:pt x="397" y="11"/>
                  </a:lnTo>
                  <a:close/>
                  <a:moveTo>
                    <a:pt x="325" y="9"/>
                  </a:moveTo>
                  <a:lnTo>
                    <a:pt x="329" y="7"/>
                  </a:lnTo>
                  <a:lnTo>
                    <a:pt x="331" y="9"/>
                  </a:lnTo>
                  <a:lnTo>
                    <a:pt x="331" y="9"/>
                  </a:lnTo>
                  <a:lnTo>
                    <a:pt x="333" y="9"/>
                  </a:lnTo>
                  <a:lnTo>
                    <a:pt x="335" y="7"/>
                  </a:lnTo>
                  <a:lnTo>
                    <a:pt x="339" y="9"/>
                  </a:lnTo>
                  <a:lnTo>
                    <a:pt x="341" y="9"/>
                  </a:lnTo>
                  <a:lnTo>
                    <a:pt x="345" y="9"/>
                  </a:lnTo>
                  <a:lnTo>
                    <a:pt x="345" y="9"/>
                  </a:lnTo>
                  <a:lnTo>
                    <a:pt x="345" y="7"/>
                  </a:lnTo>
                  <a:lnTo>
                    <a:pt x="345" y="7"/>
                  </a:lnTo>
                  <a:lnTo>
                    <a:pt x="343" y="7"/>
                  </a:lnTo>
                  <a:lnTo>
                    <a:pt x="349" y="7"/>
                  </a:lnTo>
                  <a:lnTo>
                    <a:pt x="349" y="5"/>
                  </a:lnTo>
                  <a:lnTo>
                    <a:pt x="349" y="5"/>
                  </a:lnTo>
                  <a:lnTo>
                    <a:pt x="345" y="5"/>
                  </a:lnTo>
                  <a:lnTo>
                    <a:pt x="343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39" y="5"/>
                  </a:lnTo>
                  <a:lnTo>
                    <a:pt x="337" y="5"/>
                  </a:lnTo>
                  <a:lnTo>
                    <a:pt x="335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29" y="7"/>
                  </a:lnTo>
                  <a:lnTo>
                    <a:pt x="327" y="7"/>
                  </a:lnTo>
                  <a:lnTo>
                    <a:pt x="323" y="7"/>
                  </a:lnTo>
                  <a:lnTo>
                    <a:pt x="321" y="7"/>
                  </a:lnTo>
                  <a:lnTo>
                    <a:pt x="323" y="7"/>
                  </a:lnTo>
                  <a:lnTo>
                    <a:pt x="325" y="9"/>
                  </a:lnTo>
                  <a:close/>
                  <a:moveTo>
                    <a:pt x="300" y="19"/>
                  </a:moveTo>
                  <a:lnTo>
                    <a:pt x="300" y="19"/>
                  </a:lnTo>
                  <a:lnTo>
                    <a:pt x="300" y="21"/>
                  </a:lnTo>
                  <a:lnTo>
                    <a:pt x="302" y="21"/>
                  </a:lnTo>
                  <a:lnTo>
                    <a:pt x="308" y="21"/>
                  </a:lnTo>
                  <a:lnTo>
                    <a:pt x="310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8" y="19"/>
                  </a:lnTo>
                  <a:lnTo>
                    <a:pt x="306" y="17"/>
                  </a:lnTo>
                  <a:lnTo>
                    <a:pt x="306" y="17"/>
                  </a:lnTo>
                  <a:lnTo>
                    <a:pt x="304" y="17"/>
                  </a:lnTo>
                  <a:lnTo>
                    <a:pt x="300" y="17"/>
                  </a:lnTo>
                  <a:lnTo>
                    <a:pt x="300" y="19"/>
                  </a:lnTo>
                  <a:lnTo>
                    <a:pt x="300" y="19"/>
                  </a:lnTo>
                  <a:lnTo>
                    <a:pt x="298" y="19"/>
                  </a:lnTo>
                  <a:lnTo>
                    <a:pt x="296" y="19"/>
                  </a:lnTo>
                  <a:lnTo>
                    <a:pt x="296" y="19"/>
                  </a:lnTo>
                  <a:lnTo>
                    <a:pt x="298" y="19"/>
                  </a:lnTo>
                  <a:lnTo>
                    <a:pt x="300" y="19"/>
                  </a:lnTo>
                  <a:close/>
                  <a:moveTo>
                    <a:pt x="226" y="15"/>
                  </a:moveTo>
                  <a:lnTo>
                    <a:pt x="228" y="15"/>
                  </a:lnTo>
                  <a:lnTo>
                    <a:pt x="230" y="15"/>
                  </a:lnTo>
                  <a:lnTo>
                    <a:pt x="232" y="15"/>
                  </a:lnTo>
                  <a:lnTo>
                    <a:pt x="232" y="17"/>
                  </a:lnTo>
                  <a:lnTo>
                    <a:pt x="234" y="17"/>
                  </a:lnTo>
                  <a:lnTo>
                    <a:pt x="236" y="17"/>
                  </a:lnTo>
                  <a:lnTo>
                    <a:pt x="236" y="17"/>
                  </a:lnTo>
                  <a:lnTo>
                    <a:pt x="239" y="15"/>
                  </a:lnTo>
                  <a:lnTo>
                    <a:pt x="239" y="15"/>
                  </a:lnTo>
                  <a:lnTo>
                    <a:pt x="243" y="15"/>
                  </a:lnTo>
                  <a:lnTo>
                    <a:pt x="243" y="15"/>
                  </a:lnTo>
                  <a:lnTo>
                    <a:pt x="243" y="15"/>
                  </a:lnTo>
                  <a:lnTo>
                    <a:pt x="245" y="15"/>
                  </a:lnTo>
                  <a:lnTo>
                    <a:pt x="245" y="15"/>
                  </a:lnTo>
                  <a:lnTo>
                    <a:pt x="247" y="15"/>
                  </a:lnTo>
                  <a:lnTo>
                    <a:pt x="247" y="13"/>
                  </a:lnTo>
                  <a:lnTo>
                    <a:pt x="247" y="13"/>
                  </a:lnTo>
                  <a:lnTo>
                    <a:pt x="249" y="13"/>
                  </a:lnTo>
                  <a:lnTo>
                    <a:pt x="251" y="15"/>
                  </a:lnTo>
                  <a:lnTo>
                    <a:pt x="257" y="15"/>
                  </a:lnTo>
                  <a:lnTo>
                    <a:pt x="257" y="15"/>
                  </a:lnTo>
                  <a:lnTo>
                    <a:pt x="257" y="13"/>
                  </a:lnTo>
                  <a:lnTo>
                    <a:pt x="255" y="13"/>
                  </a:lnTo>
                  <a:lnTo>
                    <a:pt x="255" y="13"/>
                  </a:lnTo>
                  <a:lnTo>
                    <a:pt x="253" y="13"/>
                  </a:lnTo>
                  <a:lnTo>
                    <a:pt x="253" y="13"/>
                  </a:lnTo>
                  <a:lnTo>
                    <a:pt x="249" y="13"/>
                  </a:lnTo>
                  <a:lnTo>
                    <a:pt x="245" y="13"/>
                  </a:lnTo>
                  <a:lnTo>
                    <a:pt x="243" y="13"/>
                  </a:lnTo>
                  <a:lnTo>
                    <a:pt x="241" y="13"/>
                  </a:lnTo>
                  <a:lnTo>
                    <a:pt x="239" y="13"/>
                  </a:lnTo>
                  <a:lnTo>
                    <a:pt x="234" y="13"/>
                  </a:lnTo>
                  <a:lnTo>
                    <a:pt x="222" y="15"/>
                  </a:lnTo>
                  <a:lnTo>
                    <a:pt x="220" y="15"/>
                  </a:lnTo>
                  <a:lnTo>
                    <a:pt x="222" y="15"/>
                  </a:lnTo>
                  <a:lnTo>
                    <a:pt x="226" y="15"/>
                  </a:lnTo>
                  <a:close/>
                  <a:moveTo>
                    <a:pt x="263" y="214"/>
                  </a:moveTo>
                  <a:lnTo>
                    <a:pt x="263" y="214"/>
                  </a:lnTo>
                  <a:lnTo>
                    <a:pt x="263" y="214"/>
                  </a:lnTo>
                  <a:lnTo>
                    <a:pt x="265" y="216"/>
                  </a:lnTo>
                  <a:lnTo>
                    <a:pt x="265" y="216"/>
                  </a:lnTo>
                  <a:lnTo>
                    <a:pt x="265" y="214"/>
                  </a:lnTo>
                  <a:lnTo>
                    <a:pt x="265" y="214"/>
                  </a:lnTo>
                  <a:lnTo>
                    <a:pt x="263" y="214"/>
                  </a:lnTo>
                  <a:lnTo>
                    <a:pt x="263" y="214"/>
                  </a:lnTo>
                  <a:close/>
                  <a:moveTo>
                    <a:pt x="1793" y="568"/>
                  </a:moveTo>
                  <a:lnTo>
                    <a:pt x="1793" y="568"/>
                  </a:lnTo>
                  <a:lnTo>
                    <a:pt x="1793" y="566"/>
                  </a:lnTo>
                  <a:lnTo>
                    <a:pt x="1791" y="564"/>
                  </a:lnTo>
                  <a:lnTo>
                    <a:pt x="1791" y="564"/>
                  </a:lnTo>
                  <a:lnTo>
                    <a:pt x="1789" y="560"/>
                  </a:lnTo>
                  <a:lnTo>
                    <a:pt x="1785" y="558"/>
                  </a:lnTo>
                  <a:lnTo>
                    <a:pt x="1785" y="556"/>
                  </a:lnTo>
                  <a:lnTo>
                    <a:pt x="1782" y="556"/>
                  </a:lnTo>
                  <a:lnTo>
                    <a:pt x="1782" y="556"/>
                  </a:lnTo>
                  <a:lnTo>
                    <a:pt x="1780" y="556"/>
                  </a:lnTo>
                  <a:lnTo>
                    <a:pt x="1780" y="556"/>
                  </a:lnTo>
                  <a:lnTo>
                    <a:pt x="1776" y="552"/>
                  </a:lnTo>
                  <a:lnTo>
                    <a:pt x="1772" y="549"/>
                  </a:lnTo>
                  <a:lnTo>
                    <a:pt x="1770" y="547"/>
                  </a:lnTo>
                  <a:lnTo>
                    <a:pt x="1770" y="545"/>
                  </a:lnTo>
                  <a:lnTo>
                    <a:pt x="1768" y="545"/>
                  </a:lnTo>
                  <a:lnTo>
                    <a:pt x="1768" y="545"/>
                  </a:lnTo>
                  <a:lnTo>
                    <a:pt x="1766" y="545"/>
                  </a:lnTo>
                  <a:lnTo>
                    <a:pt x="1764" y="543"/>
                  </a:lnTo>
                  <a:lnTo>
                    <a:pt x="1762" y="541"/>
                  </a:lnTo>
                  <a:lnTo>
                    <a:pt x="1760" y="539"/>
                  </a:lnTo>
                  <a:lnTo>
                    <a:pt x="1758" y="537"/>
                  </a:lnTo>
                  <a:lnTo>
                    <a:pt x="1756" y="533"/>
                  </a:lnTo>
                  <a:lnTo>
                    <a:pt x="1756" y="531"/>
                  </a:lnTo>
                  <a:lnTo>
                    <a:pt x="1752" y="519"/>
                  </a:lnTo>
                  <a:lnTo>
                    <a:pt x="1750" y="515"/>
                  </a:lnTo>
                  <a:lnTo>
                    <a:pt x="1750" y="512"/>
                  </a:lnTo>
                  <a:lnTo>
                    <a:pt x="1752" y="512"/>
                  </a:lnTo>
                  <a:lnTo>
                    <a:pt x="1754" y="512"/>
                  </a:lnTo>
                  <a:lnTo>
                    <a:pt x="1758" y="510"/>
                  </a:lnTo>
                  <a:lnTo>
                    <a:pt x="1758" y="510"/>
                  </a:lnTo>
                  <a:lnTo>
                    <a:pt x="1762" y="512"/>
                  </a:lnTo>
                  <a:lnTo>
                    <a:pt x="1762" y="512"/>
                  </a:lnTo>
                  <a:lnTo>
                    <a:pt x="1764" y="512"/>
                  </a:lnTo>
                  <a:lnTo>
                    <a:pt x="1768" y="515"/>
                  </a:lnTo>
                  <a:lnTo>
                    <a:pt x="1772" y="517"/>
                  </a:lnTo>
                  <a:lnTo>
                    <a:pt x="1774" y="519"/>
                  </a:lnTo>
                  <a:lnTo>
                    <a:pt x="1776" y="521"/>
                  </a:lnTo>
                  <a:lnTo>
                    <a:pt x="1778" y="523"/>
                  </a:lnTo>
                  <a:lnTo>
                    <a:pt x="1780" y="523"/>
                  </a:lnTo>
                  <a:lnTo>
                    <a:pt x="1778" y="521"/>
                  </a:lnTo>
                  <a:lnTo>
                    <a:pt x="1776" y="519"/>
                  </a:lnTo>
                  <a:lnTo>
                    <a:pt x="1774" y="519"/>
                  </a:lnTo>
                  <a:lnTo>
                    <a:pt x="1770" y="517"/>
                  </a:lnTo>
                  <a:lnTo>
                    <a:pt x="1768" y="512"/>
                  </a:lnTo>
                  <a:lnTo>
                    <a:pt x="1766" y="510"/>
                  </a:lnTo>
                  <a:lnTo>
                    <a:pt x="1764" y="508"/>
                  </a:lnTo>
                  <a:lnTo>
                    <a:pt x="1762" y="506"/>
                  </a:lnTo>
                  <a:lnTo>
                    <a:pt x="1758" y="504"/>
                  </a:lnTo>
                  <a:lnTo>
                    <a:pt x="1754" y="500"/>
                  </a:lnTo>
                  <a:lnTo>
                    <a:pt x="1746" y="494"/>
                  </a:lnTo>
                  <a:lnTo>
                    <a:pt x="1741" y="490"/>
                  </a:lnTo>
                  <a:lnTo>
                    <a:pt x="1729" y="478"/>
                  </a:lnTo>
                  <a:lnTo>
                    <a:pt x="1729" y="475"/>
                  </a:lnTo>
                  <a:lnTo>
                    <a:pt x="1727" y="475"/>
                  </a:lnTo>
                  <a:lnTo>
                    <a:pt x="1727" y="473"/>
                  </a:lnTo>
                  <a:lnTo>
                    <a:pt x="1725" y="473"/>
                  </a:lnTo>
                  <a:lnTo>
                    <a:pt x="1723" y="471"/>
                  </a:lnTo>
                  <a:lnTo>
                    <a:pt x="1721" y="471"/>
                  </a:lnTo>
                  <a:lnTo>
                    <a:pt x="1721" y="469"/>
                  </a:lnTo>
                  <a:lnTo>
                    <a:pt x="1719" y="467"/>
                  </a:lnTo>
                  <a:lnTo>
                    <a:pt x="1717" y="465"/>
                  </a:lnTo>
                  <a:lnTo>
                    <a:pt x="1715" y="465"/>
                  </a:lnTo>
                  <a:lnTo>
                    <a:pt x="1713" y="461"/>
                  </a:lnTo>
                  <a:lnTo>
                    <a:pt x="1709" y="457"/>
                  </a:lnTo>
                  <a:lnTo>
                    <a:pt x="1709" y="455"/>
                  </a:lnTo>
                  <a:lnTo>
                    <a:pt x="1709" y="455"/>
                  </a:lnTo>
                  <a:lnTo>
                    <a:pt x="1709" y="455"/>
                  </a:lnTo>
                  <a:lnTo>
                    <a:pt x="1707" y="453"/>
                  </a:lnTo>
                  <a:lnTo>
                    <a:pt x="1707" y="451"/>
                  </a:lnTo>
                  <a:lnTo>
                    <a:pt x="1702" y="447"/>
                  </a:lnTo>
                  <a:lnTo>
                    <a:pt x="1698" y="443"/>
                  </a:lnTo>
                  <a:lnTo>
                    <a:pt x="1698" y="443"/>
                  </a:lnTo>
                  <a:lnTo>
                    <a:pt x="1696" y="440"/>
                  </a:lnTo>
                  <a:lnTo>
                    <a:pt x="1692" y="436"/>
                  </a:lnTo>
                  <a:lnTo>
                    <a:pt x="1684" y="432"/>
                  </a:lnTo>
                  <a:lnTo>
                    <a:pt x="1684" y="432"/>
                  </a:lnTo>
                  <a:lnTo>
                    <a:pt x="1684" y="430"/>
                  </a:lnTo>
                  <a:lnTo>
                    <a:pt x="1682" y="428"/>
                  </a:lnTo>
                  <a:lnTo>
                    <a:pt x="1682" y="428"/>
                  </a:lnTo>
                  <a:lnTo>
                    <a:pt x="1682" y="426"/>
                  </a:lnTo>
                  <a:lnTo>
                    <a:pt x="1680" y="426"/>
                  </a:lnTo>
                  <a:lnTo>
                    <a:pt x="1674" y="422"/>
                  </a:lnTo>
                  <a:lnTo>
                    <a:pt x="1672" y="422"/>
                  </a:lnTo>
                  <a:lnTo>
                    <a:pt x="1674" y="422"/>
                  </a:lnTo>
                  <a:lnTo>
                    <a:pt x="1674" y="424"/>
                  </a:lnTo>
                  <a:lnTo>
                    <a:pt x="1672" y="424"/>
                  </a:lnTo>
                  <a:lnTo>
                    <a:pt x="1670" y="424"/>
                  </a:lnTo>
                  <a:lnTo>
                    <a:pt x="1674" y="426"/>
                  </a:lnTo>
                  <a:lnTo>
                    <a:pt x="1678" y="428"/>
                  </a:lnTo>
                  <a:lnTo>
                    <a:pt x="1680" y="430"/>
                  </a:lnTo>
                  <a:lnTo>
                    <a:pt x="1682" y="432"/>
                  </a:lnTo>
                  <a:lnTo>
                    <a:pt x="1682" y="432"/>
                  </a:lnTo>
                  <a:lnTo>
                    <a:pt x="1682" y="432"/>
                  </a:lnTo>
                  <a:lnTo>
                    <a:pt x="1684" y="434"/>
                  </a:lnTo>
                  <a:lnTo>
                    <a:pt x="1682" y="434"/>
                  </a:lnTo>
                  <a:lnTo>
                    <a:pt x="1682" y="436"/>
                  </a:lnTo>
                  <a:lnTo>
                    <a:pt x="1684" y="436"/>
                  </a:lnTo>
                  <a:lnTo>
                    <a:pt x="1684" y="438"/>
                  </a:lnTo>
                  <a:lnTo>
                    <a:pt x="1684" y="438"/>
                  </a:lnTo>
                  <a:lnTo>
                    <a:pt x="1682" y="438"/>
                  </a:lnTo>
                  <a:lnTo>
                    <a:pt x="1682" y="438"/>
                  </a:lnTo>
                  <a:lnTo>
                    <a:pt x="1680" y="436"/>
                  </a:lnTo>
                  <a:lnTo>
                    <a:pt x="1678" y="436"/>
                  </a:lnTo>
                  <a:lnTo>
                    <a:pt x="1676" y="438"/>
                  </a:lnTo>
                  <a:lnTo>
                    <a:pt x="1676" y="438"/>
                  </a:lnTo>
                  <a:lnTo>
                    <a:pt x="1676" y="440"/>
                  </a:lnTo>
                  <a:lnTo>
                    <a:pt x="1680" y="443"/>
                  </a:lnTo>
                  <a:lnTo>
                    <a:pt x="1682" y="445"/>
                  </a:lnTo>
                  <a:lnTo>
                    <a:pt x="1684" y="449"/>
                  </a:lnTo>
                  <a:lnTo>
                    <a:pt x="1688" y="453"/>
                  </a:lnTo>
                  <a:lnTo>
                    <a:pt x="1688" y="455"/>
                  </a:lnTo>
                  <a:lnTo>
                    <a:pt x="1688" y="457"/>
                  </a:lnTo>
                  <a:lnTo>
                    <a:pt x="1688" y="459"/>
                  </a:lnTo>
                  <a:lnTo>
                    <a:pt x="1694" y="465"/>
                  </a:lnTo>
                  <a:lnTo>
                    <a:pt x="1696" y="465"/>
                  </a:lnTo>
                  <a:lnTo>
                    <a:pt x="1698" y="467"/>
                  </a:lnTo>
                  <a:lnTo>
                    <a:pt x="1698" y="467"/>
                  </a:lnTo>
                  <a:lnTo>
                    <a:pt x="1698" y="467"/>
                  </a:lnTo>
                  <a:lnTo>
                    <a:pt x="1698" y="469"/>
                  </a:lnTo>
                  <a:lnTo>
                    <a:pt x="1700" y="469"/>
                  </a:lnTo>
                  <a:lnTo>
                    <a:pt x="1704" y="471"/>
                  </a:lnTo>
                  <a:lnTo>
                    <a:pt x="1707" y="473"/>
                  </a:lnTo>
                  <a:lnTo>
                    <a:pt x="1711" y="478"/>
                  </a:lnTo>
                  <a:lnTo>
                    <a:pt x="1715" y="482"/>
                  </a:lnTo>
                  <a:lnTo>
                    <a:pt x="1715" y="484"/>
                  </a:lnTo>
                  <a:lnTo>
                    <a:pt x="1715" y="486"/>
                  </a:lnTo>
                  <a:lnTo>
                    <a:pt x="1717" y="488"/>
                  </a:lnTo>
                  <a:lnTo>
                    <a:pt x="1719" y="490"/>
                  </a:lnTo>
                  <a:lnTo>
                    <a:pt x="1723" y="494"/>
                  </a:lnTo>
                  <a:lnTo>
                    <a:pt x="1723" y="494"/>
                  </a:lnTo>
                  <a:lnTo>
                    <a:pt x="1731" y="506"/>
                  </a:lnTo>
                  <a:lnTo>
                    <a:pt x="1733" y="508"/>
                  </a:lnTo>
                  <a:lnTo>
                    <a:pt x="1733" y="510"/>
                  </a:lnTo>
                  <a:lnTo>
                    <a:pt x="1735" y="515"/>
                  </a:lnTo>
                  <a:lnTo>
                    <a:pt x="1737" y="517"/>
                  </a:lnTo>
                  <a:lnTo>
                    <a:pt x="1737" y="521"/>
                  </a:lnTo>
                  <a:lnTo>
                    <a:pt x="1739" y="523"/>
                  </a:lnTo>
                  <a:lnTo>
                    <a:pt x="1739" y="523"/>
                  </a:lnTo>
                  <a:lnTo>
                    <a:pt x="1743" y="527"/>
                  </a:lnTo>
                  <a:lnTo>
                    <a:pt x="1748" y="529"/>
                  </a:lnTo>
                  <a:lnTo>
                    <a:pt x="1752" y="535"/>
                  </a:lnTo>
                  <a:lnTo>
                    <a:pt x="1752" y="537"/>
                  </a:lnTo>
                  <a:lnTo>
                    <a:pt x="1752" y="537"/>
                  </a:lnTo>
                  <a:lnTo>
                    <a:pt x="1754" y="539"/>
                  </a:lnTo>
                  <a:lnTo>
                    <a:pt x="1754" y="541"/>
                  </a:lnTo>
                  <a:lnTo>
                    <a:pt x="1754" y="543"/>
                  </a:lnTo>
                  <a:lnTo>
                    <a:pt x="1758" y="545"/>
                  </a:lnTo>
                  <a:lnTo>
                    <a:pt x="1758" y="547"/>
                  </a:lnTo>
                  <a:lnTo>
                    <a:pt x="1760" y="549"/>
                  </a:lnTo>
                  <a:lnTo>
                    <a:pt x="1762" y="552"/>
                  </a:lnTo>
                  <a:lnTo>
                    <a:pt x="1762" y="558"/>
                  </a:lnTo>
                  <a:lnTo>
                    <a:pt x="1766" y="562"/>
                  </a:lnTo>
                  <a:lnTo>
                    <a:pt x="1770" y="568"/>
                  </a:lnTo>
                  <a:lnTo>
                    <a:pt x="1770" y="568"/>
                  </a:lnTo>
                  <a:lnTo>
                    <a:pt x="1772" y="570"/>
                  </a:lnTo>
                  <a:lnTo>
                    <a:pt x="1774" y="572"/>
                  </a:lnTo>
                  <a:lnTo>
                    <a:pt x="1774" y="572"/>
                  </a:lnTo>
                  <a:lnTo>
                    <a:pt x="1774" y="570"/>
                  </a:lnTo>
                  <a:lnTo>
                    <a:pt x="1774" y="568"/>
                  </a:lnTo>
                  <a:lnTo>
                    <a:pt x="1772" y="564"/>
                  </a:lnTo>
                  <a:lnTo>
                    <a:pt x="1772" y="562"/>
                  </a:lnTo>
                  <a:lnTo>
                    <a:pt x="1772" y="560"/>
                  </a:lnTo>
                  <a:lnTo>
                    <a:pt x="1772" y="560"/>
                  </a:lnTo>
                  <a:lnTo>
                    <a:pt x="1772" y="558"/>
                  </a:lnTo>
                  <a:lnTo>
                    <a:pt x="1774" y="558"/>
                  </a:lnTo>
                  <a:lnTo>
                    <a:pt x="1774" y="558"/>
                  </a:lnTo>
                  <a:lnTo>
                    <a:pt x="1776" y="558"/>
                  </a:lnTo>
                  <a:lnTo>
                    <a:pt x="1776" y="560"/>
                  </a:lnTo>
                  <a:lnTo>
                    <a:pt x="1778" y="560"/>
                  </a:lnTo>
                  <a:lnTo>
                    <a:pt x="1780" y="560"/>
                  </a:lnTo>
                  <a:lnTo>
                    <a:pt x="1785" y="560"/>
                  </a:lnTo>
                  <a:lnTo>
                    <a:pt x="1787" y="562"/>
                  </a:lnTo>
                  <a:lnTo>
                    <a:pt x="1789" y="564"/>
                  </a:lnTo>
                  <a:lnTo>
                    <a:pt x="1791" y="566"/>
                  </a:lnTo>
                  <a:lnTo>
                    <a:pt x="1793" y="570"/>
                  </a:lnTo>
                  <a:lnTo>
                    <a:pt x="1793" y="570"/>
                  </a:lnTo>
                  <a:lnTo>
                    <a:pt x="1793" y="568"/>
                  </a:lnTo>
                  <a:close/>
                  <a:moveTo>
                    <a:pt x="259" y="17"/>
                  </a:moveTo>
                  <a:lnTo>
                    <a:pt x="257" y="15"/>
                  </a:lnTo>
                  <a:lnTo>
                    <a:pt x="255" y="15"/>
                  </a:lnTo>
                  <a:lnTo>
                    <a:pt x="255" y="15"/>
                  </a:lnTo>
                  <a:lnTo>
                    <a:pt x="253" y="15"/>
                  </a:lnTo>
                  <a:lnTo>
                    <a:pt x="251" y="15"/>
                  </a:lnTo>
                  <a:lnTo>
                    <a:pt x="249" y="17"/>
                  </a:lnTo>
                  <a:lnTo>
                    <a:pt x="247" y="17"/>
                  </a:lnTo>
                  <a:lnTo>
                    <a:pt x="241" y="19"/>
                  </a:lnTo>
                  <a:lnTo>
                    <a:pt x="241" y="19"/>
                  </a:lnTo>
                  <a:lnTo>
                    <a:pt x="243" y="19"/>
                  </a:lnTo>
                  <a:lnTo>
                    <a:pt x="245" y="21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9" y="19"/>
                  </a:lnTo>
                  <a:lnTo>
                    <a:pt x="251" y="19"/>
                  </a:lnTo>
                  <a:lnTo>
                    <a:pt x="253" y="19"/>
                  </a:lnTo>
                  <a:lnTo>
                    <a:pt x="253" y="19"/>
                  </a:lnTo>
                  <a:lnTo>
                    <a:pt x="251" y="21"/>
                  </a:lnTo>
                  <a:lnTo>
                    <a:pt x="251" y="21"/>
                  </a:lnTo>
                  <a:lnTo>
                    <a:pt x="253" y="21"/>
                  </a:lnTo>
                  <a:lnTo>
                    <a:pt x="255" y="21"/>
                  </a:lnTo>
                  <a:lnTo>
                    <a:pt x="255" y="21"/>
                  </a:lnTo>
                  <a:lnTo>
                    <a:pt x="255" y="21"/>
                  </a:lnTo>
                  <a:lnTo>
                    <a:pt x="255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19"/>
                  </a:lnTo>
                  <a:lnTo>
                    <a:pt x="261" y="21"/>
                  </a:lnTo>
                  <a:lnTo>
                    <a:pt x="263" y="21"/>
                  </a:lnTo>
                  <a:lnTo>
                    <a:pt x="263" y="21"/>
                  </a:lnTo>
                  <a:lnTo>
                    <a:pt x="263" y="19"/>
                  </a:lnTo>
                  <a:lnTo>
                    <a:pt x="263" y="19"/>
                  </a:lnTo>
                  <a:lnTo>
                    <a:pt x="263" y="19"/>
                  </a:lnTo>
                  <a:lnTo>
                    <a:pt x="263" y="19"/>
                  </a:lnTo>
                  <a:lnTo>
                    <a:pt x="261" y="19"/>
                  </a:lnTo>
                  <a:lnTo>
                    <a:pt x="259" y="19"/>
                  </a:lnTo>
                  <a:lnTo>
                    <a:pt x="261" y="19"/>
                  </a:lnTo>
                  <a:lnTo>
                    <a:pt x="261" y="17"/>
                  </a:lnTo>
                  <a:lnTo>
                    <a:pt x="269" y="17"/>
                  </a:lnTo>
                  <a:lnTo>
                    <a:pt x="271" y="17"/>
                  </a:lnTo>
                  <a:lnTo>
                    <a:pt x="269" y="17"/>
                  </a:lnTo>
                  <a:lnTo>
                    <a:pt x="271" y="17"/>
                  </a:lnTo>
                  <a:lnTo>
                    <a:pt x="275" y="15"/>
                  </a:lnTo>
                  <a:lnTo>
                    <a:pt x="282" y="15"/>
                  </a:lnTo>
                  <a:lnTo>
                    <a:pt x="284" y="15"/>
                  </a:lnTo>
                  <a:lnTo>
                    <a:pt x="288" y="15"/>
                  </a:lnTo>
                  <a:lnTo>
                    <a:pt x="286" y="13"/>
                  </a:lnTo>
                  <a:lnTo>
                    <a:pt x="286" y="13"/>
                  </a:lnTo>
                  <a:lnTo>
                    <a:pt x="278" y="11"/>
                  </a:lnTo>
                  <a:lnTo>
                    <a:pt x="278" y="11"/>
                  </a:lnTo>
                  <a:lnTo>
                    <a:pt x="273" y="11"/>
                  </a:lnTo>
                  <a:lnTo>
                    <a:pt x="271" y="11"/>
                  </a:lnTo>
                  <a:lnTo>
                    <a:pt x="271" y="11"/>
                  </a:lnTo>
                  <a:lnTo>
                    <a:pt x="265" y="13"/>
                  </a:lnTo>
                  <a:lnTo>
                    <a:pt x="263" y="13"/>
                  </a:lnTo>
                  <a:lnTo>
                    <a:pt x="261" y="13"/>
                  </a:lnTo>
                  <a:lnTo>
                    <a:pt x="263" y="15"/>
                  </a:lnTo>
                  <a:lnTo>
                    <a:pt x="263" y="15"/>
                  </a:lnTo>
                  <a:lnTo>
                    <a:pt x="263" y="17"/>
                  </a:lnTo>
                  <a:lnTo>
                    <a:pt x="259" y="17"/>
                  </a:lnTo>
                  <a:close/>
                  <a:moveTo>
                    <a:pt x="43" y="414"/>
                  </a:moveTo>
                  <a:lnTo>
                    <a:pt x="43" y="414"/>
                  </a:lnTo>
                  <a:lnTo>
                    <a:pt x="41" y="412"/>
                  </a:lnTo>
                  <a:lnTo>
                    <a:pt x="39" y="412"/>
                  </a:lnTo>
                  <a:lnTo>
                    <a:pt x="39" y="410"/>
                  </a:lnTo>
                  <a:lnTo>
                    <a:pt x="35" y="410"/>
                  </a:lnTo>
                  <a:lnTo>
                    <a:pt x="33" y="410"/>
                  </a:lnTo>
                  <a:lnTo>
                    <a:pt x="33" y="410"/>
                  </a:lnTo>
                  <a:lnTo>
                    <a:pt x="29" y="410"/>
                  </a:lnTo>
                  <a:lnTo>
                    <a:pt x="27" y="408"/>
                  </a:lnTo>
                  <a:lnTo>
                    <a:pt x="25" y="408"/>
                  </a:lnTo>
                  <a:lnTo>
                    <a:pt x="23" y="408"/>
                  </a:lnTo>
                  <a:lnTo>
                    <a:pt x="23" y="406"/>
                  </a:lnTo>
                  <a:lnTo>
                    <a:pt x="21" y="406"/>
                  </a:lnTo>
                  <a:lnTo>
                    <a:pt x="21" y="406"/>
                  </a:lnTo>
                  <a:lnTo>
                    <a:pt x="21" y="410"/>
                  </a:lnTo>
                  <a:lnTo>
                    <a:pt x="21" y="412"/>
                  </a:lnTo>
                  <a:lnTo>
                    <a:pt x="19" y="412"/>
                  </a:lnTo>
                  <a:lnTo>
                    <a:pt x="17" y="412"/>
                  </a:lnTo>
                  <a:lnTo>
                    <a:pt x="15" y="412"/>
                  </a:lnTo>
                  <a:lnTo>
                    <a:pt x="13" y="412"/>
                  </a:lnTo>
                  <a:lnTo>
                    <a:pt x="13" y="412"/>
                  </a:lnTo>
                  <a:lnTo>
                    <a:pt x="17" y="408"/>
                  </a:lnTo>
                  <a:lnTo>
                    <a:pt x="17" y="406"/>
                  </a:lnTo>
                  <a:lnTo>
                    <a:pt x="17" y="406"/>
                  </a:lnTo>
                  <a:lnTo>
                    <a:pt x="15" y="408"/>
                  </a:lnTo>
                  <a:lnTo>
                    <a:pt x="13" y="410"/>
                  </a:lnTo>
                  <a:lnTo>
                    <a:pt x="11" y="412"/>
                  </a:lnTo>
                  <a:lnTo>
                    <a:pt x="11" y="412"/>
                  </a:lnTo>
                  <a:lnTo>
                    <a:pt x="7" y="412"/>
                  </a:lnTo>
                  <a:lnTo>
                    <a:pt x="4" y="412"/>
                  </a:lnTo>
                  <a:lnTo>
                    <a:pt x="4" y="414"/>
                  </a:lnTo>
                  <a:lnTo>
                    <a:pt x="4" y="416"/>
                  </a:lnTo>
                  <a:lnTo>
                    <a:pt x="2" y="418"/>
                  </a:lnTo>
                  <a:lnTo>
                    <a:pt x="2" y="418"/>
                  </a:lnTo>
                  <a:lnTo>
                    <a:pt x="0" y="420"/>
                  </a:lnTo>
                  <a:lnTo>
                    <a:pt x="0" y="420"/>
                  </a:lnTo>
                  <a:lnTo>
                    <a:pt x="4" y="420"/>
                  </a:lnTo>
                  <a:lnTo>
                    <a:pt x="9" y="422"/>
                  </a:lnTo>
                  <a:lnTo>
                    <a:pt x="15" y="422"/>
                  </a:lnTo>
                  <a:lnTo>
                    <a:pt x="21" y="422"/>
                  </a:lnTo>
                  <a:lnTo>
                    <a:pt x="27" y="422"/>
                  </a:lnTo>
                  <a:lnTo>
                    <a:pt x="35" y="422"/>
                  </a:lnTo>
                  <a:lnTo>
                    <a:pt x="41" y="422"/>
                  </a:lnTo>
                  <a:lnTo>
                    <a:pt x="43" y="422"/>
                  </a:lnTo>
                  <a:lnTo>
                    <a:pt x="41" y="422"/>
                  </a:lnTo>
                  <a:lnTo>
                    <a:pt x="41" y="420"/>
                  </a:lnTo>
                  <a:lnTo>
                    <a:pt x="41" y="418"/>
                  </a:lnTo>
                  <a:lnTo>
                    <a:pt x="41" y="418"/>
                  </a:lnTo>
                  <a:lnTo>
                    <a:pt x="43" y="414"/>
                  </a:lnTo>
                  <a:close/>
                  <a:moveTo>
                    <a:pt x="310" y="17"/>
                  </a:moveTo>
                  <a:lnTo>
                    <a:pt x="315" y="17"/>
                  </a:lnTo>
                  <a:lnTo>
                    <a:pt x="317" y="17"/>
                  </a:lnTo>
                  <a:lnTo>
                    <a:pt x="317" y="17"/>
                  </a:lnTo>
                  <a:lnTo>
                    <a:pt x="317" y="15"/>
                  </a:lnTo>
                  <a:lnTo>
                    <a:pt x="315" y="15"/>
                  </a:lnTo>
                  <a:lnTo>
                    <a:pt x="312" y="15"/>
                  </a:lnTo>
                  <a:lnTo>
                    <a:pt x="310" y="15"/>
                  </a:lnTo>
                  <a:lnTo>
                    <a:pt x="310" y="15"/>
                  </a:lnTo>
                  <a:lnTo>
                    <a:pt x="310" y="15"/>
                  </a:lnTo>
                  <a:lnTo>
                    <a:pt x="310" y="17"/>
                  </a:lnTo>
                  <a:lnTo>
                    <a:pt x="310" y="17"/>
                  </a:lnTo>
                  <a:lnTo>
                    <a:pt x="310" y="17"/>
                  </a:lnTo>
                  <a:close/>
                  <a:moveTo>
                    <a:pt x="315" y="13"/>
                  </a:moveTo>
                  <a:lnTo>
                    <a:pt x="315" y="13"/>
                  </a:lnTo>
                  <a:lnTo>
                    <a:pt x="317" y="13"/>
                  </a:lnTo>
                  <a:lnTo>
                    <a:pt x="317" y="13"/>
                  </a:lnTo>
                  <a:lnTo>
                    <a:pt x="321" y="13"/>
                  </a:lnTo>
                  <a:lnTo>
                    <a:pt x="325" y="13"/>
                  </a:lnTo>
                  <a:lnTo>
                    <a:pt x="329" y="15"/>
                  </a:lnTo>
                  <a:lnTo>
                    <a:pt x="329" y="15"/>
                  </a:lnTo>
                  <a:lnTo>
                    <a:pt x="333" y="15"/>
                  </a:lnTo>
                  <a:lnTo>
                    <a:pt x="339" y="15"/>
                  </a:lnTo>
                  <a:lnTo>
                    <a:pt x="345" y="13"/>
                  </a:lnTo>
                  <a:lnTo>
                    <a:pt x="347" y="13"/>
                  </a:lnTo>
                  <a:lnTo>
                    <a:pt x="345" y="13"/>
                  </a:lnTo>
                  <a:lnTo>
                    <a:pt x="337" y="11"/>
                  </a:lnTo>
                  <a:lnTo>
                    <a:pt x="333" y="11"/>
                  </a:lnTo>
                  <a:lnTo>
                    <a:pt x="329" y="11"/>
                  </a:lnTo>
                  <a:lnTo>
                    <a:pt x="323" y="11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12" y="11"/>
                  </a:lnTo>
                  <a:lnTo>
                    <a:pt x="312" y="11"/>
                  </a:lnTo>
                  <a:lnTo>
                    <a:pt x="310" y="11"/>
                  </a:lnTo>
                  <a:lnTo>
                    <a:pt x="310" y="11"/>
                  </a:lnTo>
                  <a:lnTo>
                    <a:pt x="310" y="13"/>
                  </a:lnTo>
                  <a:lnTo>
                    <a:pt x="315" y="13"/>
                  </a:lnTo>
                  <a:close/>
                  <a:moveTo>
                    <a:pt x="271" y="9"/>
                  </a:moveTo>
                  <a:lnTo>
                    <a:pt x="273" y="9"/>
                  </a:lnTo>
                  <a:lnTo>
                    <a:pt x="275" y="9"/>
                  </a:lnTo>
                  <a:lnTo>
                    <a:pt x="275" y="9"/>
                  </a:lnTo>
                  <a:lnTo>
                    <a:pt x="275" y="9"/>
                  </a:lnTo>
                  <a:lnTo>
                    <a:pt x="278" y="9"/>
                  </a:lnTo>
                  <a:lnTo>
                    <a:pt x="275" y="9"/>
                  </a:lnTo>
                  <a:lnTo>
                    <a:pt x="275" y="9"/>
                  </a:lnTo>
                  <a:lnTo>
                    <a:pt x="273" y="9"/>
                  </a:lnTo>
                  <a:lnTo>
                    <a:pt x="273" y="9"/>
                  </a:lnTo>
                  <a:lnTo>
                    <a:pt x="273" y="9"/>
                  </a:lnTo>
                  <a:lnTo>
                    <a:pt x="273" y="9"/>
                  </a:lnTo>
                  <a:lnTo>
                    <a:pt x="271" y="9"/>
                  </a:lnTo>
                  <a:lnTo>
                    <a:pt x="271" y="9"/>
                  </a:lnTo>
                  <a:lnTo>
                    <a:pt x="271" y="9"/>
                  </a:lnTo>
                  <a:close/>
                  <a:moveTo>
                    <a:pt x="1702" y="342"/>
                  </a:moveTo>
                  <a:lnTo>
                    <a:pt x="1704" y="342"/>
                  </a:lnTo>
                  <a:lnTo>
                    <a:pt x="1704" y="342"/>
                  </a:lnTo>
                  <a:lnTo>
                    <a:pt x="1707" y="342"/>
                  </a:lnTo>
                  <a:lnTo>
                    <a:pt x="1704" y="340"/>
                  </a:lnTo>
                  <a:lnTo>
                    <a:pt x="1704" y="340"/>
                  </a:lnTo>
                  <a:lnTo>
                    <a:pt x="1704" y="342"/>
                  </a:lnTo>
                  <a:lnTo>
                    <a:pt x="1702" y="342"/>
                  </a:lnTo>
                  <a:lnTo>
                    <a:pt x="1702" y="342"/>
                  </a:lnTo>
                  <a:close/>
                  <a:moveTo>
                    <a:pt x="288" y="21"/>
                  </a:moveTo>
                  <a:lnTo>
                    <a:pt x="284" y="21"/>
                  </a:lnTo>
                  <a:lnTo>
                    <a:pt x="282" y="21"/>
                  </a:lnTo>
                  <a:lnTo>
                    <a:pt x="280" y="21"/>
                  </a:lnTo>
                  <a:lnTo>
                    <a:pt x="275" y="23"/>
                  </a:lnTo>
                  <a:lnTo>
                    <a:pt x="280" y="23"/>
                  </a:lnTo>
                  <a:lnTo>
                    <a:pt x="286" y="23"/>
                  </a:lnTo>
                  <a:lnTo>
                    <a:pt x="290" y="23"/>
                  </a:lnTo>
                  <a:lnTo>
                    <a:pt x="290" y="23"/>
                  </a:lnTo>
                  <a:lnTo>
                    <a:pt x="290" y="23"/>
                  </a:lnTo>
                  <a:lnTo>
                    <a:pt x="288" y="23"/>
                  </a:lnTo>
                  <a:lnTo>
                    <a:pt x="288" y="23"/>
                  </a:lnTo>
                  <a:lnTo>
                    <a:pt x="288" y="23"/>
                  </a:lnTo>
                  <a:lnTo>
                    <a:pt x="288" y="21"/>
                  </a:lnTo>
                  <a:close/>
                  <a:moveTo>
                    <a:pt x="278" y="21"/>
                  </a:moveTo>
                  <a:lnTo>
                    <a:pt x="275" y="19"/>
                  </a:lnTo>
                  <a:lnTo>
                    <a:pt x="273" y="19"/>
                  </a:lnTo>
                  <a:lnTo>
                    <a:pt x="269" y="21"/>
                  </a:lnTo>
                  <a:lnTo>
                    <a:pt x="269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8" y="21"/>
                  </a:lnTo>
                  <a:lnTo>
                    <a:pt x="278" y="21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46" name="Freeform 69">
              <a:extLst>
                <a:ext uri="{FF2B5EF4-FFF2-40B4-BE49-F238E27FC236}">
                  <a16:creationId xmlns:a16="http://schemas.microsoft.com/office/drawing/2014/main" id="{B4E2D27B-8D94-3249-863B-AC7076524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35" y="2483266"/>
              <a:ext cx="162809" cy="99825"/>
            </a:xfrm>
            <a:custGeom>
              <a:avLst/>
              <a:gdLst>
                <a:gd name="T0" fmla="*/ 127 w 137"/>
                <a:gd name="T1" fmla="*/ 53 h 84"/>
                <a:gd name="T2" fmla="*/ 123 w 137"/>
                <a:gd name="T3" fmla="*/ 55 h 84"/>
                <a:gd name="T4" fmla="*/ 117 w 137"/>
                <a:gd name="T5" fmla="*/ 53 h 84"/>
                <a:gd name="T6" fmla="*/ 113 w 137"/>
                <a:gd name="T7" fmla="*/ 49 h 84"/>
                <a:gd name="T8" fmla="*/ 113 w 137"/>
                <a:gd name="T9" fmla="*/ 45 h 84"/>
                <a:gd name="T10" fmla="*/ 115 w 137"/>
                <a:gd name="T11" fmla="*/ 33 h 84"/>
                <a:gd name="T12" fmla="*/ 111 w 137"/>
                <a:gd name="T13" fmla="*/ 25 h 84"/>
                <a:gd name="T14" fmla="*/ 105 w 137"/>
                <a:gd name="T15" fmla="*/ 18 h 84"/>
                <a:gd name="T16" fmla="*/ 98 w 137"/>
                <a:gd name="T17" fmla="*/ 12 h 84"/>
                <a:gd name="T18" fmla="*/ 94 w 137"/>
                <a:gd name="T19" fmla="*/ 4 h 84"/>
                <a:gd name="T20" fmla="*/ 90 w 137"/>
                <a:gd name="T21" fmla="*/ 0 h 84"/>
                <a:gd name="T22" fmla="*/ 84 w 137"/>
                <a:gd name="T23" fmla="*/ 4 h 84"/>
                <a:gd name="T24" fmla="*/ 72 w 137"/>
                <a:gd name="T25" fmla="*/ 8 h 84"/>
                <a:gd name="T26" fmla="*/ 63 w 137"/>
                <a:gd name="T27" fmla="*/ 10 h 84"/>
                <a:gd name="T28" fmla="*/ 55 w 137"/>
                <a:gd name="T29" fmla="*/ 8 h 84"/>
                <a:gd name="T30" fmla="*/ 47 w 137"/>
                <a:gd name="T31" fmla="*/ 6 h 84"/>
                <a:gd name="T32" fmla="*/ 39 w 137"/>
                <a:gd name="T33" fmla="*/ 4 h 84"/>
                <a:gd name="T34" fmla="*/ 35 w 137"/>
                <a:gd name="T35" fmla="*/ 6 h 84"/>
                <a:gd name="T36" fmla="*/ 31 w 137"/>
                <a:gd name="T37" fmla="*/ 10 h 84"/>
                <a:gd name="T38" fmla="*/ 26 w 137"/>
                <a:gd name="T39" fmla="*/ 12 h 84"/>
                <a:gd name="T40" fmla="*/ 22 w 137"/>
                <a:gd name="T41" fmla="*/ 16 h 84"/>
                <a:gd name="T42" fmla="*/ 18 w 137"/>
                <a:gd name="T43" fmla="*/ 23 h 84"/>
                <a:gd name="T44" fmla="*/ 16 w 137"/>
                <a:gd name="T45" fmla="*/ 29 h 84"/>
                <a:gd name="T46" fmla="*/ 14 w 137"/>
                <a:gd name="T47" fmla="*/ 31 h 84"/>
                <a:gd name="T48" fmla="*/ 12 w 137"/>
                <a:gd name="T49" fmla="*/ 35 h 84"/>
                <a:gd name="T50" fmla="*/ 6 w 137"/>
                <a:gd name="T51" fmla="*/ 37 h 84"/>
                <a:gd name="T52" fmla="*/ 4 w 137"/>
                <a:gd name="T53" fmla="*/ 39 h 84"/>
                <a:gd name="T54" fmla="*/ 0 w 137"/>
                <a:gd name="T55" fmla="*/ 41 h 84"/>
                <a:gd name="T56" fmla="*/ 6 w 137"/>
                <a:gd name="T57" fmla="*/ 47 h 84"/>
                <a:gd name="T58" fmla="*/ 8 w 137"/>
                <a:gd name="T59" fmla="*/ 47 h 84"/>
                <a:gd name="T60" fmla="*/ 8 w 137"/>
                <a:gd name="T61" fmla="*/ 51 h 84"/>
                <a:gd name="T62" fmla="*/ 10 w 137"/>
                <a:gd name="T63" fmla="*/ 53 h 84"/>
                <a:gd name="T64" fmla="*/ 16 w 137"/>
                <a:gd name="T65" fmla="*/ 55 h 84"/>
                <a:gd name="T66" fmla="*/ 16 w 137"/>
                <a:gd name="T67" fmla="*/ 57 h 84"/>
                <a:gd name="T68" fmla="*/ 16 w 137"/>
                <a:gd name="T69" fmla="*/ 62 h 84"/>
                <a:gd name="T70" fmla="*/ 18 w 137"/>
                <a:gd name="T71" fmla="*/ 62 h 84"/>
                <a:gd name="T72" fmla="*/ 16 w 137"/>
                <a:gd name="T73" fmla="*/ 64 h 84"/>
                <a:gd name="T74" fmla="*/ 24 w 137"/>
                <a:gd name="T75" fmla="*/ 68 h 84"/>
                <a:gd name="T76" fmla="*/ 33 w 137"/>
                <a:gd name="T77" fmla="*/ 66 h 84"/>
                <a:gd name="T78" fmla="*/ 35 w 137"/>
                <a:gd name="T79" fmla="*/ 68 h 84"/>
                <a:gd name="T80" fmla="*/ 35 w 137"/>
                <a:gd name="T81" fmla="*/ 72 h 84"/>
                <a:gd name="T82" fmla="*/ 37 w 137"/>
                <a:gd name="T83" fmla="*/ 76 h 84"/>
                <a:gd name="T84" fmla="*/ 39 w 137"/>
                <a:gd name="T85" fmla="*/ 78 h 84"/>
                <a:gd name="T86" fmla="*/ 45 w 137"/>
                <a:gd name="T87" fmla="*/ 80 h 84"/>
                <a:gd name="T88" fmla="*/ 68 w 137"/>
                <a:gd name="T89" fmla="*/ 84 h 84"/>
                <a:gd name="T90" fmla="*/ 84 w 137"/>
                <a:gd name="T91" fmla="*/ 80 h 84"/>
                <a:gd name="T92" fmla="*/ 100 w 137"/>
                <a:gd name="T93" fmla="*/ 76 h 84"/>
                <a:gd name="T94" fmla="*/ 111 w 137"/>
                <a:gd name="T95" fmla="*/ 80 h 84"/>
                <a:gd name="T96" fmla="*/ 119 w 137"/>
                <a:gd name="T97" fmla="*/ 82 h 84"/>
                <a:gd name="T98" fmla="*/ 123 w 137"/>
                <a:gd name="T99" fmla="*/ 74 h 84"/>
                <a:gd name="T100" fmla="*/ 125 w 137"/>
                <a:gd name="T101" fmla="*/ 68 h 84"/>
                <a:gd name="T102" fmla="*/ 125 w 137"/>
                <a:gd name="T103" fmla="*/ 62 h 84"/>
                <a:gd name="T104" fmla="*/ 129 w 137"/>
                <a:gd name="T105" fmla="*/ 64 h 84"/>
                <a:gd name="T106" fmla="*/ 135 w 137"/>
                <a:gd name="T107" fmla="*/ 6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7" h="84">
                  <a:moveTo>
                    <a:pt x="135" y="53"/>
                  </a:moveTo>
                  <a:lnTo>
                    <a:pt x="135" y="53"/>
                  </a:lnTo>
                  <a:lnTo>
                    <a:pt x="133" y="51"/>
                  </a:lnTo>
                  <a:lnTo>
                    <a:pt x="129" y="51"/>
                  </a:lnTo>
                  <a:lnTo>
                    <a:pt x="127" y="53"/>
                  </a:lnTo>
                  <a:lnTo>
                    <a:pt x="125" y="53"/>
                  </a:lnTo>
                  <a:lnTo>
                    <a:pt x="125" y="53"/>
                  </a:lnTo>
                  <a:lnTo>
                    <a:pt x="123" y="53"/>
                  </a:lnTo>
                  <a:lnTo>
                    <a:pt x="123" y="53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19" y="53"/>
                  </a:lnTo>
                  <a:lnTo>
                    <a:pt x="117" y="53"/>
                  </a:lnTo>
                  <a:lnTo>
                    <a:pt x="115" y="51"/>
                  </a:lnTo>
                  <a:lnTo>
                    <a:pt x="115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7"/>
                  </a:lnTo>
                  <a:lnTo>
                    <a:pt x="115" y="47"/>
                  </a:lnTo>
                  <a:lnTo>
                    <a:pt x="113" y="47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3"/>
                  </a:lnTo>
                  <a:lnTo>
                    <a:pt x="113" y="41"/>
                  </a:lnTo>
                  <a:lnTo>
                    <a:pt x="113" y="39"/>
                  </a:lnTo>
                  <a:lnTo>
                    <a:pt x="113" y="35"/>
                  </a:lnTo>
                  <a:lnTo>
                    <a:pt x="115" y="33"/>
                  </a:lnTo>
                  <a:lnTo>
                    <a:pt x="113" y="33"/>
                  </a:lnTo>
                  <a:lnTo>
                    <a:pt x="113" y="31"/>
                  </a:lnTo>
                  <a:lnTo>
                    <a:pt x="113" y="29"/>
                  </a:lnTo>
                  <a:lnTo>
                    <a:pt x="113" y="27"/>
                  </a:lnTo>
                  <a:lnTo>
                    <a:pt x="111" y="25"/>
                  </a:lnTo>
                  <a:lnTo>
                    <a:pt x="109" y="23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2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98" y="12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6" y="8"/>
                  </a:lnTo>
                  <a:lnTo>
                    <a:pt x="96" y="6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2"/>
                  </a:lnTo>
                  <a:lnTo>
                    <a:pt x="92" y="2"/>
                  </a:lnTo>
                  <a:lnTo>
                    <a:pt x="90" y="2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8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2" y="4"/>
                  </a:lnTo>
                  <a:lnTo>
                    <a:pt x="82" y="6"/>
                  </a:lnTo>
                  <a:lnTo>
                    <a:pt x="78" y="6"/>
                  </a:lnTo>
                  <a:lnTo>
                    <a:pt x="76" y="6"/>
                  </a:lnTo>
                  <a:lnTo>
                    <a:pt x="72" y="8"/>
                  </a:lnTo>
                  <a:lnTo>
                    <a:pt x="68" y="8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1" y="8"/>
                  </a:lnTo>
                  <a:lnTo>
                    <a:pt x="59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5" y="8"/>
                  </a:lnTo>
                  <a:lnTo>
                    <a:pt x="53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5" y="6"/>
                  </a:lnTo>
                  <a:lnTo>
                    <a:pt x="43" y="6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3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14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20" y="20"/>
                  </a:lnTo>
                  <a:lnTo>
                    <a:pt x="20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5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4" y="39"/>
                  </a:lnTo>
                  <a:lnTo>
                    <a:pt x="2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8" y="45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4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8" y="55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6" y="57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8" y="64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2" y="66"/>
                  </a:lnTo>
                  <a:lnTo>
                    <a:pt x="24" y="68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9" y="68"/>
                  </a:lnTo>
                  <a:lnTo>
                    <a:pt x="31" y="66"/>
                  </a:lnTo>
                  <a:lnTo>
                    <a:pt x="33" y="66"/>
                  </a:lnTo>
                  <a:lnTo>
                    <a:pt x="35" y="68"/>
                  </a:lnTo>
                  <a:lnTo>
                    <a:pt x="37" y="68"/>
                  </a:lnTo>
                  <a:lnTo>
                    <a:pt x="37" y="68"/>
                  </a:lnTo>
                  <a:lnTo>
                    <a:pt x="37" y="68"/>
                  </a:lnTo>
                  <a:lnTo>
                    <a:pt x="35" y="68"/>
                  </a:lnTo>
                  <a:lnTo>
                    <a:pt x="35" y="70"/>
                  </a:lnTo>
                  <a:lnTo>
                    <a:pt x="33" y="70"/>
                  </a:lnTo>
                  <a:lnTo>
                    <a:pt x="33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7" y="76"/>
                  </a:lnTo>
                  <a:lnTo>
                    <a:pt x="41" y="76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39" y="78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41" y="82"/>
                  </a:lnTo>
                  <a:lnTo>
                    <a:pt x="45" y="80"/>
                  </a:lnTo>
                  <a:lnTo>
                    <a:pt x="49" y="82"/>
                  </a:lnTo>
                  <a:lnTo>
                    <a:pt x="55" y="82"/>
                  </a:lnTo>
                  <a:lnTo>
                    <a:pt x="59" y="82"/>
                  </a:lnTo>
                  <a:lnTo>
                    <a:pt x="61" y="82"/>
                  </a:lnTo>
                  <a:lnTo>
                    <a:pt x="68" y="84"/>
                  </a:lnTo>
                  <a:lnTo>
                    <a:pt x="74" y="84"/>
                  </a:lnTo>
                  <a:lnTo>
                    <a:pt x="78" y="84"/>
                  </a:lnTo>
                  <a:lnTo>
                    <a:pt x="80" y="84"/>
                  </a:lnTo>
                  <a:lnTo>
                    <a:pt x="82" y="82"/>
                  </a:lnTo>
                  <a:lnTo>
                    <a:pt x="84" y="80"/>
                  </a:lnTo>
                  <a:lnTo>
                    <a:pt x="88" y="78"/>
                  </a:lnTo>
                  <a:lnTo>
                    <a:pt x="92" y="78"/>
                  </a:lnTo>
                  <a:lnTo>
                    <a:pt x="96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09" y="78"/>
                  </a:lnTo>
                  <a:lnTo>
                    <a:pt x="111" y="80"/>
                  </a:lnTo>
                  <a:lnTo>
                    <a:pt x="111" y="80"/>
                  </a:lnTo>
                  <a:lnTo>
                    <a:pt x="113" y="78"/>
                  </a:lnTo>
                  <a:lnTo>
                    <a:pt x="113" y="80"/>
                  </a:lnTo>
                  <a:lnTo>
                    <a:pt x="115" y="82"/>
                  </a:lnTo>
                  <a:lnTo>
                    <a:pt x="117" y="82"/>
                  </a:lnTo>
                  <a:lnTo>
                    <a:pt x="119" y="82"/>
                  </a:lnTo>
                  <a:lnTo>
                    <a:pt x="121" y="84"/>
                  </a:lnTo>
                  <a:lnTo>
                    <a:pt x="123" y="82"/>
                  </a:lnTo>
                  <a:lnTo>
                    <a:pt x="123" y="82"/>
                  </a:lnTo>
                  <a:lnTo>
                    <a:pt x="123" y="78"/>
                  </a:lnTo>
                  <a:lnTo>
                    <a:pt x="123" y="74"/>
                  </a:lnTo>
                  <a:lnTo>
                    <a:pt x="123" y="72"/>
                  </a:lnTo>
                  <a:lnTo>
                    <a:pt x="125" y="70"/>
                  </a:lnTo>
                  <a:lnTo>
                    <a:pt x="127" y="68"/>
                  </a:lnTo>
                  <a:lnTo>
                    <a:pt x="125" y="68"/>
                  </a:lnTo>
                  <a:lnTo>
                    <a:pt x="125" y="68"/>
                  </a:lnTo>
                  <a:lnTo>
                    <a:pt x="125" y="68"/>
                  </a:lnTo>
                  <a:lnTo>
                    <a:pt x="125" y="66"/>
                  </a:lnTo>
                  <a:lnTo>
                    <a:pt x="125" y="66"/>
                  </a:lnTo>
                  <a:lnTo>
                    <a:pt x="127" y="64"/>
                  </a:lnTo>
                  <a:lnTo>
                    <a:pt x="125" y="62"/>
                  </a:lnTo>
                  <a:lnTo>
                    <a:pt x="127" y="62"/>
                  </a:lnTo>
                  <a:lnTo>
                    <a:pt x="127" y="62"/>
                  </a:lnTo>
                  <a:lnTo>
                    <a:pt x="129" y="62"/>
                  </a:lnTo>
                  <a:lnTo>
                    <a:pt x="127" y="62"/>
                  </a:lnTo>
                  <a:lnTo>
                    <a:pt x="129" y="64"/>
                  </a:lnTo>
                  <a:lnTo>
                    <a:pt x="129" y="64"/>
                  </a:lnTo>
                  <a:lnTo>
                    <a:pt x="129" y="66"/>
                  </a:lnTo>
                  <a:lnTo>
                    <a:pt x="135" y="64"/>
                  </a:lnTo>
                  <a:lnTo>
                    <a:pt x="135" y="62"/>
                  </a:lnTo>
                  <a:lnTo>
                    <a:pt x="135" y="62"/>
                  </a:lnTo>
                  <a:lnTo>
                    <a:pt x="137" y="57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5" y="5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47" name="Freeform 70">
              <a:extLst>
                <a:ext uri="{FF2B5EF4-FFF2-40B4-BE49-F238E27FC236}">
                  <a16:creationId xmlns:a16="http://schemas.microsoft.com/office/drawing/2014/main" id="{B4697336-A944-374E-9AEA-97EC8B893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328" y="3987765"/>
              <a:ext cx="9507" cy="13072"/>
            </a:xfrm>
            <a:custGeom>
              <a:avLst/>
              <a:gdLst>
                <a:gd name="T0" fmla="*/ 8 w 8"/>
                <a:gd name="T1" fmla="*/ 5 h 11"/>
                <a:gd name="T2" fmla="*/ 6 w 8"/>
                <a:gd name="T3" fmla="*/ 3 h 11"/>
                <a:gd name="T4" fmla="*/ 6 w 8"/>
                <a:gd name="T5" fmla="*/ 0 h 11"/>
                <a:gd name="T6" fmla="*/ 4 w 8"/>
                <a:gd name="T7" fmla="*/ 0 h 11"/>
                <a:gd name="T8" fmla="*/ 2 w 8"/>
                <a:gd name="T9" fmla="*/ 3 h 11"/>
                <a:gd name="T10" fmla="*/ 0 w 8"/>
                <a:gd name="T11" fmla="*/ 5 h 11"/>
                <a:gd name="T12" fmla="*/ 0 w 8"/>
                <a:gd name="T13" fmla="*/ 5 h 11"/>
                <a:gd name="T14" fmla="*/ 0 w 8"/>
                <a:gd name="T15" fmla="*/ 7 h 11"/>
                <a:gd name="T16" fmla="*/ 2 w 8"/>
                <a:gd name="T17" fmla="*/ 9 h 11"/>
                <a:gd name="T18" fmla="*/ 4 w 8"/>
                <a:gd name="T19" fmla="*/ 11 h 11"/>
                <a:gd name="T20" fmla="*/ 6 w 8"/>
                <a:gd name="T21" fmla="*/ 11 h 11"/>
                <a:gd name="T22" fmla="*/ 8 w 8"/>
                <a:gd name="T23" fmla="*/ 11 h 11"/>
                <a:gd name="T24" fmla="*/ 8 w 8"/>
                <a:gd name="T25" fmla="*/ 9 h 11"/>
                <a:gd name="T26" fmla="*/ 8 w 8"/>
                <a:gd name="T27" fmla="*/ 7 h 11"/>
                <a:gd name="T28" fmla="*/ 8 w 8"/>
                <a:gd name="T2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1">
                  <a:moveTo>
                    <a:pt x="8" y="5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9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9"/>
                  </a:lnTo>
                  <a:lnTo>
                    <a:pt x="8" y="7"/>
                  </a:lnTo>
                  <a:lnTo>
                    <a:pt x="8" y="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48" name="Freeform 71">
              <a:extLst>
                <a:ext uri="{FF2B5EF4-FFF2-40B4-BE49-F238E27FC236}">
                  <a16:creationId xmlns:a16="http://schemas.microsoft.com/office/drawing/2014/main" id="{7A2F5A96-894C-1E42-8E0C-817014114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5011" y="2964563"/>
              <a:ext cx="14261" cy="34463"/>
            </a:xfrm>
            <a:custGeom>
              <a:avLst/>
              <a:gdLst>
                <a:gd name="T0" fmla="*/ 12 w 12"/>
                <a:gd name="T1" fmla="*/ 18 h 29"/>
                <a:gd name="T2" fmla="*/ 12 w 12"/>
                <a:gd name="T3" fmla="*/ 14 h 29"/>
                <a:gd name="T4" fmla="*/ 10 w 12"/>
                <a:gd name="T5" fmla="*/ 12 h 29"/>
                <a:gd name="T6" fmla="*/ 10 w 12"/>
                <a:gd name="T7" fmla="*/ 12 h 29"/>
                <a:gd name="T8" fmla="*/ 10 w 12"/>
                <a:gd name="T9" fmla="*/ 10 h 29"/>
                <a:gd name="T10" fmla="*/ 10 w 12"/>
                <a:gd name="T11" fmla="*/ 8 h 29"/>
                <a:gd name="T12" fmla="*/ 12 w 12"/>
                <a:gd name="T13" fmla="*/ 6 h 29"/>
                <a:gd name="T14" fmla="*/ 10 w 12"/>
                <a:gd name="T15" fmla="*/ 4 h 29"/>
                <a:gd name="T16" fmla="*/ 8 w 12"/>
                <a:gd name="T17" fmla="*/ 2 h 29"/>
                <a:gd name="T18" fmla="*/ 6 w 12"/>
                <a:gd name="T19" fmla="*/ 0 h 29"/>
                <a:gd name="T20" fmla="*/ 4 w 12"/>
                <a:gd name="T21" fmla="*/ 0 h 29"/>
                <a:gd name="T22" fmla="*/ 2 w 12"/>
                <a:gd name="T23" fmla="*/ 2 h 29"/>
                <a:gd name="T24" fmla="*/ 2 w 12"/>
                <a:gd name="T25" fmla="*/ 6 h 29"/>
                <a:gd name="T26" fmla="*/ 0 w 12"/>
                <a:gd name="T27" fmla="*/ 8 h 29"/>
                <a:gd name="T28" fmla="*/ 0 w 12"/>
                <a:gd name="T29" fmla="*/ 10 h 29"/>
                <a:gd name="T30" fmla="*/ 0 w 12"/>
                <a:gd name="T31" fmla="*/ 12 h 29"/>
                <a:gd name="T32" fmla="*/ 0 w 12"/>
                <a:gd name="T33" fmla="*/ 12 h 29"/>
                <a:gd name="T34" fmla="*/ 0 w 12"/>
                <a:gd name="T35" fmla="*/ 16 h 29"/>
                <a:gd name="T36" fmla="*/ 2 w 12"/>
                <a:gd name="T37" fmla="*/ 23 h 29"/>
                <a:gd name="T38" fmla="*/ 2 w 12"/>
                <a:gd name="T39" fmla="*/ 23 h 29"/>
                <a:gd name="T40" fmla="*/ 0 w 12"/>
                <a:gd name="T41" fmla="*/ 25 h 29"/>
                <a:gd name="T42" fmla="*/ 2 w 12"/>
                <a:gd name="T43" fmla="*/ 27 h 29"/>
                <a:gd name="T44" fmla="*/ 2 w 12"/>
                <a:gd name="T45" fmla="*/ 27 h 29"/>
                <a:gd name="T46" fmla="*/ 4 w 12"/>
                <a:gd name="T47" fmla="*/ 29 h 29"/>
                <a:gd name="T48" fmla="*/ 4 w 12"/>
                <a:gd name="T49" fmla="*/ 29 h 29"/>
                <a:gd name="T50" fmla="*/ 6 w 12"/>
                <a:gd name="T51" fmla="*/ 29 h 29"/>
                <a:gd name="T52" fmla="*/ 6 w 12"/>
                <a:gd name="T53" fmla="*/ 29 h 29"/>
                <a:gd name="T54" fmla="*/ 8 w 12"/>
                <a:gd name="T55" fmla="*/ 27 h 29"/>
                <a:gd name="T56" fmla="*/ 10 w 12"/>
                <a:gd name="T57" fmla="*/ 27 h 29"/>
                <a:gd name="T58" fmla="*/ 10 w 12"/>
                <a:gd name="T59" fmla="*/ 27 h 29"/>
                <a:gd name="T60" fmla="*/ 12 w 12"/>
                <a:gd name="T61" fmla="*/ 23 h 29"/>
                <a:gd name="T62" fmla="*/ 12 w 12"/>
                <a:gd name="T63" fmla="*/ 21 h 29"/>
                <a:gd name="T64" fmla="*/ 12 w 12"/>
                <a:gd name="T65" fmla="*/ 18 h 29"/>
                <a:gd name="T66" fmla="*/ 12 w 12"/>
                <a:gd name="T67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" h="29">
                  <a:moveTo>
                    <a:pt x="12" y="18"/>
                  </a:moveTo>
                  <a:lnTo>
                    <a:pt x="12" y="14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5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8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2" y="18"/>
                  </a:lnTo>
                  <a:lnTo>
                    <a:pt x="12" y="1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49" name="Freeform 73">
              <a:extLst>
                <a:ext uri="{FF2B5EF4-FFF2-40B4-BE49-F238E27FC236}">
                  <a16:creationId xmlns:a16="http://schemas.microsoft.com/office/drawing/2014/main" id="{AE00BF66-8020-A540-9B01-2C1157A301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6453" y="2615177"/>
              <a:ext cx="451587" cy="207968"/>
            </a:xfrm>
            <a:custGeom>
              <a:avLst/>
              <a:gdLst>
                <a:gd name="T0" fmla="*/ 199 w 380"/>
                <a:gd name="T1" fmla="*/ 173 h 175"/>
                <a:gd name="T2" fmla="*/ 207 w 380"/>
                <a:gd name="T3" fmla="*/ 173 h 175"/>
                <a:gd name="T4" fmla="*/ 86 w 380"/>
                <a:gd name="T5" fmla="*/ 92 h 175"/>
                <a:gd name="T6" fmla="*/ 88 w 380"/>
                <a:gd name="T7" fmla="*/ 92 h 175"/>
                <a:gd name="T8" fmla="*/ 82 w 380"/>
                <a:gd name="T9" fmla="*/ 78 h 175"/>
                <a:gd name="T10" fmla="*/ 78 w 380"/>
                <a:gd name="T11" fmla="*/ 78 h 175"/>
                <a:gd name="T12" fmla="*/ 41 w 380"/>
                <a:gd name="T13" fmla="*/ 64 h 175"/>
                <a:gd name="T14" fmla="*/ 43 w 380"/>
                <a:gd name="T15" fmla="*/ 68 h 175"/>
                <a:gd name="T16" fmla="*/ 41 w 380"/>
                <a:gd name="T17" fmla="*/ 64 h 175"/>
                <a:gd name="T18" fmla="*/ 37 w 380"/>
                <a:gd name="T19" fmla="*/ 66 h 175"/>
                <a:gd name="T20" fmla="*/ 45 w 380"/>
                <a:gd name="T21" fmla="*/ 62 h 175"/>
                <a:gd name="T22" fmla="*/ 43 w 380"/>
                <a:gd name="T23" fmla="*/ 62 h 175"/>
                <a:gd name="T24" fmla="*/ 57 w 380"/>
                <a:gd name="T25" fmla="*/ 62 h 175"/>
                <a:gd name="T26" fmla="*/ 62 w 380"/>
                <a:gd name="T27" fmla="*/ 60 h 175"/>
                <a:gd name="T28" fmla="*/ 2 w 380"/>
                <a:gd name="T29" fmla="*/ 49 h 175"/>
                <a:gd name="T30" fmla="*/ 380 w 380"/>
                <a:gd name="T31" fmla="*/ 10 h 175"/>
                <a:gd name="T32" fmla="*/ 374 w 380"/>
                <a:gd name="T33" fmla="*/ 8 h 175"/>
                <a:gd name="T34" fmla="*/ 374 w 380"/>
                <a:gd name="T35" fmla="*/ 4 h 175"/>
                <a:gd name="T36" fmla="*/ 367 w 380"/>
                <a:gd name="T37" fmla="*/ 4 h 175"/>
                <a:gd name="T38" fmla="*/ 365 w 380"/>
                <a:gd name="T39" fmla="*/ 4 h 175"/>
                <a:gd name="T40" fmla="*/ 359 w 380"/>
                <a:gd name="T41" fmla="*/ 6 h 175"/>
                <a:gd name="T42" fmla="*/ 353 w 380"/>
                <a:gd name="T43" fmla="*/ 6 h 175"/>
                <a:gd name="T44" fmla="*/ 349 w 380"/>
                <a:gd name="T45" fmla="*/ 4 h 175"/>
                <a:gd name="T46" fmla="*/ 351 w 380"/>
                <a:gd name="T47" fmla="*/ 2 h 175"/>
                <a:gd name="T48" fmla="*/ 345 w 380"/>
                <a:gd name="T49" fmla="*/ 2 h 175"/>
                <a:gd name="T50" fmla="*/ 341 w 380"/>
                <a:gd name="T51" fmla="*/ 8 h 175"/>
                <a:gd name="T52" fmla="*/ 343 w 380"/>
                <a:gd name="T53" fmla="*/ 18 h 175"/>
                <a:gd name="T54" fmla="*/ 341 w 380"/>
                <a:gd name="T55" fmla="*/ 27 h 175"/>
                <a:gd name="T56" fmla="*/ 339 w 380"/>
                <a:gd name="T57" fmla="*/ 37 h 175"/>
                <a:gd name="T58" fmla="*/ 328 w 380"/>
                <a:gd name="T59" fmla="*/ 49 h 175"/>
                <a:gd name="T60" fmla="*/ 326 w 380"/>
                <a:gd name="T61" fmla="*/ 60 h 175"/>
                <a:gd name="T62" fmla="*/ 330 w 380"/>
                <a:gd name="T63" fmla="*/ 62 h 175"/>
                <a:gd name="T64" fmla="*/ 337 w 380"/>
                <a:gd name="T65" fmla="*/ 55 h 175"/>
                <a:gd name="T66" fmla="*/ 333 w 380"/>
                <a:gd name="T67" fmla="*/ 62 h 175"/>
                <a:gd name="T68" fmla="*/ 330 w 380"/>
                <a:gd name="T69" fmla="*/ 66 h 175"/>
                <a:gd name="T70" fmla="*/ 337 w 380"/>
                <a:gd name="T71" fmla="*/ 66 h 175"/>
                <a:gd name="T72" fmla="*/ 335 w 380"/>
                <a:gd name="T73" fmla="*/ 76 h 175"/>
                <a:gd name="T74" fmla="*/ 333 w 380"/>
                <a:gd name="T75" fmla="*/ 90 h 175"/>
                <a:gd name="T76" fmla="*/ 337 w 380"/>
                <a:gd name="T77" fmla="*/ 90 h 175"/>
                <a:gd name="T78" fmla="*/ 353 w 380"/>
                <a:gd name="T79" fmla="*/ 90 h 175"/>
                <a:gd name="T80" fmla="*/ 355 w 380"/>
                <a:gd name="T81" fmla="*/ 80 h 175"/>
                <a:gd name="T82" fmla="*/ 361 w 380"/>
                <a:gd name="T83" fmla="*/ 74 h 175"/>
                <a:gd name="T84" fmla="*/ 357 w 380"/>
                <a:gd name="T85" fmla="*/ 66 h 175"/>
                <a:gd name="T86" fmla="*/ 359 w 380"/>
                <a:gd name="T87" fmla="*/ 60 h 175"/>
                <a:gd name="T88" fmla="*/ 363 w 380"/>
                <a:gd name="T89" fmla="*/ 53 h 175"/>
                <a:gd name="T90" fmla="*/ 357 w 380"/>
                <a:gd name="T91" fmla="*/ 45 h 175"/>
                <a:gd name="T92" fmla="*/ 363 w 380"/>
                <a:gd name="T93" fmla="*/ 43 h 175"/>
                <a:gd name="T94" fmla="*/ 365 w 380"/>
                <a:gd name="T95" fmla="*/ 39 h 175"/>
                <a:gd name="T96" fmla="*/ 367 w 380"/>
                <a:gd name="T97" fmla="*/ 33 h 175"/>
                <a:gd name="T98" fmla="*/ 367 w 380"/>
                <a:gd name="T99" fmla="*/ 31 h 175"/>
                <a:gd name="T100" fmla="*/ 367 w 380"/>
                <a:gd name="T101" fmla="*/ 21 h 175"/>
                <a:gd name="T102" fmla="*/ 374 w 380"/>
                <a:gd name="T103" fmla="*/ 16 h 175"/>
                <a:gd name="T104" fmla="*/ 380 w 380"/>
                <a:gd name="T105" fmla="*/ 1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80" h="175">
                  <a:moveTo>
                    <a:pt x="203" y="171"/>
                  </a:moveTo>
                  <a:lnTo>
                    <a:pt x="201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3"/>
                  </a:lnTo>
                  <a:lnTo>
                    <a:pt x="199" y="173"/>
                  </a:lnTo>
                  <a:lnTo>
                    <a:pt x="201" y="173"/>
                  </a:lnTo>
                  <a:lnTo>
                    <a:pt x="205" y="175"/>
                  </a:lnTo>
                  <a:lnTo>
                    <a:pt x="205" y="173"/>
                  </a:lnTo>
                  <a:lnTo>
                    <a:pt x="207" y="173"/>
                  </a:lnTo>
                  <a:lnTo>
                    <a:pt x="205" y="173"/>
                  </a:lnTo>
                  <a:lnTo>
                    <a:pt x="203" y="171"/>
                  </a:lnTo>
                  <a:close/>
                  <a:moveTo>
                    <a:pt x="88" y="92"/>
                  </a:moveTo>
                  <a:lnTo>
                    <a:pt x="86" y="92"/>
                  </a:lnTo>
                  <a:lnTo>
                    <a:pt x="86" y="92"/>
                  </a:lnTo>
                  <a:lnTo>
                    <a:pt x="86" y="95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88" y="92"/>
                  </a:lnTo>
                  <a:lnTo>
                    <a:pt x="88" y="92"/>
                  </a:lnTo>
                  <a:close/>
                  <a:moveTo>
                    <a:pt x="88" y="78"/>
                  </a:moveTo>
                  <a:lnTo>
                    <a:pt x="88" y="78"/>
                  </a:lnTo>
                  <a:lnTo>
                    <a:pt x="86" y="78"/>
                  </a:lnTo>
                  <a:lnTo>
                    <a:pt x="82" y="78"/>
                  </a:lnTo>
                  <a:lnTo>
                    <a:pt x="80" y="78"/>
                  </a:lnTo>
                  <a:lnTo>
                    <a:pt x="80" y="7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8" y="78"/>
                  </a:lnTo>
                  <a:lnTo>
                    <a:pt x="80" y="78"/>
                  </a:lnTo>
                  <a:lnTo>
                    <a:pt x="84" y="80"/>
                  </a:lnTo>
                  <a:lnTo>
                    <a:pt x="86" y="80"/>
                  </a:lnTo>
                  <a:lnTo>
                    <a:pt x="88" y="78"/>
                  </a:lnTo>
                  <a:close/>
                  <a:moveTo>
                    <a:pt x="41" y="64"/>
                  </a:moveTo>
                  <a:lnTo>
                    <a:pt x="39" y="64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41" y="68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5" y="66"/>
                  </a:lnTo>
                  <a:lnTo>
                    <a:pt x="41" y="64"/>
                  </a:lnTo>
                  <a:close/>
                  <a:moveTo>
                    <a:pt x="37" y="64"/>
                  </a:moveTo>
                  <a:lnTo>
                    <a:pt x="37" y="64"/>
                  </a:lnTo>
                  <a:lnTo>
                    <a:pt x="35" y="64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7" y="64"/>
                  </a:lnTo>
                  <a:close/>
                  <a:moveTo>
                    <a:pt x="43" y="62"/>
                  </a:moveTo>
                  <a:lnTo>
                    <a:pt x="45" y="62"/>
                  </a:lnTo>
                  <a:lnTo>
                    <a:pt x="47" y="64"/>
                  </a:lnTo>
                  <a:lnTo>
                    <a:pt x="49" y="64"/>
                  </a:lnTo>
                  <a:lnTo>
                    <a:pt x="51" y="64"/>
                  </a:lnTo>
                  <a:lnTo>
                    <a:pt x="49" y="64"/>
                  </a:lnTo>
                  <a:lnTo>
                    <a:pt x="43" y="62"/>
                  </a:lnTo>
                  <a:close/>
                  <a:moveTo>
                    <a:pt x="59" y="60"/>
                  </a:moveTo>
                  <a:lnTo>
                    <a:pt x="57" y="60"/>
                  </a:lnTo>
                  <a:lnTo>
                    <a:pt x="57" y="60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62" y="64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2" y="60"/>
                  </a:lnTo>
                  <a:lnTo>
                    <a:pt x="59" y="60"/>
                  </a:lnTo>
                  <a:close/>
                  <a:moveTo>
                    <a:pt x="2" y="47"/>
                  </a:moveTo>
                  <a:lnTo>
                    <a:pt x="0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4" y="47"/>
                  </a:lnTo>
                  <a:lnTo>
                    <a:pt x="2" y="47"/>
                  </a:lnTo>
                  <a:lnTo>
                    <a:pt x="2" y="47"/>
                  </a:lnTo>
                  <a:close/>
                  <a:moveTo>
                    <a:pt x="380" y="10"/>
                  </a:moveTo>
                  <a:lnTo>
                    <a:pt x="378" y="10"/>
                  </a:lnTo>
                  <a:lnTo>
                    <a:pt x="378" y="10"/>
                  </a:lnTo>
                  <a:lnTo>
                    <a:pt x="376" y="8"/>
                  </a:lnTo>
                  <a:lnTo>
                    <a:pt x="376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6"/>
                  </a:lnTo>
                  <a:lnTo>
                    <a:pt x="374" y="6"/>
                  </a:lnTo>
                  <a:lnTo>
                    <a:pt x="374" y="4"/>
                  </a:lnTo>
                  <a:lnTo>
                    <a:pt x="374" y="4"/>
                  </a:lnTo>
                  <a:lnTo>
                    <a:pt x="372" y="4"/>
                  </a:lnTo>
                  <a:lnTo>
                    <a:pt x="372" y="4"/>
                  </a:lnTo>
                  <a:lnTo>
                    <a:pt x="369" y="4"/>
                  </a:lnTo>
                  <a:lnTo>
                    <a:pt x="369" y="4"/>
                  </a:lnTo>
                  <a:lnTo>
                    <a:pt x="367" y="4"/>
                  </a:lnTo>
                  <a:lnTo>
                    <a:pt x="365" y="4"/>
                  </a:lnTo>
                  <a:lnTo>
                    <a:pt x="365" y="4"/>
                  </a:lnTo>
                  <a:lnTo>
                    <a:pt x="365" y="4"/>
                  </a:lnTo>
                  <a:lnTo>
                    <a:pt x="365" y="4"/>
                  </a:lnTo>
                  <a:lnTo>
                    <a:pt x="365" y="4"/>
                  </a:lnTo>
                  <a:lnTo>
                    <a:pt x="365" y="4"/>
                  </a:lnTo>
                  <a:lnTo>
                    <a:pt x="363" y="6"/>
                  </a:lnTo>
                  <a:lnTo>
                    <a:pt x="361" y="6"/>
                  </a:lnTo>
                  <a:lnTo>
                    <a:pt x="359" y="6"/>
                  </a:lnTo>
                  <a:lnTo>
                    <a:pt x="359" y="6"/>
                  </a:lnTo>
                  <a:lnTo>
                    <a:pt x="359" y="6"/>
                  </a:lnTo>
                  <a:lnTo>
                    <a:pt x="357" y="4"/>
                  </a:lnTo>
                  <a:lnTo>
                    <a:pt x="355" y="6"/>
                  </a:lnTo>
                  <a:lnTo>
                    <a:pt x="355" y="6"/>
                  </a:lnTo>
                  <a:lnTo>
                    <a:pt x="353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9" y="4"/>
                  </a:lnTo>
                  <a:lnTo>
                    <a:pt x="349" y="4"/>
                  </a:lnTo>
                  <a:lnTo>
                    <a:pt x="351" y="2"/>
                  </a:lnTo>
                  <a:lnTo>
                    <a:pt x="351" y="2"/>
                  </a:lnTo>
                  <a:lnTo>
                    <a:pt x="351" y="2"/>
                  </a:lnTo>
                  <a:lnTo>
                    <a:pt x="351" y="2"/>
                  </a:lnTo>
                  <a:lnTo>
                    <a:pt x="351" y="0"/>
                  </a:lnTo>
                  <a:lnTo>
                    <a:pt x="349" y="0"/>
                  </a:lnTo>
                  <a:lnTo>
                    <a:pt x="349" y="2"/>
                  </a:lnTo>
                  <a:lnTo>
                    <a:pt x="345" y="2"/>
                  </a:lnTo>
                  <a:lnTo>
                    <a:pt x="345" y="2"/>
                  </a:lnTo>
                  <a:lnTo>
                    <a:pt x="343" y="2"/>
                  </a:lnTo>
                  <a:lnTo>
                    <a:pt x="341" y="4"/>
                  </a:lnTo>
                  <a:lnTo>
                    <a:pt x="341" y="6"/>
                  </a:lnTo>
                  <a:lnTo>
                    <a:pt x="339" y="8"/>
                  </a:lnTo>
                  <a:lnTo>
                    <a:pt x="341" y="8"/>
                  </a:lnTo>
                  <a:lnTo>
                    <a:pt x="341" y="8"/>
                  </a:lnTo>
                  <a:lnTo>
                    <a:pt x="341" y="10"/>
                  </a:lnTo>
                  <a:lnTo>
                    <a:pt x="341" y="10"/>
                  </a:lnTo>
                  <a:lnTo>
                    <a:pt x="341" y="16"/>
                  </a:lnTo>
                  <a:lnTo>
                    <a:pt x="343" y="18"/>
                  </a:lnTo>
                  <a:lnTo>
                    <a:pt x="343" y="18"/>
                  </a:lnTo>
                  <a:lnTo>
                    <a:pt x="343" y="21"/>
                  </a:lnTo>
                  <a:lnTo>
                    <a:pt x="341" y="23"/>
                  </a:lnTo>
                  <a:lnTo>
                    <a:pt x="341" y="25"/>
                  </a:lnTo>
                  <a:lnTo>
                    <a:pt x="341" y="27"/>
                  </a:lnTo>
                  <a:lnTo>
                    <a:pt x="339" y="29"/>
                  </a:lnTo>
                  <a:lnTo>
                    <a:pt x="337" y="35"/>
                  </a:lnTo>
                  <a:lnTo>
                    <a:pt x="337" y="35"/>
                  </a:lnTo>
                  <a:lnTo>
                    <a:pt x="339" y="37"/>
                  </a:lnTo>
                  <a:lnTo>
                    <a:pt x="339" y="37"/>
                  </a:lnTo>
                  <a:lnTo>
                    <a:pt x="335" y="41"/>
                  </a:lnTo>
                  <a:lnTo>
                    <a:pt x="333" y="45"/>
                  </a:lnTo>
                  <a:lnTo>
                    <a:pt x="330" y="47"/>
                  </a:lnTo>
                  <a:lnTo>
                    <a:pt x="330" y="49"/>
                  </a:lnTo>
                  <a:lnTo>
                    <a:pt x="328" y="49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8" y="53"/>
                  </a:lnTo>
                  <a:lnTo>
                    <a:pt x="326" y="58"/>
                  </a:lnTo>
                  <a:lnTo>
                    <a:pt x="326" y="60"/>
                  </a:lnTo>
                  <a:lnTo>
                    <a:pt x="326" y="60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8" y="62"/>
                  </a:lnTo>
                  <a:lnTo>
                    <a:pt x="330" y="62"/>
                  </a:lnTo>
                  <a:lnTo>
                    <a:pt x="330" y="62"/>
                  </a:lnTo>
                  <a:lnTo>
                    <a:pt x="333" y="60"/>
                  </a:lnTo>
                  <a:lnTo>
                    <a:pt x="335" y="55"/>
                  </a:lnTo>
                  <a:lnTo>
                    <a:pt x="337" y="55"/>
                  </a:lnTo>
                  <a:lnTo>
                    <a:pt x="337" y="55"/>
                  </a:lnTo>
                  <a:lnTo>
                    <a:pt x="335" y="55"/>
                  </a:lnTo>
                  <a:lnTo>
                    <a:pt x="335" y="58"/>
                  </a:lnTo>
                  <a:lnTo>
                    <a:pt x="335" y="60"/>
                  </a:lnTo>
                  <a:lnTo>
                    <a:pt x="333" y="62"/>
                  </a:lnTo>
                  <a:lnTo>
                    <a:pt x="333" y="62"/>
                  </a:lnTo>
                  <a:lnTo>
                    <a:pt x="330" y="62"/>
                  </a:lnTo>
                  <a:lnTo>
                    <a:pt x="330" y="62"/>
                  </a:lnTo>
                  <a:lnTo>
                    <a:pt x="330" y="64"/>
                  </a:lnTo>
                  <a:lnTo>
                    <a:pt x="330" y="66"/>
                  </a:lnTo>
                  <a:lnTo>
                    <a:pt x="330" y="66"/>
                  </a:lnTo>
                  <a:lnTo>
                    <a:pt x="333" y="66"/>
                  </a:lnTo>
                  <a:lnTo>
                    <a:pt x="335" y="66"/>
                  </a:lnTo>
                  <a:lnTo>
                    <a:pt x="335" y="66"/>
                  </a:lnTo>
                  <a:lnTo>
                    <a:pt x="337" y="66"/>
                  </a:lnTo>
                  <a:lnTo>
                    <a:pt x="337" y="66"/>
                  </a:lnTo>
                  <a:lnTo>
                    <a:pt x="339" y="66"/>
                  </a:lnTo>
                  <a:lnTo>
                    <a:pt x="335" y="66"/>
                  </a:lnTo>
                  <a:lnTo>
                    <a:pt x="335" y="70"/>
                  </a:lnTo>
                  <a:lnTo>
                    <a:pt x="335" y="72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80"/>
                  </a:lnTo>
                  <a:lnTo>
                    <a:pt x="335" y="82"/>
                  </a:lnTo>
                  <a:lnTo>
                    <a:pt x="335" y="84"/>
                  </a:lnTo>
                  <a:lnTo>
                    <a:pt x="333" y="90"/>
                  </a:lnTo>
                  <a:lnTo>
                    <a:pt x="330" y="92"/>
                  </a:lnTo>
                  <a:lnTo>
                    <a:pt x="333" y="92"/>
                  </a:lnTo>
                  <a:lnTo>
                    <a:pt x="333" y="92"/>
                  </a:lnTo>
                  <a:lnTo>
                    <a:pt x="335" y="92"/>
                  </a:lnTo>
                  <a:lnTo>
                    <a:pt x="337" y="90"/>
                  </a:lnTo>
                  <a:lnTo>
                    <a:pt x="339" y="90"/>
                  </a:lnTo>
                  <a:lnTo>
                    <a:pt x="345" y="92"/>
                  </a:lnTo>
                  <a:lnTo>
                    <a:pt x="347" y="92"/>
                  </a:lnTo>
                  <a:lnTo>
                    <a:pt x="349" y="92"/>
                  </a:lnTo>
                  <a:lnTo>
                    <a:pt x="353" y="90"/>
                  </a:lnTo>
                  <a:lnTo>
                    <a:pt x="355" y="90"/>
                  </a:lnTo>
                  <a:lnTo>
                    <a:pt x="355" y="84"/>
                  </a:lnTo>
                  <a:lnTo>
                    <a:pt x="355" y="84"/>
                  </a:lnTo>
                  <a:lnTo>
                    <a:pt x="355" y="82"/>
                  </a:lnTo>
                  <a:lnTo>
                    <a:pt x="355" y="80"/>
                  </a:lnTo>
                  <a:lnTo>
                    <a:pt x="357" y="78"/>
                  </a:lnTo>
                  <a:lnTo>
                    <a:pt x="357" y="76"/>
                  </a:lnTo>
                  <a:lnTo>
                    <a:pt x="359" y="74"/>
                  </a:lnTo>
                  <a:lnTo>
                    <a:pt x="361" y="74"/>
                  </a:lnTo>
                  <a:lnTo>
                    <a:pt x="361" y="74"/>
                  </a:lnTo>
                  <a:lnTo>
                    <a:pt x="363" y="72"/>
                  </a:lnTo>
                  <a:lnTo>
                    <a:pt x="363" y="72"/>
                  </a:lnTo>
                  <a:lnTo>
                    <a:pt x="363" y="72"/>
                  </a:lnTo>
                  <a:lnTo>
                    <a:pt x="361" y="72"/>
                  </a:lnTo>
                  <a:lnTo>
                    <a:pt x="357" y="66"/>
                  </a:lnTo>
                  <a:lnTo>
                    <a:pt x="357" y="66"/>
                  </a:lnTo>
                  <a:lnTo>
                    <a:pt x="359" y="64"/>
                  </a:lnTo>
                  <a:lnTo>
                    <a:pt x="359" y="62"/>
                  </a:lnTo>
                  <a:lnTo>
                    <a:pt x="359" y="62"/>
                  </a:lnTo>
                  <a:lnTo>
                    <a:pt x="359" y="60"/>
                  </a:lnTo>
                  <a:lnTo>
                    <a:pt x="361" y="60"/>
                  </a:lnTo>
                  <a:lnTo>
                    <a:pt x="363" y="58"/>
                  </a:lnTo>
                  <a:lnTo>
                    <a:pt x="363" y="55"/>
                  </a:lnTo>
                  <a:lnTo>
                    <a:pt x="363" y="55"/>
                  </a:lnTo>
                  <a:lnTo>
                    <a:pt x="363" y="53"/>
                  </a:lnTo>
                  <a:lnTo>
                    <a:pt x="361" y="53"/>
                  </a:lnTo>
                  <a:lnTo>
                    <a:pt x="359" y="49"/>
                  </a:lnTo>
                  <a:lnTo>
                    <a:pt x="359" y="47"/>
                  </a:lnTo>
                  <a:lnTo>
                    <a:pt x="359" y="47"/>
                  </a:lnTo>
                  <a:lnTo>
                    <a:pt x="357" y="45"/>
                  </a:lnTo>
                  <a:lnTo>
                    <a:pt x="357" y="43"/>
                  </a:lnTo>
                  <a:lnTo>
                    <a:pt x="357" y="43"/>
                  </a:lnTo>
                  <a:lnTo>
                    <a:pt x="357" y="43"/>
                  </a:lnTo>
                  <a:lnTo>
                    <a:pt x="363" y="43"/>
                  </a:lnTo>
                  <a:lnTo>
                    <a:pt x="363" y="43"/>
                  </a:lnTo>
                  <a:lnTo>
                    <a:pt x="363" y="43"/>
                  </a:lnTo>
                  <a:lnTo>
                    <a:pt x="365" y="41"/>
                  </a:lnTo>
                  <a:lnTo>
                    <a:pt x="365" y="39"/>
                  </a:lnTo>
                  <a:lnTo>
                    <a:pt x="367" y="39"/>
                  </a:lnTo>
                  <a:lnTo>
                    <a:pt x="365" y="39"/>
                  </a:lnTo>
                  <a:lnTo>
                    <a:pt x="365" y="37"/>
                  </a:lnTo>
                  <a:lnTo>
                    <a:pt x="365" y="37"/>
                  </a:lnTo>
                  <a:lnTo>
                    <a:pt x="365" y="35"/>
                  </a:lnTo>
                  <a:lnTo>
                    <a:pt x="365" y="35"/>
                  </a:lnTo>
                  <a:lnTo>
                    <a:pt x="367" y="33"/>
                  </a:lnTo>
                  <a:lnTo>
                    <a:pt x="367" y="33"/>
                  </a:lnTo>
                  <a:lnTo>
                    <a:pt x="367" y="33"/>
                  </a:lnTo>
                  <a:lnTo>
                    <a:pt x="367" y="31"/>
                  </a:lnTo>
                  <a:lnTo>
                    <a:pt x="367" y="31"/>
                  </a:lnTo>
                  <a:lnTo>
                    <a:pt x="367" y="31"/>
                  </a:lnTo>
                  <a:lnTo>
                    <a:pt x="367" y="29"/>
                  </a:lnTo>
                  <a:lnTo>
                    <a:pt x="369" y="27"/>
                  </a:lnTo>
                  <a:lnTo>
                    <a:pt x="369" y="25"/>
                  </a:lnTo>
                  <a:lnTo>
                    <a:pt x="367" y="23"/>
                  </a:lnTo>
                  <a:lnTo>
                    <a:pt x="367" y="21"/>
                  </a:lnTo>
                  <a:lnTo>
                    <a:pt x="367" y="21"/>
                  </a:lnTo>
                  <a:lnTo>
                    <a:pt x="367" y="21"/>
                  </a:lnTo>
                  <a:lnTo>
                    <a:pt x="369" y="18"/>
                  </a:lnTo>
                  <a:lnTo>
                    <a:pt x="372" y="16"/>
                  </a:lnTo>
                  <a:lnTo>
                    <a:pt x="374" y="16"/>
                  </a:lnTo>
                  <a:lnTo>
                    <a:pt x="376" y="14"/>
                  </a:lnTo>
                  <a:lnTo>
                    <a:pt x="378" y="12"/>
                  </a:lnTo>
                  <a:lnTo>
                    <a:pt x="378" y="12"/>
                  </a:lnTo>
                  <a:lnTo>
                    <a:pt x="380" y="12"/>
                  </a:lnTo>
                  <a:lnTo>
                    <a:pt x="380" y="1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50" name="Freeform 74">
              <a:extLst>
                <a:ext uri="{FF2B5EF4-FFF2-40B4-BE49-F238E27FC236}">
                  <a16:creationId xmlns:a16="http://schemas.microsoft.com/office/drawing/2014/main" id="{B4F09680-F429-EC48-8D0D-46F86BEF7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0992" y="2346601"/>
              <a:ext cx="166374" cy="122404"/>
            </a:xfrm>
            <a:custGeom>
              <a:avLst/>
              <a:gdLst>
                <a:gd name="T0" fmla="*/ 138 w 140"/>
                <a:gd name="T1" fmla="*/ 70 h 103"/>
                <a:gd name="T2" fmla="*/ 138 w 140"/>
                <a:gd name="T3" fmla="*/ 68 h 103"/>
                <a:gd name="T4" fmla="*/ 134 w 140"/>
                <a:gd name="T5" fmla="*/ 61 h 103"/>
                <a:gd name="T6" fmla="*/ 132 w 140"/>
                <a:gd name="T7" fmla="*/ 55 h 103"/>
                <a:gd name="T8" fmla="*/ 132 w 140"/>
                <a:gd name="T9" fmla="*/ 49 h 103"/>
                <a:gd name="T10" fmla="*/ 128 w 140"/>
                <a:gd name="T11" fmla="*/ 45 h 103"/>
                <a:gd name="T12" fmla="*/ 126 w 140"/>
                <a:gd name="T13" fmla="*/ 41 h 103"/>
                <a:gd name="T14" fmla="*/ 134 w 140"/>
                <a:gd name="T15" fmla="*/ 37 h 103"/>
                <a:gd name="T16" fmla="*/ 132 w 140"/>
                <a:gd name="T17" fmla="*/ 26 h 103"/>
                <a:gd name="T18" fmla="*/ 128 w 140"/>
                <a:gd name="T19" fmla="*/ 12 h 103"/>
                <a:gd name="T20" fmla="*/ 122 w 140"/>
                <a:gd name="T21" fmla="*/ 10 h 103"/>
                <a:gd name="T22" fmla="*/ 117 w 140"/>
                <a:gd name="T23" fmla="*/ 8 h 103"/>
                <a:gd name="T24" fmla="*/ 101 w 140"/>
                <a:gd name="T25" fmla="*/ 8 h 103"/>
                <a:gd name="T26" fmla="*/ 74 w 140"/>
                <a:gd name="T27" fmla="*/ 6 h 103"/>
                <a:gd name="T28" fmla="*/ 64 w 140"/>
                <a:gd name="T29" fmla="*/ 8 h 103"/>
                <a:gd name="T30" fmla="*/ 60 w 140"/>
                <a:gd name="T31" fmla="*/ 2 h 103"/>
                <a:gd name="T32" fmla="*/ 52 w 140"/>
                <a:gd name="T33" fmla="*/ 0 h 103"/>
                <a:gd name="T34" fmla="*/ 31 w 140"/>
                <a:gd name="T35" fmla="*/ 4 h 103"/>
                <a:gd name="T36" fmla="*/ 25 w 140"/>
                <a:gd name="T37" fmla="*/ 10 h 103"/>
                <a:gd name="T38" fmla="*/ 0 w 140"/>
                <a:gd name="T39" fmla="*/ 16 h 103"/>
                <a:gd name="T40" fmla="*/ 5 w 140"/>
                <a:gd name="T41" fmla="*/ 18 h 103"/>
                <a:gd name="T42" fmla="*/ 5 w 140"/>
                <a:gd name="T43" fmla="*/ 20 h 103"/>
                <a:gd name="T44" fmla="*/ 5 w 140"/>
                <a:gd name="T45" fmla="*/ 26 h 103"/>
                <a:gd name="T46" fmla="*/ 0 w 140"/>
                <a:gd name="T47" fmla="*/ 33 h 103"/>
                <a:gd name="T48" fmla="*/ 7 w 140"/>
                <a:gd name="T49" fmla="*/ 41 h 103"/>
                <a:gd name="T50" fmla="*/ 7 w 140"/>
                <a:gd name="T51" fmla="*/ 45 h 103"/>
                <a:gd name="T52" fmla="*/ 9 w 140"/>
                <a:gd name="T53" fmla="*/ 49 h 103"/>
                <a:gd name="T54" fmla="*/ 7 w 140"/>
                <a:gd name="T55" fmla="*/ 53 h 103"/>
                <a:gd name="T56" fmla="*/ 9 w 140"/>
                <a:gd name="T57" fmla="*/ 57 h 103"/>
                <a:gd name="T58" fmla="*/ 13 w 140"/>
                <a:gd name="T59" fmla="*/ 66 h 103"/>
                <a:gd name="T60" fmla="*/ 13 w 140"/>
                <a:gd name="T61" fmla="*/ 70 h 103"/>
                <a:gd name="T62" fmla="*/ 17 w 140"/>
                <a:gd name="T63" fmla="*/ 68 h 103"/>
                <a:gd name="T64" fmla="*/ 19 w 140"/>
                <a:gd name="T65" fmla="*/ 70 h 103"/>
                <a:gd name="T66" fmla="*/ 25 w 140"/>
                <a:gd name="T67" fmla="*/ 74 h 103"/>
                <a:gd name="T68" fmla="*/ 31 w 140"/>
                <a:gd name="T69" fmla="*/ 74 h 103"/>
                <a:gd name="T70" fmla="*/ 31 w 140"/>
                <a:gd name="T71" fmla="*/ 76 h 103"/>
                <a:gd name="T72" fmla="*/ 31 w 140"/>
                <a:gd name="T73" fmla="*/ 78 h 103"/>
                <a:gd name="T74" fmla="*/ 35 w 140"/>
                <a:gd name="T75" fmla="*/ 82 h 103"/>
                <a:gd name="T76" fmla="*/ 39 w 140"/>
                <a:gd name="T77" fmla="*/ 82 h 103"/>
                <a:gd name="T78" fmla="*/ 39 w 140"/>
                <a:gd name="T79" fmla="*/ 78 h 103"/>
                <a:gd name="T80" fmla="*/ 50 w 140"/>
                <a:gd name="T81" fmla="*/ 80 h 103"/>
                <a:gd name="T82" fmla="*/ 52 w 140"/>
                <a:gd name="T83" fmla="*/ 82 h 103"/>
                <a:gd name="T84" fmla="*/ 52 w 140"/>
                <a:gd name="T85" fmla="*/ 84 h 103"/>
                <a:gd name="T86" fmla="*/ 56 w 140"/>
                <a:gd name="T87" fmla="*/ 84 h 103"/>
                <a:gd name="T88" fmla="*/ 58 w 140"/>
                <a:gd name="T89" fmla="*/ 86 h 103"/>
                <a:gd name="T90" fmla="*/ 64 w 140"/>
                <a:gd name="T91" fmla="*/ 86 h 103"/>
                <a:gd name="T92" fmla="*/ 66 w 140"/>
                <a:gd name="T93" fmla="*/ 92 h 103"/>
                <a:gd name="T94" fmla="*/ 72 w 140"/>
                <a:gd name="T95" fmla="*/ 96 h 103"/>
                <a:gd name="T96" fmla="*/ 76 w 140"/>
                <a:gd name="T97" fmla="*/ 92 h 103"/>
                <a:gd name="T98" fmla="*/ 78 w 140"/>
                <a:gd name="T99" fmla="*/ 96 h 103"/>
                <a:gd name="T100" fmla="*/ 81 w 140"/>
                <a:gd name="T101" fmla="*/ 98 h 103"/>
                <a:gd name="T102" fmla="*/ 85 w 140"/>
                <a:gd name="T103" fmla="*/ 98 h 103"/>
                <a:gd name="T104" fmla="*/ 89 w 140"/>
                <a:gd name="T105" fmla="*/ 96 h 103"/>
                <a:gd name="T106" fmla="*/ 93 w 140"/>
                <a:gd name="T107" fmla="*/ 96 h 103"/>
                <a:gd name="T108" fmla="*/ 99 w 140"/>
                <a:gd name="T109" fmla="*/ 96 h 103"/>
                <a:gd name="T110" fmla="*/ 107 w 140"/>
                <a:gd name="T111" fmla="*/ 94 h 103"/>
                <a:gd name="T112" fmla="*/ 113 w 140"/>
                <a:gd name="T113" fmla="*/ 98 h 103"/>
                <a:gd name="T114" fmla="*/ 122 w 140"/>
                <a:gd name="T115" fmla="*/ 103 h 103"/>
                <a:gd name="T116" fmla="*/ 124 w 140"/>
                <a:gd name="T117" fmla="*/ 101 h 103"/>
                <a:gd name="T118" fmla="*/ 122 w 140"/>
                <a:gd name="T119" fmla="*/ 96 h 103"/>
                <a:gd name="T120" fmla="*/ 126 w 140"/>
                <a:gd name="T121" fmla="*/ 88 h 103"/>
                <a:gd name="T122" fmla="*/ 134 w 140"/>
                <a:gd name="T123" fmla="*/ 80 h 103"/>
                <a:gd name="T124" fmla="*/ 140 w 140"/>
                <a:gd name="T125" fmla="*/ 7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0" h="103">
                  <a:moveTo>
                    <a:pt x="140" y="74"/>
                  </a:moveTo>
                  <a:lnTo>
                    <a:pt x="140" y="72"/>
                  </a:lnTo>
                  <a:lnTo>
                    <a:pt x="138" y="72"/>
                  </a:lnTo>
                  <a:lnTo>
                    <a:pt x="138" y="72"/>
                  </a:lnTo>
                  <a:lnTo>
                    <a:pt x="138" y="70"/>
                  </a:lnTo>
                  <a:lnTo>
                    <a:pt x="138" y="70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8" y="68"/>
                  </a:lnTo>
                  <a:lnTo>
                    <a:pt x="138" y="68"/>
                  </a:lnTo>
                  <a:lnTo>
                    <a:pt x="136" y="66"/>
                  </a:lnTo>
                  <a:lnTo>
                    <a:pt x="134" y="61"/>
                  </a:lnTo>
                  <a:lnTo>
                    <a:pt x="134" y="61"/>
                  </a:lnTo>
                  <a:lnTo>
                    <a:pt x="134" y="61"/>
                  </a:lnTo>
                  <a:lnTo>
                    <a:pt x="134" y="59"/>
                  </a:lnTo>
                  <a:lnTo>
                    <a:pt x="132" y="59"/>
                  </a:lnTo>
                  <a:lnTo>
                    <a:pt x="132" y="57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32" y="51"/>
                  </a:lnTo>
                  <a:lnTo>
                    <a:pt x="132" y="49"/>
                  </a:lnTo>
                  <a:lnTo>
                    <a:pt x="132" y="49"/>
                  </a:lnTo>
                  <a:lnTo>
                    <a:pt x="132" y="49"/>
                  </a:lnTo>
                  <a:lnTo>
                    <a:pt x="132" y="47"/>
                  </a:lnTo>
                  <a:lnTo>
                    <a:pt x="130" y="47"/>
                  </a:lnTo>
                  <a:lnTo>
                    <a:pt x="130" y="47"/>
                  </a:lnTo>
                  <a:lnTo>
                    <a:pt x="128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6" y="41"/>
                  </a:lnTo>
                  <a:lnTo>
                    <a:pt x="128" y="41"/>
                  </a:lnTo>
                  <a:lnTo>
                    <a:pt x="130" y="39"/>
                  </a:lnTo>
                  <a:lnTo>
                    <a:pt x="134" y="37"/>
                  </a:lnTo>
                  <a:lnTo>
                    <a:pt x="134" y="37"/>
                  </a:lnTo>
                  <a:lnTo>
                    <a:pt x="134" y="37"/>
                  </a:lnTo>
                  <a:lnTo>
                    <a:pt x="134" y="35"/>
                  </a:lnTo>
                  <a:lnTo>
                    <a:pt x="134" y="33"/>
                  </a:lnTo>
                  <a:lnTo>
                    <a:pt x="134" y="31"/>
                  </a:lnTo>
                  <a:lnTo>
                    <a:pt x="134" y="31"/>
                  </a:lnTo>
                  <a:lnTo>
                    <a:pt x="132" y="26"/>
                  </a:lnTo>
                  <a:lnTo>
                    <a:pt x="130" y="20"/>
                  </a:lnTo>
                  <a:lnTo>
                    <a:pt x="128" y="16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6" y="10"/>
                  </a:lnTo>
                  <a:lnTo>
                    <a:pt x="124" y="10"/>
                  </a:lnTo>
                  <a:lnTo>
                    <a:pt x="122" y="10"/>
                  </a:lnTo>
                  <a:lnTo>
                    <a:pt x="122" y="10"/>
                  </a:lnTo>
                  <a:lnTo>
                    <a:pt x="122" y="10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5" y="8"/>
                  </a:lnTo>
                  <a:lnTo>
                    <a:pt x="109" y="8"/>
                  </a:lnTo>
                  <a:lnTo>
                    <a:pt x="101" y="8"/>
                  </a:lnTo>
                  <a:lnTo>
                    <a:pt x="95" y="8"/>
                  </a:lnTo>
                  <a:lnTo>
                    <a:pt x="89" y="8"/>
                  </a:lnTo>
                  <a:lnTo>
                    <a:pt x="83" y="8"/>
                  </a:lnTo>
                  <a:lnTo>
                    <a:pt x="78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2" y="6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4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2" y="2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1" y="4"/>
                  </a:lnTo>
                  <a:lnTo>
                    <a:pt x="29" y="6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5" y="10"/>
                  </a:lnTo>
                  <a:lnTo>
                    <a:pt x="23" y="10"/>
                  </a:lnTo>
                  <a:lnTo>
                    <a:pt x="15" y="12"/>
                  </a:lnTo>
                  <a:lnTo>
                    <a:pt x="7" y="14"/>
                  </a:lnTo>
                  <a:lnTo>
                    <a:pt x="3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5" y="20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2"/>
                  </a:lnTo>
                  <a:lnTo>
                    <a:pt x="5" y="26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3" y="35"/>
                  </a:lnTo>
                  <a:lnTo>
                    <a:pt x="5" y="39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9" y="45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51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3" y="59"/>
                  </a:lnTo>
                  <a:lnTo>
                    <a:pt x="13" y="64"/>
                  </a:lnTo>
                  <a:lnTo>
                    <a:pt x="13" y="66"/>
                  </a:lnTo>
                  <a:lnTo>
                    <a:pt x="11" y="68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21" y="72"/>
                  </a:lnTo>
                  <a:lnTo>
                    <a:pt x="23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29" y="76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3" y="80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7" y="82"/>
                  </a:lnTo>
                  <a:lnTo>
                    <a:pt x="37" y="82"/>
                  </a:lnTo>
                  <a:lnTo>
                    <a:pt x="37" y="82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42" y="80"/>
                  </a:lnTo>
                  <a:lnTo>
                    <a:pt x="42" y="80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42" y="78"/>
                  </a:lnTo>
                  <a:lnTo>
                    <a:pt x="44" y="78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4" y="86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2" y="86"/>
                  </a:lnTo>
                  <a:lnTo>
                    <a:pt x="64" y="86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70" y="96"/>
                  </a:lnTo>
                  <a:lnTo>
                    <a:pt x="72" y="96"/>
                  </a:lnTo>
                  <a:lnTo>
                    <a:pt x="72" y="94"/>
                  </a:lnTo>
                  <a:lnTo>
                    <a:pt x="74" y="92"/>
                  </a:lnTo>
                  <a:lnTo>
                    <a:pt x="74" y="92"/>
                  </a:lnTo>
                  <a:lnTo>
                    <a:pt x="76" y="92"/>
                  </a:lnTo>
                  <a:lnTo>
                    <a:pt x="76" y="92"/>
                  </a:lnTo>
                  <a:lnTo>
                    <a:pt x="76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6"/>
                  </a:lnTo>
                  <a:lnTo>
                    <a:pt x="81" y="96"/>
                  </a:lnTo>
                  <a:lnTo>
                    <a:pt x="81" y="96"/>
                  </a:lnTo>
                  <a:lnTo>
                    <a:pt x="81" y="96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83" y="98"/>
                  </a:lnTo>
                  <a:lnTo>
                    <a:pt x="83" y="98"/>
                  </a:lnTo>
                  <a:lnTo>
                    <a:pt x="85" y="98"/>
                  </a:lnTo>
                  <a:lnTo>
                    <a:pt x="85" y="98"/>
                  </a:lnTo>
                  <a:lnTo>
                    <a:pt x="87" y="96"/>
                  </a:lnTo>
                  <a:lnTo>
                    <a:pt x="87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91" y="96"/>
                  </a:lnTo>
                  <a:lnTo>
                    <a:pt x="91" y="96"/>
                  </a:lnTo>
                  <a:lnTo>
                    <a:pt x="91" y="96"/>
                  </a:lnTo>
                  <a:lnTo>
                    <a:pt x="93" y="96"/>
                  </a:lnTo>
                  <a:lnTo>
                    <a:pt x="95" y="96"/>
                  </a:lnTo>
                  <a:lnTo>
                    <a:pt x="95" y="96"/>
                  </a:lnTo>
                  <a:lnTo>
                    <a:pt x="97" y="96"/>
                  </a:lnTo>
                  <a:lnTo>
                    <a:pt x="97" y="96"/>
                  </a:lnTo>
                  <a:lnTo>
                    <a:pt x="99" y="96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101" y="94"/>
                  </a:lnTo>
                  <a:lnTo>
                    <a:pt x="103" y="94"/>
                  </a:lnTo>
                  <a:lnTo>
                    <a:pt x="107" y="94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11" y="98"/>
                  </a:lnTo>
                  <a:lnTo>
                    <a:pt x="113" y="98"/>
                  </a:lnTo>
                  <a:lnTo>
                    <a:pt x="115" y="101"/>
                  </a:lnTo>
                  <a:lnTo>
                    <a:pt x="120" y="101"/>
                  </a:lnTo>
                  <a:lnTo>
                    <a:pt x="120" y="101"/>
                  </a:lnTo>
                  <a:lnTo>
                    <a:pt x="122" y="101"/>
                  </a:lnTo>
                  <a:lnTo>
                    <a:pt x="122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1"/>
                  </a:lnTo>
                  <a:lnTo>
                    <a:pt x="124" y="101"/>
                  </a:lnTo>
                  <a:lnTo>
                    <a:pt x="124" y="101"/>
                  </a:lnTo>
                  <a:lnTo>
                    <a:pt x="122" y="101"/>
                  </a:lnTo>
                  <a:lnTo>
                    <a:pt x="122" y="98"/>
                  </a:lnTo>
                  <a:lnTo>
                    <a:pt x="122" y="98"/>
                  </a:lnTo>
                  <a:lnTo>
                    <a:pt x="122" y="96"/>
                  </a:lnTo>
                  <a:lnTo>
                    <a:pt x="122" y="96"/>
                  </a:lnTo>
                  <a:lnTo>
                    <a:pt x="122" y="94"/>
                  </a:lnTo>
                  <a:lnTo>
                    <a:pt x="122" y="92"/>
                  </a:lnTo>
                  <a:lnTo>
                    <a:pt x="122" y="92"/>
                  </a:lnTo>
                  <a:lnTo>
                    <a:pt x="124" y="88"/>
                  </a:lnTo>
                  <a:lnTo>
                    <a:pt x="126" y="88"/>
                  </a:lnTo>
                  <a:lnTo>
                    <a:pt x="126" y="86"/>
                  </a:lnTo>
                  <a:lnTo>
                    <a:pt x="130" y="84"/>
                  </a:lnTo>
                  <a:lnTo>
                    <a:pt x="132" y="82"/>
                  </a:lnTo>
                  <a:lnTo>
                    <a:pt x="132" y="80"/>
                  </a:lnTo>
                  <a:lnTo>
                    <a:pt x="134" y="80"/>
                  </a:lnTo>
                  <a:lnTo>
                    <a:pt x="136" y="78"/>
                  </a:lnTo>
                  <a:lnTo>
                    <a:pt x="138" y="78"/>
                  </a:lnTo>
                  <a:lnTo>
                    <a:pt x="138" y="76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51" name="Freeform 82">
              <a:extLst>
                <a:ext uri="{FF2B5EF4-FFF2-40B4-BE49-F238E27FC236}">
                  <a16:creationId xmlns:a16="http://schemas.microsoft.com/office/drawing/2014/main" id="{3E9E49B5-E795-FD47-9490-673C477FA2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7711" y="2825522"/>
              <a:ext cx="23768" cy="26145"/>
            </a:xfrm>
            <a:custGeom>
              <a:avLst/>
              <a:gdLst>
                <a:gd name="T0" fmla="*/ 4 w 20"/>
                <a:gd name="T1" fmla="*/ 16 h 22"/>
                <a:gd name="T2" fmla="*/ 4 w 20"/>
                <a:gd name="T3" fmla="*/ 16 h 22"/>
                <a:gd name="T4" fmla="*/ 2 w 20"/>
                <a:gd name="T5" fmla="*/ 18 h 22"/>
                <a:gd name="T6" fmla="*/ 0 w 20"/>
                <a:gd name="T7" fmla="*/ 20 h 22"/>
                <a:gd name="T8" fmla="*/ 0 w 20"/>
                <a:gd name="T9" fmla="*/ 22 h 22"/>
                <a:gd name="T10" fmla="*/ 0 w 20"/>
                <a:gd name="T11" fmla="*/ 22 h 22"/>
                <a:gd name="T12" fmla="*/ 2 w 20"/>
                <a:gd name="T13" fmla="*/ 22 h 22"/>
                <a:gd name="T14" fmla="*/ 2 w 20"/>
                <a:gd name="T15" fmla="*/ 20 h 22"/>
                <a:gd name="T16" fmla="*/ 4 w 20"/>
                <a:gd name="T17" fmla="*/ 18 h 22"/>
                <a:gd name="T18" fmla="*/ 4 w 20"/>
                <a:gd name="T19" fmla="*/ 16 h 22"/>
                <a:gd name="T20" fmla="*/ 18 w 20"/>
                <a:gd name="T21" fmla="*/ 10 h 22"/>
                <a:gd name="T22" fmla="*/ 18 w 20"/>
                <a:gd name="T23" fmla="*/ 6 h 22"/>
                <a:gd name="T24" fmla="*/ 18 w 20"/>
                <a:gd name="T25" fmla="*/ 4 h 22"/>
                <a:gd name="T26" fmla="*/ 18 w 20"/>
                <a:gd name="T27" fmla="*/ 2 h 22"/>
                <a:gd name="T28" fmla="*/ 18 w 20"/>
                <a:gd name="T29" fmla="*/ 2 h 22"/>
                <a:gd name="T30" fmla="*/ 16 w 20"/>
                <a:gd name="T31" fmla="*/ 0 h 22"/>
                <a:gd name="T32" fmla="*/ 16 w 20"/>
                <a:gd name="T33" fmla="*/ 0 h 22"/>
                <a:gd name="T34" fmla="*/ 16 w 20"/>
                <a:gd name="T35" fmla="*/ 0 h 22"/>
                <a:gd name="T36" fmla="*/ 14 w 20"/>
                <a:gd name="T37" fmla="*/ 0 h 22"/>
                <a:gd name="T38" fmla="*/ 12 w 20"/>
                <a:gd name="T39" fmla="*/ 0 h 22"/>
                <a:gd name="T40" fmla="*/ 10 w 20"/>
                <a:gd name="T41" fmla="*/ 0 h 22"/>
                <a:gd name="T42" fmla="*/ 10 w 20"/>
                <a:gd name="T43" fmla="*/ 2 h 22"/>
                <a:gd name="T44" fmla="*/ 10 w 20"/>
                <a:gd name="T45" fmla="*/ 4 h 22"/>
                <a:gd name="T46" fmla="*/ 10 w 20"/>
                <a:gd name="T47" fmla="*/ 6 h 22"/>
                <a:gd name="T48" fmla="*/ 10 w 20"/>
                <a:gd name="T49" fmla="*/ 8 h 22"/>
                <a:gd name="T50" fmla="*/ 10 w 20"/>
                <a:gd name="T51" fmla="*/ 8 h 22"/>
                <a:gd name="T52" fmla="*/ 10 w 20"/>
                <a:gd name="T53" fmla="*/ 10 h 22"/>
                <a:gd name="T54" fmla="*/ 10 w 20"/>
                <a:gd name="T55" fmla="*/ 12 h 22"/>
                <a:gd name="T56" fmla="*/ 10 w 20"/>
                <a:gd name="T57" fmla="*/ 12 h 22"/>
                <a:gd name="T58" fmla="*/ 10 w 20"/>
                <a:gd name="T59" fmla="*/ 12 h 22"/>
                <a:gd name="T60" fmla="*/ 10 w 20"/>
                <a:gd name="T61" fmla="*/ 12 h 22"/>
                <a:gd name="T62" fmla="*/ 12 w 20"/>
                <a:gd name="T63" fmla="*/ 12 h 22"/>
                <a:gd name="T64" fmla="*/ 12 w 20"/>
                <a:gd name="T65" fmla="*/ 12 h 22"/>
                <a:gd name="T66" fmla="*/ 14 w 20"/>
                <a:gd name="T67" fmla="*/ 12 h 22"/>
                <a:gd name="T68" fmla="*/ 14 w 20"/>
                <a:gd name="T69" fmla="*/ 14 h 22"/>
                <a:gd name="T70" fmla="*/ 14 w 20"/>
                <a:gd name="T71" fmla="*/ 14 h 22"/>
                <a:gd name="T72" fmla="*/ 12 w 20"/>
                <a:gd name="T73" fmla="*/ 14 h 22"/>
                <a:gd name="T74" fmla="*/ 10 w 20"/>
                <a:gd name="T75" fmla="*/ 16 h 22"/>
                <a:gd name="T76" fmla="*/ 10 w 20"/>
                <a:gd name="T77" fmla="*/ 18 h 22"/>
                <a:gd name="T78" fmla="*/ 10 w 20"/>
                <a:gd name="T79" fmla="*/ 20 h 22"/>
                <a:gd name="T80" fmla="*/ 10 w 20"/>
                <a:gd name="T81" fmla="*/ 20 h 22"/>
                <a:gd name="T82" fmla="*/ 10 w 20"/>
                <a:gd name="T83" fmla="*/ 20 h 22"/>
                <a:gd name="T84" fmla="*/ 12 w 20"/>
                <a:gd name="T85" fmla="*/ 20 h 22"/>
                <a:gd name="T86" fmla="*/ 16 w 20"/>
                <a:gd name="T87" fmla="*/ 20 h 22"/>
                <a:gd name="T88" fmla="*/ 18 w 20"/>
                <a:gd name="T89" fmla="*/ 18 h 22"/>
                <a:gd name="T90" fmla="*/ 18 w 20"/>
                <a:gd name="T91" fmla="*/ 18 h 22"/>
                <a:gd name="T92" fmla="*/ 18 w 20"/>
                <a:gd name="T93" fmla="*/ 16 h 22"/>
                <a:gd name="T94" fmla="*/ 18 w 20"/>
                <a:gd name="T95" fmla="*/ 14 h 22"/>
                <a:gd name="T96" fmla="*/ 20 w 20"/>
                <a:gd name="T97" fmla="*/ 12 h 22"/>
                <a:gd name="T98" fmla="*/ 18 w 20"/>
                <a:gd name="T99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" h="22">
                  <a:moveTo>
                    <a:pt x="4" y="16"/>
                  </a:moveTo>
                  <a:lnTo>
                    <a:pt x="4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4" y="18"/>
                  </a:lnTo>
                  <a:lnTo>
                    <a:pt x="4" y="16"/>
                  </a:lnTo>
                  <a:close/>
                  <a:moveTo>
                    <a:pt x="18" y="10"/>
                  </a:moveTo>
                  <a:lnTo>
                    <a:pt x="18" y="6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20" y="12"/>
                  </a:lnTo>
                  <a:lnTo>
                    <a:pt x="18" y="1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52" name="Freeform 84">
              <a:extLst>
                <a:ext uri="{FF2B5EF4-FFF2-40B4-BE49-F238E27FC236}">
                  <a16:creationId xmlns:a16="http://schemas.microsoft.com/office/drawing/2014/main" id="{DD6B5A33-6D3F-0043-B522-69C6780460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5909" y="2959810"/>
              <a:ext cx="143795" cy="210345"/>
            </a:xfrm>
            <a:custGeom>
              <a:avLst/>
              <a:gdLst>
                <a:gd name="T0" fmla="*/ 105 w 121"/>
                <a:gd name="T1" fmla="*/ 113 h 177"/>
                <a:gd name="T2" fmla="*/ 109 w 121"/>
                <a:gd name="T3" fmla="*/ 107 h 177"/>
                <a:gd name="T4" fmla="*/ 117 w 121"/>
                <a:gd name="T5" fmla="*/ 70 h 177"/>
                <a:gd name="T6" fmla="*/ 109 w 121"/>
                <a:gd name="T7" fmla="*/ 62 h 177"/>
                <a:gd name="T8" fmla="*/ 103 w 121"/>
                <a:gd name="T9" fmla="*/ 53 h 177"/>
                <a:gd name="T10" fmla="*/ 97 w 121"/>
                <a:gd name="T11" fmla="*/ 49 h 177"/>
                <a:gd name="T12" fmla="*/ 82 w 121"/>
                <a:gd name="T13" fmla="*/ 47 h 177"/>
                <a:gd name="T14" fmla="*/ 70 w 121"/>
                <a:gd name="T15" fmla="*/ 37 h 177"/>
                <a:gd name="T16" fmla="*/ 62 w 121"/>
                <a:gd name="T17" fmla="*/ 25 h 177"/>
                <a:gd name="T18" fmla="*/ 58 w 121"/>
                <a:gd name="T19" fmla="*/ 29 h 177"/>
                <a:gd name="T20" fmla="*/ 56 w 121"/>
                <a:gd name="T21" fmla="*/ 27 h 177"/>
                <a:gd name="T22" fmla="*/ 56 w 121"/>
                <a:gd name="T23" fmla="*/ 25 h 177"/>
                <a:gd name="T24" fmla="*/ 54 w 121"/>
                <a:gd name="T25" fmla="*/ 27 h 177"/>
                <a:gd name="T26" fmla="*/ 54 w 121"/>
                <a:gd name="T27" fmla="*/ 31 h 177"/>
                <a:gd name="T28" fmla="*/ 54 w 121"/>
                <a:gd name="T29" fmla="*/ 35 h 177"/>
                <a:gd name="T30" fmla="*/ 56 w 121"/>
                <a:gd name="T31" fmla="*/ 39 h 177"/>
                <a:gd name="T32" fmla="*/ 56 w 121"/>
                <a:gd name="T33" fmla="*/ 41 h 177"/>
                <a:gd name="T34" fmla="*/ 50 w 121"/>
                <a:gd name="T35" fmla="*/ 43 h 177"/>
                <a:gd name="T36" fmla="*/ 50 w 121"/>
                <a:gd name="T37" fmla="*/ 47 h 177"/>
                <a:gd name="T38" fmla="*/ 47 w 121"/>
                <a:gd name="T39" fmla="*/ 57 h 177"/>
                <a:gd name="T40" fmla="*/ 45 w 121"/>
                <a:gd name="T41" fmla="*/ 66 h 177"/>
                <a:gd name="T42" fmla="*/ 52 w 121"/>
                <a:gd name="T43" fmla="*/ 76 h 177"/>
                <a:gd name="T44" fmla="*/ 54 w 121"/>
                <a:gd name="T45" fmla="*/ 82 h 177"/>
                <a:gd name="T46" fmla="*/ 52 w 121"/>
                <a:gd name="T47" fmla="*/ 92 h 177"/>
                <a:gd name="T48" fmla="*/ 50 w 121"/>
                <a:gd name="T49" fmla="*/ 101 h 177"/>
                <a:gd name="T50" fmla="*/ 47 w 121"/>
                <a:gd name="T51" fmla="*/ 109 h 177"/>
                <a:gd name="T52" fmla="*/ 45 w 121"/>
                <a:gd name="T53" fmla="*/ 117 h 177"/>
                <a:gd name="T54" fmla="*/ 33 w 121"/>
                <a:gd name="T55" fmla="*/ 121 h 177"/>
                <a:gd name="T56" fmla="*/ 23 w 121"/>
                <a:gd name="T57" fmla="*/ 125 h 177"/>
                <a:gd name="T58" fmla="*/ 13 w 121"/>
                <a:gd name="T59" fmla="*/ 129 h 177"/>
                <a:gd name="T60" fmla="*/ 2 w 121"/>
                <a:gd name="T61" fmla="*/ 133 h 177"/>
                <a:gd name="T62" fmla="*/ 2 w 121"/>
                <a:gd name="T63" fmla="*/ 140 h 177"/>
                <a:gd name="T64" fmla="*/ 6 w 121"/>
                <a:gd name="T65" fmla="*/ 148 h 177"/>
                <a:gd name="T66" fmla="*/ 8 w 121"/>
                <a:gd name="T67" fmla="*/ 154 h 177"/>
                <a:gd name="T68" fmla="*/ 13 w 121"/>
                <a:gd name="T69" fmla="*/ 162 h 177"/>
                <a:gd name="T70" fmla="*/ 15 w 121"/>
                <a:gd name="T71" fmla="*/ 168 h 177"/>
                <a:gd name="T72" fmla="*/ 21 w 121"/>
                <a:gd name="T73" fmla="*/ 177 h 177"/>
                <a:gd name="T74" fmla="*/ 33 w 121"/>
                <a:gd name="T75" fmla="*/ 173 h 177"/>
                <a:gd name="T76" fmla="*/ 45 w 121"/>
                <a:gd name="T77" fmla="*/ 171 h 177"/>
                <a:gd name="T78" fmla="*/ 54 w 121"/>
                <a:gd name="T79" fmla="*/ 164 h 177"/>
                <a:gd name="T80" fmla="*/ 54 w 121"/>
                <a:gd name="T81" fmla="*/ 160 h 177"/>
                <a:gd name="T82" fmla="*/ 70 w 121"/>
                <a:gd name="T83" fmla="*/ 154 h 177"/>
                <a:gd name="T84" fmla="*/ 78 w 121"/>
                <a:gd name="T85" fmla="*/ 140 h 177"/>
                <a:gd name="T86" fmla="*/ 91 w 121"/>
                <a:gd name="T87" fmla="*/ 136 h 177"/>
                <a:gd name="T88" fmla="*/ 93 w 121"/>
                <a:gd name="T89" fmla="*/ 129 h 177"/>
                <a:gd name="T90" fmla="*/ 91 w 121"/>
                <a:gd name="T91" fmla="*/ 119 h 177"/>
                <a:gd name="T92" fmla="*/ 93 w 121"/>
                <a:gd name="T93" fmla="*/ 109 h 177"/>
                <a:gd name="T94" fmla="*/ 97 w 121"/>
                <a:gd name="T95" fmla="*/ 107 h 177"/>
                <a:gd name="T96" fmla="*/ 101 w 121"/>
                <a:gd name="T97" fmla="*/ 109 h 177"/>
                <a:gd name="T98" fmla="*/ 109 w 121"/>
                <a:gd name="T99" fmla="*/ 92 h 177"/>
                <a:gd name="T100" fmla="*/ 117 w 121"/>
                <a:gd name="T101" fmla="*/ 80 h 177"/>
                <a:gd name="T102" fmla="*/ 121 w 121"/>
                <a:gd name="T103" fmla="*/ 72 h 177"/>
                <a:gd name="T104" fmla="*/ 60 w 121"/>
                <a:gd name="T105" fmla="*/ 20 h 177"/>
                <a:gd name="T106" fmla="*/ 60 w 121"/>
                <a:gd name="T107" fmla="*/ 18 h 177"/>
                <a:gd name="T108" fmla="*/ 58 w 121"/>
                <a:gd name="T109" fmla="*/ 8 h 177"/>
                <a:gd name="T110" fmla="*/ 60 w 121"/>
                <a:gd name="T111" fmla="*/ 12 h 177"/>
                <a:gd name="T112" fmla="*/ 60 w 121"/>
                <a:gd name="T113" fmla="*/ 10 h 177"/>
                <a:gd name="T114" fmla="*/ 60 w 121"/>
                <a:gd name="T115" fmla="*/ 0 h 177"/>
                <a:gd name="T116" fmla="*/ 58 w 121"/>
                <a:gd name="T117" fmla="*/ 2 h 177"/>
                <a:gd name="T118" fmla="*/ 56 w 121"/>
                <a:gd name="T119" fmla="*/ 4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1" h="177">
                  <a:moveTo>
                    <a:pt x="107" y="107"/>
                  </a:moveTo>
                  <a:lnTo>
                    <a:pt x="105" y="109"/>
                  </a:lnTo>
                  <a:lnTo>
                    <a:pt x="105" y="113"/>
                  </a:lnTo>
                  <a:lnTo>
                    <a:pt x="105" y="113"/>
                  </a:lnTo>
                  <a:lnTo>
                    <a:pt x="105" y="113"/>
                  </a:lnTo>
                  <a:lnTo>
                    <a:pt x="107" y="111"/>
                  </a:lnTo>
                  <a:lnTo>
                    <a:pt x="107" y="109"/>
                  </a:lnTo>
                  <a:lnTo>
                    <a:pt x="109" y="107"/>
                  </a:lnTo>
                  <a:lnTo>
                    <a:pt x="107" y="103"/>
                  </a:lnTo>
                  <a:lnTo>
                    <a:pt x="107" y="107"/>
                  </a:lnTo>
                  <a:close/>
                  <a:moveTo>
                    <a:pt x="119" y="70"/>
                  </a:moveTo>
                  <a:lnTo>
                    <a:pt x="117" y="70"/>
                  </a:lnTo>
                  <a:lnTo>
                    <a:pt x="115" y="68"/>
                  </a:lnTo>
                  <a:lnTo>
                    <a:pt x="113" y="68"/>
                  </a:lnTo>
                  <a:lnTo>
                    <a:pt x="111" y="66"/>
                  </a:lnTo>
                  <a:lnTo>
                    <a:pt x="109" y="62"/>
                  </a:lnTo>
                  <a:lnTo>
                    <a:pt x="107" y="59"/>
                  </a:lnTo>
                  <a:lnTo>
                    <a:pt x="105" y="57"/>
                  </a:lnTo>
                  <a:lnTo>
                    <a:pt x="105" y="55"/>
                  </a:lnTo>
                  <a:lnTo>
                    <a:pt x="103" y="53"/>
                  </a:lnTo>
                  <a:lnTo>
                    <a:pt x="103" y="51"/>
                  </a:lnTo>
                  <a:lnTo>
                    <a:pt x="99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5" y="49"/>
                  </a:lnTo>
                  <a:lnTo>
                    <a:pt x="91" y="47"/>
                  </a:lnTo>
                  <a:lnTo>
                    <a:pt x="86" y="47"/>
                  </a:lnTo>
                  <a:lnTo>
                    <a:pt x="82" y="47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2" y="39"/>
                  </a:lnTo>
                  <a:lnTo>
                    <a:pt x="70" y="37"/>
                  </a:lnTo>
                  <a:lnTo>
                    <a:pt x="66" y="35"/>
                  </a:lnTo>
                  <a:lnTo>
                    <a:pt x="64" y="29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6" y="29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4" y="37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6" y="39"/>
                  </a:lnTo>
                  <a:lnTo>
                    <a:pt x="58" y="39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6" y="41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7"/>
                  </a:lnTo>
                  <a:lnTo>
                    <a:pt x="50" y="49"/>
                  </a:lnTo>
                  <a:lnTo>
                    <a:pt x="50" y="51"/>
                  </a:lnTo>
                  <a:lnTo>
                    <a:pt x="47" y="53"/>
                  </a:lnTo>
                  <a:lnTo>
                    <a:pt x="47" y="57"/>
                  </a:lnTo>
                  <a:lnTo>
                    <a:pt x="45" y="59"/>
                  </a:lnTo>
                  <a:lnTo>
                    <a:pt x="45" y="62"/>
                  </a:lnTo>
                  <a:lnTo>
                    <a:pt x="45" y="64"/>
                  </a:lnTo>
                  <a:lnTo>
                    <a:pt x="45" y="66"/>
                  </a:lnTo>
                  <a:lnTo>
                    <a:pt x="47" y="68"/>
                  </a:lnTo>
                  <a:lnTo>
                    <a:pt x="50" y="70"/>
                  </a:lnTo>
                  <a:lnTo>
                    <a:pt x="50" y="72"/>
                  </a:lnTo>
                  <a:lnTo>
                    <a:pt x="52" y="76"/>
                  </a:lnTo>
                  <a:lnTo>
                    <a:pt x="54" y="78"/>
                  </a:lnTo>
                  <a:lnTo>
                    <a:pt x="54" y="80"/>
                  </a:lnTo>
                  <a:lnTo>
                    <a:pt x="54" y="82"/>
                  </a:lnTo>
                  <a:lnTo>
                    <a:pt x="54" y="82"/>
                  </a:lnTo>
                  <a:lnTo>
                    <a:pt x="54" y="84"/>
                  </a:lnTo>
                  <a:lnTo>
                    <a:pt x="54" y="86"/>
                  </a:lnTo>
                  <a:lnTo>
                    <a:pt x="52" y="90"/>
                  </a:lnTo>
                  <a:lnTo>
                    <a:pt x="52" y="92"/>
                  </a:lnTo>
                  <a:lnTo>
                    <a:pt x="52" y="94"/>
                  </a:lnTo>
                  <a:lnTo>
                    <a:pt x="50" y="96"/>
                  </a:lnTo>
                  <a:lnTo>
                    <a:pt x="50" y="99"/>
                  </a:lnTo>
                  <a:lnTo>
                    <a:pt x="50" y="101"/>
                  </a:lnTo>
                  <a:lnTo>
                    <a:pt x="50" y="103"/>
                  </a:lnTo>
                  <a:lnTo>
                    <a:pt x="50" y="105"/>
                  </a:lnTo>
                  <a:lnTo>
                    <a:pt x="47" y="107"/>
                  </a:lnTo>
                  <a:lnTo>
                    <a:pt x="47" y="109"/>
                  </a:lnTo>
                  <a:lnTo>
                    <a:pt x="47" y="111"/>
                  </a:lnTo>
                  <a:lnTo>
                    <a:pt x="47" y="113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1" y="117"/>
                  </a:lnTo>
                  <a:lnTo>
                    <a:pt x="39" y="119"/>
                  </a:lnTo>
                  <a:lnTo>
                    <a:pt x="37" y="119"/>
                  </a:lnTo>
                  <a:lnTo>
                    <a:pt x="33" y="121"/>
                  </a:lnTo>
                  <a:lnTo>
                    <a:pt x="31" y="121"/>
                  </a:lnTo>
                  <a:lnTo>
                    <a:pt x="29" y="123"/>
                  </a:lnTo>
                  <a:lnTo>
                    <a:pt x="27" y="123"/>
                  </a:lnTo>
                  <a:lnTo>
                    <a:pt x="23" y="125"/>
                  </a:lnTo>
                  <a:lnTo>
                    <a:pt x="21" y="125"/>
                  </a:lnTo>
                  <a:lnTo>
                    <a:pt x="19" y="127"/>
                  </a:lnTo>
                  <a:lnTo>
                    <a:pt x="15" y="127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6" y="131"/>
                  </a:lnTo>
                  <a:lnTo>
                    <a:pt x="4" y="131"/>
                  </a:lnTo>
                  <a:lnTo>
                    <a:pt x="2" y="133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2" y="138"/>
                  </a:lnTo>
                  <a:lnTo>
                    <a:pt x="2" y="140"/>
                  </a:lnTo>
                  <a:lnTo>
                    <a:pt x="2" y="142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6" y="148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11" y="156"/>
                  </a:lnTo>
                  <a:lnTo>
                    <a:pt x="11" y="158"/>
                  </a:lnTo>
                  <a:lnTo>
                    <a:pt x="11" y="160"/>
                  </a:lnTo>
                  <a:lnTo>
                    <a:pt x="13" y="162"/>
                  </a:lnTo>
                  <a:lnTo>
                    <a:pt x="13" y="164"/>
                  </a:lnTo>
                  <a:lnTo>
                    <a:pt x="15" y="166"/>
                  </a:lnTo>
                  <a:lnTo>
                    <a:pt x="15" y="166"/>
                  </a:lnTo>
                  <a:lnTo>
                    <a:pt x="15" y="168"/>
                  </a:lnTo>
                  <a:lnTo>
                    <a:pt x="17" y="171"/>
                  </a:lnTo>
                  <a:lnTo>
                    <a:pt x="19" y="173"/>
                  </a:lnTo>
                  <a:lnTo>
                    <a:pt x="19" y="175"/>
                  </a:lnTo>
                  <a:lnTo>
                    <a:pt x="21" y="177"/>
                  </a:lnTo>
                  <a:lnTo>
                    <a:pt x="23" y="177"/>
                  </a:lnTo>
                  <a:lnTo>
                    <a:pt x="29" y="175"/>
                  </a:lnTo>
                  <a:lnTo>
                    <a:pt x="31" y="175"/>
                  </a:lnTo>
                  <a:lnTo>
                    <a:pt x="33" y="173"/>
                  </a:lnTo>
                  <a:lnTo>
                    <a:pt x="35" y="171"/>
                  </a:lnTo>
                  <a:lnTo>
                    <a:pt x="39" y="171"/>
                  </a:lnTo>
                  <a:lnTo>
                    <a:pt x="43" y="171"/>
                  </a:lnTo>
                  <a:lnTo>
                    <a:pt x="45" y="171"/>
                  </a:lnTo>
                  <a:lnTo>
                    <a:pt x="47" y="173"/>
                  </a:lnTo>
                  <a:lnTo>
                    <a:pt x="52" y="171"/>
                  </a:lnTo>
                  <a:lnTo>
                    <a:pt x="54" y="168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4" y="160"/>
                  </a:lnTo>
                  <a:lnTo>
                    <a:pt x="58" y="156"/>
                  </a:lnTo>
                  <a:lnTo>
                    <a:pt x="60" y="154"/>
                  </a:lnTo>
                  <a:lnTo>
                    <a:pt x="66" y="154"/>
                  </a:lnTo>
                  <a:lnTo>
                    <a:pt x="70" y="154"/>
                  </a:lnTo>
                  <a:lnTo>
                    <a:pt x="72" y="152"/>
                  </a:lnTo>
                  <a:lnTo>
                    <a:pt x="74" y="150"/>
                  </a:lnTo>
                  <a:lnTo>
                    <a:pt x="74" y="142"/>
                  </a:lnTo>
                  <a:lnTo>
                    <a:pt x="78" y="140"/>
                  </a:lnTo>
                  <a:lnTo>
                    <a:pt x="80" y="138"/>
                  </a:lnTo>
                  <a:lnTo>
                    <a:pt x="82" y="136"/>
                  </a:lnTo>
                  <a:lnTo>
                    <a:pt x="86" y="136"/>
                  </a:lnTo>
                  <a:lnTo>
                    <a:pt x="91" y="136"/>
                  </a:lnTo>
                  <a:lnTo>
                    <a:pt x="93" y="136"/>
                  </a:lnTo>
                  <a:lnTo>
                    <a:pt x="93" y="133"/>
                  </a:lnTo>
                  <a:lnTo>
                    <a:pt x="93" y="131"/>
                  </a:lnTo>
                  <a:lnTo>
                    <a:pt x="93" y="129"/>
                  </a:lnTo>
                  <a:lnTo>
                    <a:pt x="91" y="127"/>
                  </a:lnTo>
                  <a:lnTo>
                    <a:pt x="91" y="123"/>
                  </a:lnTo>
                  <a:lnTo>
                    <a:pt x="91" y="121"/>
                  </a:lnTo>
                  <a:lnTo>
                    <a:pt x="91" y="119"/>
                  </a:lnTo>
                  <a:lnTo>
                    <a:pt x="91" y="117"/>
                  </a:lnTo>
                  <a:lnTo>
                    <a:pt x="93" y="113"/>
                  </a:lnTo>
                  <a:lnTo>
                    <a:pt x="93" y="111"/>
                  </a:lnTo>
                  <a:lnTo>
                    <a:pt x="93" y="109"/>
                  </a:lnTo>
                  <a:lnTo>
                    <a:pt x="95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7"/>
                  </a:lnTo>
                  <a:lnTo>
                    <a:pt x="97" y="109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1" y="109"/>
                  </a:lnTo>
                  <a:lnTo>
                    <a:pt x="103" y="107"/>
                  </a:lnTo>
                  <a:lnTo>
                    <a:pt x="105" y="101"/>
                  </a:lnTo>
                  <a:lnTo>
                    <a:pt x="107" y="96"/>
                  </a:lnTo>
                  <a:lnTo>
                    <a:pt x="109" y="92"/>
                  </a:lnTo>
                  <a:lnTo>
                    <a:pt x="113" y="90"/>
                  </a:lnTo>
                  <a:lnTo>
                    <a:pt x="115" y="88"/>
                  </a:lnTo>
                  <a:lnTo>
                    <a:pt x="115" y="84"/>
                  </a:lnTo>
                  <a:lnTo>
                    <a:pt x="117" y="80"/>
                  </a:lnTo>
                  <a:lnTo>
                    <a:pt x="119" y="78"/>
                  </a:lnTo>
                  <a:lnTo>
                    <a:pt x="119" y="76"/>
                  </a:lnTo>
                  <a:lnTo>
                    <a:pt x="121" y="74"/>
                  </a:lnTo>
                  <a:lnTo>
                    <a:pt x="121" y="72"/>
                  </a:lnTo>
                  <a:lnTo>
                    <a:pt x="119" y="70"/>
                  </a:lnTo>
                  <a:close/>
                  <a:moveTo>
                    <a:pt x="60" y="18"/>
                  </a:moveTo>
                  <a:lnTo>
                    <a:pt x="60" y="18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close/>
                  <a:moveTo>
                    <a:pt x="58" y="4"/>
                  </a:moveTo>
                  <a:lnTo>
                    <a:pt x="58" y="6"/>
                  </a:lnTo>
                  <a:lnTo>
                    <a:pt x="58" y="8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8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53" name="Freeform 85">
              <a:extLst>
                <a:ext uri="{FF2B5EF4-FFF2-40B4-BE49-F238E27FC236}">
                  <a16:creationId xmlns:a16="http://schemas.microsoft.com/office/drawing/2014/main" id="{843068FE-2334-264B-9B28-1E5539C72C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4185" y="1874812"/>
              <a:ext cx="551412" cy="405240"/>
            </a:xfrm>
            <a:custGeom>
              <a:avLst/>
              <a:gdLst>
                <a:gd name="T0" fmla="*/ 204 w 464"/>
                <a:gd name="T1" fmla="*/ 247 h 341"/>
                <a:gd name="T2" fmla="*/ 251 w 464"/>
                <a:gd name="T3" fmla="*/ 210 h 341"/>
                <a:gd name="T4" fmla="*/ 261 w 464"/>
                <a:gd name="T5" fmla="*/ 177 h 341"/>
                <a:gd name="T6" fmla="*/ 278 w 464"/>
                <a:gd name="T7" fmla="*/ 169 h 341"/>
                <a:gd name="T8" fmla="*/ 290 w 464"/>
                <a:gd name="T9" fmla="*/ 173 h 341"/>
                <a:gd name="T10" fmla="*/ 288 w 464"/>
                <a:gd name="T11" fmla="*/ 160 h 341"/>
                <a:gd name="T12" fmla="*/ 306 w 464"/>
                <a:gd name="T13" fmla="*/ 156 h 341"/>
                <a:gd name="T14" fmla="*/ 341 w 464"/>
                <a:gd name="T15" fmla="*/ 144 h 341"/>
                <a:gd name="T16" fmla="*/ 327 w 464"/>
                <a:gd name="T17" fmla="*/ 144 h 341"/>
                <a:gd name="T18" fmla="*/ 335 w 464"/>
                <a:gd name="T19" fmla="*/ 144 h 341"/>
                <a:gd name="T20" fmla="*/ 382 w 464"/>
                <a:gd name="T21" fmla="*/ 138 h 341"/>
                <a:gd name="T22" fmla="*/ 362 w 464"/>
                <a:gd name="T23" fmla="*/ 138 h 341"/>
                <a:gd name="T24" fmla="*/ 462 w 464"/>
                <a:gd name="T25" fmla="*/ 142 h 341"/>
                <a:gd name="T26" fmla="*/ 427 w 464"/>
                <a:gd name="T27" fmla="*/ 136 h 341"/>
                <a:gd name="T28" fmla="*/ 399 w 464"/>
                <a:gd name="T29" fmla="*/ 142 h 341"/>
                <a:gd name="T30" fmla="*/ 382 w 464"/>
                <a:gd name="T31" fmla="*/ 140 h 341"/>
                <a:gd name="T32" fmla="*/ 358 w 464"/>
                <a:gd name="T33" fmla="*/ 150 h 341"/>
                <a:gd name="T34" fmla="*/ 333 w 464"/>
                <a:gd name="T35" fmla="*/ 156 h 341"/>
                <a:gd name="T36" fmla="*/ 304 w 464"/>
                <a:gd name="T37" fmla="*/ 166 h 341"/>
                <a:gd name="T38" fmla="*/ 292 w 464"/>
                <a:gd name="T39" fmla="*/ 175 h 341"/>
                <a:gd name="T40" fmla="*/ 286 w 464"/>
                <a:gd name="T41" fmla="*/ 187 h 341"/>
                <a:gd name="T42" fmla="*/ 263 w 464"/>
                <a:gd name="T43" fmla="*/ 197 h 341"/>
                <a:gd name="T44" fmla="*/ 247 w 464"/>
                <a:gd name="T45" fmla="*/ 222 h 341"/>
                <a:gd name="T46" fmla="*/ 214 w 464"/>
                <a:gd name="T47" fmla="*/ 247 h 341"/>
                <a:gd name="T48" fmla="*/ 228 w 464"/>
                <a:gd name="T49" fmla="*/ 251 h 341"/>
                <a:gd name="T50" fmla="*/ 197 w 464"/>
                <a:gd name="T51" fmla="*/ 255 h 341"/>
                <a:gd name="T52" fmla="*/ 189 w 464"/>
                <a:gd name="T53" fmla="*/ 265 h 341"/>
                <a:gd name="T54" fmla="*/ 156 w 464"/>
                <a:gd name="T55" fmla="*/ 275 h 341"/>
                <a:gd name="T56" fmla="*/ 169 w 464"/>
                <a:gd name="T57" fmla="*/ 290 h 341"/>
                <a:gd name="T58" fmla="*/ 167 w 464"/>
                <a:gd name="T59" fmla="*/ 290 h 341"/>
                <a:gd name="T60" fmla="*/ 154 w 464"/>
                <a:gd name="T61" fmla="*/ 315 h 341"/>
                <a:gd name="T62" fmla="*/ 165 w 464"/>
                <a:gd name="T63" fmla="*/ 310 h 341"/>
                <a:gd name="T64" fmla="*/ 169 w 464"/>
                <a:gd name="T65" fmla="*/ 319 h 341"/>
                <a:gd name="T66" fmla="*/ 173 w 464"/>
                <a:gd name="T67" fmla="*/ 341 h 341"/>
                <a:gd name="T68" fmla="*/ 216 w 464"/>
                <a:gd name="T69" fmla="*/ 325 h 341"/>
                <a:gd name="T70" fmla="*/ 241 w 464"/>
                <a:gd name="T71" fmla="*/ 325 h 341"/>
                <a:gd name="T72" fmla="*/ 255 w 464"/>
                <a:gd name="T73" fmla="*/ 284 h 341"/>
                <a:gd name="T74" fmla="*/ 269 w 464"/>
                <a:gd name="T75" fmla="*/ 241 h 341"/>
                <a:gd name="T76" fmla="*/ 294 w 464"/>
                <a:gd name="T77" fmla="*/ 187 h 341"/>
                <a:gd name="T78" fmla="*/ 341 w 464"/>
                <a:gd name="T79" fmla="*/ 164 h 341"/>
                <a:gd name="T80" fmla="*/ 384 w 464"/>
                <a:gd name="T81" fmla="*/ 166 h 341"/>
                <a:gd name="T82" fmla="*/ 421 w 464"/>
                <a:gd name="T83" fmla="*/ 148 h 341"/>
                <a:gd name="T84" fmla="*/ 458 w 464"/>
                <a:gd name="T85" fmla="*/ 154 h 341"/>
                <a:gd name="T86" fmla="*/ 15 w 464"/>
                <a:gd name="T87" fmla="*/ 129 h 341"/>
                <a:gd name="T88" fmla="*/ 360 w 464"/>
                <a:gd name="T89" fmla="*/ 29 h 341"/>
                <a:gd name="T90" fmla="*/ 345 w 464"/>
                <a:gd name="T91" fmla="*/ 39 h 341"/>
                <a:gd name="T92" fmla="*/ 241 w 464"/>
                <a:gd name="T93" fmla="*/ 27 h 341"/>
                <a:gd name="T94" fmla="*/ 230 w 464"/>
                <a:gd name="T95" fmla="*/ 10 h 341"/>
                <a:gd name="T96" fmla="*/ 236 w 464"/>
                <a:gd name="T97" fmla="*/ 18 h 341"/>
                <a:gd name="T98" fmla="*/ 271 w 464"/>
                <a:gd name="T99" fmla="*/ 23 h 341"/>
                <a:gd name="T100" fmla="*/ 282 w 464"/>
                <a:gd name="T101" fmla="*/ 27 h 341"/>
                <a:gd name="T102" fmla="*/ 290 w 464"/>
                <a:gd name="T103" fmla="*/ 35 h 341"/>
                <a:gd name="T104" fmla="*/ 298 w 464"/>
                <a:gd name="T105" fmla="*/ 45 h 341"/>
                <a:gd name="T106" fmla="*/ 339 w 464"/>
                <a:gd name="T107" fmla="*/ 21 h 341"/>
                <a:gd name="T108" fmla="*/ 300 w 464"/>
                <a:gd name="T109" fmla="*/ 12 h 341"/>
                <a:gd name="T110" fmla="*/ 282 w 464"/>
                <a:gd name="T111" fmla="*/ 16 h 341"/>
                <a:gd name="T112" fmla="*/ 253 w 464"/>
                <a:gd name="T113" fmla="*/ 8 h 341"/>
                <a:gd name="T114" fmla="*/ 304 w 464"/>
                <a:gd name="T115" fmla="*/ 0 h 341"/>
                <a:gd name="T116" fmla="*/ 331 w 464"/>
                <a:gd name="T117" fmla="*/ 12 h 341"/>
                <a:gd name="T118" fmla="*/ 372 w 464"/>
                <a:gd name="T119" fmla="*/ 2 h 341"/>
                <a:gd name="T120" fmla="*/ 339 w 464"/>
                <a:gd name="T121" fmla="*/ 4 h 341"/>
                <a:gd name="T122" fmla="*/ 304 w 464"/>
                <a:gd name="T123" fmla="*/ 4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4" h="341">
                  <a:moveTo>
                    <a:pt x="156" y="304"/>
                  </a:moveTo>
                  <a:lnTo>
                    <a:pt x="154" y="302"/>
                  </a:lnTo>
                  <a:lnTo>
                    <a:pt x="154" y="300"/>
                  </a:lnTo>
                  <a:lnTo>
                    <a:pt x="154" y="300"/>
                  </a:lnTo>
                  <a:lnTo>
                    <a:pt x="154" y="302"/>
                  </a:lnTo>
                  <a:lnTo>
                    <a:pt x="154" y="302"/>
                  </a:lnTo>
                  <a:lnTo>
                    <a:pt x="154" y="304"/>
                  </a:lnTo>
                  <a:lnTo>
                    <a:pt x="154" y="304"/>
                  </a:lnTo>
                  <a:lnTo>
                    <a:pt x="154" y="304"/>
                  </a:lnTo>
                  <a:lnTo>
                    <a:pt x="156" y="306"/>
                  </a:lnTo>
                  <a:lnTo>
                    <a:pt x="156" y="304"/>
                  </a:lnTo>
                  <a:close/>
                  <a:moveTo>
                    <a:pt x="154" y="290"/>
                  </a:moveTo>
                  <a:lnTo>
                    <a:pt x="154" y="288"/>
                  </a:lnTo>
                  <a:lnTo>
                    <a:pt x="152" y="288"/>
                  </a:lnTo>
                  <a:lnTo>
                    <a:pt x="152" y="290"/>
                  </a:lnTo>
                  <a:lnTo>
                    <a:pt x="152" y="290"/>
                  </a:lnTo>
                  <a:lnTo>
                    <a:pt x="152" y="290"/>
                  </a:lnTo>
                  <a:lnTo>
                    <a:pt x="154" y="290"/>
                  </a:lnTo>
                  <a:lnTo>
                    <a:pt x="154" y="290"/>
                  </a:lnTo>
                  <a:close/>
                  <a:moveTo>
                    <a:pt x="193" y="253"/>
                  </a:moveTo>
                  <a:lnTo>
                    <a:pt x="193" y="253"/>
                  </a:lnTo>
                  <a:lnTo>
                    <a:pt x="195" y="253"/>
                  </a:lnTo>
                  <a:lnTo>
                    <a:pt x="195" y="253"/>
                  </a:lnTo>
                  <a:lnTo>
                    <a:pt x="195" y="251"/>
                  </a:lnTo>
                  <a:lnTo>
                    <a:pt x="195" y="251"/>
                  </a:lnTo>
                  <a:lnTo>
                    <a:pt x="193" y="251"/>
                  </a:lnTo>
                  <a:lnTo>
                    <a:pt x="191" y="253"/>
                  </a:lnTo>
                  <a:lnTo>
                    <a:pt x="191" y="253"/>
                  </a:lnTo>
                  <a:lnTo>
                    <a:pt x="193" y="253"/>
                  </a:lnTo>
                  <a:close/>
                  <a:moveTo>
                    <a:pt x="199" y="249"/>
                  </a:moveTo>
                  <a:lnTo>
                    <a:pt x="204" y="247"/>
                  </a:lnTo>
                  <a:lnTo>
                    <a:pt x="204" y="247"/>
                  </a:lnTo>
                  <a:lnTo>
                    <a:pt x="204" y="247"/>
                  </a:lnTo>
                  <a:lnTo>
                    <a:pt x="204" y="245"/>
                  </a:lnTo>
                  <a:lnTo>
                    <a:pt x="204" y="245"/>
                  </a:lnTo>
                  <a:lnTo>
                    <a:pt x="204" y="247"/>
                  </a:lnTo>
                  <a:lnTo>
                    <a:pt x="199" y="247"/>
                  </a:lnTo>
                  <a:lnTo>
                    <a:pt x="197" y="247"/>
                  </a:lnTo>
                  <a:lnTo>
                    <a:pt x="199" y="249"/>
                  </a:lnTo>
                  <a:lnTo>
                    <a:pt x="199" y="249"/>
                  </a:lnTo>
                  <a:close/>
                  <a:moveTo>
                    <a:pt x="232" y="226"/>
                  </a:moveTo>
                  <a:lnTo>
                    <a:pt x="230" y="228"/>
                  </a:lnTo>
                  <a:lnTo>
                    <a:pt x="228" y="228"/>
                  </a:lnTo>
                  <a:lnTo>
                    <a:pt x="230" y="228"/>
                  </a:lnTo>
                  <a:lnTo>
                    <a:pt x="232" y="228"/>
                  </a:lnTo>
                  <a:lnTo>
                    <a:pt x="234" y="228"/>
                  </a:lnTo>
                  <a:lnTo>
                    <a:pt x="234" y="228"/>
                  </a:lnTo>
                  <a:lnTo>
                    <a:pt x="234" y="228"/>
                  </a:lnTo>
                  <a:lnTo>
                    <a:pt x="234" y="226"/>
                  </a:lnTo>
                  <a:lnTo>
                    <a:pt x="232" y="226"/>
                  </a:lnTo>
                  <a:close/>
                  <a:moveTo>
                    <a:pt x="241" y="216"/>
                  </a:moveTo>
                  <a:lnTo>
                    <a:pt x="241" y="216"/>
                  </a:lnTo>
                  <a:lnTo>
                    <a:pt x="241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5" y="216"/>
                  </a:lnTo>
                  <a:lnTo>
                    <a:pt x="245" y="216"/>
                  </a:lnTo>
                  <a:lnTo>
                    <a:pt x="243" y="214"/>
                  </a:lnTo>
                  <a:lnTo>
                    <a:pt x="241" y="216"/>
                  </a:lnTo>
                  <a:close/>
                  <a:moveTo>
                    <a:pt x="253" y="210"/>
                  </a:moveTo>
                  <a:lnTo>
                    <a:pt x="253" y="210"/>
                  </a:lnTo>
                  <a:lnTo>
                    <a:pt x="253" y="210"/>
                  </a:lnTo>
                  <a:lnTo>
                    <a:pt x="251" y="210"/>
                  </a:lnTo>
                  <a:lnTo>
                    <a:pt x="251" y="210"/>
                  </a:lnTo>
                  <a:lnTo>
                    <a:pt x="249" y="210"/>
                  </a:lnTo>
                  <a:lnTo>
                    <a:pt x="249" y="212"/>
                  </a:lnTo>
                  <a:lnTo>
                    <a:pt x="249" y="212"/>
                  </a:lnTo>
                  <a:lnTo>
                    <a:pt x="251" y="212"/>
                  </a:lnTo>
                  <a:lnTo>
                    <a:pt x="253" y="210"/>
                  </a:lnTo>
                  <a:close/>
                  <a:moveTo>
                    <a:pt x="251" y="208"/>
                  </a:moveTo>
                  <a:lnTo>
                    <a:pt x="251" y="208"/>
                  </a:lnTo>
                  <a:lnTo>
                    <a:pt x="251" y="208"/>
                  </a:lnTo>
                  <a:lnTo>
                    <a:pt x="249" y="208"/>
                  </a:lnTo>
                  <a:lnTo>
                    <a:pt x="249" y="208"/>
                  </a:lnTo>
                  <a:lnTo>
                    <a:pt x="249" y="208"/>
                  </a:lnTo>
                  <a:lnTo>
                    <a:pt x="249" y="210"/>
                  </a:lnTo>
                  <a:lnTo>
                    <a:pt x="249" y="210"/>
                  </a:lnTo>
                  <a:lnTo>
                    <a:pt x="249" y="210"/>
                  </a:lnTo>
                  <a:lnTo>
                    <a:pt x="251" y="210"/>
                  </a:lnTo>
                  <a:lnTo>
                    <a:pt x="251" y="208"/>
                  </a:lnTo>
                  <a:close/>
                  <a:moveTo>
                    <a:pt x="257" y="177"/>
                  </a:moveTo>
                  <a:lnTo>
                    <a:pt x="255" y="179"/>
                  </a:lnTo>
                  <a:lnTo>
                    <a:pt x="255" y="179"/>
                  </a:lnTo>
                  <a:lnTo>
                    <a:pt x="253" y="181"/>
                  </a:lnTo>
                  <a:lnTo>
                    <a:pt x="255" y="181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7" y="177"/>
                  </a:lnTo>
                  <a:lnTo>
                    <a:pt x="257" y="177"/>
                  </a:lnTo>
                  <a:close/>
                  <a:moveTo>
                    <a:pt x="267" y="175"/>
                  </a:moveTo>
                  <a:lnTo>
                    <a:pt x="265" y="175"/>
                  </a:lnTo>
                  <a:lnTo>
                    <a:pt x="265" y="175"/>
                  </a:lnTo>
                  <a:lnTo>
                    <a:pt x="263" y="175"/>
                  </a:lnTo>
                  <a:lnTo>
                    <a:pt x="261" y="175"/>
                  </a:lnTo>
                  <a:lnTo>
                    <a:pt x="261" y="177"/>
                  </a:lnTo>
                  <a:lnTo>
                    <a:pt x="259" y="175"/>
                  </a:lnTo>
                  <a:lnTo>
                    <a:pt x="259" y="177"/>
                  </a:lnTo>
                  <a:lnTo>
                    <a:pt x="259" y="177"/>
                  </a:lnTo>
                  <a:lnTo>
                    <a:pt x="257" y="177"/>
                  </a:lnTo>
                  <a:lnTo>
                    <a:pt x="259" y="179"/>
                  </a:lnTo>
                  <a:lnTo>
                    <a:pt x="259" y="179"/>
                  </a:lnTo>
                  <a:lnTo>
                    <a:pt x="261" y="179"/>
                  </a:lnTo>
                  <a:lnTo>
                    <a:pt x="261" y="177"/>
                  </a:lnTo>
                  <a:lnTo>
                    <a:pt x="261" y="177"/>
                  </a:lnTo>
                  <a:lnTo>
                    <a:pt x="261" y="177"/>
                  </a:lnTo>
                  <a:lnTo>
                    <a:pt x="263" y="177"/>
                  </a:lnTo>
                  <a:lnTo>
                    <a:pt x="263" y="177"/>
                  </a:lnTo>
                  <a:lnTo>
                    <a:pt x="265" y="177"/>
                  </a:lnTo>
                  <a:lnTo>
                    <a:pt x="265" y="177"/>
                  </a:lnTo>
                  <a:lnTo>
                    <a:pt x="265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9" y="175"/>
                  </a:lnTo>
                  <a:lnTo>
                    <a:pt x="269" y="175"/>
                  </a:lnTo>
                  <a:lnTo>
                    <a:pt x="267" y="175"/>
                  </a:lnTo>
                  <a:close/>
                  <a:moveTo>
                    <a:pt x="275" y="166"/>
                  </a:moveTo>
                  <a:lnTo>
                    <a:pt x="275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1" y="166"/>
                  </a:lnTo>
                  <a:lnTo>
                    <a:pt x="271" y="169"/>
                  </a:lnTo>
                  <a:lnTo>
                    <a:pt x="273" y="169"/>
                  </a:lnTo>
                  <a:lnTo>
                    <a:pt x="275" y="169"/>
                  </a:lnTo>
                  <a:lnTo>
                    <a:pt x="275" y="169"/>
                  </a:lnTo>
                  <a:lnTo>
                    <a:pt x="278" y="169"/>
                  </a:lnTo>
                  <a:lnTo>
                    <a:pt x="278" y="169"/>
                  </a:lnTo>
                  <a:lnTo>
                    <a:pt x="278" y="169"/>
                  </a:lnTo>
                  <a:lnTo>
                    <a:pt x="280" y="169"/>
                  </a:lnTo>
                  <a:lnTo>
                    <a:pt x="282" y="169"/>
                  </a:lnTo>
                  <a:lnTo>
                    <a:pt x="284" y="169"/>
                  </a:lnTo>
                  <a:lnTo>
                    <a:pt x="284" y="166"/>
                  </a:lnTo>
                  <a:lnTo>
                    <a:pt x="284" y="164"/>
                  </a:lnTo>
                  <a:lnTo>
                    <a:pt x="282" y="164"/>
                  </a:lnTo>
                  <a:lnTo>
                    <a:pt x="282" y="162"/>
                  </a:lnTo>
                  <a:lnTo>
                    <a:pt x="280" y="162"/>
                  </a:lnTo>
                  <a:lnTo>
                    <a:pt x="280" y="162"/>
                  </a:lnTo>
                  <a:lnTo>
                    <a:pt x="280" y="162"/>
                  </a:lnTo>
                  <a:lnTo>
                    <a:pt x="280" y="164"/>
                  </a:lnTo>
                  <a:lnTo>
                    <a:pt x="278" y="164"/>
                  </a:lnTo>
                  <a:lnTo>
                    <a:pt x="278" y="164"/>
                  </a:lnTo>
                  <a:lnTo>
                    <a:pt x="278" y="164"/>
                  </a:lnTo>
                  <a:lnTo>
                    <a:pt x="278" y="166"/>
                  </a:lnTo>
                  <a:lnTo>
                    <a:pt x="275" y="166"/>
                  </a:lnTo>
                  <a:close/>
                  <a:moveTo>
                    <a:pt x="271" y="175"/>
                  </a:moveTo>
                  <a:lnTo>
                    <a:pt x="271" y="175"/>
                  </a:lnTo>
                  <a:lnTo>
                    <a:pt x="275" y="175"/>
                  </a:lnTo>
                  <a:lnTo>
                    <a:pt x="278" y="173"/>
                  </a:lnTo>
                  <a:lnTo>
                    <a:pt x="280" y="175"/>
                  </a:lnTo>
                  <a:lnTo>
                    <a:pt x="280" y="175"/>
                  </a:lnTo>
                  <a:lnTo>
                    <a:pt x="282" y="173"/>
                  </a:lnTo>
                  <a:lnTo>
                    <a:pt x="282" y="173"/>
                  </a:lnTo>
                  <a:lnTo>
                    <a:pt x="284" y="173"/>
                  </a:lnTo>
                  <a:lnTo>
                    <a:pt x="284" y="173"/>
                  </a:lnTo>
                  <a:lnTo>
                    <a:pt x="284" y="173"/>
                  </a:lnTo>
                  <a:lnTo>
                    <a:pt x="288" y="173"/>
                  </a:lnTo>
                  <a:lnTo>
                    <a:pt x="288" y="173"/>
                  </a:lnTo>
                  <a:lnTo>
                    <a:pt x="290" y="173"/>
                  </a:lnTo>
                  <a:lnTo>
                    <a:pt x="290" y="173"/>
                  </a:lnTo>
                  <a:lnTo>
                    <a:pt x="290" y="173"/>
                  </a:lnTo>
                  <a:lnTo>
                    <a:pt x="290" y="173"/>
                  </a:lnTo>
                  <a:lnTo>
                    <a:pt x="292" y="171"/>
                  </a:lnTo>
                  <a:lnTo>
                    <a:pt x="294" y="171"/>
                  </a:lnTo>
                  <a:lnTo>
                    <a:pt x="294" y="169"/>
                  </a:lnTo>
                  <a:lnTo>
                    <a:pt x="298" y="169"/>
                  </a:lnTo>
                  <a:lnTo>
                    <a:pt x="298" y="166"/>
                  </a:lnTo>
                  <a:lnTo>
                    <a:pt x="296" y="166"/>
                  </a:lnTo>
                  <a:lnTo>
                    <a:pt x="296" y="164"/>
                  </a:lnTo>
                  <a:lnTo>
                    <a:pt x="294" y="164"/>
                  </a:lnTo>
                  <a:lnTo>
                    <a:pt x="294" y="164"/>
                  </a:lnTo>
                  <a:lnTo>
                    <a:pt x="294" y="164"/>
                  </a:lnTo>
                  <a:lnTo>
                    <a:pt x="292" y="164"/>
                  </a:lnTo>
                  <a:lnTo>
                    <a:pt x="292" y="166"/>
                  </a:lnTo>
                  <a:lnTo>
                    <a:pt x="292" y="166"/>
                  </a:lnTo>
                  <a:lnTo>
                    <a:pt x="292" y="166"/>
                  </a:lnTo>
                  <a:lnTo>
                    <a:pt x="292" y="169"/>
                  </a:lnTo>
                  <a:lnTo>
                    <a:pt x="290" y="169"/>
                  </a:lnTo>
                  <a:lnTo>
                    <a:pt x="288" y="171"/>
                  </a:lnTo>
                  <a:lnTo>
                    <a:pt x="288" y="169"/>
                  </a:lnTo>
                  <a:lnTo>
                    <a:pt x="288" y="169"/>
                  </a:lnTo>
                  <a:lnTo>
                    <a:pt x="290" y="166"/>
                  </a:lnTo>
                  <a:lnTo>
                    <a:pt x="290" y="166"/>
                  </a:lnTo>
                  <a:lnTo>
                    <a:pt x="290" y="164"/>
                  </a:lnTo>
                  <a:lnTo>
                    <a:pt x="288" y="162"/>
                  </a:lnTo>
                  <a:lnTo>
                    <a:pt x="288" y="162"/>
                  </a:lnTo>
                  <a:lnTo>
                    <a:pt x="290" y="160"/>
                  </a:lnTo>
                  <a:lnTo>
                    <a:pt x="292" y="160"/>
                  </a:lnTo>
                  <a:lnTo>
                    <a:pt x="292" y="158"/>
                  </a:lnTo>
                  <a:lnTo>
                    <a:pt x="292" y="158"/>
                  </a:lnTo>
                  <a:lnTo>
                    <a:pt x="290" y="158"/>
                  </a:lnTo>
                  <a:lnTo>
                    <a:pt x="290" y="158"/>
                  </a:lnTo>
                  <a:lnTo>
                    <a:pt x="288" y="160"/>
                  </a:lnTo>
                  <a:lnTo>
                    <a:pt x="286" y="160"/>
                  </a:lnTo>
                  <a:lnTo>
                    <a:pt x="284" y="162"/>
                  </a:lnTo>
                  <a:lnTo>
                    <a:pt x="284" y="162"/>
                  </a:lnTo>
                  <a:lnTo>
                    <a:pt x="284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6"/>
                  </a:lnTo>
                  <a:lnTo>
                    <a:pt x="284" y="169"/>
                  </a:lnTo>
                  <a:lnTo>
                    <a:pt x="280" y="171"/>
                  </a:lnTo>
                  <a:lnTo>
                    <a:pt x="273" y="173"/>
                  </a:lnTo>
                  <a:lnTo>
                    <a:pt x="273" y="173"/>
                  </a:lnTo>
                  <a:lnTo>
                    <a:pt x="271" y="175"/>
                  </a:lnTo>
                  <a:lnTo>
                    <a:pt x="271" y="175"/>
                  </a:lnTo>
                  <a:close/>
                  <a:moveTo>
                    <a:pt x="314" y="158"/>
                  </a:moveTo>
                  <a:lnTo>
                    <a:pt x="314" y="156"/>
                  </a:lnTo>
                  <a:lnTo>
                    <a:pt x="314" y="156"/>
                  </a:lnTo>
                  <a:lnTo>
                    <a:pt x="314" y="154"/>
                  </a:lnTo>
                  <a:lnTo>
                    <a:pt x="312" y="154"/>
                  </a:lnTo>
                  <a:lnTo>
                    <a:pt x="312" y="154"/>
                  </a:lnTo>
                  <a:lnTo>
                    <a:pt x="310" y="154"/>
                  </a:lnTo>
                  <a:lnTo>
                    <a:pt x="310" y="154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6" y="154"/>
                  </a:lnTo>
                  <a:lnTo>
                    <a:pt x="304" y="154"/>
                  </a:lnTo>
                  <a:lnTo>
                    <a:pt x="304" y="156"/>
                  </a:lnTo>
                  <a:lnTo>
                    <a:pt x="306" y="156"/>
                  </a:lnTo>
                  <a:lnTo>
                    <a:pt x="306" y="156"/>
                  </a:lnTo>
                  <a:lnTo>
                    <a:pt x="306" y="156"/>
                  </a:lnTo>
                  <a:lnTo>
                    <a:pt x="302" y="156"/>
                  </a:lnTo>
                  <a:lnTo>
                    <a:pt x="302" y="156"/>
                  </a:lnTo>
                  <a:lnTo>
                    <a:pt x="302" y="158"/>
                  </a:lnTo>
                  <a:lnTo>
                    <a:pt x="302" y="158"/>
                  </a:lnTo>
                  <a:lnTo>
                    <a:pt x="302" y="160"/>
                  </a:lnTo>
                  <a:lnTo>
                    <a:pt x="302" y="160"/>
                  </a:lnTo>
                  <a:lnTo>
                    <a:pt x="300" y="160"/>
                  </a:lnTo>
                  <a:lnTo>
                    <a:pt x="300" y="160"/>
                  </a:lnTo>
                  <a:lnTo>
                    <a:pt x="300" y="162"/>
                  </a:lnTo>
                  <a:lnTo>
                    <a:pt x="302" y="162"/>
                  </a:lnTo>
                  <a:lnTo>
                    <a:pt x="304" y="162"/>
                  </a:lnTo>
                  <a:lnTo>
                    <a:pt x="304" y="162"/>
                  </a:lnTo>
                  <a:lnTo>
                    <a:pt x="304" y="162"/>
                  </a:lnTo>
                  <a:lnTo>
                    <a:pt x="306" y="160"/>
                  </a:lnTo>
                  <a:lnTo>
                    <a:pt x="308" y="160"/>
                  </a:lnTo>
                  <a:lnTo>
                    <a:pt x="308" y="160"/>
                  </a:lnTo>
                  <a:lnTo>
                    <a:pt x="310" y="160"/>
                  </a:lnTo>
                  <a:lnTo>
                    <a:pt x="312" y="160"/>
                  </a:lnTo>
                  <a:lnTo>
                    <a:pt x="312" y="158"/>
                  </a:lnTo>
                  <a:lnTo>
                    <a:pt x="312" y="158"/>
                  </a:lnTo>
                  <a:lnTo>
                    <a:pt x="314" y="158"/>
                  </a:lnTo>
                  <a:close/>
                  <a:moveTo>
                    <a:pt x="452" y="148"/>
                  </a:moveTo>
                  <a:lnTo>
                    <a:pt x="450" y="150"/>
                  </a:lnTo>
                  <a:lnTo>
                    <a:pt x="450" y="150"/>
                  </a:lnTo>
                  <a:lnTo>
                    <a:pt x="450" y="150"/>
                  </a:lnTo>
                  <a:lnTo>
                    <a:pt x="452" y="150"/>
                  </a:lnTo>
                  <a:lnTo>
                    <a:pt x="454" y="150"/>
                  </a:lnTo>
                  <a:lnTo>
                    <a:pt x="454" y="150"/>
                  </a:lnTo>
                  <a:lnTo>
                    <a:pt x="452" y="148"/>
                  </a:lnTo>
                  <a:lnTo>
                    <a:pt x="452" y="148"/>
                  </a:lnTo>
                  <a:close/>
                  <a:moveTo>
                    <a:pt x="343" y="144"/>
                  </a:moveTo>
                  <a:lnTo>
                    <a:pt x="341" y="144"/>
                  </a:lnTo>
                  <a:lnTo>
                    <a:pt x="341" y="146"/>
                  </a:lnTo>
                  <a:lnTo>
                    <a:pt x="341" y="146"/>
                  </a:lnTo>
                  <a:lnTo>
                    <a:pt x="341" y="146"/>
                  </a:lnTo>
                  <a:lnTo>
                    <a:pt x="343" y="146"/>
                  </a:lnTo>
                  <a:lnTo>
                    <a:pt x="343" y="146"/>
                  </a:lnTo>
                  <a:lnTo>
                    <a:pt x="343" y="146"/>
                  </a:lnTo>
                  <a:lnTo>
                    <a:pt x="345" y="146"/>
                  </a:lnTo>
                  <a:lnTo>
                    <a:pt x="345" y="146"/>
                  </a:lnTo>
                  <a:lnTo>
                    <a:pt x="345" y="144"/>
                  </a:lnTo>
                  <a:lnTo>
                    <a:pt x="345" y="144"/>
                  </a:lnTo>
                  <a:lnTo>
                    <a:pt x="343" y="144"/>
                  </a:lnTo>
                  <a:close/>
                  <a:moveTo>
                    <a:pt x="317" y="154"/>
                  </a:moveTo>
                  <a:lnTo>
                    <a:pt x="319" y="154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3" y="152"/>
                  </a:lnTo>
                  <a:lnTo>
                    <a:pt x="325" y="152"/>
                  </a:lnTo>
                  <a:lnTo>
                    <a:pt x="325" y="150"/>
                  </a:lnTo>
                  <a:lnTo>
                    <a:pt x="327" y="150"/>
                  </a:lnTo>
                  <a:lnTo>
                    <a:pt x="327" y="150"/>
                  </a:lnTo>
                  <a:lnTo>
                    <a:pt x="329" y="150"/>
                  </a:lnTo>
                  <a:lnTo>
                    <a:pt x="331" y="148"/>
                  </a:lnTo>
                  <a:lnTo>
                    <a:pt x="331" y="148"/>
                  </a:lnTo>
                  <a:lnTo>
                    <a:pt x="333" y="148"/>
                  </a:lnTo>
                  <a:lnTo>
                    <a:pt x="331" y="146"/>
                  </a:lnTo>
                  <a:lnTo>
                    <a:pt x="331" y="146"/>
                  </a:lnTo>
                  <a:lnTo>
                    <a:pt x="329" y="148"/>
                  </a:lnTo>
                  <a:lnTo>
                    <a:pt x="329" y="148"/>
                  </a:lnTo>
                  <a:lnTo>
                    <a:pt x="327" y="146"/>
                  </a:lnTo>
                  <a:lnTo>
                    <a:pt x="327" y="144"/>
                  </a:lnTo>
                  <a:lnTo>
                    <a:pt x="327" y="144"/>
                  </a:lnTo>
                  <a:lnTo>
                    <a:pt x="327" y="144"/>
                  </a:lnTo>
                  <a:lnTo>
                    <a:pt x="325" y="144"/>
                  </a:lnTo>
                  <a:lnTo>
                    <a:pt x="325" y="146"/>
                  </a:lnTo>
                  <a:lnTo>
                    <a:pt x="325" y="146"/>
                  </a:lnTo>
                  <a:lnTo>
                    <a:pt x="325" y="146"/>
                  </a:lnTo>
                  <a:lnTo>
                    <a:pt x="325" y="146"/>
                  </a:lnTo>
                  <a:lnTo>
                    <a:pt x="323" y="148"/>
                  </a:lnTo>
                  <a:lnTo>
                    <a:pt x="323" y="148"/>
                  </a:lnTo>
                  <a:lnTo>
                    <a:pt x="321" y="150"/>
                  </a:lnTo>
                  <a:lnTo>
                    <a:pt x="321" y="150"/>
                  </a:lnTo>
                  <a:lnTo>
                    <a:pt x="321" y="150"/>
                  </a:lnTo>
                  <a:lnTo>
                    <a:pt x="321" y="150"/>
                  </a:lnTo>
                  <a:lnTo>
                    <a:pt x="321" y="150"/>
                  </a:lnTo>
                  <a:lnTo>
                    <a:pt x="321" y="150"/>
                  </a:lnTo>
                  <a:lnTo>
                    <a:pt x="319" y="150"/>
                  </a:lnTo>
                  <a:lnTo>
                    <a:pt x="319" y="150"/>
                  </a:lnTo>
                  <a:lnTo>
                    <a:pt x="317" y="150"/>
                  </a:lnTo>
                  <a:lnTo>
                    <a:pt x="317" y="152"/>
                  </a:lnTo>
                  <a:lnTo>
                    <a:pt x="317" y="152"/>
                  </a:lnTo>
                  <a:lnTo>
                    <a:pt x="317" y="152"/>
                  </a:lnTo>
                  <a:lnTo>
                    <a:pt x="317" y="152"/>
                  </a:lnTo>
                  <a:lnTo>
                    <a:pt x="314" y="152"/>
                  </a:lnTo>
                  <a:lnTo>
                    <a:pt x="314" y="154"/>
                  </a:lnTo>
                  <a:lnTo>
                    <a:pt x="314" y="154"/>
                  </a:lnTo>
                  <a:lnTo>
                    <a:pt x="317" y="154"/>
                  </a:lnTo>
                  <a:close/>
                  <a:moveTo>
                    <a:pt x="333" y="146"/>
                  </a:moveTo>
                  <a:lnTo>
                    <a:pt x="333" y="146"/>
                  </a:lnTo>
                  <a:lnTo>
                    <a:pt x="335" y="146"/>
                  </a:lnTo>
                  <a:lnTo>
                    <a:pt x="337" y="146"/>
                  </a:lnTo>
                  <a:lnTo>
                    <a:pt x="337" y="146"/>
                  </a:lnTo>
                  <a:lnTo>
                    <a:pt x="337" y="146"/>
                  </a:lnTo>
                  <a:lnTo>
                    <a:pt x="337" y="146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3" y="144"/>
                  </a:lnTo>
                  <a:lnTo>
                    <a:pt x="333" y="144"/>
                  </a:lnTo>
                  <a:lnTo>
                    <a:pt x="331" y="144"/>
                  </a:lnTo>
                  <a:lnTo>
                    <a:pt x="331" y="144"/>
                  </a:lnTo>
                  <a:lnTo>
                    <a:pt x="333" y="144"/>
                  </a:lnTo>
                  <a:lnTo>
                    <a:pt x="333" y="146"/>
                  </a:lnTo>
                  <a:close/>
                  <a:moveTo>
                    <a:pt x="378" y="140"/>
                  </a:moveTo>
                  <a:lnTo>
                    <a:pt x="378" y="140"/>
                  </a:lnTo>
                  <a:lnTo>
                    <a:pt x="378" y="140"/>
                  </a:lnTo>
                  <a:lnTo>
                    <a:pt x="378" y="138"/>
                  </a:lnTo>
                  <a:lnTo>
                    <a:pt x="376" y="138"/>
                  </a:lnTo>
                  <a:lnTo>
                    <a:pt x="374" y="140"/>
                  </a:lnTo>
                  <a:lnTo>
                    <a:pt x="372" y="140"/>
                  </a:lnTo>
                  <a:lnTo>
                    <a:pt x="370" y="140"/>
                  </a:lnTo>
                  <a:lnTo>
                    <a:pt x="370" y="140"/>
                  </a:lnTo>
                  <a:lnTo>
                    <a:pt x="370" y="142"/>
                  </a:lnTo>
                  <a:lnTo>
                    <a:pt x="370" y="142"/>
                  </a:lnTo>
                  <a:lnTo>
                    <a:pt x="370" y="142"/>
                  </a:lnTo>
                  <a:lnTo>
                    <a:pt x="372" y="142"/>
                  </a:lnTo>
                  <a:lnTo>
                    <a:pt x="372" y="142"/>
                  </a:lnTo>
                  <a:lnTo>
                    <a:pt x="372" y="142"/>
                  </a:lnTo>
                  <a:lnTo>
                    <a:pt x="372" y="144"/>
                  </a:lnTo>
                  <a:lnTo>
                    <a:pt x="374" y="142"/>
                  </a:lnTo>
                  <a:lnTo>
                    <a:pt x="374" y="142"/>
                  </a:lnTo>
                  <a:lnTo>
                    <a:pt x="374" y="142"/>
                  </a:lnTo>
                  <a:lnTo>
                    <a:pt x="378" y="142"/>
                  </a:lnTo>
                  <a:lnTo>
                    <a:pt x="378" y="140"/>
                  </a:lnTo>
                  <a:close/>
                  <a:moveTo>
                    <a:pt x="378" y="140"/>
                  </a:moveTo>
                  <a:lnTo>
                    <a:pt x="380" y="140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0" y="136"/>
                  </a:lnTo>
                  <a:lnTo>
                    <a:pt x="380" y="136"/>
                  </a:lnTo>
                  <a:lnTo>
                    <a:pt x="380" y="136"/>
                  </a:lnTo>
                  <a:lnTo>
                    <a:pt x="378" y="136"/>
                  </a:lnTo>
                  <a:lnTo>
                    <a:pt x="378" y="138"/>
                  </a:lnTo>
                  <a:lnTo>
                    <a:pt x="378" y="138"/>
                  </a:lnTo>
                  <a:lnTo>
                    <a:pt x="378" y="140"/>
                  </a:lnTo>
                  <a:close/>
                  <a:moveTo>
                    <a:pt x="362" y="140"/>
                  </a:moveTo>
                  <a:lnTo>
                    <a:pt x="364" y="140"/>
                  </a:lnTo>
                  <a:lnTo>
                    <a:pt x="364" y="140"/>
                  </a:lnTo>
                  <a:lnTo>
                    <a:pt x="366" y="140"/>
                  </a:lnTo>
                  <a:lnTo>
                    <a:pt x="366" y="140"/>
                  </a:lnTo>
                  <a:lnTo>
                    <a:pt x="366" y="140"/>
                  </a:lnTo>
                  <a:lnTo>
                    <a:pt x="368" y="140"/>
                  </a:lnTo>
                  <a:lnTo>
                    <a:pt x="370" y="140"/>
                  </a:lnTo>
                  <a:lnTo>
                    <a:pt x="370" y="138"/>
                  </a:lnTo>
                  <a:lnTo>
                    <a:pt x="372" y="138"/>
                  </a:lnTo>
                  <a:lnTo>
                    <a:pt x="374" y="136"/>
                  </a:lnTo>
                  <a:lnTo>
                    <a:pt x="374" y="136"/>
                  </a:lnTo>
                  <a:lnTo>
                    <a:pt x="374" y="136"/>
                  </a:lnTo>
                  <a:lnTo>
                    <a:pt x="376" y="136"/>
                  </a:lnTo>
                  <a:lnTo>
                    <a:pt x="374" y="134"/>
                  </a:lnTo>
                  <a:lnTo>
                    <a:pt x="374" y="136"/>
                  </a:lnTo>
                  <a:lnTo>
                    <a:pt x="372" y="136"/>
                  </a:lnTo>
                  <a:lnTo>
                    <a:pt x="370" y="136"/>
                  </a:lnTo>
                  <a:lnTo>
                    <a:pt x="368" y="136"/>
                  </a:lnTo>
                  <a:lnTo>
                    <a:pt x="366" y="138"/>
                  </a:lnTo>
                  <a:lnTo>
                    <a:pt x="364" y="136"/>
                  </a:lnTo>
                  <a:lnTo>
                    <a:pt x="364" y="138"/>
                  </a:lnTo>
                  <a:lnTo>
                    <a:pt x="362" y="138"/>
                  </a:lnTo>
                  <a:lnTo>
                    <a:pt x="362" y="138"/>
                  </a:lnTo>
                  <a:lnTo>
                    <a:pt x="360" y="138"/>
                  </a:lnTo>
                  <a:lnTo>
                    <a:pt x="360" y="138"/>
                  </a:lnTo>
                  <a:lnTo>
                    <a:pt x="362" y="140"/>
                  </a:lnTo>
                  <a:close/>
                  <a:moveTo>
                    <a:pt x="464" y="152"/>
                  </a:moveTo>
                  <a:lnTo>
                    <a:pt x="464" y="150"/>
                  </a:lnTo>
                  <a:lnTo>
                    <a:pt x="462" y="150"/>
                  </a:lnTo>
                  <a:lnTo>
                    <a:pt x="460" y="150"/>
                  </a:lnTo>
                  <a:lnTo>
                    <a:pt x="458" y="150"/>
                  </a:lnTo>
                  <a:lnTo>
                    <a:pt x="458" y="152"/>
                  </a:lnTo>
                  <a:lnTo>
                    <a:pt x="458" y="152"/>
                  </a:lnTo>
                  <a:lnTo>
                    <a:pt x="458" y="150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2"/>
                  </a:lnTo>
                  <a:lnTo>
                    <a:pt x="454" y="152"/>
                  </a:lnTo>
                  <a:lnTo>
                    <a:pt x="454" y="152"/>
                  </a:lnTo>
                  <a:lnTo>
                    <a:pt x="452" y="152"/>
                  </a:lnTo>
                  <a:lnTo>
                    <a:pt x="450" y="152"/>
                  </a:lnTo>
                  <a:lnTo>
                    <a:pt x="450" y="150"/>
                  </a:lnTo>
                  <a:lnTo>
                    <a:pt x="450" y="150"/>
                  </a:lnTo>
                  <a:lnTo>
                    <a:pt x="448" y="150"/>
                  </a:lnTo>
                  <a:lnTo>
                    <a:pt x="448" y="148"/>
                  </a:lnTo>
                  <a:lnTo>
                    <a:pt x="448" y="148"/>
                  </a:lnTo>
                  <a:lnTo>
                    <a:pt x="440" y="146"/>
                  </a:lnTo>
                  <a:lnTo>
                    <a:pt x="438" y="146"/>
                  </a:lnTo>
                  <a:lnTo>
                    <a:pt x="452" y="146"/>
                  </a:lnTo>
                  <a:lnTo>
                    <a:pt x="456" y="146"/>
                  </a:lnTo>
                  <a:lnTo>
                    <a:pt x="458" y="144"/>
                  </a:lnTo>
                  <a:lnTo>
                    <a:pt x="462" y="144"/>
                  </a:lnTo>
                  <a:lnTo>
                    <a:pt x="462" y="142"/>
                  </a:lnTo>
                  <a:lnTo>
                    <a:pt x="462" y="142"/>
                  </a:lnTo>
                  <a:lnTo>
                    <a:pt x="458" y="140"/>
                  </a:lnTo>
                  <a:lnTo>
                    <a:pt x="456" y="140"/>
                  </a:lnTo>
                  <a:lnTo>
                    <a:pt x="454" y="140"/>
                  </a:lnTo>
                  <a:lnTo>
                    <a:pt x="454" y="140"/>
                  </a:lnTo>
                  <a:lnTo>
                    <a:pt x="454" y="138"/>
                  </a:lnTo>
                  <a:lnTo>
                    <a:pt x="452" y="136"/>
                  </a:lnTo>
                  <a:lnTo>
                    <a:pt x="450" y="138"/>
                  </a:lnTo>
                  <a:lnTo>
                    <a:pt x="448" y="138"/>
                  </a:lnTo>
                  <a:lnTo>
                    <a:pt x="448" y="138"/>
                  </a:lnTo>
                  <a:lnTo>
                    <a:pt x="448" y="138"/>
                  </a:lnTo>
                  <a:lnTo>
                    <a:pt x="446" y="136"/>
                  </a:lnTo>
                  <a:lnTo>
                    <a:pt x="444" y="136"/>
                  </a:lnTo>
                  <a:lnTo>
                    <a:pt x="444" y="136"/>
                  </a:lnTo>
                  <a:lnTo>
                    <a:pt x="442" y="136"/>
                  </a:lnTo>
                  <a:lnTo>
                    <a:pt x="440" y="134"/>
                  </a:lnTo>
                  <a:lnTo>
                    <a:pt x="438" y="134"/>
                  </a:lnTo>
                  <a:lnTo>
                    <a:pt x="436" y="134"/>
                  </a:lnTo>
                  <a:lnTo>
                    <a:pt x="436" y="136"/>
                  </a:lnTo>
                  <a:lnTo>
                    <a:pt x="434" y="138"/>
                  </a:lnTo>
                  <a:lnTo>
                    <a:pt x="434" y="140"/>
                  </a:lnTo>
                  <a:lnTo>
                    <a:pt x="432" y="140"/>
                  </a:lnTo>
                  <a:lnTo>
                    <a:pt x="432" y="142"/>
                  </a:lnTo>
                  <a:lnTo>
                    <a:pt x="432" y="144"/>
                  </a:lnTo>
                  <a:lnTo>
                    <a:pt x="432" y="144"/>
                  </a:lnTo>
                  <a:lnTo>
                    <a:pt x="432" y="142"/>
                  </a:lnTo>
                  <a:lnTo>
                    <a:pt x="432" y="140"/>
                  </a:lnTo>
                  <a:lnTo>
                    <a:pt x="432" y="138"/>
                  </a:lnTo>
                  <a:lnTo>
                    <a:pt x="432" y="138"/>
                  </a:lnTo>
                  <a:lnTo>
                    <a:pt x="429" y="136"/>
                  </a:lnTo>
                  <a:lnTo>
                    <a:pt x="427" y="138"/>
                  </a:lnTo>
                  <a:lnTo>
                    <a:pt x="427" y="138"/>
                  </a:lnTo>
                  <a:lnTo>
                    <a:pt x="427" y="136"/>
                  </a:lnTo>
                  <a:lnTo>
                    <a:pt x="432" y="136"/>
                  </a:lnTo>
                  <a:lnTo>
                    <a:pt x="432" y="136"/>
                  </a:lnTo>
                  <a:lnTo>
                    <a:pt x="432" y="134"/>
                  </a:lnTo>
                  <a:lnTo>
                    <a:pt x="432" y="132"/>
                  </a:lnTo>
                  <a:lnTo>
                    <a:pt x="429" y="132"/>
                  </a:lnTo>
                  <a:lnTo>
                    <a:pt x="425" y="132"/>
                  </a:lnTo>
                  <a:lnTo>
                    <a:pt x="423" y="132"/>
                  </a:lnTo>
                  <a:lnTo>
                    <a:pt x="423" y="132"/>
                  </a:lnTo>
                  <a:lnTo>
                    <a:pt x="419" y="132"/>
                  </a:lnTo>
                  <a:lnTo>
                    <a:pt x="419" y="134"/>
                  </a:lnTo>
                  <a:lnTo>
                    <a:pt x="419" y="134"/>
                  </a:lnTo>
                  <a:lnTo>
                    <a:pt x="423" y="136"/>
                  </a:lnTo>
                  <a:lnTo>
                    <a:pt x="423" y="136"/>
                  </a:lnTo>
                  <a:lnTo>
                    <a:pt x="419" y="136"/>
                  </a:lnTo>
                  <a:lnTo>
                    <a:pt x="419" y="136"/>
                  </a:lnTo>
                  <a:lnTo>
                    <a:pt x="419" y="138"/>
                  </a:lnTo>
                  <a:lnTo>
                    <a:pt x="417" y="138"/>
                  </a:lnTo>
                  <a:lnTo>
                    <a:pt x="417" y="140"/>
                  </a:lnTo>
                  <a:lnTo>
                    <a:pt x="413" y="142"/>
                  </a:lnTo>
                  <a:lnTo>
                    <a:pt x="413" y="142"/>
                  </a:lnTo>
                  <a:lnTo>
                    <a:pt x="413" y="140"/>
                  </a:lnTo>
                  <a:lnTo>
                    <a:pt x="413" y="140"/>
                  </a:lnTo>
                  <a:lnTo>
                    <a:pt x="413" y="140"/>
                  </a:lnTo>
                  <a:lnTo>
                    <a:pt x="413" y="138"/>
                  </a:lnTo>
                  <a:lnTo>
                    <a:pt x="411" y="138"/>
                  </a:lnTo>
                  <a:lnTo>
                    <a:pt x="413" y="136"/>
                  </a:lnTo>
                  <a:lnTo>
                    <a:pt x="413" y="134"/>
                  </a:lnTo>
                  <a:lnTo>
                    <a:pt x="413" y="134"/>
                  </a:lnTo>
                  <a:lnTo>
                    <a:pt x="411" y="134"/>
                  </a:lnTo>
                  <a:lnTo>
                    <a:pt x="407" y="136"/>
                  </a:lnTo>
                  <a:lnTo>
                    <a:pt x="405" y="138"/>
                  </a:lnTo>
                  <a:lnTo>
                    <a:pt x="399" y="142"/>
                  </a:lnTo>
                  <a:lnTo>
                    <a:pt x="399" y="144"/>
                  </a:lnTo>
                  <a:lnTo>
                    <a:pt x="397" y="146"/>
                  </a:lnTo>
                  <a:lnTo>
                    <a:pt x="395" y="146"/>
                  </a:lnTo>
                  <a:lnTo>
                    <a:pt x="395" y="146"/>
                  </a:lnTo>
                  <a:lnTo>
                    <a:pt x="395" y="144"/>
                  </a:lnTo>
                  <a:lnTo>
                    <a:pt x="397" y="142"/>
                  </a:lnTo>
                  <a:lnTo>
                    <a:pt x="397" y="140"/>
                  </a:lnTo>
                  <a:lnTo>
                    <a:pt x="397" y="140"/>
                  </a:lnTo>
                  <a:lnTo>
                    <a:pt x="399" y="138"/>
                  </a:lnTo>
                  <a:lnTo>
                    <a:pt x="401" y="136"/>
                  </a:lnTo>
                  <a:lnTo>
                    <a:pt x="403" y="136"/>
                  </a:lnTo>
                  <a:lnTo>
                    <a:pt x="403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399" y="134"/>
                  </a:lnTo>
                  <a:lnTo>
                    <a:pt x="399" y="134"/>
                  </a:lnTo>
                  <a:lnTo>
                    <a:pt x="397" y="134"/>
                  </a:lnTo>
                  <a:lnTo>
                    <a:pt x="397" y="134"/>
                  </a:lnTo>
                  <a:lnTo>
                    <a:pt x="397" y="134"/>
                  </a:lnTo>
                  <a:lnTo>
                    <a:pt x="395" y="134"/>
                  </a:lnTo>
                  <a:lnTo>
                    <a:pt x="392" y="134"/>
                  </a:lnTo>
                  <a:lnTo>
                    <a:pt x="390" y="132"/>
                  </a:lnTo>
                  <a:lnTo>
                    <a:pt x="390" y="132"/>
                  </a:lnTo>
                  <a:lnTo>
                    <a:pt x="388" y="132"/>
                  </a:lnTo>
                  <a:lnTo>
                    <a:pt x="386" y="134"/>
                  </a:lnTo>
                  <a:lnTo>
                    <a:pt x="384" y="136"/>
                  </a:lnTo>
                  <a:lnTo>
                    <a:pt x="384" y="136"/>
                  </a:lnTo>
                  <a:lnTo>
                    <a:pt x="386" y="136"/>
                  </a:lnTo>
                  <a:lnTo>
                    <a:pt x="386" y="136"/>
                  </a:lnTo>
                  <a:lnTo>
                    <a:pt x="386" y="138"/>
                  </a:lnTo>
                  <a:lnTo>
                    <a:pt x="384" y="138"/>
                  </a:lnTo>
                  <a:lnTo>
                    <a:pt x="382" y="140"/>
                  </a:lnTo>
                  <a:lnTo>
                    <a:pt x="380" y="140"/>
                  </a:lnTo>
                  <a:lnTo>
                    <a:pt x="378" y="142"/>
                  </a:lnTo>
                  <a:lnTo>
                    <a:pt x="376" y="144"/>
                  </a:lnTo>
                  <a:lnTo>
                    <a:pt x="374" y="144"/>
                  </a:lnTo>
                  <a:lnTo>
                    <a:pt x="374" y="146"/>
                  </a:lnTo>
                  <a:lnTo>
                    <a:pt x="374" y="146"/>
                  </a:lnTo>
                  <a:lnTo>
                    <a:pt x="376" y="148"/>
                  </a:lnTo>
                  <a:lnTo>
                    <a:pt x="376" y="148"/>
                  </a:lnTo>
                  <a:lnTo>
                    <a:pt x="374" y="148"/>
                  </a:lnTo>
                  <a:lnTo>
                    <a:pt x="374" y="146"/>
                  </a:lnTo>
                  <a:lnTo>
                    <a:pt x="372" y="146"/>
                  </a:lnTo>
                  <a:lnTo>
                    <a:pt x="370" y="144"/>
                  </a:lnTo>
                  <a:lnTo>
                    <a:pt x="370" y="142"/>
                  </a:lnTo>
                  <a:lnTo>
                    <a:pt x="370" y="142"/>
                  </a:lnTo>
                  <a:lnTo>
                    <a:pt x="368" y="142"/>
                  </a:lnTo>
                  <a:lnTo>
                    <a:pt x="364" y="142"/>
                  </a:lnTo>
                  <a:lnTo>
                    <a:pt x="364" y="144"/>
                  </a:lnTo>
                  <a:lnTo>
                    <a:pt x="364" y="144"/>
                  </a:lnTo>
                  <a:lnTo>
                    <a:pt x="362" y="142"/>
                  </a:lnTo>
                  <a:lnTo>
                    <a:pt x="360" y="144"/>
                  </a:lnTo>
                  <a:lnTo>
                    <a:pt x="360" y="144"/>
                  </a:lnTo>
                  <a:lnTo>
                    <a:pt x="358" y="144"/>
                  </a:lnTo>
                  <a:lnTo>
                    <a:pt x="353" y="144"/>
                  </a:lnTo>
                  <a:lnTo>
                    <a:pt x="351" y="144"/>
                  </a:lnTo>
                  <a:lnTo>
                    <a:pt x="351" y="144"/>
                  </a:lnTo>
                  <a:lnTo>
                    <a:pt x="353" y="144"/>
                  </a:lnTo>
                  <a:lnTo>
                    <a:pt x="356" y="146"/>
                  </a:lnTo>
                  <a:lnTo>
                    <a:pt x="358" y="146"/>
                  </a:lnTo>
                  <a:lnTo>
                    <a:pt x="358" y="148"/>
                  </a:lnTo>
                  <a:lnTo>
                    <a:pt x="360" y="150"/>
                  </a:lnTo>
                  <a:lnTo>
                    <a:pt x="360" y="150"/>
                  </a:lnTo>
                  <a:lnTo>
                    <a:pt x="358" y="150"/>
                  </a:lnTo>
                  <a:lnTo>
                    <a:pt x="356" y="148"/>
                  </a:lnTo>
                  <a:lnTo>
                    <a:pt x="353" y="148"/>
                  </a:lnTo>
                  <a:lnTo>
                    <a:pt x="351" y="148"/>
                  </a:lnTo>
                  <a:lnTo>
                    <a:pt x="349" y="150"/>
                  </a:lnTo>
                  <a:lnTo>
                    <a:pt x="349" y="150"/>
                  </a:lnTo>
                  <a:lnTo>
                    <a:pt x="347" y="148"/>
                  </a:lnTo>
                  <a:lnTo>
                    <a:pt x="347" y="148"/>
                  </a:lnTo>
                  <a:lnTo>
                    <a:pt x="343" y="148"/>
                  </a:lnTo>
                  <a:lnTo>
                    <a:pt x="343" y="150"/>
                  </a:lnTo>
                  <a:lnTo>
                    <a:pt x="343" y="152"/>
                  </a:lnTo>
                  <a:lnTo>
                    <a:pt x="343" y="152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3" y="154"/>
                  </a:lnTo>
                  <a:lnTo>
                    <a:pt x="339" y="156"/>
                  </a:lnTo>
                  <a:lnTo>
                    <a:pt x="339" y="158"/>
                  </a:lnTo>
                  <a:lnTo>
                    <a:pt x="337" y="158"/>
                  </a:lnTo>
                  <a:lnTo>
                    <a:pt x="337" y="158"/>
                  </a:lnTo>
                  <a:lnTo>
                    <a:pt x="341" y="154"/>
                  </a:lnTo>
                  <a:lnTo>
                    <a:pt x="341" y="154"/>
                  </a:lnTo>
                  <a:lnTo>
                    <a:pt x="341" y="152"/>
                  </a:lnTo>
                  <a:lnTo>
                    <a:pt x="341" y="150"/>
                  </a:lnTo>
                  <a:lnTo>
                    <a:pt x="341" y="148"/>
                  </a:lnTo>
                  <a:lnTo>
                    <a:pt x="341" y="148"/>
                  </a:lnTo>
                  <a:lnTo>
                    <a:pt x="339" y="148"/>
                  </a:lnTo>
                  <a:lnTo>
                    <a:pt x="339" y="148"/>
                  </a:lnTo>
                  <a:lnTo>
                    <a:pt x="337" y="150"/>
                  </a:lnTo>
                  <a:lnTo>
                    <a:pt x="337" y="150"/>
                  </a:lnTo>
                  <a:lnTo>
                    <a:pt x="335" y="152"/>
                  </a:lnTo>
                  <a:lnTo>
                    <a:pt x="335" y="154"/>
                  </a:lnTo>
                  <a:lnTo>
                    <a:pt x="333" y="156"/>
                  </a:lnTo>
                  <a:lnTo>
                    <a:pt x="333" y="154"/>
                  </a:lnTo>
                  <a:lnTo>
                    <a:pt x="333" y="154"/>
                  </a:lnTo>
                  <a:lnTo>
                    <a:pt x="333" y="150"/>
                  </a:lnTo>
                  <a:lnTo>
                    <a:pt x="333" y="150"/>
                  </a:lnTo>
                  <a:lnTo>
                    <a:pt x="327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5" y="154"/>
                  </a:lnTo>
                  <a:lnTo>
                    <a:pt x="325" y="154"/>
                  </a:lnTo>
                  <a:lnTo>
                    <a:pt x="325" y="154"/>
                  </a:lnTo>
                  <a:lnTo>
                    <a:pt x="323" y="154"/>
                  </a:lnTo>
                  <a:lnTo>
                    <a:pt x="321" y="154"/>
                  </a:lnTo>
                  <a:lnTo>
                    <a:pt x="321" y="154"/>
                  </a:lnTo>
                  <a:lnTo>
                    <a:pt x="321" y="156"/>
                  </a:lnTo>
                  <a:lnTo>
                    <a:pt x="323" y="156"/>
                  </a:lnTo>
                  <a:lnTo>
                    <a:pt x="325" y="158"/>
                  </a:lnTo>
                  <a:lnTo>
                    <a:pt x="325" y="158"/>
                  </a:lnTo>
                  <a:lnTo>
                    <a:pt x="321" y="158"/>
                  </a:lnTo>
                  <a:lnTo>
                    <a:pt x="319" y="156"/>
                  </a:lnTo>
                  <a:lnTo>
                    <a:pt x="319" y="156"/>
                  </a:lnTo>
                  <a:lnTo>
                    <a:pt x="317" y="156"/>
                  </a:lnTo>
                  <a:lnTo>
                    <a:pt x="317" y="156"/>
                  </a:lnTo>
                  <a:lnTo>
                    <a:pt x="317" y="156"/>
                  </a:lnTo>
                  <a:lnTo>
                    <a:pt x="314" y="158"/>
                  </a:lnTo>
                  <a:lnTo>
                    <a:pt x="314" y="158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0" y="160"/>
                  </a:lnTo>
                  <a:lnTo>
                    <a:pt x="308" y="162"/>
                  </a:lnTo>
                  <a:lnTo>
                    <a:pt x="308" y="164"/>
                  </a:lnTo>
                  <a:lnTo>
                    <a:pt x="306" y="166"/>
                  </a:lnTo>
                  <a:lnTo>
                    <a:pt x="304" y="166"/>
                  </a:lnTo>
                  <a:lnTo>
                    <a:pt x="302" y="169"/>
                  </a:lnTo>
                  <a:lnTo>
                    <a:pt x="298" y="169"/>
                  </a:lnTo>
                  <a:lnTo>
                    <a:pt x="298" y="169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306" y="171"/>
                  </a:lnTo>
                  <a:lnTo>
                    <a:pt x="308" y="171"/>
                  </a:lnTo>
                  <a:lnTo>
                    <a:pt x="308" y="171"/>
                  </a:lnTo>
                  <a:lnTo>
                    <a:pt x="308" y="171"/>
                  </a:lnTo>
                  <a:lnTo>
                    <a:pt x="310" y="171"/>
                  </a:lnTo>
                  <a:lnTo>
                    <a:pt x="310" y="173"/>
                  </a:lnTo>
                  <a:lnTo>
                    <a:pt x="308" y="173"/>
                  </a:lnTo>
                  <a:lnTo>
                    <a:pt x="306" y="173"/>
                  </a:lnTo>
                  <a:lnTo>
                    <a:pt x="304" y="173"/>
                  </a:lnTo>
                  <a:lnTo>
                    <a:pt x="302" y="173"/>
                  </a:lnTo>
                  <a:lnTo>
                    <a:pt x="302" y="173"/>
                  </a:lnTo>
                  <a:lnTo>
                    <a:pt x="298" y="173"/>
                  </a:lnTo>
                  <a:lnTo>
                    <a:pt x="296" y="173"/>
                  </a:lnTo>
                  <a:lnTo>
                    <a:pt x="294" y="173"/>
                  </a:lnTo>
                  <a:lnTo>
                    <a:pt x="294" y="175"/>
                  </a:lnTo>
                  <a:lnTo>
                    <a:pt x="294" y="177"/>
                  </a:lnTo>
                  <a:lnTo>
                    <a:pt x="296" y="177"/>
                  </a:lnTo>
                  <a:lnTo>
                    <a:pt x="296" y="177"/>
                  </a:lnTo>
                  <a:lnTo>
                    <a:pt x="296" y="177"/>
                  </a:lnTo>
                  <a:lnTo>
                    <a:pt x="296" y="177"/>
                  </a:lnTo>
                  <a:lnTo>
                    <a:pt x="294" y="179"/>
                  </a:lnTo>
                  <a:lnTo>
                    <a:pt x="296" y="181"/>
                  </a:lnTo>
                  <a:lnTo>
                    <a:pt x="294" y="181"/>
                  </a:lnTo>
                  <a:lnTo>
                    <a:pt x="292" y="179"/>
                  </a:lnTo>
                  <a:lnTo>
                    <a:pt x="292" y="175"/>
                  </a:lnTo>
                  <a:lnTo>
                    <a:pt x="292" y="175"/>
                  </a:lnTo>
                  <a:lnTo>
                    <a:pt x="292" y="175"/>
                  </a:lnTo>
                  <a:lnTo>
                    <a:pt x="290" y="175"/>
                  </a:lnTo>
                  <a:lnTo>
                    <a:pt x="288" y="177"/>
                  </a:lnTo>
                  <a:lnTo>
                    <a:pt x="286" y="177"/>
                  </a:lnTo>
                  <a:lnTo>
                    <a:pt x="284" y="177"/>
                  </a:lnTo>
                  <a:lnTo>
                    <a:pt x="284" y="177"/>
                  </a:lnTo>
                  <a:lnTo>
                    <a:pt x="284" y="179"/>
                  </a:lnTo>
                  <a:lnTo>
                    <a:pt x="286" y="179"/>
                  </a:lnTo>
                  <a:lnTo>
                    <a:pt x="288" y="179"/>
                  </a:lnTo>
                  <a:lnTo>
                    <a:pt x="286" y="179"/>
                  </a:lnTo>
                  <a:lnTo>
                    <a:pt x="284" y="179"/>
                  </a:lnTo>
                  <a:lnTo>
                    <a:pt x="284" y="179"/>
                  </a:lnTo>
                  <a:lnTo>
                    <a:pt x="282" y="179"/>
                  </a:lnTo>
                  <a:lnTo>
                    <a:pt x="280" y="179"/>
                  </a:lnTo>
                  <a:lnTo>
                    <a:pt x="278" y="181"/>
                  </a:lnTo>
                  <a:lnTo>
                    <a:pt x="278" y="183"/>
                  </a:lnTo>
                  <a:lnTo>
                    <a:pt x="278" y="183"/>
                  </a:lnTo>
                  <a:lnTo>
                    <a:pt x="278" y="183"/>
                  </a:lnTo>
                  <a:lnTo>
                    <a:pt x="280" y="183"/>
                  </a:lnTo>
                  <a:lnTo>
                    <a:pt x="284" y="183"/>
                  </a:lnTo>
                  <a:lnTo>
                    <a:pt x="284" y="183"/>
                  </a:lnTo>
                  <a:lnTo>
                    <a:pt x="284" y="183"/>
                  </a:lnTo>
                  <a:lnTo>
                    <a:pt x="282" y="183"/>
                  </a:lnTo>
                  <a:lnTo>
                    <a:pt x="282" y="185"/>
                  </a:lnTo>
                  <a:lnTo>
                    <a:pt x="284" y="185"/>
                  </a:lnTo>
                  <a:lnTo>
                    <a:pt x="286" y="185"/>
                  </a:lnTo>
                  <a:lnTo>
                    <a:pt x="288" y="185"/>
                  </a:lnTo>
                  <a:lnTo>
                    <a:pt x="288" y="185"/>
                  </a:lnTo>
                  <a:lnTo>
                    <a:pt x="286" y="187"/>
                  </a:lnTo>
                  <a:lnTo>
                    <a:pt x="288" y="189"/>
                  </a:lnTo>
                  <a:lnTo>
                    <a:pt x="286" y="189"/>
                  </a:lnTo>
                  <a:lnTo>
                    <a:pt x="286" y="187"/>
                  </a:lnTo>
                  <a:lnTo>
                    <a:pt x="284" y="187"/>
                  </a:lnTo>
                  <a:lnTo>
                    <a:pt x="284" y="187"/>
                  </a:lnTo>
                  <a:lnTo>
                    <a:pt x="282" y="185"/>
                  </a:lnTo>
                  <a:lnTo>
                    <a:pt x="280" y="185"/>
                  </a:lnTo>
                  <a:lnTo>
                    <a:pt x="278" y="187"/>
                  </a:lnTo>
                  <a:lnTo>
                    <a:pt x="275" y="187"/>
                  </a:lnTo>
                  <a:lnTo>
                    <a:pt x="273" y="189"/>
                  </a:lnTo>
                  <a:lnTo>
                    <a:pt x="273" y="189"/>
                  </a:lnTo>
                  <a:lnTo>
                    <a:pt x="273" y="189"/>
                  </a:lnTo>
                  <a:lnTo>
                    <a:pt x="273" y="189"/>
                  </a:lnTo>
                  <a:lnTo>
                    <a:pt x="275" y="189"/>
                  </a:lnTo>
                  <a:lnTo>
                    <a:pt x="278" y="189"/>
                  </a:lnTo>
                  <a:lnTo>
                    <a:pt x="284" y="189"/>
                  </a:lnTo>
                  <a:lnTo>
                    <a:pt x="286" y="191"/>
                  </a:lnTo>
                  <a:lnTo>
                    <a:pt x="286" y="191"/>
                  </a:lnTo>
                  <a:lnTo>
                    <a:pt x="278" y="191"/>
                  </a:lnTo>
                  <a:lnTo>
                    <a:pt x="275" y="191"/>
                  </a:lnTo>
                  <a:lnTo>
                    <a:pt x="273" y="191"/>
                  </a:lnTo>
                  <a:lnTo>
                    <a:pt x="271" y="191"/>
                  </a:lnTo>
                  <a:lnTo>
                    <a:pt x="269" y="193"/>
                  </a:lnTo>
                  <a:lnTo>
                    <a:pt x="269" y="193"/>
                  </a:lnTo>
                  <a:lnTo>
                    <a:pt x="267" y="193"/>
                  </a:lnTo>
                  <a:lnTo>
                    <a:pt x="267" y="195"/>
                  </a:lnTo>
                  <a:lnTo>
                    <a:pt x="265" y="195"/>
                  </a:lnTo>
                  <a:lnTo>
                    <a:pt x="265" y="195"/>
                  </a:lnTo>
                  <a:lnTo>
                    <a:pt x="263" y="195"/>
                  </a:lnTo>
                  <a:lnTo>
                    <a:pt x="265" y="197"/>
                  </a:lnTo>
                  <a:lnTo>
                    <a:pt x="267" y="197"/>
                  </a:lnTo>
                  <a:lnTo>
                    <a:pt x="267" y="197"/>
                  </a:lnTo>
                  <a:lnTo>
                    <a:pt x="265" y="197"/>
                  </a:lnTo>
                  <a:lnTo>
                    <a:pt x="263" y="197"/>
                  </a:lnTo>
                  <a:lnTo>
                    <a:pt x="263" y="197"/>
                  </a:lnTo>
                  <a:lnTo>
                    <a:pt x="261" y="199"/>
                  </a:lnTo>
                  <a:lnTo>
                    <a:pt x="259" y="199"/>
                  </a:lnTo>
                  <a:lnTo>
                    <a:pt x="259" y="199"/>
                  </a:lnTo>
                  <a:lnTo>
                    <a:pt x="259" y="201"/>
                  </a:lnTo>
                  <a:lnTo>
                    <a:pt x="257" y="201"/>
                  </a:lnTo>
                  <a:lnTo>
                    <a:pt x="257" y="203"/>
                  </a:lnTo>
                  <a:lnTo>
                    <a:pt x="257" y="206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5" y="206"/>
                  </a:lnTo>
                  <a:lnTo>
                    <a:pt x="267" y="206"/>
                  </a:lnTo>
                  <a:lnTo>
                    <a:pt x="269" y="206"/>
                  </a:lnTo>
                  <a:lnTo>
                    <a:pt x="267" y="206"/>
                  </a:lnTo>
                  <a:lnTo>
                    <a:pt x="265" y="206"/>
                  </a:lnTo>
                  <a:lnTo>
                    <a:pt x="265" y="208"/>
                  </a:lnTo>
                  <a:lnTo>
                    <a:pt x="261" y="208"/>
                  </a:lnTo>
                  <a:lnTo>
                    <a:pt x="253" y="208"/>
                  </a:lnTo>
                  <a:lnTo>
                    <a:pt x="253" y="210"/>
                  </a:lnTo>
                  <a:lnTo>
                    <a:pt x="255" y="210"/>
                  </a:lnTo>
                  <a:lnTo>
                    <a:pt x="257" y="212"/>
                  </a:lnTo>
                  <a:lnTo>
                    <a:pt x="255" y="212"/>
                  </a:lnTo>
                  <a:lnTo>
                    <a:pt x="253" y="212"/>
                  </a:lnTo>
                  <a:lnTo>
                    <a:pt x="253" y="212"/>
                  </a:lnTo>
                  <a:lnTo>
                    <a:pt x="251" y="214"/>
                  </a:lnTo>
                  <a:lnTo>
                    <a:pt x="249" y="216"/>
                  </a:lnTo>
                  <a:lnTo>
                    <a:pt x="247" y="218"/>
                  </a:lnTo>
                  <a:lnTo>
                    <a:pt x="247" y="218"/>
                  </a:lnTo>
                  <a:lnTo>
                    <a:pt x="245" y="220"/>
                  </a:lnTo>
                  <a:lnTo>
                    <a:pt x="245" y="222"/>
                  </a:lnTo>
                  <a:lnTo>
                    <a:pt x="247" y="222"/>
                  </a:lnTo>
                  <a:lnTo>
                    <a:pt x="247" y="222"/>
                  </a:lnTo>
                  <a:lnTo>
                    <a:pt x="249" y="222"/>
                  </a:lnTo>
                  <a:lnTo>
                    <a:pt x="249" y="222"/>
                  </a:lnTo>
                  <a:lnTo>
                    <a:pt x="249" y="224"/>
                  </a:lnTo>
                  <a:lnTo>
                    <a:pt x="251" y="222"/>
                  </a:lnTo>
                  <a:lnTo>
                    <a:pt x="253" y="222"/>
                  </a:lnTo>
                  <a:lnTo>
                    <a:pt x="255" y="222"/>
                  </a:lnTo>
                  <a:lnTo>
                    <a:pt x="255" y="220"/>
                  </a:lnTo>
                  <a:lnTo>
                    <a:pt x="253" y="222"/>
                  </a:lnTo>
                  <a:lnTo>
                    <a:pt x="251" y="224"/>
                  </a:lnTo>
                  <a:lnTo>
                    <a:pt x="249" y="224"/>
                  </a:lnTo>
                  <a:lnTo>
                    <a:pt x="247" y="224"/>
                  </a:lnTo>
                  <a:lnTo>
                    <a:pt x="247" y="224"/>
                  </a:lnTo>
                  <a:lnTo>
                    <a:pt x="239" y="226"/>
                  </a:lnTo>
                  <a:lnTo>
                    <a:pt x="236" y="228"/>
                  </a:lnTo>
                  <a:lnTo>
                    <a:pt x="236" y="228"/>
                  </a:lnTo>
                  <a:lnTo>
                    <a:pt x="236" y="230"/>
                  </a:lnTo>
                  <a:lnTo>
                    <a:pt x="236" y="230"/>
                  </a:lnTo>
                  <a:lnTo>
                    <a:pt x="239" y="228"/>
                  </a:lnTo>
                  <a:lnTo>
                    <a:pt x="241" y="228"/>
                  </a:lnTo>
                  <a:lnTo>
                    <a:pt x="239" y="230"/>
                  </a:lnTo>
                  <a:lnTo>
                    <a:pt x="236" y="230"/>
                  </a:lnTo>
                  <a:lnTo>
                    <a:pt x="234" y="232"/>
                  </a:lnTo>
                  <a:lnTo>
                    <a:pt x="232" y="232"/>
                  </a:lnTo>
                  <a:lnTo>
                    <a:pt x="230" y="232"/>
                  </a:lnTo>
                  <a:lnTo>
                    <a:pt x="230" y="234"/>
                  </a:lnTo>
                  <a:lnTo>
                    <a:pt x="226" y="236"/>
                  </a:lnTo>
                  <a:lnTo>
                    <a:pt x="222" y="238"/>
                  </a:lnTo>
                  <a:lnTo>
                    <a:pt x="220" y="241"/>
                  </a:lnTo>
                  <a:lnTo>
                    <a:pt x="218" y="243"/>
                  </a:lnTo>
                  <a:lnTo>
                    <a:pt x="218" y="245"/>
                  </a:lnTo>
                  <a:lnTo>
                    <a:pt x="216" y="245"/>
                  </a:lnTo>
                  <a:lnTo>
                    <a:pt x="214" y="247"/>
                  </a:lnTo>
                  <a:lnTo>
                    <a:pt x="214" y="247"/>
                  </a:lnTo>
                  <a:lnTo>
                    <a:pt x="214" y="247"/>
                  </a:lnTo>
                  <a:lnTo>
                    <a:pt x="216" y="247"/>
                  </a:lnTo>
                  <a:lnTo>
                    <a:pt x="216" y="247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51"/>
                  </a:lnTo>
                  <a:lnTo>
                    <a:pt x="220" y="251"/>
                  </a:lnTo>
                  <a:lnTo>
                    <a:pt x="224" y="249"/>
                  </a:lnTo>
                  <a:lnTo>
                    <a:pt x="230" y="247"/>
                  </a:lnTo>
                  <a:lnTo>
                    <a:pt x="232" y="245"/>
                  </a:lnTo>
                  <a:lnTo>
                    <a:pt x="232" y="245"/>
                  </a:lnTo>
                  <a:lnTo>
                    <a:pt x="230" y="245"/>
                  </a:lnTo>
                  <a:lnTo>
                    <a:pt x="232" y="243"/>
                  </a:lnTo>
                  <a:lnTo>
                    <a:pt x="234" y="243"/>
                  </a:lnTo>
                  <a:lnTo>
                    <a:pt x="236" y="241"/>
                  </a:lnTo>
                  <a:lnTo>
                    <a:pt x="236" y="243"/>
                  </a:lnTo>
                  <a:lnTo>
                    <a:pt x="236" y="243"/>
                  </a:lnTo>
                  <a:lnTo>
                    <a:pt x="236" y="243"/>
                  </a:lnTo>
                  <a:lnTo>
                    <a:pt x="234" y="245"/>
                  </a:lnTo>
                  <a:lnTo>
                    <a:pt x="234" y="245"/>
                  </a:lnTo>
                  <a:lnTo>
                    <a:pt x="236" y="245"/>
                  </a:lnTo>
                  <a:lnTo>
                    <a:pt x="236" y="245"/>
                  </a:lnTo>
                  <a:lnTo>
                    <a:pt x="236" y="245"/>
                  </a:lnTo>
                  <a:lnTo>
                    <a:pt x="234" y="247"/>
                  </a:lnTo>
                  <a:lnTo>
                    <a:pt x="232" y="247"/>
                  </a:lnTo>
                  <a:lnTo>
                    <a:pt x="230" y="247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28" y="251"/>
                  </a:lnTo>
                  <a:lnTo>
                    <a:pt x="228" y="251"/>
                  </a:lnTo>
                  <a:lnTo>
                    <a:pt x="228" y="251"/>
                  </a:lnTo>
                  <a:lnTo>
                    <a:pt x="226" y="251"/>
                  </a:lnTo>
                  <a:lnTo>
                    <a:pt x="224" y="251"/>
                  </a:lnTo>
                  <a:lnTo>
                    <a:pt x="222" y="251"/>
                  </a:lnTo>
                  <a:lnTo>
                    <a:pt x="220" y="251"/>
                  </a:lnTo>
                  <a:lnTo>
                    <a:pt x="220" y="253"/>
                  </a:lnTo>
                  <a:lnTo>
                    <a:pt x="218" y="253"/>
                  </a:lnTo>
                  <a:lnTo>
                    <a:pt x="218" y="251"/>
                  </a:lnTo>
                  <a:lnTo>
                    <a:pt x="218" y="251"/>
                  </a:lnTo>
                  <a:lnTo>
                    <a:pt x="218" y="251"/>
                  </a:lnTo>
                  <a:lnTo>
                    <a:pt x="216" y="249"/>
                  </a:lnTo>
                  <a:lnTo>
                    <a:pt x="214" y="249"/>
                  </a:lnTo>
                  <a:lnTo>
                    <a:pt x="214" y="249"/>
                  </a:lnTo>
                  <a:lnTo>
                    <a:pt x="212" y="249"/>
                  </a:lnTo>
                  <a:lnTo>
                    <a:pt x="208" y="251"/>
                  </a:lnTo>
                  <a:lnTo>
                    <a:pt x="208" y="251"/>
                  </a:lnTo>
                  <a:lnTo>
                    <a:pt x="208" y="251"/>
                  </a:lnTo>
                  <a:lnTo>
                    <a:pt x="210" y="249"/>
                  </a:lnTo>
                  <a:lnTo>
                    <a:pt x="208" y="249"/>
                  </a:lnTo>
                  <a:lnTo>
                    <a:pt x="206" y="249"/>
                  </a:lnTo>
                  <a:lnTo>
                    <a:pt x="204" y="249"/>
                  </a:lnTo>
                  <a:lnTo>
                    <a:pt x="202" y="249"/>
                  </a:lnTo>
                  <a:lnTo>
                    <a:pt x="199" y="251"/>
                  </a:lnTo>
                  <a:lnTo>
                    <a:pt x="199" y="251"/>
                  </a:lnTo>
                  <a:lnTo>
                    <a:pt x="199" y="251"/>
                  </a:lnTo>
                  <a:lnTo>
                    <a:pt x="199" y="251"/>
                  </a:lnTo>
                  <a:lnTo>
                    <a:pt x="202" y="251"/>
                  </a:lnTo>
                  <a:lnTo>
                    <a:pt x="202" y="253"/>
                  </a:lnTo>
                  <a:lnTo>
                    <a:pt x="202" y="253"/>
                  </a:lnTo>
                  <a:lnTo>
                    <a:pt x="202" y="253"/>
                  </a:lnTo>
                  <a:lnTo>
                    <a:pt x="197" y="255"/>
                  </a:lnTo>
                  <a:lnTo>
                    <a:pt x="197" y="255"/>
                  </a:lnTo>
                  <a:lnTo>
                    <a:pt x="195" y="257"/>
                  </a:lnTo>
                  <a:lnTo>
                    <a:pt x="197" y="257"/>
                  </a:lnTo>
                  <a:lnTo>
                    <a:pt x="197" y="259"/>
                  </a:lnTo>
                  <a:lnTo>
                    <a:pt x="202" y="261"/>
                  </a:lnTo>
                  <a:lnTo>
                    <a:pt x="202" y="261"/>
                  </a:lnTo>
                  <a:lnTo>
                    <a:pt x="197" y="259"/>
                  </a:lnTo>
                  <a:lnTo>
                    <a:pt x="197" y="259"/>
                  </a:lnTo>
                  <a:lnTo>
                    <a:pt x="195" y="257"/>
                  </a:lnTo>
                  <a:lnTo>
                    <a:pt x="193" y="257"/>
                  </a:lnTo>
                  <a:lnTo>
                    <a:pt x="191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7" y="259"/>
                  </a:lnTo>
                  <a:lnTo>
                    <a:pt x="181" y="259"/>
                  </a:lnTo>
                  <a:lnTo>
                    <a:pt x="181" y="259"/>
                  </a:lnTo>
                  <a:lnTo>
                    <a:pt x="181" y="261"/>
                  </a:lnTo>
                  <a:lnTo>
                    <a:pt x="179" y="263"/>
                  </a:lnTo>
                  <a:lnTo>
                    <a:pt x="179" y="263"/>
                  </a:lnTo>
                  <a:lnTo>
                    <a:pt x="179" y="263"/>
                  </a:lnTo>
                  <a:lnTo>
                    <a:pt x="181" y="263"/>
                  </a:lnTo>
                  <a:lnTo>
                    <a:pt x="183" y="263"/>
                  </a:lnTo>
                  <a:lnTo>
                    <a:pt x="185" y="263"/>
                  </a:lnTo>
                  <a:lnTo>
                    <a:pt x="187" y="263"/>
                  </a:lnTo>
                  <a:lnTo>
                    <a:pt x="195" y="263"/>
                  </a:lnTo>
                  <a:lnTo>
                    <a:pt x="195" y="263"/>
                  </a:lnTo>
                  <a:lnTo>
                    <a:pt x="191" y="263"/>
                  </a:lnTo>
                  <a:lnTo>
                    <a:pt x="187" y="263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9" y="265"/>
                  </a:lnTo>
                  <a:lnTo>
                    <a:pt x="189" y="265"/>
                  </a:lnTo>
                  <a:lnTo>
                    <a:pt x="189" y="265"/>
                  </a:lnTo>
                  <a:lnTo>
                    <a:pt x="187" y="267"/>
                  </a:lnTo>
                  <a:lnTo>
                    <a:pt x="185" y="265"/>
                  </a:lnTo>
                  <a:lnTo>
                    <a:pt x="181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3" y="265"/>
                  </a:lnTo>
                  <a:lnTo>
                    <a:pt x="173" y="265"/>
                  </a:lnTo>
                  <a:lnTo>
                    <a:pt x="171" y="267"/>
                  </a:lnTo>
                  <a:lnTo>
                    <a:pt x="171" y="267"/>
                  </a:lnTo>
                  <a:lnTo>
                    <a:pt x="171" y="267"/>
                  </a:lnTo>
                  <a:lnTo>
                    <a:pt x="171" y="269"/>
                  </a:lnTo>
                  <a:lnTo>
                    <a:pt x="173" y="269"/>
                  </a:lnTo>
                  <a:lnTo>
                    <a:pt x="175" y="267"/>
                  </a:lnTo>
                  <a:lnTo>
                    <a:pt x="177" y="267"/>
                  </a:lnTo>
                  <a:lnTo>
                    <a:pt x="177" y="267"/>
                  </a:lnTo>
                  <a:lnTo>
                    <a:pt x="177" y="269"/>
                  </a:lnTo>
                  <a:lnTo>
                    <a:pt x="171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7" y="269"/>
                  </a:lnTo>
                  <a:lnTo>
                    <a:pt x="167" y="269"/>
                  </a:lnTo>
                  <a:lnTo>
                    <a:pt x="165" y="269"/>
                  </a:lnTo>
                  <a:lnTo>
                    <a:pt x="163" y="269"/>
                  </a:lnTo>
                  <a:lnTo>
                    <a:pt x="163" y="271"/>
                  </a:lnTo>
                  <a:lnTo>
                    <a:pt x="160" y="271"/>
                  </a:lnTo>
                  <a:lnTo>
                    <a:pt x="160" y="273"/>
                  </a:lnTo>
                  <a:lnTo>
                    <a:pt x="160" y="273"/>
                  </a:lnTo>
                  <a:lnTo>
                    <a:pt x="158" y="271"/>
                  </a:lnTo>
                  <a:lnTo>
                    <a:pt x="158" y="273"/>
                  </a:lnTo>
                  <a:lnTo>
                    <a:pt x="156" y="275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63" y="275"/>
                  </a:lnTo>
                  <a:lnTo>
                    <a:pt x="165" y="275"/>
                  </a:lnTo>
                  <a:lnTo>
                    <a:pt x="171" y="278"/>
                  </a:lnTo>
                  <a:lnTo>
                    <a:pt x="173" y="278"/>
                  </a:lnTo>
                  <a:lnTo>
                    <a:pt x="177" y="278"/>
                  </a:lnTo>
                  <a:lnTo>
                    <a:pt x="177" y="278"/>
                  </a:lnTo>
                  <a:lnTo>
                    <a:pt x="175" y="278"/>
                  </a:lnTo>
                  <a:lnTo>
                    <a:pt x="169" y="280"/>
                  </a:lnTo>
                  <a:lnTo>
                    <a:pt x="165" y="278"/>
                  </a:lnTo>
                  <a:lnTo>
                    <a:pt x="160" y="278"/>
                  </a:lnTo>
                  <a:lnTo>
                    <a:pt x="156" y="278"/>
                  </a:lnTo>
                  <a:lnTo>
                    <a:pt x="156" y="278"/>
                  </a:lnTo>
                  <a:lnTo>
                    <a:pt x="154" y="278"/>
                  </a:lnTo>
                  <a:lnTo>
                    <a:pt x="154" y="278"/>
                  </a:lnTo>
                  <a:lnTo>
                    <a:pt x="154" y="280"/>
                  </a:lnTo>
                  <a:lnTo>
                    <a:pt x="154" y="282"/>
                  </a:lnTo>
                  <a:lnTo>
                    <a:pt x="156" y="282"/>
                  </a:lnTo>
                  <a:lnTo>
                    <a:pt x="158" y="284"/>
                  </a:lnTo>
                  <a:lnTo>
                    <a:pt x="158" y="284"/>
                  </a:lnTo>
                  <a:lnTo>
                    <a:pt x="160" y="284"/>
                  </a:lnTo>
                  <a:lnTo>
                    <a:pt x="158" y="284"/>
                  </a:lnTo>
                  <a:lnTo>
                    <a:pt x="158" y="284"/>
                  </a:lnTo>
                  <a:lnTo>
                    <a:pt x="154" y="284"/>
                  </a:lnTo>
                  <a:lnTo>
                    <a:pt x="154" y="286"/>
                  </a:lnTo>
                  <a:lnTo>
                    <a:pt x="156" y="288"/>
                  </a:lnTo>
                  <a:lnTo>
                    <a:pt x="156" y="288"/>
                  </a:lnTo>
                  <a:lnTo>
                    <a:pt x="158" y="290"/>
                  </a:lnTo>
                  <a:lnTo>
                    <a:pt x="160" y="290"/>
                  </a:lnTo>
                  <a:lnTo>
                    <a:pt x="163" y="290"/>
                  </a:lnTo>
                  <a:lnTo>
                    <a:pt x="169" y="290"/>
                  </a:lnTo>
                  <a:lnTo>
                    <a:pt x="173" y="290"/>
                  </a:lnTo>
                  <a:lnTo>
                    <a:pt x="175" y="290"/>
                  </a:lnTo>
                  <a:lnTo>
                    <a:pt x="175" y="288"/>
                  </a:lnTo>
                  <a:lnTo>
                    <a:pt x="175" y="288"/>
                  </a:lnTo>
                  <a:lnTo>
                    <a:pt x="175" y="288"/>
                  </a:lnTo>
                  <a:lnTo>
                    <a:pt x="175" y="288"/>
                  </a:lnTo>
                  <a:lnTo>
                    <a:pt x="177" y="288"/>
                  </a:lnTo>
                  <a:lnTo>
                    <a:pt x="179" y="288"/>
                  </a:lnTo>
                  <a:lnTo>
                    <a:pt x="179" y="290"/>
                  </a:lnTo>
                  <a:lnTo>
                    <a:pt x="183" y="290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6"/>
                  </a:lnTo>
                  <a:lnTo>
                    <a:pt x="187" y="284"/>
                  </a:lnTo>
                  <a:lnTo>
                    <a:pt x="187" y="286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9" y="288"/>
                  </a:lnTo>
                  <a:lnTo>
                    <a:pt x="187" y="290"/>
                  </a:lnTo>
                  <a:lnTo>
                    <a:pt x="181" y="290"/>
                  </a:lnTo>
                  <a:lnTo>
                    <a:pt x="181" y="292"/>
                  </a:lnTo>
                  <a:lnTo>
                    <a:pt x="181" y="292"/>
                  </a:lnTo>
                  <a:lnTo>
                    <a:pt x="181" y="292"/>
                  </a:lnTo>
                  <a:lnTo>
                    <a:pt x="181" y="292"/>
                  </a:lnTo>
                  <a:lnTo>
                    <a:pt x="181" y="290"/>
                  </a:lnTo>
                  <a:lnTo>
                    <a:pt x="179" y="290"/>
                  </a:lnTo>
                  <a:lnTo>
                    <a:pt x="177" y="290"/>
                  </a:lnTo>
                  <a:lnTo>
                    <a:pt x="175" y="290"/>
                  </a:lnTo>
                  <a:lnTo>
                    <a:pt x="173" y="290"/>
                  </a:lnTo>
                  <a:lnTo>
                    <a:pt x="171" y="290"/>
                  </a:lnTo>
                  <a:lnTo>
                    <a:pt x="167" y="290"/>
                  </a:lnTo>
                  <a:lnTo>
                    <a:pt x="160" y="290"/>
                  </a:lnTo>
                  <a:lnTo>
                    <a:pt x="158" y="292"/>
                  </a:lnTo>
                  <a:lnTo>
                    <a:pt x="156" y="292"/>
                  </a:lnTo>
                  <a:lnTo>
                    <a:pt x="156" y="290"/>
                  </a:lnTo>
                  <a:lnTo>
                    <a:pt x="154" y="292"/>
                  </a:lnTo>
                  <a:lnTo>
                    <a:pt x="154" y="292"/>
                  </a:lnTo>
                  <a:lnTo>
                    <a:pt x="154" y="294"/>
                  </a:lnTo>
                  <a:lnTo>
                    <a:pt x="154" y="296"/>
                  </a:lnTo>
                  <a:lnTo>
                    <a:pt x="156" y="298"/>
                  </a:lnTo>
                  <a:lnTo>
                    <a:pt x="158" y="298"/>
                  </a:lnTo>
                  <a:lnTo>
                    <a:pt x="160" y="298"/>
                  </a:lnTo>
                  <a:lnTo>
                    <a:pt x="163" y="296"/>
                  </a:lnTo>
                  <a:lnTo>
                    <a:pt x="163" y="296"/>
                  </a:lnTo>
                  <a:lnTo>
                    <a:pt x="163" y="298"/>
                  </a:lnTo>
                  <a:lnTo>
                    <a:pt x="156" y="300"/>
                  </a:lnTo>
                  <a:lnTo>
                    <a:pt x="156" y="300"/>
                  </a:lnTo>
                  <a:lnTo>
                    <a:pt x="156" y="304"/>
                  </a:lnTo>
                  <a:lnTo>
                    <a:pt x="158" y="304"/>
                  </a:lnTo>
                  <a:lnTo>
                    <a:pt x="160" y="306"/>
                  </a:lnTo>
                  <a:lnTo>
                    <a:pt x="163" y="306"/>
                  </a:lnTo>
                  <a:lnTo>
                    <a:pt x="163" y="306"/>
                  </a:lnTo>
                  <a:lnTo>
                    <a:pt x="163" y="306"/>
                  </a:lnTo>
                  <a:lnTo>
                    <a:pt x="160" y="308"/>
                  </a:lnTo>
                  <a:lnTo>
                    <a:pt x="158" y="308"/>
                  </a:lnTo>
                  <a:lnTo>
                    <a:pt x="158" y="306"/>
                  </a:lnTo>
                  <a:lnTo>
                    <a:pt x="156" y="306"/>
                  </a:lnTo>
                  <a:lnTo>
                    <a:pt x="156" y="308"/>
                  </a:lnTo>
                  <a:lnTo>
                    <a:pt x="156" y="308"/>
                  </a:lnTo>
                  <a:lnTo>
                    <a:pt x="156" y="310"/>
                  </a:lnTo>
                  <a:lnTo>
                    <a:pt x="156" y="310"/>
                  </a:lnTo>
                  <a:lnTo>
                    <a:pt x="154" y="312"/>
                  </a:lnTo>
                  <a:lnTo>
                    <a:pt x="154" y="315"/>
                  </a:lnTo>
                  <a:lnTo>
                    <a:pt x="156" y="315"/>
                  </a:lnTo>
                  <a:lnTo>
                    <a:pt x="156" y="315"/>
                  </a:lnTo>
                  <a:lnTo>
                    <a:pt x="156" y="315"/>
                  </a:lnTo>
                  <a:lnTo>
                    <a:pt x="156" y="312"/>
                  </a:lnTo>
                  <a:lnTo>
                    <a:pt x="158" y="312"/>
                  </a:lnTo>
                  <a:lnTo>
                    <a:pt x="160" y="312"/>
                  </a:lnTo>
                  <a:lnTo>
                    <a:pt x="160" y="310"/>
                  </a:lnTo>
                  <a:lnTo>
                    <a:pt x="163" y="308"/>
                  </a:lnTo>
                  <a:lnTo>
                    <a:pt x="165" y="308"/>
                  </a:lnTo>
                  <a:lnTo>
                    <a:pt x="165" y="308"/>
                  </a:lnTo>
                  <a:lnTo>
                    <a:pt x="167" y="306"/>
                  </a:lnTo>
                  <a:lnTo>
                    <a:pt x="167" y="304"/>
                  </a:lnTo>
                  <a:lnTo>
                    <a:pt x="169" y="304"/>
                  </a:lnTo>
                  <a:lnTo>
                    <a:pt x="169" y="302"/>
                  </a:lnTo>
                  <a:lnTo>
                    <a:pt x="173" y="302"/>
                  </a:lnTo>
                  <a:lnTo>
                    <a:pt x="177" y="300"/>
                  </a:lnTo>
                  <a:lnTo>
                    <a:pt x="181" y="300"/>
                  </a:lnTo>
                  <a:lnTo>
                    <a:pt x="179" y="300"/>
                  </a:lnTo>
                  <a:lnTo>
                    <a:pt x="177" y="300"/>
                  </a:lnTo>
                  <a:lnTo>
                    <a:pt x="177" y="302"/>
                  </a:lnTo>
                  <a:lnTo>
                    <a:pt x="175" y="302"/>
                  </a:lnTo>
                  <a:lnTo>
                    <a:pt x="175" y="306"/>
                  </a:lnTo>
                  <a:lnTo>
                    <a:pt x="175" y="304"/>
                  </a:lnTo>
                  <a:lnTo>
                    <a:pt x="175" y="302"/>
                  </a:lnTo>
                  <a:lnTo>
                    <a:pt x="175" y="302"/>
                  </a:lnTo>
                  <a:lnTo>
                    <a:pt x="173" y="302"/>
                  </a:lnTo>
                  <a:lnTo>
                    <a:pt x="169" y="304"/>
                  </a:lnTo>
                  <a:lnTo>
                    <a:pt x="169" y="306"/>
                  </a:lnTo>
                  <a:lnTo>
                    <a:pt x="169" y="306"/>
                  </a:lnTo>
                  <a:lnTo>
                    <a:pt x="169" y="306"/>
                  </a:lnTo>
                  <a:lnTo>
                    <a:pt x="167" y="308"/>
                  </a:lnTo>
                  <a:lnTo>
                    <a:pt x="165" y="310"/>
                  </a:lnTo>
                  <a:lnTo>
                    <a:pt x="163" y="310"/>
                  </a:lnTo>
                  <a:lnTo>
                    <a:pt x="165" y="312"/>
                  </a:lnTo>
                  <a:lnTo>
                    <a:pt x="165" y="312"/>
                  </a:lnTo>
                  <a:lnTo>
                    <a:pt x="167" y="312"/>
                  </a:lnTo>
                  <a:lnTo>
                    <a:pt x="169" y="312"/>
                  </a:lnTo>
                  <a:lnTo>
                    <a:pt x="171" y="310"/>
                  </a:lnTo>
                  <a:lnTo>
                    <a:pt x="171" y="312"/>
                  </a:lnTo>
                  <a:lnTo>
                    <a:pt x="167" y="312"/>
                  </a:lnTo>
                  <a:lnTo>
                    <a:pt x="165" y="312"/>
                  </a:lnTo>
                  <a:lnTo>
                    <a:pt x="165" y="315"/>
                  </a:lnTo>
                  <a:lnTo>
                    <a:pt x="160" y="315"/>
                  </a:lnTo>
                  <a:lnTo>
                    <a:pt x="160" y="312"/>
                  </a:lnTo>
                  <a:lnTo>
                    <a:pt x="160" y="312"/>
                  </a:lnTo>
                  <a:lnTo>
                    <a:pt x="158" y="315"/>
                  </a:lnTo>
                  <a:lnTo>
                    <a:pt x="158" y="315"/>
                  </a:lnTo>
                  <a:lnTo>
                    <a:pt x="156" y="317"/>
                  </a:lnTo>
                  <a:lnTo>
                    <a:pt x="156" y="319"/>
                  </a:lnTo>
                  <a:lnTo>
                    <a:pt x="154" y="321"/>
                  </a:lnTo>
                  <a:lnTo>
                    <a:pt x="156" y="323"/>
                  </a:lnTo>
                  <a:lnTo>
                    <a:pt x="158" y="323"/>
                  </a:lnTo>
                  <a:lnTo>
                    <a:pt x="160" y="323"/>
                  </a:lnTo>
                  <a:lnTo>
                    <a:pt x="160" y="321"/>
                  </a:lnTo>
                  <a:lnTo>
                    <a:pt x="163" y="321"/>
                  </a:lnTo>
                  <a:lnTo>
                    <a:pt x="163" y="321"/>
                  </a:lnTo>
                  <a:lnTo>
                    <a:pt x="165" y="319"/>
                  </a:lnTo>
                  <a:lnTo>
                    <a:pt x="167" y="319"/>
                  </a:lnTo>
                  <a:lnTo>
                    <a:pt x="169" y="317"/>
                  </a:lnTo>
                  <a:lnTo>
                    <a:pt x="171" y="317"/>
                  </a:lnTo>
                  <a:lnTo>
                    <a:pt x="173" y="317"/>
                  </a:lnTo>
                  <a:lnTo>
                    <a:pt x="173" y="317"/>
                  </a:lnTo>
                  <a:lnTo>
                    <a:pt x="171" y="317"/>
                  </a:lnTo>
                  <a:lnTo>
                    <a:pt x="169" y="319"/>
                  </a:lnTo>
                  <a:lnTo>
                    <a:pt x="167" y="319"/>
                  </a:lnTo>
                  <a:lnTo>
                    <a:pt x="167" y="321"/>
                  </a:lnTo>
                  <a:lnTo>
                    <a:pt x="167" y="321"/>
                  </a:lnTo>
                  <a:lnTo>
                    <a:pt x="167" y="323"/>
                  </a:lnTo>
                  <a:lnTo>
                    <a:pt x="167" y="323"/>
                  </a:lnTo>
                  <a:lnTo>
                    <a:pt x="165" y="323"/>
                  </a:lnTo>
                  <a:lnTo>
                    <a:pt x="165" y="325"/>
                  </a:lnTo>
                  <a:lnTo>
                    <a:pt x="167" y="325"/>
                  </a:lnTo>
                  <a:lnTo>
                    <a:pt x="169" y="327"/>
                  </a:lnTo>
                  <a:lnTo>
                    <a:pt x="171" y="325"/>
                  </a:lnTo>
                  <a:lnTo>
                    <a:pt x="171" y="325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5" y="327"/>
                  </a:lnTo>
                  <a:lnTo>
                    <a:pt x="160" y="325"/>
                  </a:lnTo>
                  <a:lnTo>
                    <a:pt x="160" y="327"/>
                  </a:lnTo>
                  <a:lnTo>
                    <a:pt x="160" y="329"/>
                  </a:lnTo>
                  <a:lnTo>
                    <a:pt x="160" y="331"/>
                  </a:lnTo>
                  <a:lnTo>
                    <a:pt x="160" y="331"/>
                  </a:lnTo>
                  <a:lnTo>
                    <a:pt x="163" y="333"/>
                  </a:lnTo>
                  <a:lnTo>
                    <a:pt x="167" y="335"/>
                  </a:lnTo>
                  <a:lnTo>
                    <a:pt x="167" y="335"/>
                  </a:lnTo>
                  <a:lnTo>
                    <a:pt x="171" y="337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5" y="337"/>
                  </a:lnTo>
                  <a:lnTo>
                    <a:pt x="175" y="339"/>
                  </a:lnTo>
                  <a:lnTo>
                    <a:pt x="175" y="339"/>
                  </a:lnTo>
                  <a:lnTo>
                    <a:pt x="175" y="339"/>
                  </a:lnTo>
                  <a:lnTo>
                    <a:pt x="173" y="341"/>
                  </a:lnTo>
                  <a:lnTo>
                    <a:pt x="173" y="341"/>
                  </a:lnTo>
                  <a:lnTo>
                    <a:pt x="175" y="341"/>
                  </a:lnTo>
                  <a:lnTo>
                    <a:pt x="177" y="341"/>
                  </a:lnTo>
                  <a:lnTo>
                    <a:pt x="177" y="339"/>
                  </a:lnTo>
                  <a:lnTo>
                    <a:pt x="177" y="339"/>
                  </a:lnTo>
                  <a:lnTo>
                    <a:pt x="177" y="339"/>
                  </a:lnTo>
                  <a:lnTo>
                    <a:pt x="179" y="339"/>
                  </a:lnTo>
                  <a:lnTo>
                    <a:pt x="177" y="341"/>
                  </a:lnTo>
                  <a:lnTo>
                    <a:pt x="177" y="341"/>
                  </a:lnTo>
                  <a:lnTo>
                    <a:pt x="177" y="341"/>
                  </a:lnTo>
                  <a:lnTo>
                    <a:pt x="179" y="341"/>
                  </a:lnTo>
                  <a:lnTo>
                    <a:pt x="181" y="341"/>
                  </a:lnTo>
                  <a:lnTo>
                    <a:pt x="185" y="341"/>
                  </a:lnTo>
                  <a:lnTo>
                    <a:pt x="191" y="341"/>
                  </a:lnTo>
                  <a:lnTo>
                    <a:pt x="193" y="339"/>
                  </a:lnTo>
                  <a:lnTo>
                    <a:pt x="195" y="339"/>
                  </a:lnTo>
                  <a:lnTo>
                    <a:pt x="197" y="339"/>
                  </a:lnTo>
                  <a:lnTo>
                    <a:pt x="199" y="337"/>
                  </a:lnTo>
                  <a:lnTo>
                    <a:pt x="204" y="333"/>
                  </a:lnTo>
                  <a:lnTo>
                    <a:pt x="208" y="331"/>
                  </a:lnTo>
                  <a:lnTo>
                    <a:pt x="208" y="331"/>
                  </a:lnTo>
                  <a:lnTo>
                    <a:pt x="208" y="329"/>
                  </a:lnTo>
                  <a:lnTo>
                    <a:pt x="210" y="329"/>
                  </a:lnTo>
                  <a:lnTo>
                    <a:pt x="210" y="329"/>
                  </a:lnTo>
                  <a:lnTo>
                    <a:pt x="210" y="327"/>
                  </a:lnTo>
                  <a:lnTo>
                    <a:pt x="212" y="327"/>
                  </a:lnTo>
                  <a:lnTo>
                    <a:pt x="214" y="327"/>
                  </a:lnTo>
                  <a:lnTo>
                    <a:pt x="214" y="327"/>
                  </a:lnTo>
                  <a:lnTo>
                    <a:pt x="214" y="325"/>
                  </a:lnTo>
                  <a:lnTo>
                    <a:pt x="214" y="325"/>
                  </a:lnTo>
                  <a:lnTo>
                    <a:pt x="214" y="323"/>
                  </a:lnTo>
                  <a:lnTo>
                    <a:pt x="214" y="323"/>
                  </a:lnTo>
                  <a:lnTo>
                    <a:pt x="216" y="325"/>
                  </a:lnTo>
                  <a:lnTo>
                    <a:pt x="216" y="327"/>
                  </a:lnTo>
                  <a:lnTo>
                    <a:pt x="218" y="327"/>
                  </a:lnTo>
                  <a:lnTo>
                    <a:pt x="220" y="325"/>
                  </a:lnTo>
                  <a:lnTo>
                    <a:pt x="220" y="325"/>
                  </a:lnTo>
                  <a:lnTo>
                    <a:pt x="222" y="325"/>
                  </a:lnTo>
                  <a:lnTo>
                    <a:pt x="222" y="325"/>
                  </a:lnTo>
                  <a:lnTo>
                    <a:pt x="224" y="321"/>
                  </a:lnTo>
                  <a:lnTo>
                    <a:pt x="224" y="319"/>
                  </a:lnTo>
                  <a:lnTo>
                    <a:pt x="224" y="319"/>
                  </a:lnTo>
                  <a:lnTo>
                    <a:pt x="224" y="319"/>
                  </a:lnTo>
                  <a:lnTo>
                    <a:pt x="224" y="317"/>
                  </a:lnTo>
                  <a:lnTo>
                    <a:pt x="226" y="317"/>
                  </a:lnTo>
                  <a:lnTo>
                    <a:pt x="226" y="315"/>
                  </a:lnTo>
                  <a:lnTo>
                    <a:pt x="226" y="315"/>
                  </a:lnTo>
                  <a:lnTo>
                    <a:pt x="226" y="312"/>
                  </a:lnTo>
                  <a:lnTo>
                    <a:pt x="226" y="315"/>
                  </a:lnTo>
                  <a:lnTo>
                    <a:pt x="226" y="315"/>
                  </a:lnTo>
                  <a:lnTo>
                    <a:pt x="226" y="319"/>
                  </a:lnTo>
                  <a:lnTo>
                    <a:pt x="226" y="319"/>
                  </a:lnTo>
                  <a:lnTo>
                    <a:pt x="228" y="321"/>
                  </a:lnTo>
                  <a:lnTo>
                    <a:pt x="230" y="323"/>
                  </a:lnTo>
                  <a:lnTo>
                    <a:pt x="230" y="323"/>
                  </a:lnTo>
                  <a:lnTo>
                    <a:pt x="232" y="323"/>
                  </a:lnTo>
                  <a:lnTo>
                    <a:pt x="232" y="323"/>
                  </a:lnTo>
                  <a:lnTo>
                    <a:pt x="234" y="323"/>
                  </a:lnTo>
                  <a:lnTo>
                    <a:pt x="236" y="323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9" y="327"/>
                  </a:lnTo>
                  <a:lnTo>
                    <a:pt x="239" y="327"/>
                  </a:lnTo>
                  <a:lnTo>
                    <a:pt x="241" y="327"/>
                  </a:lnTo>
                  <a:lnTo>
                    <a:pt x="241" y="325"/>
                  </a:lnTo>
                  <a:lnTo>
                    <a:pt x="241" y="323"/>
                  </a:lnTo>
                  <a:lnTo>
                    <a:pt x="243" y="321"/>
                  </a:lnTo>
                  <a:lnTo>
                    <a:pt x="241" y="319"/>
                  </a:lnTo>
                  <a:lnTo>
                    <a:pt x="241" y="317"/>
                  </a:lnTo>
                  <a:lnTo>
                    <a:pt x="241" y="315"/>
                  </a:lnTo>
                  <a:lnTo>
                    <a:pt x="243" y="315"/>
                  </a:lnTo>
                  <a:lnTo>
                    <a:pt x="243" y="312"/>
                  </a:lnTo>
                  <a:lnTo>
                    <a:pt x="245" y="310"/>
                  </a:lnTo>
                  <a:lnTo>
                    <a:pt x="245" y="310"/>
                  </a:lnTo>
                  <a:lnTo>
                    <a:pt x="245" y="310"/>
                  </a:lnTo>
                  <a:lnTo>
                    <a:pt x="247" y="310"/>
                  </a:lnTo>
                  <a:lnTo>
                    <a:pt x="249" y="308"/>
                  </a:lnTo>
                  <a:lnTo>
                    <a:pt x="251" y="308"/>
                  </a:lnTo>
                  <a:lnTo>
                    <a:pt x="251" y="306"/>
                  </a:lnTo>
                  <a:lnTo>
                    <a:pt x="251" y="304"/>
                  </a:lnTo>
                  <a:lnTo>
                    <a:pt x="251" y="304"/>
                  </a:lnTo>
                  <a:lnTo>
                    <a:pt x="251" y="302"/>
                  </a:lnTo>
                  <a:lnTo>
                    <a:pt x="253" y="300"/>
                  </a:lnTo>
                  <a:lnTo>
                    <a:pt x="251" y="300"/>
                  </a:lnTo>
                  <a:lnTo>
                    <a:pt x="251" y="296"/>
                  </a:lnTo>
                  <a:lnTo>
                    <a:pt x="249" y="294"/>
                  </a:lnTo>
                  <a:lnTo>
                    <a:pt x="249" y="292"/>
                  </a:lnTo>
                  <a:lnTo>
                    <a:pt x="249" y="292"/>
                  </a:lnTo>
                  <a:lnTo>
                    <a:pt x="251" y="292"/>
                  </a:lnTo>
                  <a:lnTo>
                    <a:pt x="253" y="292"/>
                  </a:lnTo>
                  <a:lnTo>
                    <a:pt x="253" y="290"/>
                  </a:lnTo>
                  <a:lnTo>
                    <a:pt x="253" y="290"/>
                  </a:lnTo>
                  <a:lnTo>
                    <a:pt x="255" y="290"/>
                  </a:lnTo>
                  <a:lnTo>
                    <a:pt x="255" y="288"/>
                  </a:lnTo>
                  <a:lnTo>
                    <a:pt x="255" y="288"/>
                  </a:lnTo>
                  <a:lnTo>
                    <a:pt x="255" y="286"/>
                  </a:lnTo>
                  <a:lnTo>
                    <a:pt x="255" y="284"/>
                  </a:lnTo>
                  <a:lnTo>
                    <a:pt x="253" y="284"/>
                  </a:lnTo>
                  <a:lnTo>
                    <a:pt x="251" y="282"/>
                  </a:lnTo>
                  <a:lnTo>
                    <a:pt x="249" y="282"/>
                  </a:lnTo>
                  <a:lnTo>
                    <a:pt x="247" y="280"/>
                  </a:lnTo>
                  <a:lnTo>
                    <a:pt x="247" y="275"/>
                  </a:lnTo>
                  <a:lnTo>
                    <a:pt x="249" y="273"/>
                  </a:lnTo>
                  <a:lnTo>
                    <a:pt x="249" y="271"/>
                  </a:lnTo>
                  <a:lnTo>
                    <a:pt x="249" y="271"/>
                  </a:lnTo>
                  <a:lnTo>
                    <a:pt x="247" y="265"/>
                  </a:lnTo>
                  <a:lnTo>
                    <a:pt x="247" y="265"/>
                  </a:lnTo>
                  <a:lnTo>
                    <a:pt x="247" y="263"/>
                  </a:lnTo>
                  <a:lnTo>
                    <a:pt x="247" y="261"/>
                  </a:lnTo>
                  <a:lnTo>
                    <a:pt x="247" y="259"/>
                  </a:lnTo>
                  <a:lnTo>
                    <a:pt x="247" y="259"/>
                  </a:lnTo>
                  <a:lnTo>
                    <a:pt x="247" y="259"/>
                  </a:lnTo>
                  <a:lnTo>
                    <a:pt x="247" y="257"/>
                  </a:lnTo>
                  <a:lnTo>
                    <a:pt x="247" y="257"/>
                  </a:lnTo>
                  <a:lnTo>
                    <a:pt x="245" y="255"/>
                  </a:lnTo>
                  <a:lnTo>
                    <a:pt x="247" y="251"/>
                  </a:lnTo>
                  <a:lnTo>
                    <a:pt x="247" y="249"/>
                  </a:lnTo>
                  <a:lnTo>
                    <a:pt x="249" y="247"/>
                  </a:lnTo>
                  <a:lnTo>
                    <a:pt x="251" y="245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55" y="243"/>
                  </a:lnTo>
                  <a:lnTo>
                    <a:pt x="257" y="241"/>
                  </a:lnTo>
                  <a:lnTo>
                    <a:pt x="259" y="241"/>
                  </a:lnTo>
                  <a:lnTo>
                    <a:pt x="261" y="241"/>
                  </a:lnTo>
                  <a:lnTo>
                    <a:pt x="265" y="243"/>
                  </a:lnTo>
                  <a:lnTo>
                    <a:pt x="269" y="243"/>
                  </a:lnTo>
                  <a:lnTo>
                    <a:pt x="269" y="243"/>
                  </a:lnTo>
                  <a:lnTo>
                    <a:pt x="269" y="241"/>
                  </a:lnTo>
                  <a:lnTo>
                    <a:pt x="271" y="241"/>
                  </a:lnTo>
                  <a:lnTo>
                    <a:pt x="271" y="238"/>
                  </a:lnTo>
                  <a:lnTo>
                    <a:pt x="271" y="236"/>
                  </a:lnTo>
                  <a:lnTo>
                    <a:pt x="269" y="234"/>
                  </a:lnTo>
                  <a:lnTo>
                    <a:pt x="267" y="234"/>
                  </a:lnTo>
                  <a:lnTo>
                    <a:pt x="265" y="232"/>
                  </a:lnTo>
                  <a:lnTo>
                    <a:pt x="267" y="230"/>
                  </a:lnTo>
                  <a:lnTo>
                    <a:pt x="269" y="226"/>
                  </a:lnTo>
                  <a:lnTo>
                    <a:pt x="273" y="224"/>
                  </a:lnTo>
                  <a:lnTo>
                    <a:pt x="273" y="222"/>
                  </a:lnTo>
                  <a:lnTo>
                    <a:pt x="275" y="222"/>
                  </a:lnTo>
                  <a:lnTo>
                    <a:pt x="275" y="216"/>
                  </a:lnTo>
                  <a:lnTo>
                    <a:pt x="275" y="214"/>
                  </a:lnTo>
                  <a:lnTo>
                    <a:pt x="275" y="214"/>
                  </a:lnTo>
                  <a:lnTo>
                    <a:pt x="275" y="212"/>
                  </a:lnTo>
                  <a:lnTo>
                    <a:pt x="275" y="212"/>
                  </a:lnTo>
                  <a:lnTo>
                    <a:pt x="275" y="208"/>
                  </a:lnTo>
                  <a:lnTo>
                    <a:pt x="280" y="208"/>
                  </a:lnTo>
                  <a:lnTo>
                    <a:pt x="282" y="208"/>
                  </a:lnTo>
                  <a:lnTo>
                    <a:pt x="282" y="208"/>
                  </a:lnTo>
                  <a:lnTo>
                    <a:pt x="286" y="206"/>
                  </a:lnTo>
                  <a:lnTo>
                    <a:pt x="286" y="206"/>
                  </a:lnTo>
                  <a:lnTo>
                    <a:pt x="286" y="201"/>
                  </a:lnTo>
                  <a:lnTo>
                    <a:pt x="288" y="201"/>
                  </a:lnTo>
                  <a:lnTo>
                    <a:pt x="290" y="197"/>
                  </a:lnTo>
                  <a:lnTo>
                    <a:pt x="294" y="195"/>
                  </a:lnTo>
                  <a:lnTo>
                    <a:pt x="296" y="193"/>
                  </a:lnTo>
                  <a:lnTo>
                    <a:pt x="296" y="193"/>
                  </a:lnTo>
                  <a:lnTo>
                    <a:pt x="298" y="191"/>
                  </a:lnTo>
                  <a:lnTo>
                    <a:pt x="296" y="189"/>
                  </a:lnTo>
                  <a:lnTo>
                    <a:pt x="296" y="189"/>
                  </a:lnTo>
                  <a:lnTo>
                    <a:pt x="294" y="187"/>
                  </a:lnTo>
                  <a:lnTo>
                    <a:pt x="294" y="187"/>
                  </a:lnTo>
                  <a:lnTo>
                    <a:pt x="296" y="185"/>
                  </a:lnTo>
                  <a:lnTo>
                    <a:pt x="298" y="185"/>
                  </a:lnTo>
                  <a:lnTo>
                    <a:pt x="298" y="185"/>
                  </a:lnTo>
                  <a:lnTo>
                    <a:pt x="298" y="185"/>
                  </a:lnTo>
                  <a:lnTo>
                    <a:pt x="300" y="181"/>
                  </a:lnTo>
                  <a:lnTo>
                    <a:pt x="306" y="179"/>
                  </a:lnTo>
                  <a:lnTo>
                    <a:pt x="306" y="177"/>
                  </a:lnTo>
                  <a:lnTo>
                    <a:pt x="310" y="177"/>
                  </a:lnTo>
                  <a:lnTo>
                    <a:pt x="314" y="179"/>
                  </a:lnTo>
                  <a:lnTo>
                    <a:pt x="317" y="177"/>
                  </a:lnTo>
                  <a:lnTo>
                    <a:pt x="317" y="177"/>
                  </a:lnTo>
                  <a:lnTo>
                    <a:pt x="317" y="175"/>
                  </a:lnTo>
                  <a:lnTo>
                    <a:pt x="317" y="173"/>
                  </a:lnTo>
                  <a:lnTo>
                    <a:pt x="317" y="171"/>
                  </a:lnTo>
                  <a:lnTo>
                    <a:pt x="317" y="171"/>
                  </a:lnTo>
                  <a:lnTo>
                    <a:pt x="319" y="171"/>
                  </a:lnTo>
                  <a:lnTo>
                    <a:pt x="319" y="169"/>
                  </a:lnTo>
                  <a:lnTo>
                    <a:pt x="325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9" y="171"/>
                  </a:lnTo>
                  <a:lnTo>
                    <a:pt x="335" y="173"/>
                  </a:lnTo>
                  <a:lnTo>
                    <a:pt x="337" y="173"/>
                  </a:lnTo>
                  <a:lnTo>
                    <a:pt x="339" y="173"/>
                  </a:lnTo>
                  <a:lnTo>
                    <a:pt x="339" y="173"/>
                  </a:lnTo>
                  <a:lnTo>
                    <a:pt x="341" y="171"/>
                  </a:lnTo>
                  <a:lnTo>
                    <a:pt x="337" y="171"/>
                  </a:lnTo>
                  <a:lnTo>
                    <a:pt x="339" y="169"/>
                  </a:lnTo>
                  <a:lnTo>
                    <a:pt x="341" y="169"/>
                  </a:lnTo>
                  <a:lnTo>
                    <a:pt x="341" y="166"/>
                  </a:lnTo>
                  <a:lnTo>
                    <a:pt x="341" y="164"/>
                  </a:lnTo>
                  <a:lnTo>
                    <a:pt x="341" y="164"/>
                  </a:lnTo>
                  <a:lnTo>
                    <a:pt x="341" y="164"/>
                  </a:lnTo>
                  <a:lnTo>
                    <a:pt x="339" y="162"/>
                  </a:lnTo>
                  <a:lnTo>
                    <a:pt x="343" y="162"/>
                  </a:lnTo>
                  <a:lnTo>
                    <a:pt x="345" y="162"/>
                  </a:lnTo>
                  <a:lnTo>
                    <a:pt x="345" y="162"/>
                  </a:lnTo>
                  <a:lnTo>
                    <a:pt x="347" y="162"/>
                  </a:lnTo>
                  <a:lnTo>
                    <a:pt x="349" y="162"/>
                  </a:lnTo>
                  <a:lnTo>
                    <a:pt x="351" y="162"/>
                  </a:lnTo>
                  <a:lnTo>
                    <a:pt x="351" y="162"/>
                  </a:lnTo>
                  <a:lnTo>
                    <a:pt x="349" y="160"/>
                  </a:lnTo>
                  <a:lnTo>
                    <a:pt x="349" y="160"/>
                  </a:lnTo>
                  <a:lnTo>
                    <a:pt x="351" y="158"/>
                  </a:lnTo>
                  <a:lnTo>
                    <a:pt x="351" y="158"/>
                  </a:lnTo>
                  <a:lnTo>
                    <a:pt x="356" y="158"/>
                  </a:lnTo>
                  <a:lnTo>
                    <a:pt x="356" y="158"/>
                  </a:lnTo>
                  <a:lnTo>
                    <a:pt x="356" y="158"/>
                  </a:lnTo>
                  <a:lnTo>
                    <a:pt x="360" y="160"/>
                  </a:lnTo>
                  <a:lnTo>
                    <a:pt x="362" y="162"/>
                  </a:lnTo>
                  <a:lnTo>
                    <a:pt x="362" y="162"/>
                  </a:lnTo>
                  <a:lnTo>
                    <a:pt x="366" y="164"/>
                  </a:lnTo>
                  <a:lnTo>
                    <a:pt x="366" y="166"/>
                  </a:lnTo>
                  <a:lnTo>
                    <a:pt x="366" y="166"/>
                  </a:lnTo>
                  <a:lnTo>
                    <a:pt x="368" y="166"/>
                  </a:lnTo>
                  <a:lnTo>
                    <a:pt x="372" y="166"/>
                  </a:lnTo>
                  <a:lnTo>
                    <a:pt x="374" y="169"/>
                  </a:lnTo>
                  <a:lnTo>
                    <a:pt x="376" y="169"/>
                  </a:lnTo>
                  <a:lnTo>
                    <a:pt x="378" y="169"/>
                  </a:lnTo>
                  <a:lnTo>
                    <a:pt x="378" y="169"/>
                  </a:lnTo>
                  <a:lnTo>
                    <a:pt x="382" y="166"/>
                  </a:lnTo>
                  <a:lnTo>
                    <a:pt x="382" y="166"/>
                  </a:lnTo>
                  <a:lnTo>
                    <a:pt x="384" y="166"/>
                  </a:lnTo>
                  <a:lnTo>
                    <a:pt x="384" y="166"/>
                  </a:lnTo>
                  <a:lnTo>
                    <a:pt x="386" y="166"/>
                  </a:lnTo>
                  <a:lnTo>
                    <a:pt x="388" y="166"/>
                  </a:lnTo>
                  <a:lnTo>
                    <a:pt x="390" y="169"/>
                  </a:lnTo>
                  <a:lnTo>
                    <a:pt x="395" y="169"/>
                  </a:lnTo>
                  <a:lnTo>
                    <a:pt x="395" y="169"/>
                  </a:lnTo>
                  <a:lnTo>
                    <a:pt x="397" y="169"/>
                  </a:lnTo>
                  <a:lnTo>
                    <a:pt x="399" y="169"/>
                  </a:lnTo>
                  <a:lnTo>
                    <a:pt x="399" y="166"/>
                  </a:lnTo>
                  <a:lnTo>
                    <a:pt x="401" y="166"/>
                  </a:lnTo>
                  <a:lnTo>
                    <a:pt x="401" y="164"/>
                  </a:lnTo>
                  <a:lnTo>
                    <a:pt x="403" y="164"/>
                  </a:lnTo>
                  <a:lnTo>
                    <a:pt x="403" y="164"/>
                  </a:lnTo>
                  <a:lnTo>
                    <a:pt x="405" y="164"/>
                  </a:lnTo>
                  <a:lnTo>
                    <a:pt x="405" y="162"/>
                  </a:lnTo>
                  <a:lnTo>
                    <a:pt x="405" y="162"/>
                  </a:lnTo>
                  <a:lnTo>
                    <a:pt x="405" y="158"/>
                  </a:lnTo>
                  <a:lnTo>
                    <a:pt x="405" y="158"/>
                  </a:lnTo>
                  <a:lnTo>
                    <a:pt x="407" y="156"/>
                  </a:lnTo>
                  <a:lnTo>
                    <a:pt x="407" y="154"/>
                  </a:lnTo>
                  <a:lnTo>
                    <a:pt x="407" y="152"/>
                  </a:lnTo>
                  <a:lnTo>
                    <a:pt x="407" y="152"/>
                  </a:lnTo>
                  <a:lnTo>
                    <a:pt x="409" y="152"/>
                  </a:lnTo>
                  <a:lnTo>
                    <a:pt x="411" y="150"/>
                  </a:lnTo>
                  <a:lnTo>
                    <a:pt x="413" y="148"/>
                  </a:lnTo>
                  <a:lnTo>
                    <a:pt x="413" y="148"/>
                  </a:lnTo>
                  <a:lnTo>
                    <a:pt x="415" y="148"/>
                  </a:lnTo>
                  <a:lnTo>
                    <a:pt x="417" y="148"/>
                  </a:lnTo>
                  <a:lnTo>
                    <a:pt x="419" y="148"/>
                  </a:lnTo>
                  <a:lnTo>
                    <a:pt x="419" y="148"/>
                  </a:lnTo>
                  <a:lnTo>
                    <a:pt x="421" y="148"/>
                  </a:lnTo>
                  <a:lnTo>
                    <a:pt x="421" y="148"/>
                  </a:lnTo>
                  <a:lnTo>
                    <a:pt x="425" y="146"/>
                  </a:lnTo>
                  <a:lnTo>
                    <a:pt x="427" y="146"/>
                  </a:lnTo>
                  <a:lnTo>
                    <a:pt x="427" y="146"/>
                  </a:lnTo>
                  <a:lnTo>
                    <a:pt x="429" y="148"/>
                  </a:lnTo>
                  <a:lnTo>
                    <a:pt x="434" y="150"/>
                  </a:lnTo>
                  <a:lnTo>
                    <a:pt x="436" y="150"/>
                  </a:lnTo>
                  <a:lnTo>
                    <a:pt x="440" y="152"/>
                  </a:lnTo>
                  <a:lnTo>
                    <a:pt x="444" y="152"/>
                  </a:lnTo>
                  <a:lnTo>
                    <a:pt x="446" y="156"/>
                  </a:lnTo>
                  <a:lnTo>
                    <a:pt x="446" y="156"/>
                  </a:lnTo>
                  <a:lnTo>
                    <a:pt x="446" y="156"/>
                  </a:lnTo>
                  <a:lnTo>
                    <a:pt x="444" y="158"/>
                  </a:lnTo>
                  <a:lnTo>
                    <a:pt x="442" y="160"/>
                  </a:lnTo>
                  <a:lnTo>
                    <a:pt x="442" y="160"/>
                  </a:lnTo>
                  <a:lnTo>
                    <a:pt x="442" y="162"/>
                  </a:lnTo>
                  <a:lnTo>
                    <a:pt x="444" y="162"/>
                  </a:lnTo>
                  <a:lnTo>
                    <a:pt x="446" y="162"/>
                  </a:lnTo>
                  <a:lnTo>
                    <a:pt x="446" y="162"/>
                  </a:lnTo>
                  <a:lnTo>
                    <a:pt x="446" y="160"/>
                  </a:lnTo>
                  <a:lnTo>
                    <a:pt x="448" y="158"/>
                  </a:lnTo>
                  <a:lnTo>
                    <a:pt x="448" y="158"/>
                  </a:lnTo>
                  <a:lnTo>
                    <a:pt x="452" y="156"/>
                  </a:lnTo>
                  <a:lnTo>
                    <a:pt x="454" y="156"/>
                  </a:lnTo>
                  <a:lnTo>
                    <a:pt x="456" y="156"/>
                  </a:lnTo>
                  <a:lnTo>
                    <a:pt x="456" y="156"/>
                  </a:lnTo>
                  <a:lnTo>
                    <a:pt x="456" y="154"/>
                  </a:lnTo>
                  <a:lnTo>
                    <a:pt x="456" y="154"/>
                  </a:lnTo>
                  <a:lnTo>
                    <a:pt x="456" y="154"/>
                  </a:lnTo>
                  <a:lnTo>
                    <a:pt x="456" y="152"/>
                  </a:lnTo>
                  <a:lnTo>
                    <a:pt x="456" y="152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2" y="154"/>
                  </a:lnTo>
                  <a:lnTo>
                    <a:pt x="464" y="154"/>
                  </a:lnTo>
                  <a:lnTo>
                    <a:pt x="464" y="154"/>
                  </a:lnTo>
                  <a:lnTo>
                    <a:pt x="464" y="154"/>
                  </a:lnTo>
                  <a:lnTo>
                    <a:pt x="464" y="154"/>
                  </a:lnTo>
                  <a:lnTo>
                    <a:pt x="464" y="152"/>
                  </a:lnTo>
                  <a:close/>
                  <a:moveTo>
                    <a:pt x="397" y="132"/>
                  </a:moveTo>
                  <a:lnTo>
                    <a:pt x="399" y="132"/>
                  </a:lnTo>
                  <a:lnTo>
                    <a:pt x="399" y="134"/>
                  </a:lnTo>
                  <a:lnTo>
                    <a:pt x="401" y="134"/>
                  </a:lnTo>
                  <a:lnTo>
                    <a:pt x="403" y="134"/>
                  </a:lnTo>
                  <a:lnTo>
                    <a:pt x="405" y="132"/>
                  </a:lnTo>
                  <a:lnTo>
                    <a:pt x="405" y="132"/>
                  </a:lnTo>
                  <a:lnTo>
                    <a:pt x="407" y="132"/>
                  </a:lnTo>
                  <a:lnTo>
                    <a:pt x="405" y="132"/>
                  </a:lnTo>
                  <a:lnTo>
                    <a:pt x="403" y="132"/>
                  </a:lnTo>
                  <a:lnTo>
                    <a:pt x="403" y="132"/>
                  </a:lnTo>
                  <a:lnTo>
                    <a:pt x="399" y="129"/>
                  </a:lnTo>
                  <a:lnTo>
                    <a:pt x="397" y="132"/>
                  </a:lnTo>
                  <a:lnTo>
                    <a:pt x="397" y="132"/>
                  </a:lnTo>
                  <a:lnTo>
                    <a:pt x="397" y="132"/>
                  </a:lnTo>
                  <a:close/>
                  <a:moveTo>
                    <a:pt x="11" y="129"/>
                  </a:moveTo>
                  <a:lnTo>
                    <a:pt x="7" y="132"/>
                  </a:lnTo>
                  <a:lnTo>
                    <a:pt x="2" y="134"/>
                  </a:lnTo>
                  <a:lnTo>
                    <a:pt x="0" y="134"/>
                  </a:lnTo>
                  <a:lnTo>
                    <a:pt x="0" y="136"/>
                  </a:lnTo>
                  <a:lnTo>
                    <a:pt x="2" y="134"/>
                  </a:lnTo>
                  <a:lnTo>
                    <a:pt x="7" y="134"/>
                  </a:lnTo>
                  <a:lnTo>
                    <a:pt x="11" y="132"/>
                  </a:lnTo>
                  <a:lnTo>
                    <a:pt x="13" y="132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1" y="129"/>
                  </a:lnTo>
                  <a:close/>
                  <a:moveTo>
                    <a:pt x="321" y="82"/>
                  </a:moveTo>
                  <a:lnTo>
                    <a:pt x="323" y="82"/>
                  </a:lnTo>
                  <a:lnTo>
                    <a:pt x="323" y="80"/>
                  </a:lnTo>
                  <a:lnTo>
                    <a:pt x="323" y="80"/>
                  </a:lnTo>
                  <a:lnTo>
                    <a:pt x="321" y="80"/>
                  </a:lnTo>
                  <a:lnTo>
                    <a:pt x="319" y="80"/>
                  </a:lnTo>
                  <a:lnTo>
                    <a:pt x="317" y="80"/>
                  </a:lnTo>
                  <a:lnTo>
                    <a:pt x="319" y="82"/>
                  </a:lnTo>
                  <a:lnTo>
                    <a:pt x="321" y="82"/>
                  </a:lnTo>
                  <a:close/>
                  <a:moveTo>
                    <a:pt x="351" y="41"/>
                  </a:moveTo>
                  <a:lnTo>
                    <a:pt x="353" y="41"/>
                  </a:lnTo>
                  <a:lnTo>
                    <a:pt x="356" y="41"/>
                  </a:lnTo>
                  <a:lnTo>
                    <a:pt x="358" y="41"/>
                  </a:lnTo>
                  <a:lnTo>
                    <a:pt x="358" y="39"/>
                  </a:lnTo>
                  <a:lnTo>
                    <a:pt x="360" y="39"/>
                  </a:lnTo>
                  <a:lnTo>
                    <a:pt x="362" y="39"/>
                  </a:lnTo>
                  <a:lnTo>
                    <a:pt x="364" y="39"/>
                  </a:lnTo>
                  <a:lnTo>
                    <a:pt x="366" y="39"/>
                  </a:lnTo>
                  <a:lnTo>
                    <a:pt x="366" y="39"/>
                  </a:lnTo>
                  <a:lnTo>
                    <a:pt x="368" y="37"/>
                  </a:lnTo>
                  <a:lnTo>
                    <a:pt x="368" y="37"/>
                  </a:lnTo>
                  <a:lnTo>
                    <a:pt x="370" y="35"/>
                  </a:lnTo>
                  <a:lnTo>
                    <a:pt x="376" y="35"/>
                  </a:lnTo>
                  <a:lnTo>
                    <a:pt x="374" y="33"/>
                  </a:lnTo>
                  <a:lnTo>
                    <a:pt x="370" y="33"/>
                  </a:lnTo>
                  <a:lnTo>
                    <a:pt x="366" y="33"/>
                  </a:lnTo>
                  <a:lnTo>
                    <a:pt x="364" y="33"/>
                  </a:lnTo>
                  <a:lnTo>
                    <a:pt x="360" y="33"/>
                  </a:lnTo>
                  <a:lnTo>
                    <a:pt x="358" y="31"/>
                  </a:lnTo>
                  <a:lnTo>
                    <a:pt x="358" y="31"/>
                  </a:lnTo>
                  <a:lnTo>
                    <a:pt x="360" y="29"/>
                  </a:lnTo>
                  <a:lnTo>
                    <a:pt x="362" y="29"/>
                  </a:lnTo>
                  <a:lnTo>
                    <a:pt x="360" y="29"/>
                  </a:lnTo>
                  <a:lnTo>
                    <a:pt x="358" y="29"/>
                  </a:lnTo>
                  <a:lnTo>
                    <a:pt x="356" y="29"/>
                  </a:lnTo>
                  <a:lnTo>
                    <a:pt x="353" y="29"/>
                  </a:lnTo>
                  <a:lnTo>
                    <a:pt x="351" y="29"/>
                  </a:lnTo>
                  <a:lnTo>
                    <a:pt x="349" y="29"/>
                  </a:lnTo>
                  <a:lnTo>
                    <a:pt x="347" y="27"/>
                  </a:lnTo>
                  <a:lnTo>
                    <a:pt x="345" y="25"/>
                  </a:lnTo>
                  <a:lnTo>
                    <a:pt x="343" y="25"/>
                  </a:lnTo>
                  <a:lnTo>
                    <a:pt x="341" y="23"/>
                  </a:lnTo>
                  <a:lnTo>
                    <a:pt x="339" y="23"/>
                  </a:lnTo>
                  <a:lnTo>
                    <a:pt x="335" y="25"/>
                  </a:lnTo>
                  <a:lnTo>
                    <a:pt x="329" y="25"/>
                  </a:lnTo>
                  <a:lnTo>
                    <a:pt x="327" y="25"/>
                  </a:lnTo>
                  <a:lnTo>
                    <a:pt x="329" y="27"/>
                  </a:lnTo>
                  <a:lnTo>
                    <a:pt x="331" y="27"/>
                  </a:lnTo>
                  <a:lnTo>
                    <a:pt x="331" y="27"/>
                  </a:lnTo>
                  <a:lnTo>
                    <a:pt x="333" y="29"/>
                  </a:lnTo>
                  <a:lnTo>
                    <a:pt x="333" y="29"/>
                  </a:lnTo>
                  <a:lnTo>
                    <a:pt x="337" y="31"/>
                  </a:lnTo>
                  <a:lnTo>
                    <a:pt x="337" y="31"/>
                  </a:lnTo>
                  <a:lnTo>
                    <a:pt x="343" y="33"/>
                  </a:lnTo>
                  <a:lnTo>
                    <a:pt x="343" y="33"/>
                  </a:lnTo>
                  <a:lnTo>
                    <a:pt x="341" y="33"/>
                  </a:lnTo>
                  <a:lnTo>
                    <a:pt x="339" y="35"/>
                  </a:lnTo>
                  <a:lnTo>
                    <a:pt x="339" y="35"/>
                  </a:lnTo>
                  <a:lnTo>
                    <a:pt x="339" y="37"/>
                  </a:lnTo>
                  <a:lnTo>
                    <a:pt x="335" y="37"/>
                  </a:lnTo>
                  <a:lnTo>
                    <a:pt x="335" y="39"/>
                  </a:lnTo>
                  <a:lnTo>
                    <a:pt x="337" y="39"/>
                  </a:lnTo>
                  <a:lnTo>
                    <a:pt x="345" y="39"/>
                  </a:lnTo>
                  <a:lnTo>
                    <a:pt x="347" y="39"/>
                  </a:lnTo>
                  <a:lnTo>
                    <a:pt x="349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3" y="37"/>
                  </a:lnTo>
                  <a:lnTo>
                    <a:pt x="353" y="37"/>
                  </a:lnTo>
                  <a:lnTo>
                    <a:pt x="356" y="37"/>
                  </a:lnTo>
                  <a:lnTo>
                    <a:pt x="353" y="39"/>
                  </a:lnTo>
                  <a:lnTo>
                    <a:pt x="351" y="39"/>
                  </a:lnTo>
                  <a:lnTo>
                    <a:pt x="353" y="39"/>
                  </a:lnTo>
                  <a:lnTo>
                    <a:pt x="351" y="41"/>
                  </a:lnTo>
                  <a:lnTo>
                    <a:pt x="351" y="41"/>
                  </a:lnTo>
                  <a:close/>
                  <a:moveTo>
                    <a:pt x="392" y="21"/>
                  </a:moveTo>
                  <a:lnTo>
                    <a:pt x="390" y="21"/>
                  </a:lnTo>
                  <a:lnTo>
                    <a:pt x="390" y="21"/>
                  </a:lnTo>
                  <a:lnTo>
                    <a:pt x="390" y="23"/>
                  </a:lnTo>
                  <a:lnTo>
                    <a:pt x="395" y="23"/>
                  </a:lnTo>
                  <a:lnTo>
                    <a:pt x="395" y="23"/>
                  </a:lnTo>
                  <a:lnTo>
                    <a:pt x="397" y="23"/>
                  </a:lnTo>
                  <a:lnTo>
                    <a:pt x="395" y="23"/>
                  </a:lnTo>
                  <a:lnTo>
                    <a:pt x="392" y="21"/>
                  </a:lnTo>
                  <a:close/>
                  <a:moveTo>
                    <a:pt x="230" y="23"/>
                  </a:moveTo>
                  <a:lnTo>
                    <a:pt x="230" y="23"/>
                  </a:lnTo>
                  <a:lnTo>
                    <a:pt x="232" y="25"/>
                  </a:lnTo>
                  <a:lnTo>
                    <a:pt x="234" y="25"/>
                  </a:lnTo>
                  <a:lnTo>
                    <a:pt x="236" y="25"/>
                  </a:lnTo>
                  <a:lnTo>
                    <a:pt x="239" y="27"/>
                  </a:lnTo>
                  <a:lnTo>
                    <a:pt x="241" y="27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7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1" y="25"/>
                  </a:lnTo>
                  <a:lnTo>
                    <a:pt x="239" y="25"/>
                  </a:lnTo>
                  <a:lnTo>
                    <a:pt x="236" y="25"/>
                  </a:lnTo>
                  <a:lnTo>
                    <a:pt x="234" y="25"/>
                  </a:lnTo>
                  <a:lnTo>
                    <a:pt x="234" y="23"/>
                  </a:lnTo>
                  <a:lnTo>
                    <a:pt x="232" y="23"/>
                  </a:lnTo>
                  <a:lnTo>
                    <a:pt x="232" y="23"/>
                  </a:lnTo>
                  <a:lnTo>
                    <a:pt x="232" y="23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0" y="21"/>
                  </a:lnTo>
                  <a:lnTo>
                    <a:pt x="228" y="18"/>
                  </a:lnTo>
                  <a:lnTo>
                    <a:pt x="228" y="21"/>
                  </a:lnTo>
                  <a:lnTo>
                    <a:pt x="228" y="21"/>
                  </a:lnTo>
                  <a:lnTo>
                    <a:pt x="230" y="23"/>
                  </a:lnTo>
                  <a:close/>
                  <a:moveTo>
                    <a:pt x="411" y="21"/>
                  </a:moveTo>
                  <a:lnTo>
                    <a:pt x="415" y="21"/>
                  </a:lnTo>
                  <a:lnTo>
                    <a:pt x="419" y="21"/>
                  </a:lnTo>
                  <a:lnTo>
                    <a:pt x="423" y="18"/>
                  </a:lnTo>
                  <a:lnTo>
                    <a:pt x="423" y="18"/>
                  </a:lnTo>
                  <a:lnTo>
                    <a:pt x="419" y="18"/>
                  </a:lnTo>
                  <a:lnTo>
                    <a:pt x="417" y="18"/>
                  </a:lnTo>
                  <a:lnTo>
                    <a:pt x="415" y="18"/>
                  </a:lnTo>
                  <a:lnTo>
                    <a:pt x="411" y="18"/>
                  </a:lnTo>
                  <a:lnTo>
                    <a:pt x="411" y="18"/>
                  </a:lnTo>
                  <a:lnTo>
                    <a:pt x="409" y="18"/>
                  </a:lnTo>
                  <a:lnTo>
                    <a:pt x="407" y="18"/>
                  </a:lnTo>
                  <a:lnTo>
                    <a:pt x="405" y="21"/>
                  </a:lnTo>
                  <a:lnTo>
                    <a:pt x="407" y="21"/>
                  </a:lnTo>
                  <a:lnTo>
                    <a:pt x="411" y="21"/>
                  </a:lnTo>
                  <a:close/>
                  <a:moveTo>
                    <a:pt x="230" y="10"/>
                  </a:moveTo>
                  <a:lnTo>
                    <a:pt x="230" y="10"/>
                  </a:lnTo>
                  <a:lnTo>
                    <a:pt x="228" y="10"/>
                  </a:lnTo>
                  <a:lnTo>
                    <a:pt x="228" y="10"/>
                  </a:lnTo>
                  <a:lnTo>
                    <a:pt x="228" y="12"/>
                  </a:lnTo>
                  <a:lnTo>
                    <a:pt x="230" y="12"/>
                  </a:lnTo>
                  <a:lnTo>
                    <a:pt x="230" y="12"/>
                  </a:lnTo>
                  <a:lnTo>
                    <a:pt x="230" y="14"/>
                  </a:lnTo>
                  <a:lnTo>
                    <a:pt x="232" y="14"/>
                  </a:lnTo>
                  <a:lnTo>
                    <a:pt x="232" y="14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6" y="16"/>
                  </a:lnTo>
                  <a:lnTo>
                    <a:pt x="239" y="16"/>
                  </a:lnTo>
                  <a:lnTo>
                    <a:pt x="239" y="14"/>
                  </a:lnTo>
                  <a:lnTo>
                    <a:pt x="239" y="14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1" y="16"/>
                  </a:lnTo>
                  <a:lnTo>
                    <a:pt x="241" y="16"/>
                  </a:lnTo>
                  <a:lnTo>
                    <a:pt x="241" y="16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5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5" y="18"/>
                  </a:lnTo>
                  <a:lnTo>
                    <a:pt x="245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9" y="21"/>
                  </a:lnTo>
                  <a:lnTo>
                    <a:pt x="241" y="21"/>
                  </a:lnTo>
                  <a:lnTo>
                    <a:pt x="239" y="21"/>
                  </a:lnTo>
                  <a:lnTo>
                    <a:pt x="239" y="21"/>
                  </a:lnTo>
                  <a:lnTo>
                    <a:pt x="241" y="23"/>
                  </a:lnTo>
                  <a:lnTo>
                    <a:pt x="241" y="23"/>
                  </a:lnTo>
                  <a:lnTo>
                    <a:pt x="243" y="23"/>
                  </a:lnTo>
                  <a:lnTo>
                    <a:pt x="243" y="23"/>
                  </a:lnTo>
                  <a:lnTo>
                    <a:pt x="245" y="23"/>
                  </a:lnTo>
                  <a:lnTo>
                    <a:pt x="247" y="25"/>
                  </a:lnTo>
                  <a:lnTo>
                    <a:pt x="249" y="27"/>
                  </a:lnTo>
                  <a:lnTo>
                    <a:pt x="251" y="27"/>
                  </a:lnTo>
                  <a:lnTo>
                    <a:pt x="251" y="27"/>
                  </a:lnTo>
                  <a:lnTo>
                    <a:pt x="251" y="27"/>
                  </a:lnTo>
                  <a:lnTo>
                    <a:pt x="255" y="29"/>
                  </a:lnTo>
                  <a:lnTo>
                    <a:pt x="259" y="29"/>
                  </a:lnTo>
                  <a:lnTo>
                    <a:pt x="261" y="29"/>
                  </a:lnTo>
                  <a:lnTo>
                    <a:pt x="263" y="27"/>
                  </a:lnTo>
                  <a:lnTo>
                    <a:pt x="265" y="27"/>
                  </a:lnTo>
                  <a:lnTo>
                    <a:pt x="267" y="27"/>
                  </a:lnTo>
                  <a:lnTo>
                    <a:pt x="267" y="27"/>
                  </a:lnTo>
                  <a:lnTo>
                    <a:pt x="269" y="27"/>
                  </a:lnTo>
                  <a:lnTo>
                    <a:pt x="269" y="25"/>
                  </a:lnTo>
                  <a:lnTo>
                    <a:pt x="267" y="25"/>
                  </a:lnTo>
                  <a:lnTo>
                    <a:pt x="267" y="25"/>
                  </a:lnTo>
                  <a:lnTo>
                    <a:pt x="267" y="23"/>
                  </a:lnTo>
                  <a:lnTo>
                    <a:pt x="267" y="23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3"/>
                  </a:lnTo>
                  <a:lnTo>
                    <a:pt x="269" y="23"/>
                  </a:lnTo>
                  <a:lnTo>
                    <a:pt x="271" y="23"/>
                  </a:lnTo>
                  <a:lnTo>
                    <a:pt x="271" y="23"/>
                  </a:lnTo>
                  <a:lnTo>
                    <a:pt x="271" y="23"/>
                  </a:lnTo>
                  <a:lnTo>
                    <a:pt x="273" y="23"/>
                  </a:lnTo>
                  <a:lnTo>
                    <a:pt x="273" y="23"/>
                  </a:lnTo>
                  <a:lnTo>
                    <a:pt x="275" y="23"/>
                  </a:lnTo>
                  <a:lnTo>
                    <a:pt x="275" y="21"/>
                  </a:lnTo>
                  <a:lnTo>
                    <a:pt x="278" y="21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5"/>
                  </a:lnTo>
                  <a:lnTo>
                    <a:pt x="278" y="25"/>
                  </a:lnTo>
                  <a:lnTo>
                    <a:pt x="278" y="25"/>
                  </a:lnTo>
                  <a:lnTo>
                    <a:pt x="280" y="25"/>
                  </a:lnTo>
                  <a:lnTo>
                    <a:pt x="284" y="25"/>
                  </a:lnTo>
                  <a:lnTo>
                    <a:pt x="286" y="25"/>
                  </a:lnTo>
                  <a:lnTo>
                    <a:pt x="288" y="23"/>
                  </a:lnTo>
                  <a:lnTo>
                    <a:pt x="288" y="23"/>
                  </a:lnTo>
                  <a:lnTo>
                    <a:pt x="292" y="23"/>
                  </a:lnTo>
                  <a:lnTo>
                    <a:pt x="290" y="23"/>
                  </a:lnTo>
                  <a:lnTo>
                    <a:pt x="288" y="25"/>
                  </a:lnTo>
                  <a:lnTo>
                    <a:pt x="290" y="25"/>
                  </a:lnTo>
                  <a:lnTo>
                    <a:pt x="292" y="27"/>
                  </a:lnTo>
                  <a:lnTo>
                    <a:pt x="292" y="27"/>
                  </a:lnTo>
                  <a:lnTo>
                    <a:pt x="294" y="27"/>
                  </a:lnTo>
                  <a:lnTo>
                    <a:pt x="296" y="27"/>
                  </a:lnTo>
                  <a:lnTo>
                    <a:pt x="294" y="27"/>
                  </a:lnTo>
                  <a:lnTo>
                    <a:pt x="292" y="27"/>
                  </a:lnTo>
                  <a:lnTo>
                    <a:pt x="286" y="27"/>
                  </a:lnTo>
                  <a:lnTo>
                    <a:pt x="282" y="27"/>
                  </a:lnTo>
                  <a:lnTo>
                    <a:pt x="282" y="27"/>
                  </a:lnTo>
                  <a:lnTo>
                    <a:pt x="280" y="27"/>
                  </a:lnTo>
                  <a:lnTo>
                    <a:pt x="280" y="29"/>
                  </a:lnTo>
                  <a:lnTo>
                    <a:pt x="280" y="29"/>
                  </a:lnTo>
                  <a:lnTo>
                    <a:pt x="280" y="29"/>
                  </a:lnTo>
                  <a:lnTo>
                    <a:pt x="278" y="29"/>
                  </a:lnTo>
                  <a:lnTo>
                    <a:pt x="273" y="29"/>
                  </a:lnTo>
                  <a:lnTo>
                    <a:pt x="265" y="31"/>
                  </a:lnTo>
                  <a:lnTo>
                    <a:pt x="265" y="31"/>
                  </a:lnTo>
                  <a:lnTo>
                    <a:pt x="263" y="31"/>
                  </a:lnTo>
                  <a:lnTo>
                    <a:pt x="263" y="31"/>
                  </a:lnTo>
                  <a:lnTo>
                    <a:pt x="261" y="31"/>
                  </a:lnTo>
                  <a:lnTo>
                    <a:pt x="261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59" y="33"/>
                  </a:lnTo>
                  <a:lnTo>
                    <a:pt x="261" y="33"/>
                  </a:lnTo>
                  <a:lnTo>
                    <a:pt x="261" y="33"/>
                  </a:lnTo>
                  <a:lnTo>
                    <a:pt x="263" y="35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1" y="35"/>
                  </a:lnTo>
                  <a:lnTo>
                    <a:pt x="275" y="35"/>
                  </a:lnTo>
                  <a:lnTo>
                    <a:pt x="278" y="33"/>
                  </a:lnTo>
                  <a:lnTo>
                    <a:pt x="280" y="33"/>
                  </a:lnTo>
                  <a:lnTo>
                    <a:pt x="282" y="33"/>
                  </a:lnTo>
                  <a:lnTo>
                    <a:pt x="284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4" y="33"/>
                  </a:lnTo>
                  <a:lnTo>
                    <a:pt x="294" y="33"/>
                  </a:lnTo>
                  <a:lnTo>
                    <a:pt x="294" y="35"/>
                  </a:lnTo>
                  <a:lnTo>
                    <a:pt x="290" y="35"/>
                  </a:lnTo>
                  <a:lnTo>
                    <a:pt x="286" y="35"/>
                  </a:lnTo>
                  <a:lnTo>
                    <a:pt x="273" y="35"/>
                  </a:lnTo>
                  <a:lnTo>
                    <a:pt x="271" y="37"/>
                  </a:lnTo>
                  <a:lnTo>
                    <a:pt x="269" y="37"/>
                  </a:lnTo>
                  <a:lnTo>
                    <a:pt x="269" y="37"/>
                  </a:lnTo>
                  <a:lnTo>
                    <a:pt x="267" y="37"/>
                  </a:lnTo>
                  <a:lnTo>
                    <a:pt x="263" y="37"/>
                  </a:lnTo>
                  <a:lnTo>
                    <a:pt x="263" y="37"/>
                  </a:lnTo>
                  <a:lnTo>
                    <a:pt x="263" y="37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5" y="41"/>
                  </a:lnTo>
                  <a:lnTo>
                    <a:pt x="265" y="41"/>
                  </a:lnTo>
                  <a:lnTo>
                    <a:pt x="267" y="41"/>
                  </a:lnTo>
                  <a:lnTo>
                    <a:pt x="269" y="43"/>
                  </a:lnTo>
                  <a:lnTo>
                    <a:pt x="271" y="43"/>
                  </a:lnTo>
                  <a:lnTo>
                    <a:pt x="275" y="43"/>
                  </a:lnTo>
                  <a:lnTo>
                    <a:pt x="280" y="47"/>
                  </a:lnTo>
                  <a:lnTo>
                    <a:pt x="286" y="47"/>
                  </a:lnTo>
                  <a:lnTo>
                    <a:pt x="286" y="49"/>
                  </a:lnTo>
                  <a:lnTo>
                    <a:pt x="288" y="49"/>
                  </a:lnTo>
                  <a:lnTo>
                    <a:pt x="288" y="49"/>
                  </a:lnTo>
                  <a:lnTo>
                    <a:pt x="290" y="51"/>
                  </a:lnTo>
                  <a:lnTo>
                    <a:pt x="292" y="51"/>
                  </a:lnTo>
                  <a:lnTo>
                    <a:pt x="294" y="51"/>
                  </a:lnTo>
                  <a:lnTo>
                    <a:pt x="296" y="49"/>
                  </a:lnTo>
                  <a:lnTo>
                    <a:pt x="296" y="49"/>
                  </a:lnTo>
                  <a:lnTo>
                    <a:pt x="296" y="47"/>
                  </a:lnTo>
                  <a:lnTo>
                    <a:pt x="296" y="47"/>
                  </a:lnTo>
                  <a:lnTo>
                    <a:pt x="296" y="47"/>
                  </a:lnTo>
                  <a:lnTo>
                    <a:pt x="298" y="45"/>
                  </a:lnTo>
                  <a:lnTo>
                    <a:pt x="298" y="45"/>
                  </a:lnTo>
                  <a:lnTo>
                    <a:pt x="296" y="45"/>
                  </a:lnTo>
                  <a:lnTo>
                    <a:pt x="298" y="43"/>
                  </a:lnTo>
                  <a:lnTo>
                    <a:pt x="300" y="41"/>
                  </a:lnTo>
                  <a:lnTo>
                    <a:pt x="302" y="39"/>
                  </a:lnTo>
                  <a:lnTo>
                    <a:pt x="304" y="39"/>
                  </a:lnTo>
                  <a:lnTo>
                    <a:pt x="306" y="39"/>
                  </a:lnTo>
                  <a:lnTo>
                    <a:pt x="308" y="37"/>
                  </a:lnTo>
                  <a:lnTo>
                    <a:pt x="308" y="37"/>
                  </a:lnTo>
                  <a:lnTo>
                    <a:pt x="308" y="35"/>
                  </a:lnTo>
                  <a:lnTo>
                    <a:pt x="308" y="35"/>
                  </a:lnTo>
                  <a:lnTo>
                    <a:pt x="308" y="33"/>
                  </a:lnTo>
                  <a:lnTo>
                    <a:pt x="308" y="31"/>
                  </a:lnTo>
                  <a:lnTo>
                    <a:pt x="308" y="31"/>
                  </a:lnTo>
                  <a:lnTo>
                    <a:pt x="310" y="31"/>
                  </a:lnTo>
                  <a:lnTo>
                    <a:pt x="312" y="31"/>
                  </a:lnTo>
                  <a:lnTo>
                    <a:pt x="312" y="31"/>
                  </a:lnTo>
                  <a:lnTo>
                    <a:pt x="314" y="31"/>
                  </a:lnTo>
                  <a:lnTo>
                    <a:pt x="314" y="29"/>
                  </a:lnTo>
                  <a:lnTo>
                    <a:pt x="314" y="29"/>
                  </a:lnTo>
                  <a:lnTo>
                    <a:pt x="314" y="29"/>
                  </a:lnTo>
                  <a:lnTo>
                    <a:pt x="314" y="27"/>
                  </a:lnTo>
                  <a:lnTo>
                    <a:pt x="317" y="27"/>
                  </a:lnTo>
                  <a:lnTo>
                    <a:pt x="319" y="25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3" y="23"/>
                  </a:lnTo>
                  <a:lnTo>
                    <a:pt x="329" y="23"/>
                  </a:lnTo>
                  <a:lnTo>
                    <a:pt x="331" y="23"/>
                  </a:lnTo>
                  <a:lnTo>
                    <a:pt x="335" y="23"/>
                  </a:lnTo>
                  <a:lnTo>
                    <a:pt x="337" y="23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37" y="21"/>
                  </a:lnTo>
                  <a:lnTo>
                    <a:pt x="335" y="21"/>
                  </a:lnTo>
                  <a:lnTo>
                    <a:pt x="331" y="18"/>
                  </a:lnTo>
                  <a:lnTo>
                    <a:pt x="329" y="18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29" y="16"/>
                  </a:lnTo>
                  <a:lnTo>
                    <a:pt x="325" y="16"/>
                  </a:lnTo>
                  <a:lnTo>
                    <a:pt x="325" y="16"/>
                  </a:lnTo>
                  <a:lnTo>
                    <a:pt x="325" y="16"/>
                  </a:lnTo>
                  <a:lnTo>
                    <a:pt x="323" y="16"/>
                  </a:lnTo>
                  <a:lnTo>
                    <a:pt x="321" y="16"/>
                  </a:lnTo>
                  <a:lnTo>
                    <a:pt x="319" y="16"/>
                  </a:lnTo>
                  <a:lnTo>
                    <a:pt x="314" y="16"/>
                  </a:lnTo>
                  <a:lnTo>
                    <a:pt x="312" y="16"/>
                  </a:lnTo>
                  <a:lnTo>
                    <a:pt x="312" y="14"/>
                  </a:lnTo>
                  <a:lnTo>
                    <a:pt x="310" y="14"/>
                  </a:lnTo>
                  <a:lnTo>
                    <a:pt x="310" y="14"/>
                  </a:lnTo>
                  <a:lnTo>
                    <a:pt x="310" y="14"/>
                  </a:lnTo>
                  <a:lnTo>
                    <a:pt x="310" y="14"/>
                  </a:lnTo>
                  <a:lnTo>
                    <a:pt x="310" y="14"/>
                  </a:lnTo>
                  <a:lnTo>
                    <a:pt x="312" y="12"/>
                  </a:lnTo>
                  <a:lnTo>
                    <a:pt x="310" y="12"/>
                  </a:lnTo>
                  <a:lnTo>
                    <a:pt x="310" y="12"/>
                  </a:lnTo>
                  <a:lnTo>
                    <a:pt x="310" y="12"/>
                  </a:lnTo>
                  <a:lnTo>
                    <a:pt x="308" y="10"/>
                  </a:lnTo>
                  <a:lnTo>
                    <a:pt x="306" y="10"/>
                  </a:lnTo>
                  <a:lnTo>
                    <a:pt x="306" y="10"/>
                  </a:lnTo>
                  <a:lnTo>
                    <a:pt x="306" y="10"/>
                  </a:lnTo>
                  <a:lnTo>
                    <a:pt x="302" y="12"/>
                  </a:lnTo>
                  <a:lnTo>
                    <a:pt x="300" y="12"/>
                  </a:lnTo>
                  <a:lnTo>
                    <a:pt x="300" y="12"/>
                  </a:lnTo>
                  <a:lnTo>
                    <a:pt x="300" y="12"/>
                  </a:lnTo>
                  <a:lnTo>
                    <a:pt x="300" y="10"/>
                  </a:lnTo>
                  <a:lnTo>
                    <a:pt x="300" y="10"/>
                  </a:lnTo>
                  <a:lnTo>
                    <a:pt x="302" y="10"/>
                  </a:lnTo>
                  <a:lnTo>
                    <a:pt x="302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298" y="6"/>
                  </a:lnTo>
                  <a:lnTo>
                    <a:pt x="294" y="6"/>
                  </a:lnTo>
                  <a:lnTo>
                    <a:pt x="292" y="6"/>
                  </a:lnTo>
                  <a:lnTo>
                    <a:pt x="292" y="6"/>
                  </a:lnTo>
                  <a:lnTo>
                    <a:pt x="292" y="6"/>
                  </a:lnTo>
                  <a:lnTo>
                    <a:pt x="290" y="6"/>
                  </a:lnTo>
                  <a:lnTo>
                    <a:pt x="290" y="6"/>
                  </a:lnTo>
                  <a:lnTo>
                    <a:pt x="288" y="6"/>
                  </a:lnTo>
                  <a:lnTo>
                    <a:pt x="286" y="4"/>
                  </a:lnTo>
                  <a:lnTo>
                    <a:pt x="284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8"/>
                  </a:lnTo>
                  <a:lnTo>
                    <a:pt x="282" y="8"/>
                  </a:lnTo>
                  <a:lnTo>
                    <a:pt x="280" y="8"/>
                  </a:lnTo>
                  <a:lnTo>
                    <a:pt x="280" y="10"/>
                  </a:lnTo>
                  <a:lnTo>
                    <a:pt x="282" y="10"/>
                  </a:lnTo>
                  <a:lnTo>
                    <a:pt x="282" y="12"/>
                  </a:lnTo>
                  <a:lnTo>
                    <a:pt x="284" y="14"/>
                  </a:lnTo>
                  <a:lnTo>
                    <a:pt x="286" y="16"/>
                  </a:lnTo>
                  <a:lnTo>
                    <a:pt x="286" y="18"/>
                  </a:lnTo>
                  <a:lnTo>
                    <a:pt x="286" y="18"/>
                  </a:lnTo>
                  <a:lnTo>
                    <a:pt x="282" y="16"/>
                  </a:lnTo>
                  <a:lnTo>
                    <a:pt x="280" y="16"/>
                  </a:lnTo>
                  <a:lnTo>
                    <a:pt x="280" y="14"/>
                  </a:lnTo>
                  <a:lnTo>
                    <a:pt x="278" y="12"/>
                  </a:lnTo>
                  <a:lnTo>
                    <a:pt x="275" y="10"/>
                  </a:lnTo>
                  <a:lnTo>
                    <a:pt x="273" y="10"/>
                  </a:lnTo>
                  <a:lnTo>
                    <a:pt x="271" y="8"/>
                  </a:lnTo>
                  <a:lnTo>
                    <a:pt x="267" y="8"/>
                  </a:lnTo>
                  <a:lnTo>
                    <a:pt x="265" y="8"/>
                  </a:lnTo>
                  <a:lnTo>
                    <a:pt x="263" y="10"/>
                  </a:lnTo>
                  <a:lnTo>
                    <a:pt x="263" y="10"/>
                  </a:lnTo>
                  <a:lnTo>
                    <a:pt x="263" y="10"/>
                  </a:lnTo>
                  <a:lnTo>
                    <a:pt x="263" y="12"/>
                  </a:lnTo>
                  <a:lnTo>
                    <a:pt x="263" y="12"/>
                  </a:lnTo>
                  <a:lnTo>
                    <a:pt x="263" y="12"/>
                  </a:lnTo>
                  <a:lnTo>
                    <a:pt x="263" y="14"/>
                  </a:lnTo>
                  <a:lnTo>
                    <a:pt x="261" y="14"/>
                  </a:lnTo>
                  <a:lnTo>
                    <a:pt x="261" y="12"/>
                  </a:lnTo>
                  <a:lnTo>
                    <a:pt x="259" y="12"/>
                  </a:lnTo>
                  <a:lnTo>
                    <a:pt x="259" y="12"/>
                  </a:lnTo>
                  <a:lnTo>
                    <a:pt x="257" y="12"/>
                  </a:lnTo>
                  <a:lnTo>
                    <a:pt x="257" y="12"/>
                  </a:lnTo>
                  <a:lnTo>
                    <a:pt x="255" y="10"/>
                  </a:lnTo>
                  <a:lnTo>
                    <a:pt x="255" y="10"/>
                  </a:lnTo>
                  <a:lnTo>
                    <a:pt x="247" y="10"/>
                  </a:lnTo>
                  <a:lnTo>
                    <a:pt x="253" y="10"/>
                  </a:lnTo>
                  <a:lnTo>
                    <a:pt x="259" y="8"/>
                  </a:lnTo>
                  <a:lnTo>
                    <a:pt x="261" y="8"/>
                  </a:lnTo>
                  <a:lnTo>
                    <a:pt x="261" y="8"/>
                  </a:lnTo>
                  <a:lnTo>
                    <a:pt x="261" y="8"/>
                  </a:lnTo>
                  <a:lnTo>
                    <a:pt x="261" y="8"/>
                  </a:lnTo>
                  <a:lnTo>
                    <a:pt x="259" y="6"/>
                  </a:lnTo>
                  <a:lnTo>
                    <a:pt x="253" y="8"/>
                  </a:lnTo>
                  <a:lnTo>
                    <a:pt x="249" y="8"/>
                  </a:lnTo>
                  <a:lnTo>
                    <a:pt x="249" y="8"/>
                  </a:lnTo>
                  <a:lnTo>
                    <a:pt x="245" y="8"/>
                  </a:lnTo>
                  <a:lnTo>
                    <a:pt x="245" y="8"/>
                  </a:lnTo>
                  <a:lnTo>
                    <a:pt x="245" y="8"/>
                  </a:lnTo>
                  <a:lnTo>
                    <a:pt x="245" y="8"/>
                  </a:lnTo>
                  <a:lnTo>
                    <a:pt x="245" y="8"/>
                  </a:lnTo>
                  <a:lnTo>
                    <a:pt x="243" y="8"/>
                  </a:lnTo>
                  <a:lnTo>
                    <a:pt x="239" y="8"/>
                  </a:lnTo>
                  <a:lnTo>
                    <a:pt x="234" y="8"/>
                  </a:lnTo>
                  <a:lnTo>
                    <a:pt x="234" y="8"/>
                  </a:lnTo>
                  <a:lnTo>
                    <a:pt x="234" y="8"/>
                  </a:lnTo>
                  <a:lnTo>
                    <a:pt x="232" y="8"/>
                  </a:lnTo>
                  <a:lnTo>
                    <a:pt x="232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30" y="10"/>
                  </a:lnTo>
                  <a:close/>
                  <a:moveTo>
                    <a:pt x="448" y="4"/>
                  </a:moveTo>
                  <a:lnTo>
                    <a:pt x="458" y="2"/>
                  </a:lnTo>
                  <a:lnTo>
                    <a:pt x="458" y="2"/>
                  </a:lnTo>
                  <a:lnTo>
                    <a:pt x="456" y="2"/>
                  </a:lnTo>
                  <a:lnTo>
                    <a:pt x="454" y="2"/>
                  </a:lnTo>
                  <a:lnTo>
                    <a:pt x="452" y="2"/>
                  </a:lnTo>
                  <a:lnTo>
                    <a:pt x="438" y="4"/>
                  </a:lnTo>
                  <a:lnTo>
                    <a:pt x="438" y="4"/>
                  </a:lnTo>
                  <a:lnTo>
                    <a:pt x="448" y="4"/>
                  </a:lnTo>
                  <a:close/>
                  <a:moveTo>
                    <a:pt x="308" y="2"/>
                  </a:moveTo>
                  <a:lnTo>
                    <a:pt x="306" y="2"/>
                  </a:lnTo>
                  <a:lnTo>
                    <a:pt x="304" y="0"/>
                  </a:lnTo>
                  <a:lnTo>
                    <a:pt x="304" y="2"/>
                  </a:lnTo>
                  <a:lnTo>
                    <a:pt x="304" y="2"/>
                  </a:lnTo>
                  <a:lnTo>
                    <a:pt x="306" y="2"/>
                  </a:lnTo>
                  <a:lnTo>
                    <a:pt x="308" y="2"/>
                  </a:lnTo>
                  <a:close/>
                  <a:moveTo>
                    <a:pt x="306" y="4"/>
                  </a:moveTo>
                  <a:lnTo>
                    <a:pt x="310" y="4"/>
                  </a:lnTo>
                  <a:lnTo>
                    <a:pt x="310" y="6"/>
                  </a:lnTo>
                  <a:lnTo>
                    <a:pt x="308" y="6"/>
                  </a:lnTo>
                  <a:lnTo>
                    <a:pt x="304" y="6"/>
                  </a:lnTo>
                  <a:lnTo>
                    <a:pt x="304" y="6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10" y="8"/>
                  </a:lnTo>
                  <a:lnTo>
                    <a:pt x="312" y="8"/>
                  </a:lnTo>
                  <a:lnTo>
                    <a:pt x="317" y="8"/>
                  </a:lnTo>
                  <a:lnTo>
                    <a:pt x="319" y="8"/>
                  </a:lnTo>
                  <a:lnTo>
                    <a:pt x="323" y="8"/>
                  </a:lnTo>
                  <a:lnTo>
                    <a:pt x="325" y="8"/>
                  </a:lnTo>
                  <a:lnTo>
                    <a:pt x="327" y="8"/>
                  </a:lnTo>
                  <a:lnTo>
                    <a:pt x="331" y="8"/>
                  </a:lnTo>
                  <a:lnTo>
                    <a:pt x="329" y="8"/>
                  </a:lnTo>
                  <a:lnTo>
                    <a:pt x="329" y="10"/>
                  </a:lnTo>
                  <a:lnTo>
                    <a:pt x="329" y="10"/>
                  </a:lnTo>
                  <a:lnTo>
                    <a:pt x="325" y="10"/>
                  </a:lnTo>
                  <a:lnTo>
                    <a:pt x="323" y="10"/>
                  </a:lnTo>
                  <a:lnTo>
                    <a:pt x="321" y="10"/>
                  </a:lnTo>
                  <a:lnTo>
                    <a:pt x="321" y="10"/>
                  </a:lnTo>
                  <a:lnTo>
                    <a:pt x="321" y="10"/>
                  </a:lnTo>
                  <a:lnTo>
                    <a:pt x="323" y="10"/>
                  </a:lnTo>
                  <a:lnTo>
                    <a:pt x="325" y="12"/>
                  </a:lnTo>
                  <a:lnTo>
                    <a:pt x="327" y="12"/>
                  </a:lnTo>
                  <a:lnTo>
                    <a:pt x="331" y="12"/>
                  </a:lnTo>
                  <a:lnTo>
                    <a:pt x="331" y="12"/>
                  </a:lnTo>
                  <a:lnTo>
                    <a:pt x="333" y="12"/>
                  </a:lnTo>
                  <a:lnTo>
                    <a:pt x="343" y="12"/>
                  </a:lnTo>
                  <a:lnTo>
                    <a:pt x="351" y="12"/>
                  </a:lnTo>
                  <a:lnTo>
                    <a:pt x="351" y="14"/>
                  </a:lnTo>
                  <a:lnTo>
                    <a:pt x="351" y="14"/>
                  </a:lnTo>
                  <a:lnTo>
                    <a:pt x="353" y="14"/>
                  </a:lnTo>
                  <a:lnTo>
                    <a:pt x="362" y="16"/>
                  </a:lnTo>
                  <a:lnTo>
                    <a:pt x="364" y="16"/>
                  </a:lnTo>
                  <a:lnTo>
                    <a:pt x="366" y="14"/>
                  </a:lnTo>
                  <a:lnTo>
                    <a:pt x="368" y="14"/>
                  </a:lnTo>
                  <a:lnTo>
                    <a:pt x="368" y="14"/>
                  </a:lnTo>
                  <a:lnTo>
                    <a:pt x="372" y="14"/>
                  </a:lnTo>
                  <a:lnTo>
                    <a:pt x="372" y="14"/>
                  </a:lnTo>
                  <a:lnTo>
                    <a:pt x="376" y="14"/>
                  </a:lnTo>
                  <a:lnTo>
                    <a:pt x="376" y="14"/>
                  </a:lnTo>
                  <a:lnTo>
                    <a:pt x="380" y="12"/>
                  </a:lnTo>
                  <a:lnTo>
                    <a:pt x="382" y="12"/>
                  </a:lnTo>
                  <a:lnTo>
                    <a:pt x="382" y="10"/>
                  </a:lnTo>
                  <a:lnTo>
                    <a:pt x="384" y="10"/>
                  </a:lnTo>
                  <a:lnTo>
                    <a:pt x="386" y="10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4"/>
                  </a:lnTo>
                  <a:lnTo>
                    <a:pt x="392" y="4"/>
                  </a:lnTo>
                  <a:lnTo>
                    <a:pt x="390" y="4"/>
                  </a:lnTo>
                  <a:lnTo>
                    <a:pt x="386" y="4"/>
                  </a:lnTo>
                  <a:lnTo>
                    <a:pt x="380" y="4"/>
                  </a:lnTo>
                  <a:lnTo>
                    <a:pt x="380" y="4"/>
                  </a:lnTo>
                  <a:lnTo>
                    <a:pt x="378" y="2"/>
                  </a:lnTo>
                  <a:lnTo>
                    <a:pt x="376" y="2"/>
                  </a:lnTo>
                  <a:lnTo>
                    <a:pt x="372" y="2"/>
                  </a:lnTo>
                  <a:lnTo>
                    <a:pt x="370" y="2"/>
                  </a:lnTo>
                  <a:lnTo>
                    <a:pt x="370" y="2"/>
                  </a:lnTo>
                  <a:lnTo>
                    <a:pt x="368" y="2"/>
                  </a:lnTo>
                  <a:lnTo>
                    <a:pt x="368" y="2"/>
                  </a:lnTo>
                  <a:lnTo>
                    <a:pt x="366" y="2"/>
                  </a:lnTo>
                  <a:lnTo>
                    <a:pt x="366" y="0"/>
                  </a:lnTo>
                  <a:lnTo>
                    <a:pt x="364" y="2"/>
                  </a:lnTo>
                  <a:lnTo>
                    <a:pt x="364" y="2"/>
                  </a:lnTo>
                  <a:lnTo>
                    <a:pt x="364" y="2"/>
                  </a:lnTo>
                  <a:lnTo>
                    <a:pt x="362" y="2"/>
                  </a:lnTo>
                  <a:lnTo>
                    <a:pt x="360" y="2"/>
                  </a:lnTo>
                  <a:lnTo>
                    <a:pt x="360" y="2"/>
                  </a:lnTo>
                  <a:lnTo>
                    <a:pt x="356" y="4"/>
                  </a:lnTo>
                  <a:lnTo>
                    <a:pt x="353" y="4"/>
                  </a:lnTo>
                  <a:lnTo>
                    <a:pt x="353" y="2"/>
                  </a:lnTo>
                  <a:lnTo>
                    <a:pt x="353" y="0"/>
                  </a:lnTo>
                  <a:lnTo>
                    <a:pt x="356" y="0"/>
                  </a:lnTo>
                  <a:lnTo>
                    <a:pt x="353" y="0"/>
                  </a:lnTo>
                  <a:lnTo>
                    <a:pt x="351" y="0"/>
                  </a:lnTo>
                  <a:lnTo>
                    <a:pt x="351" y="0"/>
                  </a:lnTo>
                  <a:lnTo>
                    <a:pt x="349" y="0"/>
                  </a:lnTo>
                  <a:lnTo>
                    <a:pt x="349" y="0"/>
                  </a:lnTo>
                  <a:lnTo>
                    <a:pt x="347" y="0"/>
                  </a:lnTo>
                  <a:lnTo>
                    <a:pt x="345" y="0"/>
                  </a:lnTo>
                  <a:lnTo>
                    <a:pt x="345" y="0"/>
                  </a:lnTo>
                  <a:lnTo>
                    <a:pt x="347" y="2"/>
                  </a:lnTo>
                  <a:lnTo>
                    <a:pt x="347" y="2"/>
                  </a:lnTo>
                  <a:lnTo>
                    <a:pt x="345" y="4"/>
                  </a:lnTo>
                  <a:lnTo>
                    <a:pt x="345" y="4"/>
                  </a:lnTo>
                  <a:lnTo>
                    <a:pt x="345" y="4"/>
                  </a:lnTo>
                  <a:lnTo>
                    <a:pt x="341" y="4"/>
                  </a:lnTo>
                  <a:lnTo>
                    <a:pt x="339" y="4"/>
                  </a:lnTo>
                  <a:lnTo>
                    <a:pt x="339" y="4"/>
                  </a:lnTo>
                  <a:lnTo>
                    <a:pt x="339" y="2"/>
                  </a:lnTo>
                  <a:lnTo>
                    <a:pt x="337" y="2"/>
                  </a:lnTo>
                  <a:lnTo>
                    <a:pt x="333" y="2"/>
                  </a:lnTo>
                  <a:lnTo>
                    <a:pt x="331" y="2"/>
                  </a:lnTo>
                  <a:lnTo>
                    <a:pt x="329" y="2"/>
                  </a:lnTo>
                  <a:lnTo>
                    <a:pt x="327" y="0"/>
                  </a:lnTo>
                  <a:lnTo>
                    <a:pt x="325" y="0"/>
                  </a:lnTo>
                  <a:lnTo>
                    <a:pt x="323" y="0"/>
                  </a:lnTo>
                  <a:lnTo>
                    <a:pt x="321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2"/>
                  </a:lnTo>
                  <a:lnTo>
                    <a:pt x="321" y="2"/>
                  </a:lnTo>
                  <a:lnTo>
                    <a:pt x="321" y="2"/>
                  </a:lnTo>
                  <a:lnTo>
                    <a:pt x="319" y="2"/>
                  </a:lnTo>
                  <a:lnTo>
                    <a:pt x="319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2" y="2"/>
                  </a:lnTo>
                  <a:lnTo>
                    <a:pt x="314" y="2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4" y="4"/>
                  </a:lnTo>
                  <a:lnTo>
                    <a:pt x="312" y="4"/>
                  </a:lnTo>
                  <a:lnTo>
                    <a:pt x="310" y="2"/>
                  </a:lnTo>
                  <a:lnTo>
                    <a:pt x="302" y="4"/>
                  </a:lnTo>
                  <a:lnTo>
                    <a:pt x="302" y="4"/>
                  </a:lnTo>
                  <a:lnTo>
                    <a:pt x="304" y="4"/>
                  </a:lnTo>
                  <a:lnTo>
                    <a:pt x="306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54" name="Freeform 90">
              <a:extLst>
                <a:ext uri="{FF2B5EF4-FFF2-40B4-BE49-F238E27FC236}">
                  <a16:creationId xmlns:a16="http://schemas.microsoft.com/office/drawing/2014/main" id="{F96C6084-FFF1-4445-BBFF-213DF9959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59" y="3230762"/>
              <a:ext cx="229359" cy="210345"/>
            </a:xfrm>
            <a:custGeom>
              <a:avLst/>
              <a:gdLst>
                <a:gd name="T0" fmla="*/ 74 w 193"/>
                <a:gd name="T1" fmla="*/ 173 h 177"/>
                <a:gd name="T2" fmla="*/ 189 w 193"/>
                <a:gd name="T3" fmla="*/ 29 h 177"/>
                <a:gd name="T4" fmla="*/ 185 w 193"/>
                <a:gd name="T5" fmla="*/ 23 h 177"/>
                <a:gd name="T6" fmla="*/ 172 w 193"/>
                <a:gd name="T7" fmla="*/ 4 h 177"/>
                <a:gd name="T8" fmla="*/ 160 w 193"/>
                <a:gd name="T9" fmla="*/ 12 h 177"/>
                <a:gd name="T10" fmla="*/ 144 w 193"/>
                <a:gd name="T11" fmla="*/ 10 h 177"/>
                <a:gd name="T12" fmla="*/ 119 w 193"/>
                <a:gd name="T13" fmla="*/ 12 h 177"/>
                <a:gd name="T14" fmla="*/ 94 w 193"/>
                <a:gd name="T15" fmla="*/ 14 h 177"/>
                <a:gd name="T16" fmla="*/ 76 w 193"/>
                <a:gd name="T17" fmla="*/ 14 h 177"/>
                <a:gd name="T18" fmla="*/ 68 w 193"/>
                <a:gd name="T19" fmla="*/ 17 h 177"/>
                <a:gd name="T20" fmla="*/ 59 w 193"/>
                <a:gd name="T21" fmla="*/ 4 h 177"/>
                <a:gd name="T22" fmla="*/ 45 w 193"/>
                <a:gd name="T23" fmla="*/ 0 h 177"/>
                <a:gd name="T24" fmla="*/ 31 w 193"/>
                <a:gd name="T25" fmla="*/ 4 h 177"/>
                <a:gd name="T26" fmla="*/ 22 w 193"/>
                <a:gd name="T27" fmla="*/ 19 h 177"/>
                <a:gd name="T28" fmla="*/ 16 w 193"/>
                <a:gd name="T29" fmla="*/ 33 h 177"/>
                <a:gd name="T30" fmla="*/ 16 w 193"/>
                <a:gd name="T31" fmla="*/ 39 h 177"/>
                <a:gd name="T32" fmla="*/ 16 w 193"/>
                <a:gd name="T33" fmla="*/ 49 h 177"/>
                <a:gd name="T34" fmla="*/ 18 w 193"/>
                <a:gd name="T35" fmla="*/ 58 h 177"/>
                <a:gd name="T36" fmla="*/ 16 w 193"/>
                <a:gd name="T37" fmla="*/ 64 h 177"/>
                <a:gd name="T38" fmla="*/ 16 w 193"/>
                <a:gd name="T39" fmla="*/ 72 h 177"/>
                <a:gd name="T40" fmla="*/ 10 w 193"/>
                <a:gd name="T41" fmla="*/ 78 h 177"/>
                <a:gd name="T42" fmla="*/ 6 w 193"/>
                <a:gd name="T43" fmla="*/ 88 h 177"/>
                <a:gd name="T44" fmla="*/ 0 w 193"/>
                <a:gd name="T45" fmla="*/ 101 h 177"/>
                <a:gd name="T46" fmla="*/ 2 w 193"/>
                <a:gd name="T47" fmla="*/ 115 h 177"/>
                <a:gd name="T48" fmla="*/ 2 w 193"/>
                <a:gd name="T49" fmla="*/ 123 h 177"/>
                <a:gd name="T50" fmla="*/ 2 w 193"/>
                <a:gd name="T51" fmla="*/ 132 h 177"/>
                <a:gd name="T52" fmla="*/ 10 w 193"/>
                <a:gd name="T53" fmla="*/ 138 h 177"/>
                <a:gd name="T54" fmla="*/ 14 w 193"/>
                <a:gd name="T55" fmla="*/ 136 h 177"/>
                <a:gd name="T56" fmla="*/ 35 w 193"/>
                <a:gd name="T57" fmla="*/ 144 h 177"/>
                <a:gd name="T58" fmla="*/ 43 w 193"/>
                <a:gd name="T59" fmla="*/ 152 h 177"/>
                <a:gd name="T60" fmla="*/ 45 w 193"/>
                <a:gd name="T61" fmla="*/ 152 h 177"/>
                <a:gd name="T62" fmla="*/ 43 w 193"/>
                <a:gd name="T63" fmla="*/ 156 h 177"/>
                <a:gd name="T64" fmla="*/ 43 w 193"/>
                <a:gd name="T65" fmla="*/ 158 h 177"/>
                <a:gd name="T66" fmla="*/ 43 w 193"/>
                <a:gd name="T67" fmla="*/ 160 h 177"/>
                <a:gd name="T68" fmla="*/ 53 w 193"/>
                <a:gd name="T69" fmla="*/ 175 h 177"/>
                <a:gd name="T70" fmla="*/ 57 w 193"/>
                <a:gd name="T71" fmla="*/ 173 h 177"/>
                <a:gd name="T72" fmla="*/ 61 w 193"/>
                <a:gd name="T73" fmla="*/ 175 h 177"/>
                <a:gd name="T74" fmla="*/ 66 w 193"/>
                <a:gd name="T75" fmla="*/ 175 h 177"/>
                <a:gd name="T76" fmla="*/ 66 w 193"/>
                <a:gd name="T77" fmla="*/ 169 h 177"/>
                <a:gd name="T78" fmla="*/ 70 w 193"/>
                <a:gd name="T79" fmla="*/ 175 h 177"/>
                <a:gd name="T80" fmla="*/ 74 w 193"/>
                <a:gd name="T81" fmla="*/ 171 h 177"/>
                <a:gd name="T82" fmla="*/ 80 w 193"/>
                <a:gd name="T83" fmla="*/ 171 h 177"/>
                <a:gd name="T84" fmla="*/ 90 w 193"/>
                <a:gd name="T85" fmla="*/ 165 h 177"/>
                <a:gd name="T86" fmla="*/ 94 w 193"/>
                <a:gd name="T87" fmla="*/ 169 h 177"/>
                <a:gd name="T88" fmla="*/ 100 w 193"/>
                <a:gd name="T89" fmla="*/ 154 h 177"/>
                <a:gd name="T90" fmla="*/ 109 w 193"/>
                <a:gd name="T91" fmla="*/ 140 h 177"/>
                <a:gd name="T92" fmla="*/ 115 w 193"/>
                <a:gd name="T93" fmla="*/ 132 h 177"/>
                <a:gd name="T94" fmla="*/ 121 w 193"/>
                <a:gd name="T95" fmla="*/ 128 h 177"/>
                <a:gd name="T96" fmla="*/ 127 w 193"/>
                <a:gd name="T97" fmla="*/ 126 h 177"/>
                <a:gd name="T98" fmla="*/ 135 w 193"/>
                <a:gd name="T99" fmla="*/ 132 h 177"/>
                <a:gd name="T100" fmla="*/ 139 w 193"/>
                <a:gd name="T101" fmla="*/ 136 h 177"/>
                <a:gd name="T102" fmla="*/ 144 w 193"/>
                <a:gd name="T103" fmla="*/ 130 h 177"/>
                <a:gd name="T104" fmla="*/ 148 w 193"/>
                <a:gd name="T105" fmla="*/ 121 h 177"/>
                <a:gd name="T106" fmla="*/ 154 w 193"/>
                <a:gd name="T107" fmla="*/ 109 h 177"/>
                <a:gd name="T108" fmla="*/ 162 w 193"/>
                <a:gd name="T109" fmla="*/ 97 h 177"/>
                <a:gd name="T110" fmla="*/ 164 w 193"/>
                <a:gd name="T111" fmla="*/ 84 h 177"/>
                <a:gd name="T112" fmla="*/ 170 w 193"/>
                <a:gd name="T113" fmla="*/ 74 h 177"/>
                <a:gd name="T114" fmla="*/ 176 w 193"/>
                <a:gd name="T115" fmla="*/ 60 h 177"/>
                <a:gd name="T116" fmla="*/ 187 w 193"/>
                <a:gd name="T117" fmla="*/ 47 h 177"/>
                <a:gd name="T118" fmla="*/ 193 w 193"/>
                <a:gd name="T119" fmla="*/ 3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3" h="177">
                  <a:moveTo>
                    <a:pt x="74" y="173"/>
                  </a:moveTo>
                  <a:lnTo>
                    <a:pt x="72" y="175"/>
                  </a:lnTo>
                  <a:lnTo>
                    <a:pt x="74" y="175"/>
                  </a:lnTo>
                  <a:lnTo>
                    <a:pt x="76" y="175"/>
                  </a:lnTo>
                  <a:lnTo>
                    <a:pt x="76" y="173"/>
                  </a:lnTo>
                  <a:lnTo>
                    <a:pt x="74" y="173"/>
                  </a:lnTo>
                  <a:lnTo>
                    <a:pt x="74" y="173"/>
                  </a:lnTo>
                  <a:close/>
                  <a:moveTo>
                    <a:pt x="193" y="33"/>
                  </a:moveTo>
                  <a:lnTo>
                    <a:pt x="193" y="31"/>
                  </a:lnTo>
                  <a:lnTo>
                    <a:pt x="193" y="31"/>
                  </a:lnTo>
                  <a:lnTo>
                    <a:pt x="191" y="29"/>
                  </a:lnTo>
                  <a:lnTo>
                    <a:pt x="189" y="29"/>
                  </a:lnTo>
                  <a:lnTo>
                    <a:pt x="187" y="29"/>
                  </a:lnTo>
                  <a:lnTo>
                    <a:pt x="187" y="27"/>
                  </a:lnTo>
                  <a:lnTo>
                    <a:pt x="187" y="27"/>
                  </a:lnTo>
                  <a:lnTo>
                    <a:pt x="187" y="27"/>
                  </a:lnTo>
                  <a:lnTo>
                    <a:pt x="187" y="25"/>
                  </a:lnTo>
                  <a:lnTo>
                    <a:pt x="185" y="23"/>
                  </a:lnTo>
                  <a:lnTo>
                    <a:pt x="185" y="14"/>
                  </a:lnTo>
                  <a:lnTo>
                    <a:pt x="183" y="12"/>
                  </a:lnTo>
                  <a:lnTo>
                    <a:pt x="178" y="8"/>
                  </a:lnTo>
                  <a:lnTo>
                    <a:pt x="176" y="4"/>
                  </a:lnTo>
                  <a:lnTo>
                    <a:pt x="174" y="4"/>
                  </a:lnTo>
                  <a:lnTo>
                    <a:pt x="172" y="4"/>
                  </a:lnTo>
                  <a:lnTo>
                    <a:pt x="170" y="6"/>
                  </a:lnTo>
                  <a:lnTo>
                    <a:pt x="168" y="6"/>
                  </a:lnTo>
                  <a:lnTo>
                    <a:pt x="164" y="8"/>
                  </a:lnTo>
                  <a:lnTo>
                    <a:pt x="162" y="10"/>
                  </a:lnTo>
                  <a:lnTo>
                    <a:pt x="162" y="10"/>
                  </a:lnTo>
                  <a:lnTo>
                    <a:pt x="160" y="12"/>
                  </a:lnTo>
                  <a:lnTo>
                    <a:pt x="158" y="14"/>
                  </a:lnTo>
                  <a:lnTo>
                    <a:pt x="156" y="14"/>
                  </a:lnTo>
                  <a:lnTo>
                    <a:pt x="152" y="14"/>
                  </a:lnTo>
                  <a:lnTo>
                    <a:pt x="150" y="12"/>
                  </a:lnTo>
                  <a:lnTo>
                    <a:pt x="146" y="10"/>
                  </a:lnTo>
                  <a:lnTo>
                    <a:pt x="144" y="10"/>
                  </a:lnTo>
                  <a:lnTo>
                    <a:pt x="142" y="10"/>
                  </a:lnTo>
                  <a:lnTo>
                    <a:pt x="133" y="10"/>
                  </a:lnTo>
                  <a:lnTo>
                    <a:pt x="127" y="10"/>
                  </a:lnTo>
                  <a:lnTo>
                    <a:pt x="123" y="10"/>
                  </a:lnTo>
                  <a:lnTo>
                    <a:pt x="121" y="12"/>
                  </a:lnTo>
                  <a:lnTo>
                    <a:pt x="119" y="12"/>
                  </a:lnTo>
                  <a:lnTo>
                    <a:pt x="117" y="14"/>
                  </a:lnTo>
                  <a:lnTo>
                    <a:pt x="113" y="21"/>
                  </a:lnTo>
                  <a:lnTo>
                    <a:pt x="107" y="21"/>
                  </a:lnTo>
                  <a:lnTo>
                    <a:pt x="102" y="19"/>
                  </a:lnTo>
                  <a:lnTo>
                    <a:pt x="98" y="19"/>
                  </a:lnTo>
                  <a:lnTo>
                    <a:pt x="94" y="14"/>
                  </a:lnTo>
                  <a:lnTo>
                    <a:pt x="88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0" y="17"/>
                  </a:lnTo>
                  <a:lnTo>
                    <a:pt x="70" y="17"/>
                  </a:lnTo>
                  <a:lnTo>
                    <a:pt x="68" y="17"/>
                  </a:lnTo>
                  <a:lnTo>
                    <a:pt x="68" y="14"/>
                  </a:lnTo>
                  <a:lnTo>
                    <a:pt x="63" y="10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6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7" y="4"/>
                  </a:lnTo>
                  <a:lnTo>
                    <a:pt x="51" y="2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3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6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4"/>
                  </a:lnTo>
                  <a:lnTo>
                    <a:pt x="22" y="19"/>
                  </a:lnTo>
                  <a:lnTo>
                    <a:pt x="20" y="21"/>
                  </a:lnTo>
                  <a:lnTo>
                    <a:pt x="18" y="23"/>
                  </a:lnTo>
                  <a:lnTo>
                    <a:pt x="16" y="25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5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41"/>
                  </a:lnTo>
                  <a:lnTo>
                    <a:pt x="14" y="41"/>
                  </a:lnTo>
                  <a:lnTo>
                    <a:pt x="14" y="43"/>
                  </a:lnTo>
                  <a:lnTo>
                    <a:pt x="14" y="45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0" y="76"/>
                  </a:lnTo>
                  <a:lnTo>
                    <a:pt x="10" y="78"/>
                  </a:lnTo>
                  <a:lnTo>
                    <a:pt x="10" y="80"/>
                  </a:lnTo>
                  <a:lnTo>
                    <a:pt x="8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8" y="86"/>
                  </a:lnTo>
                  <a:lnTo>
                    <a:pt x="6" y="88"/>
                  </a:lnTo>
                  <a:lnTo>
                    <a:pt x="4" y="88"/>
                  </a:lnTo>
                  <a:lnTo>
                    <a:pt x="2" y="88"/>
                  </a:lnTo>
                  <a:lnTo>
                    <a:pt x="2" y="95"/>
                  </a:lnTo>
                  <a:lnTo>
                    <a:pt x="2" y="97"/>
                  </a:lnTo>
                  <a:lnTo>
                    <a:pt x="2" y="101"/>
                  </a:lnTo>
                  <a:lnTo>
                    <a:pt x="0" y="101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0" y="111"/>
                  </a:lnTo>
                  <a:lnTo>
                    <a:pt x="0" y="111"/>
                  </a:lnTo>
                  <a:lnTo>
                    <a:pt x="2" y="113"/>
                  </a:lnTo>
                  <a:lnTo>
                    <a:pt x="2" y="115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23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30"/>
                  </a:lnTo>
                  <a:lnTo>
                    <a:pt x="2" y="132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2" y="138"/>
                  </a:lnTo>
                  <a:lnTo>
                    <a:pt x="10" y="138"/>
                  </a:lnTo>
                  <a:lnTo>
                    <a:pt x="12" y="136"/>
                  </a:lnTo>
                  <a:lnTo>
                    <a:pt x="14" y="136"/>
                  </a:lnTo>
                  <a:lnTo>
                    <a:pt x="16" y="134"/>
                  </a:lnTo>
                  <a:lnTo>
                    <a:pt x="18" y="134"/>
                  </a:lnTo>
                  <a:lnTo>
                    <a:pt x="14" y="136"/>
                  </a:lnTo>
                  <a:lnTo>
                    <a:pt x="14" y="136"/>
                  </a:lnTo>
                  <a:lnTo>
                    <a:pt x="12" y="138"/>
                  </a:lnTo>
                  <a:lnTo>
                    <a:pt x="14" y="138"/>
                  </a:lnTo>
                  <a:lnTo>
                    <a:pt x="24" y="138"/>
                  </a:lnTo>
                  <a:lnTo>
                    <a:pt x="29" y="138"/>
                  </a:lnTo>
                  <a:lnTo>
                    <a:pt x="33" y="142"/>
                  </a:lnTo>
                  <a:lnTo>
                    <a:pt x="35" y="144"/>
                  </a:lnTo>
                  <a:lnTo>
                    <a:pt x="39" y="148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52"/>
                  </a:lnTo>
                  <a:lnTo>
                    <a:pt x="41" y="152"/>
                  </a:lnTo>
                  <a:lnTo>
                    <a:pt x="43" y="152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3" y="152"/>
                  </a:lnTo>
                  <a:lnTo>
                    <a:pt x="43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3" y="152"/>
                  </a:lnTo>
                  <a:lnTo>
                    <a:pt x="41" y="152"/>
                  </a:lnTo>
                  <a:lnTo>
                    <a:pt x="41" y="154"/>
                  </a:lnTo>
                  <a:lnTo>
                    <a:pt x="41" y="154"/>
                  </a:lnTo>
                  <a:lnTo>
                    <a:pt x="43" y="156"/>
                  </a:lnTo>
                  <a:lnTo>
                    <a:pt x="47" y="154"/>
                  </a:lnTo>
                  <a:lnTo>
                    <a:pt x="47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3" y="158"/>
                  </a:lnTo>
                  <a:lnTo>
                    <a:pt x="43" y="160"/>
                  </a:lnTo>
                  <a:lnTo>
                    <a:pt x="45" y="160"/>
                  </a:lnTo>
                  <a:lnTo>
                    <a:pt x="45" y="160"/>
                  </a:lnTo>
                  <a:lnTo>
                    <a:pt x="45" y="160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5" y="165"/>
                  </a:lnTo>
                  <a:lnTo>
                    <a:pt x="45" y="167"/>
                  </a:lnTo>
                  <a:lnTo>
                    <a:pt x="47" y="169"/>
                  </a:lnTo>
                  <a:lnTo>
                    <a:pt x="47" y="171"/>
                  </a:lnTo>
                  <a:lnTo>
                    <a:pt x="51" y="173"/>
                  </a:lnTo>
                  <a:lnTo>
                    <a:pt x="53" y="175"/>
                  </a:lnTo>
                  <a:lnTo>
                    <a:pt x="53" y="175"/>
                  </a:lnTo>
                  <a:lnTo>
                    <a:pt x="55" y="177"/>
                  </a:lnTo>
                  <a:lnTo>
                    <a:pt x="57" y="177"/>
                  </a:lnTo>
                  <a:lnTo>
                    <a:pt x="57" y="177"/>
                  </a:lnTo>
                  <a:lnTo>
                    <a:pt x="57" y="175"/>
                  </a:lnTo>
                  <a:lnTo>
                    <a:pt x="57" y="173"/>
                  </a:lnTo>
                  <a:lnTo>
                    <a:pt x="57" y="175"/>
                  </a:lnTo>
                  <a:lnTo>
                    <a:pt x="57" y="175"/>
                  </a:lnTo>
                  <a:lnTo>
                    <a:pt x="57" y="177"/>
                  </a:lnTo>
                  <a:lnTo>
                    <a:pt x="59" y="177"/>
                  </a:lnTo>
                  <a:lnTo>
                    <a:pt x="61" y="175"/>
                  </a:lnTo>
                  <a:lnTo>
                    <a:pt x="61" y="175"/>
                  </a:lnTo>
                  <a:lnTo>
                    <a:pt x="63" y="175"/>
                  </a:lnTo>
                  <a:lnTo>
                    <a:pt x="63" y="173"/>
                  </a:lnTo>
                  <a:lnTo>
                    <a:pt x="63" y="173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66" y="175"/>
                  </a:lnTo>
                  <a:lnTo>
                    <a:pt x="66" y="175"/>
                  </a:lnTo>
                  <a:lnTo>
                    <a:pt x="68" y="175"/>
                  </a:lnTo>
                  <a:lnTo>
                    <a:pt x="68" y="173"/>
                  </a:lnTo>
                  <a:lnTo>
                    <a:pt x="68" y="171"/>
                  </a:lnTo>
                  <a:lnTo>
                    <a:pt x="68" y="169"/>
                  </a:lnTo>
                  <a:lnTo>
                    <a:pt x="66" y="169"/>
                  </a:lnTo>
                  <a:lnTo>
                    <a:pt x="68" y="169"/>
                  </a:lnTo>
                  <a:lnTo>
                    <a:pt x="68" y="171"/>
                  </a:lnTo>
                  <a:lnTo>
                    <a:pt x="68" y="173"/>
                  </a:lnTo>
                  <a:lnTo>
                    <a:pt x="68" y="173"/>
                  </a:lnTo>
                  <a:lnTo>
                    <a:pt x="70" y="175"/>
                  </a:lnTo>
                  <a:lnTo>
                    <a:pt x="70" y="175"/>
                  </a:lnTo>
                  <a:lnTo>
                    <a:pt x="72" y="173"/>
                  </a:lnTo>
                  <a:lnTo>
                    <a:pt x="72" y="171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4" y="171"/>
                  </a:lnTo>
                  <a:lnTo>
                    <a:pt x="74" y="171"/>
                  </a:lnTo>
                  <a:lnTo>
                    <a:pt x="78" y="171"/>
                  </a:lnTo>
                  <a:lnTo>
                    <a:pt x="78" y="171"/>
                  </a:lnTo>
                  <a:lnTo>
                    <a:pt x="78" y="171"/>
                  </a:lnTo>
                  <a:lnTo>
                    <a:pt x="78" y="169"/>
                  </a:lnTo>
                  <a:lnTo>
                    <a:pt x="80" y="171"/>
                  </a:lnTo>
                  <a:lnTo>
                    <a:pt x="80" y="173"/>
                  </a:lnTo>
                  <a:lnTo>
                    <a:pt x="84" y="173"/>
                  </a:lnTo>
                  <a:lnTo>
                    <a:pt x="86" y="171"/>
                  </a:lnTo>
                  <a:lnTo>
                    <a:pt x="90" y="171"/>
                  </a:lnTo>
                  <a:lnTo>
                    <a:pt x="92" y="169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2" y="169"/>
                  </a:lnTo>
                  <a:lnTo>
                    <a:pt x="94" y="169"/>
                  </a:lnTo>
                  <a:lnTo>
                    <a:pt x="94" y="169"/>
                  </a:lnTo>
                  <a:lnTo>
                    <a:pt x="94" y="169"/>
                  </a:lnTo>
                  <a:lnTo>
                    <a:pt x="96" y="167"/>
                  </a:lnTo>
                  <a:lnTo>
                    <a:pt x="96" y="165"/>
                  </a:lnTo>
                  <a:lnTo>
                    <a:pt x="98" y="163"/>
                  </a:lnTo>
                  <a:lnTo>
                    <a:pt x="98" y="160"/>
                  </a:lnTo>
                  <a:lnTo>
                    <a:pt x="100" y="154"/>
                  </a:lnTo>
                  <a:lnTo>
                    <a:pt x="100" y="152"/>
                  </a:lnTo>
                  <a:lnTo>
                    <a:pt x="100" y="148"/>
                  </a:lnTo>
                  <a:lnTo>
                    <a:pt x="102" y="146"/>
                  </a:lnTo>
                  <a:lnTo>
                    <a:pt x="102" y="144"/>
                  </a:lnTo>
                  <a:lnTo>
                    <a:pt x="107" y="142"/>
                  </a:lnTo>
                  <a:lnTo>
                    <a:pt x="109" y="140"/>
                  </a:lnTo>
                  <a:lnTo>
                    <a:pt x="109" y="138"/>
                  </a:lnTo>
                  <a:lnTo>
                    <a:pt x="111" y="138"/>
                  </a:lnTo>
                  <a:lnTo>
                    <a:pt x="111" y="136"/>
                  </a:lnTo>
                  <a:lnTo>
                    <a:pt x="113" y="136"/>
                  </a:lnTo>
                  <a:lnTo>
                    <a:pt x="115" y="134"/>
                  </a:lnTo>
                  <a:lnTo>
                    <a:pt x="115" y="132"/>
                  </a:lnTo>
                  <a:lnTo>
                    <a:pt x="115" y="130"/>
                  </a:lnTo>
                  <a:lnTo>
                    <a:pt x="117" y="130"/>
                  </a:lnTo>
                  <a:lnTo>
                    <a:pt x="119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3" y="130"/>
                  </a:lnTo>
                  <a:lnTo>
                    <a:pt x="125" y="130"/>
                  </a:lnTo>
                  <a:lnTo>
                    <a:pt x="127" y="130"/>
                  </a:lnTo>
                  <a:lnTo>
                    <a:pt x="127" y="128"/>
                  </a:lnTo>
                  <a:lnTo>
                    <a:pt x="127" y="126"/>
                  </a:lnTo>
                  <a:lnTo>
                    <a:pt x="127" y="126"/>
                  </a:lnTo>
                  <a:lnTo>
                    <a:pt x="129" y="126"/>
                  </a:lnTo>
                  <a:lnTo>
                    <a:pt x="131" y="128"/>
                  </a:lnTo>
                  <a:lnTo>
                    <a:pt x="133" y="130"/>
                  </a:lnTo>
                  <a:lnTo>
                    <a:pt x="133" y="132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5" y="136"/>
                  </a:lnTo>
                  <a:lnTo>
                    <a:pt x="137" y="136"/>
                  </a:lnTo>
                  <a:lnTo>
                    <a:pt x="137" y="138"/>
                  </a:lnTo>
                  <a:lnTo>
                    <a:pt x="139" y="136"/>
                  </a:lnTo>
                  <a:lnTo>
                    <a:pt x="139" y="136"/>
                  </a:lnTo>
                  <a:lnTo>
                    <a:pt x="142" y="136"/>
                  </a:lnTo>
                  <a:lnTo>
                    <a:pt x="142" y="134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0"/>
                  </a:lnTo>
                  <a:lnTo>
                    <a:pt x="144" y="130"/>
                  </a:lnTo>
                  <a:lnTo>
                    <a:pt x="146" y="128"/>
                  </a:lnTo>
                  <a:lnTo>
                    <a:pt x="148" y="126"/>
                  </a:lnTo>
                  <a:lnTo>
                    <a:pt x="148" y="123"/>
                  </a:lnTo>
                  <a:lnTo>
                    <a:pt x="148" y="123"/>
                  </a:lnTo>
                  <a:lnTo>
                    <a:pt x="148" y="123"/>
                  </a:lnTo>
                  <a:lnTo>
                    <a:pt x="148" y="121"/>
                  </a:lnTo>
                  <a:lnTo>
                    <a:pt x="148" y="119"/>
                  </a:lnTo>
                  <a:lnTo>
                    <a:pt x="148" y="119"/>
                  </a:lnTo>
                  <a:lnTo>
                    <a:pt x="152" y="115"/>
                  </a:lnTo>
                  <a:lnTo>
                    <a:pt x="152" y="115"/>
                  </a:lnTo>
                  <a:lnTo>
                    <a:pt x="152" y="113"/>
                  </a:lnTo>
                  <a:lnTo>
                    <a:pt x="154" y="109"/>
                  </a:lnTo>
                  <a:lnTo>
                    <a:pt x="154" y="105"/>
                  </a:lnTo>
                  <a:lnTo>
                    <a:pt x="154" y="103"/>
                  </a:lnTo>
                  <a:lnTo>
                    <a:pt x="156" y="101"/>
                  </a:lnTo>
                  <a:lnTo>
                    <a:pt x="158" y="97"/>
                  </a:lnTo>
                  <a:lnTo>
                    <a:pt x="160" y="97"/>
                  </a:lnTo>
                  <a:lnTo>
                    <a:pt x="162" y="97"/>
                  </a:lnTo>
                  <a:lnTo>
                    <a:pt x="162" y="95"/>
                  </a:lnTo>
                  <a:lnTo>
                    <a:pt x="164" y="93"/>
                  </a:lnTo>
                  <a:lnTo>
                    <a:pt x="164" y="93"/>
                  </a:lnTo>
                  <a:lnTo>
                    <a:pt x="164" y="91"/>
                  </a:lnTo>
                  <a:lnTo>
                    <a:pt x="164" y="86"/>
                  </a:lnTo>
                  <a:lnTo>
                    <a:pt x="164" y="84"/>
                  </a:lnTo>
                  <a:lnTo>
                    <a:pt x="166" y="82"/>
                  </a:lnTo>
                  <a:lnTo>
                    <a:pt x="168" y="80"/>
                  </a:lnTo>
                  <a:lnTo>
                    <a:pt x="170" y="80"/>
                  </a:lnTo>
                  <a:lnTo>
                    <a:pt x="170" y="80"/>
                  </a:lnTo>
                  <a:lnTo>
                    <a:pt x="170" y="78"/>
                  </a:lnTo>
                  <a:lnTo>
                    <a:pt x="170" y="74"/>
                  </a:lnTo>
                  <a:lnTo>
                    <a:pt x="170" y="72"/>
                  </a:lnTo>
                  <a:lnTo>
                    <a:pt x="170" y="72"/>
                  </a:lnTo>
                  <a:lnTo>
                    <a:pt x="172" y="70"/>
                  </a:lnTo>
                  <a:lnTo>
                    <a:pt x="174" y="68"/>
                  </a:lnTo>
                  <a:lnTo>
                    <a:pt x="174" y="64"/>
                  </a:lnTo>
                  <a:lnTo>
                    <a:pt x="176" y="60"/>
                  </a:lnTo>
                  <a:lnTo>
                    <a:pt x="178" y="56"/>
                  </a:lnTo>
                  <a:lnTo>
                    <a:pt x="181" y="51"/>
                  </a:lnTo>
                  <a:lnTo>
                    <a:pt x="183" y="49"/>
                  </a:lnTo>
                  <a:lnTo>
                    <a:pt x="185" y="49"/>
                  </a:lnTo>
                  <a:lnTo>
                    <a:pt x="185" y="49"/>
                  </a:lnTo>
                  <a:lnTo>
                    <a:pt x="187" y="47"/>
                  </a:lnTo>
                  <a:lnTo>
                    <a:pt x="189" y="45"/>
                  </a:lnTo>
                  <a:lnTo>
                    <a:pt x="191" y="45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3" y="39"/>
                  </a:lnTo>
                  <a:lnTo>
                    <a:pt x="193" y="37"/>
                  </a:lnTo>
                  <a:lnTo>
                    <a:pt x="193" y="35"/>
                  </a:lnTo>
                  <a:lnTo>
                    <a:pt x="193" y="33"/>
                  </a:lnTo>
                  <a:lnTo>
                    <a:pt x="193" y="3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55" name="Freeform 91">
              <a:extLst>
                <a:ext uri="{FF2B5EF4-FFF2-40B4-BE49-F238E27FC236}">
                  <a16:creationId xmlns:a16="http://schemas.microsoft.com/office/drawing/2014/main" id="{E50754F0-416F-D44C-A55E-56C3ADD47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3112" y="3020417"/>
              <a:ext cx="299474" cy="259069"/>
            </a:xfrm>
            <a:custGeom>
              <a:avLst/>
              <a:gdLst>
                <a:gd name="T0" fmla="*/ 246 w 252"/>
                <a:gd name="T1" fmla="*/ 50 h 218"/>
                <a:gd name="T2" fmla="*/ 240 w 252"/>
                <a:gd name="T3" fmla="*/ 37 h 218"/>
                <a:gd name="T4" fmla="*/ 236 w 252"/>
                <a:gd name="T5" fmla="*/ 11 h 218"/>
                <a:gd name="T6" fmla="*/ 226 w 252"/>
                <a:gd name="T7" fmla="*/ 17 h 218"/>
                <a:gd name="T8" fmla="*/ 213 w 252"/>
                <a:gd name="T9" fmla="*/ 6 h 218"/>
                <a:gd name="T10" fmla="*/ 181 w 252"/>
                <a:gd name="T11" fmla="*/ 6 h 218"/>
                <a:gd name="T12" fmla="*/ 148 w 252"/>
                <a:gd name="T13" fmla="*/ 29 h 218"/>
                <a:gd name="T14" fmla="*/ 117 w 252"/>
                <a:gd name="T15" fmla="*/ 50 h 218"/>
                <a:gd name="T16" fmla="*/ 102 w 252"/>
                <a:gd name="T17" fmla="*/ 64 h 218"/>
                <a:gd name="T18" fmla="*/ 90 w 252"/>
                <a:gd name="T19" fmla="*/ 76 h 218"/>
                <a:gd name="T20" fmla="*/ 70 w 252"/>
                <a:gd name="T21" fmla="*/ 80 h 218"/>
                <a:gd name="T22" fmla="*/ 66 w 252"/>
                <a:gd name="T23" fmla="*/ 95 h 218"/>
                <a:gd name="T24" fmla="*/ 66 w 252"/>
                <a:gd name="T25" fmla="*/ 115 h 218"/>
                <a:gd name="T26" fmla="*/ 66 w 252"/>
                <a:gd name="T27" fmla="*/ 128 h 218"/>
                <a:gd name="T28" fmla="*/ 61 w 252"/>
                <a:gd name="T29" fmla="*/ 140 h 218"/>
                <a:gd name="T30" fmla="*/ 59 w 252"/>
                <a:gd name="T31" fmla="*/ 144 h 218"/>
                <a:gd name="T32" fmla="*/ 53 w 252"/>
                <a:gd name="T33" fmla="*/ 150 h 218"/>
                <a:gd name="T34" fmla="*/ 45 w 252"/>
                <a:gd name="T35" fmla="*/ 148 h 218"/>
                <a:gd name="T36" fmla="*/ 31 w 252"/>
                <a:gd name="T37" fmla="*/ 150 h 218"/>
                <a:gd name="T38" fmla="*/ 16 w 252"/>
                <a:gd name="T39" fmla="*/ 154 h 218"/>
                <a:gd name="T40" fmla="*/ 4 w 252"/>
                <a:gd name="T41" fmla="*/ 157 h 218"/>
                <a:gd name="T42" fmla="*/ 0 w 252"/>
                <a:gd name="T43" fmla="*/ 159 h 218"/>
                <a:gd name="T44" fmla="*/ 2 w 252"/>
                <a:gd name="T45" fmla="*/ 167 h 218"/>
                <a:gd name="T46" fmla="*/ 4 w 252"/>
                <a:gd name="T47" fmla="*/ 173 h 218"/>
                <a:gd name="T48" fmla="*/ 8 w 252"/>
                <a:gd name="T49" fmla="*/ 181 h 218"/>
                <a:gd name="T50" fmla="*/ 12 w 252"/>
                <a:gd name="T51" fmla="*/ 183 h 218"/>
                <a:gd name="T52" fmla="*/ 14 w 252"/>
                <a:gd name="T53" fmla="*/ 185 h 218"/>
                <a:gd name="T54" fmla="*/ 12 w 252"/>
                <a:gd name="T55" fmla="*/ 187 h 218"/>
                <a:gd name="T56" fmla="*/ 12 w 252"/>
                <a:gd name="T57" fmla="*/ 194 h 218"/>
                <a:gd name="T58" fmla="*/ 22 w 252"/>
                <a:gd name="T59" fmla="*/ 200 h 218"/>
                <a:gd name="T60" fmla="*/ 29 w 252"/>
                <a:gd name="T61" fmla="*/ 200 h 218"/>
                <a:gd name="T62" fmla="*/ 31 w 252"/>
                <a:gd name="T63" fmla="*/ 200 h 218"/>
                <a:gd name="T64" fmla="*/ 33 w 252"/>
                <a:gd name="T65" fmla="*/ 204 h 218"/>
                <a:gd name="T66" fmla="*/ 31 w 252"/>
                <a:gd name="T67" fmla="*/ 206 h 218"/>
                <a:gd name="T68" fmla="*/ 35 w 252"/>
                <a:gd name="T69" fmla="*/ 214 h 218"/>
                <a:gd name="T70" fmla="*/ 37 w 252"/>
                <a:gd name="T71" fmla="*/ 208 h 218"/>
                <a:gd name="T72" fmla="*/ 41 w 252"/>
                <a:gd name="T73" fmla="*/ 206 h 218"/>
                <a:gd name="T74" fmla="*/ 47 w 252"/>
                <a:gd name="T75" fmla="*/ 210 h 218"/>
                <a:gd name="T76" fmla="*/ 53 w 252"/>
                <a:gd name="T77" fmla="*/ 214 h 218"/>
                <a:gd name="T78" fmla="*/ 55 w 252"/>
                <a:gd name="T79" fmla="*/ 216 h 218"/>
                <a:gd name="T80" fmla="*/ 55 w 252"/>
                <a:gd name="T81" fmla="*/ 214 h 218"/>
                <a:gd name="T82" fmla="*/ 55 w 252"/>
                <a:gd name="T83" fmla="*/ 204 h 218"/>
                <a:gd name="T84" fmla="*/ 61 w 252"/>
                <a:gd name="T85" fmla="*/ 196 h 218"/>
                <a:gd name="T86" fmla="*/ 66 w 252"/>
                <a:gd name="T87" fmla="*/ 183 h 218"/>
                <a:gd name="T88" fmla="*/ 74 w 252"/>
                <a:gd name="T89" fmla="*/ 179 h 218"/>
                <a:gd name="T90" fmla="*/ 84 w 252"/>
                <a:gd name="T91" fmla="*/ 177 h 218"/>
                <a:gd name="T92" fmla="*/ 96 w 252"/>
                <a:gd name="T93" fmla="*/ 181 h 218"/>
                <a:gd name="T94" fmla="*/ 102 w 252"/>
                <a:gd name="T95" fmla="*/ 185 h 218"/>
                <a:gd name="T96" fmla="*/ 107 w 252"/>
                <a:gd name="T97" fmla="*/ 194 h 218"/>
                <a:gd name="T98" fmla="*/ 111 w 252"/>
                <a:gd name="T99" fmla="*/ 194 h 218"/>
                <a:gd name="T100" fmla="*/ 123 w 252"/>
                <a:gd name="T101" fmla="*/ 187 h 218"/>
                <a:gd name="T102" fmla="*/ 133 w 252"/>
                <a:gd name="T103" fmla="*/ 191 h 218"/>
                <a:gd name="T104" fmla="*/ 152 w 252"/>
                <a:gd name="T105" fmla="*/ 198 h 218"/>
                <a:gd name="T106" fmla="*/ 162 w 252"/>
                <a:gd name="T107" fmla="*/ 187 h 218"/>
                <a:gd name="T108" fmla="*/ 183 w 252"/>
                <a:gd name="T109" fmla="*/ 187 h 218"/>
                <a:gd name="T110" fmla="*/ 195 w 252"/>
                <a:gd name="T111" fmla="*/ 191 h 218"/>
                <a:gd name="T112" fmla="*/ 201 w 252"/>
                <a:gd name="T113" fmla="*/ 187 h 218"/>
                <a:gd name="T114" fmla="*/ 211 w 252"/>
                <a:gd name="T115" fmla="*/ 181 h 218"/>
                <a:gd name="T116" fmla="*/ 213 w 252"/>
                <a:gd name="T117" fmla="*/ 169 h 218"/>
                <a:gd name="T118" fmla="*/ 226 w 252"/>
                <a:gd name="T119" fmla="*/ 148 h 218"/>
                <a:gd name="T120" fmla="*/ 246 w 252"/>
                <a:gd name="T121" fmla="*/ 122 h 218"/>
                <a:gd name="T122" fmla="*/ 248 w 252"/>
                <a:gd name="T123" fmla="*/ 87 h 218"/>
                <a:gd name="T124" fmla="*/ 250 w 252"/>
                <a:gd name="T125" fmla="*/ 6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2" h="218">
                  <a:moveTo>
                    <a:pt x="252" y="58"/>
                  </a:moveTo>
                  <a:lnTo>
                    <a:pt x="248" y="52"/>
                  </a:lnTo>
                  <a:lnTo>
                    <a:pt x="246" y="52"/>
                  </a:lnTo>
                  <a:lnTo>
                    <a:pt x="246" y="50"/>
                  </a:lnTo>
                  <a:lnTo>
                    <a:pt x="246" y="48"/>
                  </a:lnTo>
                  <a:lnTo>
                    <a:pt x="242" y="39"/>
                  </a:lnTo>
                  <a:lnTo>
                    <a:pt x="240" y="37"/>
                  </a:lnTo>
                  <a:lnTo>
                    <a:pt x="240" y="37"/>
                  </a:lnTo>
                  <a:lnTo>
                    <a:pt x="240" y="35"/>
                  </a:lnTo>
                  <a:lnTo>
                    <a:pt x="240" y="29"/>
                  </a:lnTo>
                  <a:lnTo>
                    <a:pt x="238" y="21"/>
                  </a:lnTo>
                  <a:lnTo>
                    <a:pt x="236" y="11"/>
                  </a:lnTo>
                  <a:lnTo>
                    <a:pt x="236" y="11"/>
                  </a:lnTo>
                  <a:lnTo>
                    <a:pt x="230" y="15"/>
                  </a:lnTo>
                  <a:lnTo>
                    <a:pt x="226" y="17"/>
                  </a:lnTo>
                  <a:lnTo>
                    <a:pt x="226" y="17"/>
                  </a:lnTo>
                  <a:lnTo>
                    <a:pt x="224" y="17"/>
                  </a:lnTo>
                  <a:lnTo>
                    <a:pt x="220" y="13"/>
                  </a:lnTo>
                  <a:lnTo>
                    <a:pt x="215" y="8"/>
                  </a:lnTo>
                  <a:lnTo>
                    <a:pt x="213" y="6"/>
                  </a:lnTo>
                  <a:lnTo>
                    <a:pt x="205" y="4"/>
                  </a:lnTo>
                  <a:lnTo>
                    <a:pt x="197" y="2"/>
                  </a:lnTo>
                  <a:lnTo>
                    <a:pt x="189" y="0"/>
                  </a:lnTo>
                  <a:lnTo>
                    <a:pt x="181" y="6"/>
                  </a:lnTo>
                  <a:lnTo>
                    <a:pt x="172" y="13"/>
                  </a:lnTo>
                  <a:lnTo>
                    <a:pt x="164" y="17"/>
                  </a:lnTo>
                  <a:lnTo>
                    <a:pt x="156" y="23"/>
                  </a:lnTo>
                  <a:lnTo>
                    <a:pt x="148" y="29"/>
                  </a:lnTo>
                  <a:lnTo>
                    <a:pt x="139" y="33"/>
                  </a:lnTo>
                  <a:lnTo>
                    <a:pt x="131" y="39"/>
                  </a:lnTo>
                  <a:lnTo>
                    <a:pt x="123" y="45"/>
                  </a:lnTo>
                  <a:lnTo>
                    <a:pt x="117" y="50"/>
                  </a:lnTo>
                  <a:lnTo>
                    <a:pt x="115" y="52"/>
                  </a:lnTo>
                  <a:lnTo>
                    <a:pt x="111" y="56"/>
                  </a:lnTo>
                  <a:lnTo>
                    <a:pt x="107" y="60"/>
                  </a:lnTo>
                  <a:lnTo>
                    <a:pt x="102" y="64"/>
                  </a:lnTo>
                  <a:lnTo>
                    <a:pt x="98" y="68"/>
                  </a:lnTo>
                  <a:lnTo>
                    <a:pt x="96" y="70"/>
                  </a:lnTo>
                  <a:lnTo>
                    <a:pt x="92" y="74"/>
                  </a:lnTo>
                  <a:lnTo>
                    <a:pt x="90" y="76"/>
                  </a:lnTo>
                  <a:lnTo>
                    <a:pt x="84" y="76"/>
                  </a:lnTo>
                  <a:lnTo>
                    <a:pt x="78" y="78"/>
                  </a:lnTo>
                  <a:lnTo>
                    <a:pt x="74" y="78"/>
                  </a:lnTo>
                  <a:lnTo>
                    <a:pt x="70" y="80"/>
                  </a:lnTo>
                  <a:lnTo>
                    <a:pt x="66" y="80"/>
                  </a:lnTo>
                  <a:lnTo>
                    <a:pt x="66" y="85"/>
                  </a:lnTo>
                  <a:lnTo>
                    <a:pt x="66" y="89"/>
                  </a:lnTo>
                  <a:lnTo>
                    <a:pt x="66" y="95"/>
                  </a:lnTo>
                  <a:lnTo>
                    <a:pt x="66" y="99"/>
                  </a:lnTo>
                  <a:lnTo>
                    <a:pt x="66" y="105"/>
                  </a:lnTo>
                  <a:lnTo>
                    <a:pt x="66" y="109"/>
                  </a:lnTo>
                  <a:lnTo>
                    <a:pt x="66" y="115"/>
                  </a:lnTo>
                  <a:lnTo>
                    <a:pt x="66" y="120"/>
                  </a:lnTo>
                  <a:lnTo>
                    <a:pt x="66" y="122"/>
                  </a:lnTo>
                  <a:lnTo>
                    <a:pt x="66" y="124"/>
                  </a:lnTo>
                  <a:lnTo>
                    <a:pt x="66" y="128"/>
                  </a:lnTo>
                  <a:lnTo>
                    <a:pt x="63" y="132"/>
                  </a:lnTo>
                  <a:lnTo>
                    <a:pt x="61" y="134"/>
                  </a:lnTo>
                  <a:lnTo>
                    <a:pt x="61" y="138"/>
                  </a:lnTo>
                  <a:lnTo>
                    <a:pt x="61" y="140"/>
                  </a:lnTo>
                  <a:lnTo>
                    <a:pt x="59" y="140"/>
                  </a:lnTo>
                  <a:lnTo>
                    <a:pt x="59" y="142"/>
                  </a:lnTo>
                  <a:lnTo>
                    <a:pt x="59" y="142"/>
                  </a:lnTo>
                  <a:lnTo>
                    <a:pt x="59" y="144"/>
                  </a:lnTo>
                  <a:lnTo>
                    <a:pt x="59" y="144"/>
                  </a:lnTo>
                  <a:lnTo>
                    <a:pt x="57" y="144"/>
                  </a:lnTo>
                  <a:lnTo>
                    <a:pt x="53" y="148"/>
                  </a:lnTo>
                  <a:lnTo>
                    <a:pt x="53" y="150"/>
                  </a:lnTo>
                  <a:lnTo>
                    <a:pt x="51" y="150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5" y="148"/>
                  </a:lnTo>
                  <a:lnTo>
                    <a:pt x="45" y="150"/>
                  </a:lnTo>
                  <a:lnTo>
                    <a:pt x="41" y="150"/>
                  </a:lnTo>
                  <a:lnTo>
                    <a:pt x="37" y="150"/>
                  </a:lnTo>
                  <a:lnTo>
                    <a:pt x="31" y="150"/>
                  </a:lnTo>
                  <a:lnTo>
                    <a:pt x="27" y="150"/>
                  </a:lnTo>
                  <a:lnTo>
                    <a:pt x="22" y="152"/>
                  </a:lnTo>
                  <a:lnTo>
                    <a:pt x="18" y="152"/>
                  </a:lnTo>
                  <a:lnTo>
                    <a:pt x="16" y="154"/>
                  </a:lnTo>
                  <a:lnTo>
                    <a:pt x="12" y="157"/>
                  </a:lnTo>
                  <a:lnTo>
                    <a:pt x="12" y="157"/>
                  </a:lnTo>
                  <a:lnTo>
                    <a:pt x="8" y="159"/>
                  </a:lnTo>
                  <a:lnTo>
                    <a:pt x="4" y="157"/>
                  </a:lnTo>
                  <a:lnTo>
                    <a:pt x="2" y="157"/>
                  </a:lnTo>
                  <a:lnTo>
                    <a:pt x="2" y="157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1"/>
                  </a:lnTo>
                  <a:lnTo>
                    <a:pt x="0" y="163"/>
                  </a:lnTo>
                  <a:lnTo>
                    <a:pt x="0" y="167"/>
                  </a:lnTo>
                  <a:lnTo>
                    <a:pt x="2" y="167"/>
                  </a:lnTo>
                  <a:lnTo>
                    <a:pt x="2" y="169"/>
                  </a:lnTo>
                  <a:lnTo>
                    <a:pt x="4" y="171"/>
                  </a:lnTo>
                  <a:lnTo>
                    <a:pt x="2" y="173"/>
                  </a:lnTo>
                  <a:lnTo>
                    <a:pt x="4" y="173"/>
                  </a:lnTo>
                  <a:lnTo>
                    <a:pt x="4" y="175"/>
                  </a:lnTo>
                  <a:lnTo>
                    <a:pt x="6" y="177"/>
                  </a:lnTo>
                  <a:lnTo>
                    <a:pt x="6" y="181"/>
                  </a:lnTo>
                  <a:lnTo>
                    <a:pt x="8" y="181"/>
                  </a:lnTo>
                  <a:lnTo>
                    <a:pt x="10" y="181"/>
                  </a:lnTo>
                  <a:lnTo>
                    <a:pt x="10" y="181"/>
                  </a:lnTo>
                  <a:lnTo>
                    <a:pt x="10" y="181"/>
                  </a:lnTo>
                  <a:lnTo>
                    <a:pt x="12" y="183"/>
                  </a:lnTo>
                  <a:lnTo>
                    <a:pt x="12" y="183"/>
                  </a:lnTo>
                  <a:lnTo>
                    <a:pt x="12" y="183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4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9"/>
                  </a:lnTo>
                  <a:lnTo>
                    <a:pt x="12" y="194"/>
                  </a:lnTo>
                  <a:lnTo>
                    <a:pt x="12" y="194"/>
                  </a:lnTo>
                  <a:lnTo>
                    <a:pt x="14" y="194"/>
                  </a:lnTo>
                  <a:lnTo>
                    <a:pt x="18" y="196"/>
                  </a:lnTo>
                  <a:lnTo>
                    <a:pt x="20" y="200"/>
                  </a:lnTo>
                  <a:lnTo>
                    <a:pt x="22" y="200"/>
                  </a:lnTo>
                  <a:lnTo>
                    <a:pt x="24" y="200"/>
                  </a:lnTo>
                  <a:lnTo>
                    <a:pt x="27" y="200"/>
                  </a:lnTo>
                  <a:lnTo>
                    <a:pt x="27" y="200"/>
                  </a:lnTo>
                  <a:lnTo>
                    <a:pt x="29" y="200"/>
                  </a:lnTo>
                  <a:lnTo>
                    <a:pt x="29" y="198"/>
                  </a:lnTo>
                  <a:lnTo>
                    <a:pt x="31" y="200"/>
                  </a:lnTo>
                  <a:lnTo>
                    <a:pt x="31" y="200"/>
                  </a:lnTo>
                  <a:lnTo>
                    <a:pt x="31" y="200"/>
                  </a:lnTo>
                  <a:lnTo>
                    <a:pt x="33" y="202"/>
                  </a:lnTo>
                  <a:lnTo>
                    <a:pt x="33" y="204"/>
                  </a:lnTo>
                  <a:lnTo>
                    <a:pt x="33" y="204"/>
                  </a:lnTo>
                  <a:lnTo>
                    <a:pt x="33" y="204"/>
                  </a:lnTo>
                  <a:lnTo>
                    <a:pt x="31" y="204"/>
                  </a:lnTo>
                  <a:lnTo>
                    <a:pt x="31" y="206"/>
                  </a:lnTo>
                  <a:lnTo>
                    <a:pt x="31" y="206"/>
                  </a:lnTo>
                  <a:lnTo>
                    <a:pt x="31" y="206"/>
                  </a:lnTo>
                  <a:lnTo>
                    <a:pt x="31" y="206"/>
                  </a:lnTo>
                  <a:lnTo>
                    <a:pt x="33" y="210"/>
                  </a:lnTo>
                  <a:lnTo>
                    <a:pt x="35" y="212"/>
                  </a:lnTo>
                  <a:lnTo>
                    <a:pt x="35" y="214"/>
                  </a:lnTo>
                  <a:lnTo>
                    <a:pt x="35" y="212"/>
                  </a:lnTo>
                  <a:lnTo>
                    <a:pt x="35" y="208"/>
                  </a:lnTo>
                  <a:lnTo>
                    <a:pt x="35" y="208"/>
                  </a:lnTo>
                  <a:lnTo>
                    <a:pt x="37" y="208"/>
                  </a:lnTo>
                  <a:lnTo>
                    <a:pt x="39" y="206"/>
                  </a:lnTo>
                  <a:lnTo>
                    <a:pt x="39" y="206"/>
                  </a:lnTo>
                  <a:lnTo>
                    <a:pt x="41" y="206"/>
                  </a:lnTo>
                  <a:lnTo>
                    <a:pt x="41" y="206"/>
                  </a:lnTo>
                  <a:lnTo>
                    <a:pt x="43" y="204"/>
                  </a:lnTo>
                  <a:lnTo>
                    <a:pt x="43" y="206"/>
                  </a:lnTo>
                  <a:lnTo>
                    <a:pt x="43" y="206"/>
                  </a:lnTo>
                  <a:lnTo>
                    <a:pt x="47" y="210"/>
                  </a:lnTo>
                  <a:lnTo>
                    <a:pt x="49" y="212"/>
                  </a:lnTo>
                  <a:lnTo>
                    <a:pt x="49" y="214"/>
                  </a:lnTo>
                  <a:lnTo>
                    <a:pt x="51" y="214"/>
                  </a:lnTo>
                  <a:lnTo>
                    <a:pt x="53" y="214"/>
                  </a:lnTo>
                  <a:lnTo>
                    <a:pt x="53" y="216"/>
                  </a:lnTo>
                  <a:lnTo>
                    <a:pt x="55" y="218"/>
                  </a:lnTo>
                  <a:lnTo>
                    <a:pt x="55" y="216"/>
                  </a:lnTo>
                  <a:lnTo>
                    <a:pt x="55" y="216"/>
                  </a:lnTo>
                  <a:lnTo>
                    <a:pt x="55" y="216"/>
                  </a:lnTo>
                  <a:lnTo>
                    <a:pt x="55" y="214"/>
                  </a:lnTo>
                  <a:lnTo>
                    <a:pt x="55" y="214"/>
                  </a:lnTo>
                  <a:lnTo>
                    <a:pt x="55" y="214"/>
                  </a:lnTo>
                  <a:lnTo>
                    <a:pt x="55" y="212"/>
                  </a:lnTo>
                  <a:lnTo>
                    <a:pt x="55" y="210"/>
                  </a:lnTo>
                  <a:lnTo>
                    <a:pt x="55" y="208"/>
                  </a:lnTo>
                  <a:lnTo>
                    <a:pt x="55" y="204"/>
                  </a:lnTo>
                  <a:lnTo>
                    <a:pt x="55" y="202"/>
                  </a:lnTo>
                  <a:lnTo>
                    <a:pt x="57" y="200"/>
                  </a:lnTo>
                  <a:lnTo>
                    <a:pt x="59" y="198"/>
                  </a:lnTo>
                  <a:lnTo>
                    <a:pt x="61" y="196"/>
                  </a:lnTo>
                  <a:lnTo>
                    <a:pt x="63" y="191"/>
                  </a:lnTo>
                  <a:lnTo>
                    <a:pt x="63" y="185"/>
                  </a:lnTo>
                  <a:lnTo>
                    <a:pt x="63" y="185"/>
                  </a:lnTo>
                  <a:lnTo>
                    <a:pt x="66" y="183"/>
                  </a:lnTo>
                  <a:lnTo>
                    <a:pt x="68" y="181"/>
                  </a:lnTo>
                  <a:lnTo>
                    <a:pt x="70" y="181"/>
                  </a:lnTo>
                  <a:lnTo>
                    <a:pt x="72" y="179"/>
                  </a:lnTo>
                  <a:lnTo>
                    <a:pt x="74" y="179"/>
                  </a:lnTo>
                  <a:lnTo>
                    <a:pt x="76" y="179"/>
                  </a:lnTo>
                  <a:lnTo>
                    <a:pt x="80" y="179"/>
                  </a:lnTo>
                  <a:lnTo>
                    <a:pt x="82" y="179"/>
                  </a:lnTo>
                  <a:lnTo>
                    <a:pt x="84" y="177"/>
                  </a:lnTo>
                  <a:lnTo>
                    <a:pt x="84" y="177"/>
                  </a:lnTo>
                  <a:lnTo>
                    <a:pt x="86" y="177"/>
                  </a:lnTo>
                  <a:lnTo>
                    <a:pt x="90" y="179"/>
                  </a:lnTo>
                  <a:lnTo>
                    <a:pt x="96" y="181"/>
                  </a:lnTo>
                  <a:lnTo>
                    <a:pt x="98" y="181"/>
                  </a:lnTo>
                  <a:lnTo>
                    <a:pt x="98" y="181"/>
                  </a:lnTo>
                  <a:lnTo>
                    <a:pt x="100" y="183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2" y="187"/>
                  </a:lnTo>
                  <a:lnTo>
                    <a:pt x="107" y="191"/>
                  </a:lnTo>
                  <a:lnTo>
                    <a:pt x="107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11" y="194"/>
                  </a:lnTo>
                  <a:lnTo>
                    <a:pt x="111" y="194"/>
                  </a:lnTo>
                  <a:lnTo>
                    <a:pt x="113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5" y="187"/>
                  </a:lnTo>
                  <a:lnTo>
                    <a:pt x="127" y="187"/>
                  </a:lnTo>
                  <a:lnTo>
                    <a:pt x="133" y="191"/>
                  </a:lnTo>
                  <a:lnTo>
                    <a:pt x="137" y="196"/>
                  </a:lnTo>
                  <a:lnTo>
                    <a:pt x="141" y="196"/>
                  </a:lnTo>
                  <a:lnTo>
                    <a:pt x="146" y="198"/>
                  </a:lnTo>
                  <a:lnTo>
                    <a:pt x="152" y="198"/>
                  </a:lnTo>
                  <a:lnTo>
                    <a:pt x="156" y="191"/>
                  </a:lnTo>
                  <a:lnTo>
                    <a:pt x="158" y="189"/>
                  </a:lnTo>
                  <a:lnTo>
                    <a:pt x="160" y="189"/>
                  </a:lnTo>
                  <a:lnTo>
                    <a:pt x="162" y="187"/>
                  </a:lnTo>
                  <a:lnTo>
                    <a:pt x="166" y="187"/>
                  </a:lnTo>
                  <a:lnTo>
                    <a:pt x="172" y="187"/>
                  </a:lnTo>
                  <a:lnTo>
                    <a:pt x="181" y="187"/>
                  </a:lnTo>
                  <a:lnTo>
                    <a:pt x="183" y="187"/>
                  </a:lnTo>
                  <a:lnTo>
                    <a:pt x="185" y="187"/>
                  </a:lnTo>
                  <a:lnTo>
                    <a:pt x="189" y="189"/>
                  </a:lnTo>
                  <a:lnTo>
                    <a:pt x="191" y="191"/>
                  </a:lnTo>
                  <a:lnTo>
                    <a:pt x="195" y="191"/>
                  </a:lnTo>
                  <a:lnTo>
                    <a:pt x="197" y="191"/>
                  </a:lnTo>
                  <a:lnTo>
                    <a:pt x="199" y="189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3" y="185"/>
                  </a:lnTo>
                  <a:lnTo>
                    <a:pt x="207" y="183"/>
                  </a:lnTo>
                  <a:lnTo>
                    <a:pt x="209" y="183"/>
                  </a:lnTo>
                  <a:lnTo>
                    <a:pt x="211" y="181"/>
                  </a:lnTo>
                  <a:lnTo>
                    <a:pt x="213" y="181"/>
                  </a:lnTo>
                  <a:lnTo>
                    <a:pt x="215" y="181"/>
                  </a:lnTo>
                  <a:lnTo>
                    <a:pt x="213" y="173"/>
                  </a:lnTo>
                  <a:lnTo>
                    <a:pt x="213" y="169"/>
                  </a:lnTo>
                  <a:lnTo>
                    <a:pt x="213" y="167"/>
                  </a:lnTo>
                  <a:lnTo>
                    <a:pt x="215" y="163"/>
                  </a:lnTo>
                  <a:lnTo>
                    <a:pt x="220" y="157"/>
                  </a:lnTo>
                  <a:lnTo>
                    <a:pt x="226" y="148"/>
                  </a:lnTo>
                  <a:lnTo>
                    <a:pt x="228" y="142"/>
                  </a:lnTo>
                  <a:lnTo>
                    <a:pt x="234" y="136"/>
                  </a:lnTo>
                  <a:lnTo>
                    <a:pt x="242" y="128"/>
                  </a:lnTo>
                  <a:lnTo>
                    <a:pt x="246" y="122"/>
                  </a:lnTo>
                  <a:lnTo>
                    <a:pt x="246" y="113"/>
                  </a:lnTo>
                  <a:lnTo>
                    <a:pt x="246" y="103"/>
                  </a:lnTo>
                  <a:lnTo>
                    <a:pt x="246" y="95"/>
                  </a:lnTo>
                  <a:lnTo>
                    <a:pt x="248" y="87"/>
                  </a:lnTo>
                  <a:lnTo>
                    <a:pt x="248" y="80"/>
                  </a:lnTo>
                  <a:lnTo>
                    <a:pt x="248" y="74"/>
                  </a:lnTo>
                  <a:lnTo>
                    <a:pt x="248" y="66"/>
                  </a:lnTo>
                  <a:lnTo>
                    <a:pt x="250" y="66"/>
                  </a:lnTo>
                  <a:lnTo>
                    <a:pt x="252" y="60"/>
                  </a:lnTo>
                  <a:lnTo>
                    <a:pt x="252" y="58"/>
                  </a:lnTo>
                  <a:lnTo>
                    <a:pt x="252" y="5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56" name="Freeform 95">
              <a:extLst>
                <a:ext uri="{FF2B5EF4-FFF2-40B4-BE49-F238E27FC236}">
                  <a16:creationId xmlns:a16="http://schemas.microsoft.com/office/drawing/2014/main" id="{F18501A6-BC15-1D46-BF9D-0A04FCB40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3895" y="2370369"/>
              <a:ext cx="62985" cy="61796"/>
            </a:xfrm>
            <a:custGeom>
              <a:avLst/>
              <a:gdLst>
                <a:gd name="T0" fmla="*/ 28 w 53"/>
                <a:gd name="T1" fmla="*/ 4 h 52"/>
                <a:gd name="T2" fmla="*/ 34 w 53"/>
                <a:gd name="T3" fmla="*/ 4 h 52"/>
                <a:gd name="T4" fmla="*/ 32 w 53"/>
                <a:gd name="T5" fmla="*/ 4 h 52"/>
                <a:gd name="T6" fmla="*/ 43 w 53"/>
                <a:gd name="T7" fmla="*/ 2 h 52"/>
                <a:gd name="T8" fmla="*/ 41 w 53"/>
                <a:gd name="T9" fmla="*/ 4 h 52"/>
                <a:gd name="T10" fmla="*/ 47 w 53"/>
                <a:gd name="T11" fmla="*/ 0 h 52"/>
                <a:gd name="T12" fmla="*/ 8 w 53"/>
                <a:gd name="T13" fmla="*/ 39 h 52"/>
                <a:gd name="T14" fmla="*/ 0 w 53"/>
                <a:gd name="T15" fmla="*/ 39 h 52"/>
                <a:gd name="T16" fmla="*/ 0 w 53"/>
                <a:gd name="T17" fmla="*/ 44 h 52"/>
                <a:gd name="T18" fmla="*/ 4 w 53"/>
                <a:gd name="T19" fmla="*/ 41 h 52"/>
                <a:gd name="T20" fmla="*/ 8 w 53"/>
                <a:gd name="T21" fmla="*/ 44 h 52"/>
                <a:gd name="T22" fmla="*/ 12 w 53"/>
                <a:gd name="T23" fmla="*/ 39 h 52"/>
                <a:gd name="T24" fmla="*/ 24 w 53"/>
                <a:gd name="T25" fmla="*/ 6 h 52"/>
                <a:gd name="T26" fmla="*/ 51 w 53"/>
                <a:gd name="T27" fmla="*/ 6 h 52"/>
                <a:gd name="T28" fmla="*/ 45 w 53"/>
                <a:gd name="T29" fmla="*/ 4 h 52"/>
                <a:gd name="T30" fmla="*/ 30 w 53"/>
                <a:gd name="T31" fmla="*/ 6 h 52"/>
                <a:gd name="T32" fmla="*/ 22 w 53"/>
                <a:gd name="T33" fmla="*/ 13 h 52"/>
                <a:gd name="T34" fmla="*/ 18 w 53"/>
                <a:gd name="T35" fmla="*/ 15 h 52"/>
                <a:gd name="T36" fmla="*/ 12 w 53"/>
                <a:gd name="T37" fmla="*/ 29 h 52"/>
                <a:gd name="T38" fmla="*/ 8 w 53"/>
                <a:gd name="T39" fmla="*/ 31 h 52"/>
                <a:gd name="T40" fmla="*/ 12 w 53"/>
                <a:gd name="T41" fmla="*/ 35 h 52"/>
                <a:gd name="T42" fmla="*/ 12 w 53"/>
                <a:gd name="T43" fmla="*/ 37 h 52"/>
                <a:gd name="T44" fmla="*/ 8 w 53"/>
                <a:gd name="T45" fmla="*/ 37 h 52"/>
                <a:gd name="T46" fmla="*/ 2 w 53"/>
                <a:gd name="T47" fmla="*/ 37 h 52"/>
                <a:gd name="T48" fmla="*/ 6 w 53"/>
                <a:gd name="T49" fmla="*/ 39 h 52"/>
                <a:gd name="T50" fmla="*/ 12 w 53"/>
                <a:gd name="T51" fmla="*/ 41 h 52"/>
                <a:gd name="T52" fmla="*/ 14 w 53"/>
                <a:gd name="T53" fmla="*/ 39 h 52"/>
                <a:gd name="T54" fmla="*/ 18 w 53"/>
                <a:gd name="T55" fmla="*/ 39 h 52"/>
                <a:gd name="T56" fmla="*/ 20 w 53"/>
                <a:gd name="T57" fmla="*/ 39 h 52"/>
                <a:gd name="T58" fmla="*/ 22 w 53"/>
                <a:gd name="T59" fmla="*/ 39 h 52"/>
                <a:gd name="T60" fmla="*/ 24 w 53"/>
                <a:gd name="T61" fmla="*/ 41 h 52"/>
                <a:gd name="T62" fmla="*/ 28 w 53"/>
                <a:gd name="T63" fmla="*/ 41 h 52"/>
                <a:gd name="T64" fmla="*/ 32 w 53"/>
                <a:gd name="T65" fmla="*/ 44 h 52"/>
                <a:gd name="T66" fmla="*/ 32 w 53"/>
                <a:gd name="T67" fmla="*/ 48 h 52"/>
                <a:gd name="T68" fmla="*/ 30 w 53"/>
                <a:gd name="T69" fmla="*/ 50 h 52"/>
                <a:gd name="T70" fmla="*/ 32 w 53"/>
                <a:gd name="T71" fmla="*/ 52 h 52"/>
                <a:gd name="T72" fmla="*/ 37 w 53"/>
                <a:gd name="T73" fmla="*/ 50 h 52"/>
                <a:gd name="T74" fmla="*/ 34 w 53"/>
                <a:gd name="T75" fmla="*/ 48 h 52"/>
                <a:gd name="T76" fmla="*/ 34 w 53"/>
                <a:gd name="T77" fmla="*/ 46 h 52"/>
                <a:gd name="T78" fmla="*/ 37 w 53"/>
                <a:gd name="T79" fmla="*/ 44 h 52"/>
                <a:gd name="T80" fmla="*/ 39 w 53"/>
                <a:gd name="T81" fmla="*/ 39 h 52"/>
                <a:gd name="T82" fmla="*/ 37 w 53"/>
                <a:gd name="T83" fmla="*/ 37 h 52"/>
                <a:gd name="T84" fmla="*/ 37 w 53"/>
                <a:gd name="T85" fmla="*/ 33 h 52"/>
                <a:gd name="T86" fmla="*/ 39 w 53"/>
                <a:gd name="T87" fmla="*/ 31 h 52"/>
                <a:gd name="T88" fmla="*/ 43 w 53"/>
                <a:gd name="T89" fmla="*/ 31 h 52"/>
                <a:gd name="T90" fmla="*/ 47 w 53"/>
                <a:gd name="T91" fmla="*/ 29 h 52"/>
                <a:gd name="T92" fmla="*/ 47 w 53"/>
                <a:gd name="T93" fmla="*/ 27 h 52"/>
                <a:gd name="T94" fmla="*/ 51 w 53"/>
                <a:gd name="T95" fmla="*/ 25 h 52"/>
                <a:gd name="T96" fmla="*/ 51 w 53"/>
                <a:gd name="T97" fmla="*/ 23 h 52"/>
                <a:gd name="T98" fmla="*/ 47 w 53"/>
                <a:gd name="T99" fmla="*/ 21 h 52"/>
                <a:gd name="T100" fmla="*/ 47 w 53"/>
                <a:gd name="T101" fmla="*/ 19 h 52"/>
                <a:gd name="T102" fmla="*/ 51 w 53"/>
                <a:gd name="T103" fmla="*/ 19 h 52"/>
                <a:gd name="T104" fmla="*/ 53 w 53"/>
                <a:gd name="T105" fmla="*/ 13 h 52"/>
                <a:gd name="T106" fmla="*/ 51 w 53"/>
                <a:gd name="T107" fmla="*/ 6 h 52"/>
                <a:gd name="T108" fmla="*/ 10 w 53"/>
                <a:gd name="T109" fmla="*/ 35 h 52"/>
                <a:gd name="T110" fmla="*/ 4 w 53"/>
                <a:gd name="T111" fmla="*/ 33 h 52"/>
                <a:gd name="T112" fmla="*/ 20 w 53"/>
                <a:gd name="T113" fmla="*/ 13 h 52"/>
                <a:gd name="T114" fmla="*/ 20 w 53"/>
                <a:gd name="T115" fmla="*/ 1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" h="52">
                  <a:moveTo>
                    <a:pt x="28" y="4"/>
                  </a:moveTo>
                  <a:lnTo>
                    <a:pt x="32" y="4"/>
                  </a:lnTo>
                  <a:lnTo>
                    <a:pt x="30" y="4"/>
                  </a:lnTo>
                  <a:lnTo>
                    <a:pt x="28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8" y="4"/>
                  </a:lnTo>
                  <a:close/>
                  <a:moveTo>
                    <a:pt x="34" y="4"/>
                  </a:moveTo>
                  <a:lnTo>
                    <a:pt x="37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4" y="4"/>
                  </a:lnTo>
                  <a:close/>
                  <a:moveTo>
                    <a:pt x="43" y="2"/>
                  </a:moveTo>
                  <a:lnTo>
                    <a:pt x="41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41" y="4"/>
                  </a:lnTo>
                  <a:lnTo>
                    <a:pt x="43" y="2"/>
                  </a:lnTo>
                  <a:close/>
                  <a:moveTo>
                    <a:pt x="49" y="0"/>
                  </a:moveTo>
                  <a:lnTo>
                    <a:pt x="47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9" y="0"/>
                  </a:lnTo>
                  <a:close/>
                  <a:moveTo>
                    <a:pt x="8" y="39"/>
                  </a:moveTo>
                  <a:lnTo>
                    <a:pt x="6" y="41"/>
                  </a:lnTo>
                  <a:lnTo>
                    <a:pt x="4" y="41"/>
                  </a:lnTo>
                  <a:lnTo>
                    <a:pt x="2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4"/>
                  </a:lnTo>
                  <a:lnTo>
                    <a:pt x="2" y="44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4" y="41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0" y="41"/>
                  </a:lnTo>
                  <a:lnTo>
                    <a:pt x="12" y="41"/>
                  </a:lnTo>
                  <a:lnTo>
                    <a:pt x="12" y="39"/>
                  </a:lnTo>
                  <a:lnTo>
                    <a:pt x="10" y="41"/>
                  </a:lnTo>
                  <a:lnTo>
                    <a:pt x="8" y="39"/>
                  </a:lnTo>
                  <a:close/>
                  <a:moveTo>
                    <a:pt x="24" y="6"/>
                  </a:moveTo>
                  <a:lnTo>
                    <a:pt x="24" y="6"/>
                  </a:lnTo>
                  <a:lnTo>
                    <a:pt x="22" y="6"/>
                  </a:lnTo>
                  <a:lnTo>
                    <a:pt x="22" y="9"/>
                  </a:lnTo>
                  <a:lnTo>
                    <a:pt x="24" y="6"/>
                  </a:lnTo>
                  <a:close/>
                  <a:moveTo>
                    <a:pt x="51" y="6"/>
                  </a:moveTo>
                  <a:lnTo>
                    <a:pt x="51" y="6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5" y="4"/>
                  </a:lnTo>
                  <a:lnTo>
                    <a:pt x="43" y="4"/>
                  </a:lnTo>
                  <a:lnTo>
                    <a:pt x="39" y="4"/>
                  </a:lnTo>
                  <a:lnTo>
                    <a:pt x="34" y="4"/>
                  </a:lnTo>
                  <a:lnTo>
                    <a:pt x="30" y="6"/>
                  </a:lnTo>
                  <a:lnTo>
                    <a:pt x="30" y="9"/>
                  </a:lnTo>
                  <a:lnTo>
                    <a:pt x="28" y="11"/>
                  </a:lnTo>
                  <a:lnTo>
                    <a:pt x="24" y="13"/>
                  </a:lnTo>
                  <a:lnTo>
                    <a:pt x="22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5"/>
                  </a:lnTo>
                  <a:lnTo>
                    <a:pt x="18" y="15"/>
                  </a:lnTo>
                  <a:lnTo>
                    <a:pt x="16" y="21"/>
                  </a:lnTo>
                  <a:lnTo>
                    <a:pt x="16" y="23"/>
                  </a:lnTo>
                  <a:lnTo>
                    <a:pt x="14" y="25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31"/>
                  </a:lnTo>
                  <a:lnTo>
                    <a:pt x="8" y="31"/>
                  </a:lnTo>
                  <a:lnTo>
                    <a:pt x="8" y="33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2" y="35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0" y="39"/>
                  </a:lnTo>
                  <a:lnTo>
                    <a:pt x="8" y="37"/>
                  </a:lnTo>
                  <a:lnTo>
                    <a:pt x="6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4" y="39"/>
                  </a:lnTo>
                  <a:lnTo>
                    <a:pt x="6" y="39"/>
                  </a:lnTo>
                  <a:lnTo>
                    <a:pt x="8" y="39"/>
                  </a:lnTo>
                  <a:lnTo>
                    <a:pt x="10" y="39"/>
                  </a:lnTo>
                  <a:lnTo>
                    <a:pt x="12" y="39"/>
                  </a:lnTo>
                  <a:lnTo>
                    <a:pt x="12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8" y="39"/>
                  </a:lnTo>
                  <a:lnTo>
                    <a:pt x="18" y="37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4" y="39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6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7" y="52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9" y="41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7" y="37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41" y="31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9" y="27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7"/>
                  </a:lnTo>
                  <a:lnTo>
                    <a:pt x="53" y="15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9"/>
                  </a:lnTo>
                  <a:lnTo>
                    <a:pt x="53" y="6"/>
                  </a:lnTo>
                  <a:lnTo>
                    <a:pt x="51" y="6"/>
                  </a:lnTo>
                  <a:close/>
                  <a:moveTo>
                    <a:pt x="6" y="35"/>
                  </a:moveTo>
                  <a:lnTo>
                    <a:pt x="8" y="35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8" y="33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6" y="35"/>
                  </a:lnTo>
                  <a:lnTo>
                    <a:pt x="6" y="35"/>
                  </a:lnTo>
                  <a:close/>
                  <a:moveTo>
                    <a:pt x="20" y="13"/>
                  </a:moveTo>
                  <a:lnTo>
                    <a:pt x="22" y="11"/>
                  </a:lnTo>
                  <a:lnTo>
                    <a:pt x="22" y="9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57" name="Freeform 98">
              <a:extLst>
                <a:ext uri="{FF2B5EF4-FFF2-40B4-BE49-F238E27FC236}">
                  <a16:creationId xmlns:a16="http://schemas.microsoft.com/office/drawing/2014/main" id="{DA9CDF63-C15F-2643-8BBD-267205EB4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964" y="3905766"/>
              <a:ext cx="257880" cy="259069"/>
            </a:xfrm>
            <a:custGeom>
              <a:avLst/>
              <a:gdLst>
                <a:gd name="T0" fmla="*/ 209 w 217"/>
                <a:gd name="T1" fmla="*/ 8 h 218"/>
                <a:gd name="T2" fmla="*/ 193 w 217"/>
                <a:gd name="T3" fmla="*/ 10 h 218"/>
                <a:gd name="T4" fmla="*/ 174 w 217"/>
                <a:gd name="T5" fmla="*/ 14 h 218"/>
                <a:gd name="T6" fmla="*/ 156 w 217"/>
                <a:gd name="T7" fmla="*/ 18 h 218"/>
                <a:gd name="T8" fmla="*/ 147 w 217"/>
                <a:gd name="T9" fmla="*/ 18 h 218"/>
                <a:gd name="T10" fmla="*/ 139 w 217"/>
                <a:gd name="T11" fmla="*/ 16 h 218"/>
                <a:gd name="T12" fmla="*/ 123 w 217"/>
                <a:gd name="T13" fmla="*/ 14 h 218"/>
                <a:gd name="T14" fmla="*/ 115 w 217"/>
                <a:gd name="T15" fmla="*/ 14 h 218"/>
                <a:gd name="T16" fmla="*/ 108 w 217"/>
                <a:gd name="T17" fmla="*/ 8 h 218"/>
                <a:gd name="T18" fmla="*/ 98 w 217"/>
                <a:gd name="T19" fmla="*/ 6 h 218"/>
                <a:gd name="T20" fmla="*/ 71 w 217"/>
                <a:gd name="T21" fmla="*/ 6 h 218"/>
                <a:gd name="T22" fmla="*/ 43 w 217"/>
                <a:gd name="T23" fmla="*/ 6 h 218"/>
                <a:gd name="T24" fmla="*/ 37 w 217"/>
                <a:gd name="T25" fmla="*/ 6 h 218"/>
                <a:gd name="T26" fmla="*/ 30 w 217"/>
                <a:gd name="T27" fmla="*/ 2 h 218"/>
                <a:gd name="T28" fmla="*/ 24 w 217"/>
                <a:gd name="T29" fmla="*/ 0 h 218"/>
                <a:gd name="T30" fmla="*/ 18 w 217"/>
                <a:gd name="T31" fmla="*/ 2 h 218"/>
                <a:gd name="T32" fmla="*/ 10 w 217"/>
                <a:gd name="T33" fmla="*/ 4 h 218"/>
                <a:gd name="T34" fmla="*/ 4 w 217"/>
                <a:gd name="T35" fmla="*/ 4 h 218"/>
                <a:gd name="T36" fmla="*/ 2 w 217"/>
                <a:gd name="T37" fmla="*/ 18 h 218"/>
                <a:gd name="T38" fmla="*/ 10 w 217"/>
                <a:gd name="T39" fmla="*/ 30 h 218"/>
                <a:gd name="T40" fmla="*/ 24 w 217"/>
                <a:gd name="T41" fmla="*/ 63 h 218"/>
                <a:gd name="T42" fmla="*/ 37 w 217"/>
                <a:gd name="T43" fmla="*/ 86 h 218"/>
                <a:gd name="T44" fmla="*/ 45 w 217"/>
                <a:gd name="T45" fmla="*/ 106 h 218"/>
                <a:gd name="T46" fmla="*/ 43 w 217"/>
                <a:gd name="T47" fmla="*/ 109 h 218"/>
                <a:gd name="T48" fmla="*/ 45 w 217"/>
                <a:gd name="T49" fmla="*/ 121 h 218"/>
                <a:gd name="T50" fmla="*/ 49 w 217"/>
                <a:gd name="T51" fmla="*/ 141 h 218"/>
                <a:gd name="T52" fmla="*/ 49 w 217"/>
                <a:gd name="T53" fmla="*/ 156 h 218"/>
                <a:gd name="T54" fmla="*/ 53 w 217"/>
                <a:gd name="T55" fmla="*/ 172 h 218"/>
                <a:gd name="T56" fmla="*/ 53 w 217"/>
                <a:gd name="T57" fmla="*/ 178 h 218"/>
                <a:gd name="T58" fmla="*/ 63 w 217"/>
                <a:gd name="T59" fmla="*/ 201 h 218"/>
                <a:gd name="T60" fmla="*/ 74 w 217"/>
                <a:gd name="T61" fmla="*/ 213 h 218"/>
                <a:gd name="T62" fmla="*/ 78 w 217"/>
                <a:gd name="T63" fmla="*/ 209 h 218"/>
                <a:gd name="T64" fmla="*/ 80 w 217"/>
                <a:gd name="T65" fmla="*/ 205 h 218"/>
                <a:gd name="T66" fmla="*/ 84 w 217"/>
                <a:gd name="T67" fmla="*/ 201 h 218"/>
                <a:gd name="T68" fmla="*/ 86 w 217"/>
                <a:gd name="T69" fmla="*/ 205 h 218"/>
                <a:gd name="T70" fmla="*/ 88 w 217"/>
                <a:gd name="T71" fmla="*/ 209 h 218"/>
                <a:gd name="T72" fmla="*/ 90 w 217"/>
                <a:gd name="T73" fmla="*/ 213 h 218"/>
                <a:gd name="T74" fmla="*/ 96 w 217"/>
                <a:gd name="T75" fmla="*/ 215 h 218"/>
                <a:gd name="T76" fmla="*/ 106 w 217"/>
                <a:gd name="T77" fmla="*/ 218 h 218"/>
                <a:gd name="T78" fmla="*/ 117 w 217"/>
                <a:gd name="T79" fmla="*/ 218 h 218"/>
                <a:gd name="T80" fmla="*/ 121 w 217"/>
                <a:gd name="T81" fmla="*/ 213 h 218"/>
                <a:gd name="T82" fmla="*/ 127 w 217"/>
                <a:gd name="T83" fmla="*/ 209 h 218"/>
                <a:gd name="T84" fmla="*/ 129 w 217"/>
                <a:gd name="T85" fmla="*/ 191 h 218"/>
                <a:gd name="T86" fmla="*/ 131 w 217"/>
                <a:gd name="T87" fmla="*/ 158 h 218"/>
                <a:gd name="T88" fmla="*/ 131 w 217"/>
                <a:gd name="T89" fmla="*/ 137 h 218"/>
                <a:gd name="T90" fmla="*/ 131 w 217"/>
                <a:gd name="T91" fmla="*/ 117 h 218"/>
                <a:gd name="T92" fmla="*/ 131 w 217"/>
                <a:gd name="T93" fmla="*/ 96 h 218"/>
                <a:gd name="T94" fmla="*/ 147 w 217"/>
                <a:gd name="T95" fmla="*/ 88 h 218"/>
                <a:gd name="T96" fmla="*/ 147 w 217"/>
                <a:gd name="T97" fmla="*/ 57 h 218"/>
                <a:gd name="T98" fmla="*/ 147 w 217"/>
                <a:gd name="T99" fmla="*/ 26 h 218"/>
                <a:gd name="T100" fmla="*/ 164 w 217"/>
                <a:gd name="T101" fmla="*/ 22 h 218"/>
                <a:gd name="T102" fmla="*/ 184 w 217"/>
                <a:gd name="T103" fmla="*/ 18 h 218"/>
                <a:gd name="T104" fmla="*/ 189 w 217"/>
                <a:gd name="T105" fmla="*/ 24 h 218"/>
                <a:gd name="T106" fmla="*/ 191 w 217"/>
                <a:gd name="T107" fmla="*/ 26 h 218"/>
                <a:gd name="T108" fmla="*/ 199 w 217"/>
                <a:gd name="T109" fmla="*/ 18 h 218"/>
                <a:gd name="T110" fmla="*/ 203 w 217"/>
                <a:gd name="T111" fmla="*/ 18 h 218"/>
                <a:gd name="T112" fmla="*/ 215 w 217"/>
                <a:gd name="T113" fmla="*/ 1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7" h="218">
                  <a:moveTo>
                    <a:pt x="213" y="10"/>
                  </a:moveTo>
                  <a:lnTo>
                    <a:pt x="213" y="10"/>
                  </a:lnTo>
                  <a:lnTo>
                    <a:pt x="211" y="10"/>
                  </a:lnTo>
                  <a:lnTo>
                    <a:pt x="209" y="8"/>
                  </a:lnTo>
                  <a:lnTo>
                    <a:pt x="201" y="8"/>
                  </a:lnTo>
                  <a:lnTo>
                    <a:pt x="201" y="8"/>
                  </a:lnTo>
                  <a:lnTo>
                    <a:pt x="197" y="8"/>
                  </a:lnTo>
                  <a:lnTo>
                    <a:pt x="193" y="10"/>
                  </a:lnTo>
                  <a:lnTo>
                    <a:pt x="191" y="10"/>
                  </a:lnTo>
                  <a:lnTo>
                    <a:pt x="186" y="12"/>
                  </a:lnTo>
                  <a:lnTo>
                    <a:pt x="182" y="12"/>
                  </a:lnTo>
                  <a:lnTo>
                    <a:pt x="174" y="14"/>
                  </a:lnTo>
                  <a:lnTo>
                    <a:pt x="170" y="14"/>
                  </a:lnTo>
                  <a:lnTo>
                    <a:pt x="164" y="16"/>
                  </a:lnTo>
                  <a:lnTo>
                    <a:pt x="160" y="16"/>
                  </a:lnTo>
                  <a:lnTo>
                    <a:pt x="156" y="18"/>
                  </a:lnTo>
                  <a:lnTo>
                    <a:pt x="154" y="18"/>
                  </a:lnTo>
                  <a:lnTo>
                    <a:pt x="154" y="16"/>
                  </a:lnTo>
                  <a:lnTo>
                    <a:pt x="149" y="16"/>
                  </a:lnTo>
                  <a:lnTo>
                    <a:pt x="147" y="18"/>
                  </a:lnTo>
                  <a:lnTo>
                    <a:pt x="143" y="18"/>
                  </a:lnTo>
                  <a:lnTo>
                    <a:pt x="143" y="18"/>
                  </a:lnTo>
                  <a:lnTo>
                    <a:pt x="141" y="16"/>
                  </a:lnTo>
                  <a:lnTo>
                    <a:pt x="139" y="16"/>
                  </a:lnTo>
                  <a:lnTo>
                    <a:pt x="135" y="16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3" y="14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17" y="14"/>
                  </a:lnTo>
                  <a:lnTo>
                    <a:pt x="115" y="14"/>
                  </a:lnTo>
                  <a:lnTo>
                    <a:pt x="113" y="12"/>
                  </a:lnTo>
                  <a:lnTo>
                    <a:pt x="110" y="10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6"/>
                  </a:lnTo>
                  <a:lnTo>
                    <a:pt x="106" y="6"/>
                  </a:lnTo>
                  <a:lnTo>
                    <a:pt x="102" y="6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71" y="6"/>
                  </a:lnTo>
                  <a:lnTo>
                    <a:pt x="65" y="6"/>
                  </a:lnTo>
                  <a:lnTo>
                    <a:pt x="59" y="6"/>
                  </a:lnTo>
                  <a:lnTo>
                    <a:pt x="47" y="6"/>
                  </a:lnTo>
                  <a:lnTo>
                    <a:pt x="43" y="6"/>
                  </a:lnTo>
                  <a:lnTo>
                    <a:pt x="41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5" y="6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0" y="2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6" y="26"/>
                  </a:lnTo>
                  <a:lnTo>
                    <a:pt x="6" y="28"/>
                  </a:lnTo>
                  <a:lnTo>
                    <a:pt x="10" y="30"/>
                  </a:lnTo>
                  <a:lnTo>
                    <a:pt x="12" y="35"/>
                  </a:lnTo>
                  <a:lnTo>
                    <a:pt x="22" y="55"/>
                  </a:lnTo>
                  <a:lnTo>
                    <a:pt x="24" y="57"/>
                  </a:lnTo>
                  <a:lnTo>
                    <a:pt x="24" y="63"/>
                  </a:lnTo>
                  <a:lnTo>
                    <a:pt x="28" y="72"/>
                  </a:lnTo>
                  <a:lnTo>
                    <a:pt x="35" y="82"/>
                  </a:lnTo>
                  <a:lnTo>
                    <a:pt x="35" y="84"/>
                  </a:lnTo>
                  <a:lnTo>
                    <a:pt x="37" y="86"/>
                  </a:lnTo>
                  <a:lnTo>
                    <a:pt x="41" y="94"/>
                  </a:lnTo>
                  <a:lnTo>
                    <a:pt x="43" y="98"/>
                  </a:lnTo>
                  <a:lnTo>
                    <a:pt x="45" y="104"/>
                  </a:lnTo>
                  <a:lnTo>
                    <a:pt x="45" y="106"/>
                  </a:lnTo>
                  <a:lnTo>
                    <a:pt x="45" y="109"/>
                  </a:lnTo>
                  <a:lnTo>
                    <a:pt x="43" y="109"/>
                  </a:lnTo>
                  <a:lnTo>
                    <a:pt x="43" y="106"/>
                  </a:lnTo>
                  <a:lnTo>
                    <a:pt x="43" y="109"/>
                  </a:lnTo>
                  <a:lnTo>
                    <a:pt x="43" y="111"/>
                  </a:lnTo>
                  <a:lnTo>
                    <a:pt x="43" y="115"/>
                  </a:lnTo>
                  <a:lnTo>
                    <a:pt x="43" y="119"/>
                  </a:lnTo>
                  <a:lnTo>
                    <a:pt x="45" y="121"/>
                  </a:lnTo>
                  <a:lnTo>
                    <a:pt x="45" y="129"/>
                  </a:lnTo>
                  <a:lnTo>
                    <a:pt x="45" y="131"/>
                  </a:lnTo>
                  <a:lnTo>
                    <a:pt x="47" y="137"/>
                  </a:lnTo>
                  <a:lnTo>
                    <a:pt x="49" y="141"/>
                  </a:lnTo>
                  <a:lnTo>
                    <a:pt x="49" y="148"/>
                  </a:lnTo>
                  <a:lnTo>
                    <a:pt x="49" y="150"/>
                  </a:lnTo>
                  <a:lnTo>
                    <a:pt x="49" y="152"/>
                  </a:lnTo>
                  <a:lnTo>
                    <a:pt x="49" y="156"/>
                  </a:lnTo>
                  <a:lnTo>
                    <a:pt x="49" y="160"/>
                  </a:lnTo>
                  <a:lnTo>
                    <a:pt x="51" y="164"/>
                  </a:lnTo>
                  <a:lnTo>
                    <a:pt x="51" y="170"/>
                  </a:lnTo>
                  <a:lnTo>
                    <a:pt x="53" y="172"/>
                  </a:lnTo>
                  <a:lnTo>
                    <a:pt x="53" y="174"/>
                  </a:lnTo>
                  <a:lnTo>
                    <a:pt x="55" y="176"/>
                  </a:lnTo>
                  <a:lnTo>
                    <a:pt x="53" y="176"/>
                  </a:lnTo>
                  <a:lnTo>
                    <a:pt x="53" y="178"/>
                  </a:lnTo>
                  <a:lnTo>
                    <a:pt x="55" y="183"/>
                  </a:lnTo>
                  <a:lnTo>
                    <a:pt x="55" y="189"/>
                  </a:lnTo>
                  <a:lnTo>
                    <a:pt x="57" y="191"/>
                  </a:lnTo>
                  <a:lnTo>
                    <a:pt x="63" y="201"/>
                  </a:lnTo>
                  <a:lnTo>
                    <a:pt x="65" y="203"/>
                  </a:lnTo>
                  <a:lnTo>
                    <a:pt x="67" y="205"/>
                  </a:lnTo>
                  <a:lnTo>
                    <a:pt x="71" y="211"/>
                  </a:lnTo>
                  <a:lnTo>
                    <a:pt x="74" y="213"/>
                  </a:lnTo>
                  <a:lnTo>
                    <a:pt x="74" y="211"/>
                  </a:lnTo>
                  <a:lnTo>
                    <a:pt x="78" y="209"/>
                  </a:lnTo>
                  <a:lnTo>
                    <a:pt x="78" y="209"/>
                  </a:lnTo>
                  <a:lnTo>
                    <a:pt x="78" y="209"/>
                  </a:lnTo>
                  <a:lnTo>
                    <a:pt x="80" y="209"/>
                  </a:lnTo>
                  <a:lnTo>
                    <a:pt x="80" y="209"/>
                  </a:lnTo>
                  <a:lnTo>
                    <a:pt x="80" y="207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0" y="203"/>
                  </a:lnTo>
                  <a:lnTo>
                    <a:pt x="82" y="203"/>
                  </a:lnTo>
                  <a:lnTo>
                    <a:pt x="84" y="201"/>
                  </a:lnTo>
                  <a:lnTo>
                    <a:pt x="86" y="203"/>
                  </a:lnTo>
                  <a:lnTo>
                    <a:pt x="86" y="203"/>
                  </a:lnTo>
                  <a:lnTo>
                    <a:pt x="86" y="205"/>
                  </a:lnTo>
                  <a:lnTo>
                    <a:pt x="86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88" y="207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11"/>
                  </a:lnTo>
                  <a:lnTo>
                    <a:pt x="88" y="211"/>
                  </a:lnTo>
                  <a:lnTo>
                    <a:pt x="90" y="213"/>
                  </a:lnTo>
                  <a:lnTo>
                    <a:pt x="90" y="213"/>
                  </a:lnTo>
                  <a:lnTo>
                    <a:pt x="92" y="215"/>
                  </a:lnTo>
                  <a:lnTo>
                    <a:pt x="94" y="215"/>
                  </a:lnTo>
                  <a:lnTo>
                    <a:pt x="96" y="215"/>
                  </a:lnTo>
                  <a:lnTo>
                    <a:pt x="98" y="215"/>
                  </a:lnTo>
                  <a:lnTo>
                    <a:pt x="100" y="218"/>
                  </a:lnTo>
                  <a:lnTo>
                    <a:pt x="102" y="218"/>
                  </a:lnTo>
                  <a:lnTo>
                    <a:pt x="106" y="218"/>
                  </a:lnTo>
                  <a:lnTo>
                    <a:pt x="110" y="218"/>
                  </a:lnTo>
                  <a:lnTo>
                    <a:pt x="115" y="218"/>
                  </a:lnTo>
                  <a:lnTo>
                    <a:pt x="117" y="218"/>
                  </a:lnTo>
                  <a:lnTo>
                    <a:pt x="117" y="218"/>
                  </a:lnTo>
                  <a:lnTo>
                    <a:pt x="119" y="218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21" y="213"/>
                  </a:lnTo>
                  <a:lnTo>
                    <a:pt x="121" y="213"/>
                  </a:lnTo>
                  <a:lnTo>
                    <a:pt x="123" y="211"/>
                  </a:lnTo>
                  <a:lnTo>
                    <a:pt x="125" y="211"/>
                  </a:lnTo>
                  <a:lnTo>
                    <a:pt x="127" y="209"/>
                  </a:lnTo>
                  <a:lnTo>
                    <a:pt x="129" y="209"/>
                  </a:lnTo>
                  <a:lnTo>
                    <a:pt x="129" y="207"/>
                  </a:lnTo>
                  <a:lnTo>
                    <a:pt x="129" y="199"/>
                  </a:lnTo>
                  <a:lnTo>
                    <a:pt x="129" y="191"/>
                  </a:lnTo>
                  <a:lnTo>
                    <a:pt x="129" y="183"/>
                  </a:lnTo>
                  <a:lnTo>
                    <a:pt x="129" y="174"/>
                  </a:lnTo>
                  <a:lnTo>
                    <a:pt x="129" y="166"/>
                  </a:lnTo>
                  <a:lnTo>
                    <a:pt x="131" y="158"/>
                  </a:lnTo>
                  <a:lnTo>
                    <a:pt x="131" y="150"/>
                  </a:lnTo>
                  <a:lnTo>
                    <a:pt x="131" y="141"/>
                  </a:lnTo>
                  <a:lnTo>
                    <a:pt x="131" y="141"/>
                  </a:lnTo>
                  <a:lnTo>
                    <a:pt x="131" y="137"/>
                  </a:lnTo>
                  <a:lnTo>
                    <a:pt x="131" y="133"/>
                  </a:lnTo>
                  <a:lnTo>
                    <a:pt x="131" y="127"/>
                  </a:lnTo>
                  <a:lnTo>
                    <a:pt x="131" y="121"/>
                  </a:lnTo>
                  <a:lnTo>
                    <a:pt x="131" y="117"/>
                  </a:lnTo>
                  <a:lnTo>
                    <a:pt x="131" y="111"/>
                  </a:lnTo>
                  <a:lnTo>
                    <a:pt x="131" y="106"/>
                  </a:lnTo>
                  <a:lnTo>
                    <a:pt x="131" y="100"/>
                  </a:lnTo>
                  <a:lnTo>
                    <a:pt x="131" y="96"/>
                  </a:lnTo>
                  <a:lnTo>
                    <a:pt x="131" y="90"/>
                  </a:lnTo>
                  <a:lnTo>
                    <a:pt x="147" y="90"/>
                  </a:lnTo>
                  <a:lnTo>
                    <a:pt x="147" y="90"/>
                  </a:lnTo>
                  <a:lnTo>
                    <a:pt x="147" y="88"/>
                  </a:lnTo>
                  <a:lnTo>
                    <a:pt x="147" y="80"/>
                  </a:lnTo>
                  <a:lnTo>
                    <a:pt x="147" y="72"/>
                  </a:lnTo>
                  <a:lnTo>
                    <a:pt x="147" y="65"/>
                  </a:lnTo>
                  <a:lnTo>
                    <a:pt x="147" y="57"/>
                  </a:lnTo>
                  <a:lnTo>
                    <a:pt x="147" y="49"/>
                  </a:lnTo>
                  <a:lnTo>
                    <a:pt x="147" y="43"/>
                  </a:lnTo>
                  <a:lnTo>
                    <a:pt x="147" y="35"/>
                  </a:lnTo>
                  <a:lnTo>
                    <a:pt x="147" y="26"/>
                  </a:lnTo>
                  <a:lnTo>
                    <a:pt x="147" y="24"/>
                  </a:lnTo>
                  <a:lnTo>
                    <a:pt x="152" y="22"/>
                  </a:lnTo>
                  <a:lnTo>
                    <a:pt x="158" y="22"/>
                  </a:lnTo>
                  <a:lnTo>
                    <a:pt x="164" y="22"/>
                  </a:lnTo>
                  <a:lnTo>
                    <a:pt x="172" y="20"/>
                  </a:lnTo>
                  <a:lnTo>
                    <a:pt x="176" y="18"/>
                  </a:lnTo>
                  <a:lnTo>
                    <a:pt x="182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9" y="22"/>
                  </a:lnTo>
                  <a:lnTo>
                    <a:pt x="189" y="24"/>
                  </a:lnTo>
                  <a:lnTo>
                    <a:pt x="189" y="26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7" y="20"/>
                  </a:lnTo>
                  <a:lnTo>
                    <a:pt x="199" y="18"/>
                  </a:lnTo>
                  <a:lnTo>
                    <a:pt x="201" y="18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5" y="18"/>
                  </a:lnTo>
                  <a:lnTo>
                    <a:pt x="209" y="16"/>
                  </a:lnTo>
                  <a:lnTo>
                    <a:pt x="211" y="14"/>
                  </a:lnTo>
                  <a:lnTo>
                    <a:pt x="215" y="14"/>
                  </a:lnTo>
                  <a:lnTo>
                    <a:pt x="217" y="14"/>
                  </a:lnTo>
                  <a:lnTo>
                    <a:pt x="213" y="1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58" name="Freeform 100">
              <a:extLst>
                <a:ext uri="{FF2B5EF4-FFF2-40B4-BE49-F238E27FC236}">
                  <a16:creationId xmlns:a16="http://schemas.microsoft.com/office/drawing/2014/main" id="{6964365A-03F8-ED47-8FDC-23B2AC07DC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5915" y="3760783"/>
              <a:ext cx="203214" cy="360081"/>
            </a:xfrm>
            <a:custGeom>
              <a:avLst/>
              <a:gdLst>
                <a:gd name="T0" fmla="*/ 167 w 171"/>
                <a:gd name="T1" fmla="*/ 74 h 303"/>
                <a:gd name="T2" fmla="*/ 167 w 171"/>
                <a:gd name="T3" fmla="*/ 60 h 303"/>
                <a:gd name="T4" fmla="*/ 167 w 171"/>
                <a:gd name="T5" fmla="*/ 48 h 303"/>
                <a:gd name="T6" fmla="*/ 167 w 171"/>
                <a:gd name="T7" fmla="*/ 39 h 303"/>
                <a:gd name="T8" fmla="*/ 167 w 171"/>
                <a:gd name="T9" fmla="*/ 19 h 303"/>
                <a:gd name="T10" fmla="*/ 169 w 171"/>
                <a:gd name="T11" fmla="*/ 8 h 303"/>
                <a:gd name="T12" fmla="*/ 158 w 171"/>
                <a:gd name="T13" fmla="*/ 8 h 303"/>
                <a:gd name="T14" fmla="*/ 140 w 171"/>
                <a:gd name="T15" fmla="*/ 15 h 303"/>
                <a:gd name="T16" fmla="*/ 124 w 171"/>
                <a:gd name="T17" fmla="*/ 19 h 303"/>
                <a:gd name="T18" fmla="*/ 109 w 171"/>
                <a:gd name="T19" fmla="*/ 21 h 303"/>
                <a:gd name="T20" fmla="*/ 95 w 171"/>
                <a:gd name="T21" fmla="*/ 21 h 303"/>
                <a:gd name="T22" fmla="*/ 84 w 171"/>
                <a:gd name="T23" fmla="*/ 21 h 303"/>
                <a:gd name="T24" fmla="*/ 70 w 171"/>
                <a:gd name="T25" fmla="*/ 27 h 303"/>
                <a:gd name="T26" fmla="*/ 70 w 171"/>
                <a:gd name="T27" fmla="*/ 45 h 303"/>
                <a:gd name="T28" fmla="*/ 78 w 171"/>
                <a:gd name="T29" fmla="*/ 60 h 303"/>
                <a:gd name="T30" fmla="*/ 91 w 171"/>
                <a:gd name="T31" fmla="*/ 85 h 303"/>
                <a:gd name="T32" fmla="*/ 82 w 171"/>
                <a:gd name="T33" fmla="*/ 105 h 303"/>
                <a:gd name="T34" fmla="*/ 80 w 171"/>
                <a:gd name="T35" fmla="*/ 117 h 303"/>
                <a:gd name="T36" fmla="*/ 76 w 171"/>
                <a:gd name="T37" fmla="*/ 122 h 303"/>
                <a:gd name="T38" fmla="*/ 66 w 171"/>
                <a:gd name="T39" fmla="*/ 107 h 303"/>
                <a:gd name="T40" fmla="*/ 64 w 171"/>
                <a:gd name="T41" fmla="*/ 99 h 303"/>
                <a:gd name="T42" fmla="*/ 70 w 171"/>
                <a:gd name="T43" fmla="*/ 82 h 303"/>
                <a:gd name="T44" fmla="*/ 60 w 171"/>
                <a:gd name="T45" fmla="*/ 74 h 303"/>
                <a:gd name="T46" fmla="*/ 48 w 171"/>
                <a:gd name="T47" fmla="*/ 66 h 303"/>
                <a:gd name="T48" fmla="*/ 25 w 171"/>
                <a:gd name="T49" fmla="*/ 74 h 303"/>
                <a:gd name="T50" fmla="*/ 4 w 171"/>
                <a:gd name="T51" fmla="*/ 82 h 303"/>
                <a:gd name="T52" fmla="*/ 2 w 171"/>
                <a:gd name="T53" fmla="*/ 97 h 303"/>
                <a:gd name="T54" fmla="*/ 19 w 171"/>
                <a:gd name="T55" fmla="*/ 105 h 303"/>
                <a:gd name="T56" fmla="*/ 41 w 171"/>
                <a:gd name="T57" fmla="*/ 115 h 303"/>
                <a:gd name="T58" fmla="*/ 41 w 171"/>
                <a:gd name="T59" fmla="*/ 140 h 303"/>
                <a:gd name="T60" fmla="*/ 41 w 171"/>
                <a:gd name="T61" fmla="*/ 152 h 303"/>
                <a:gd name="T62" fmla="*/ 39 w 171"/>
                <a:gd name="T63" fmla="*/ 161 h 303"/>
                <a:gd name="T64" fmla="*/ 41 w 171"/>
                <a:gd name="T65" fmla="*/ 175 h 303"/>
                <a:gd name="T66" fmla="*/ 33 w 171"/>
                <a:gd name="T67" fmla="*/ 191 h 303"/>
                <a:gd name="T68" fmla="*/ 23 w 171"/>
                <a:gd name="T69" fmla="*/ 210 h 303"/>
                <a:gd name="T70" fmla="*/ 15 w 171"/>
                <a:gd name="T71" fmla="*/ 228 h 303"/>
                <a:gd name="T72" fmla="*/ 19 w 171"/>
                <a:gd name="T73" fmla="*/ 245 h 303"/>
                <a:gd name="T74" fmla="*/ 23 w 171"/>
                <a:gd name="T75" fmla="*/ 265 h 303"/>
                <a:gd name="T76" fmla="*/ 21 w 171"/>
                <a:gd name="T77" fmla="*/ 286 h 303"/>
                <a:gd name="T78" fmla="*/ 23 w 171"/>
                <a:gd name="T79" fmla="*/ 303 h 303"/>
                <a:gd name="T80" fmla="*/ 37 w 171"/>
                <a:gd name="T81" fmla="*/ 290 h 303"/>
                <a:gd name="T82" fmla="*/ 31 w 171"/>
                <a:gd name="T83" fmla="*/ 288 h 303"/>
                <a:gd name="T84" fmla="*/ 52 w 171"/>
                <a:gd name="T85" fmla="*/ 270 h 303"/>
                <a:gd name="T86" fmla="*/ 78 w 171"/>
                <a:gd name="T87" fmla="*/ 245 h 303"/>
                <a:gd name="T88" fmla="*/ 80 w 171"/>
                <a:gd name="T89" fmla="*/ 226 h 303"/>
                <a:gd name="T90" fmla="*/ 78 w 171"/>
                <a:gd name="T91" fmla="*/ 216 h 303"/>
                <a:gd name="T92" fmla="*/ 76 w 171"/>
                <a:gd name="T93" fmla="*/ 206 h 303"/>
                <a:gd name="T94" fmla="*/ 70 w 171"/>
                <a:gd name="T95" fmla="*/ 177 h 303"/>
                <a:gd name="T96" fmla="*/ 72 w 171"/>
                <a:gd name="T97" fmla="*/ 173 h 303"/>
                <a:gd name="T98" fmla="*/ 95 w 171"/>
                <a:gd name="T99" fmla="*/ 152 h 303"/>
                <a:gd name="T100" fmla="*/ 105 w 171"/>
                <a:gd name="T101" fmla="*/ 140 h 303"/>
                <a:gd name="T102" fmla="*/ 126 w 171"/>
                <a:gd name="T103" fmla="*/ 126 h 303"/>
                <a:gd name="T104" fmla="*/ 138 w 171"/>
                <a:gd name="T105" fmla="*/ 122 h 303"/>
                <a:gd name="T106" fmla="*/ 154 w 171"/>
                <a:gd name="T107" fmla="*/ 107 h 303"/>
                <a:gd name="T108" fmla="*/ 167 w 171"/>
                <a:gd name="T109" fmla="*/ 89 h 303"/>
                <a:gd name="T110" fmla="*/ 171 w 171"/>
                <a:gd name="T111" fmla="*/ 80 h 303"/>
                <a:gd name="T112" fmla="*/ 72 w 171"/>
                <a:gd name="T113" fmla="*/ 29 h 303"/>
                <a:gd name="T114" fmla="*/ 72 w 171"/>
                <a:gd name="T115" fmla="*/ 3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1" h="303">
                  <a:moveTo>
                    <a:pt x="171" y="78"/>
                  </a:moveTo>
                  <a:lnTo>
                    <a:pt x="171" y="76"/>
                  </a:lnTo>
                  <a:lnTo>
                    <a:pt x="171" y="76"/>
                  </a:lnTo>
                  <a:lnTo>
                    <a:pt x="171" y="74"/>
                  </a:lnTo>
                  <a:lnTo>
                    <a:pt x="169" y="74"/>
                  </a:lnTo>
                  <a:lnTo>
                    <a:pt x="169" y="74"/>
                  </a:lnTo>
                  <a:lnTo>
                    <a:pt x="167" y="76"/>
                  </a:lnTo>
                  <a:lnTo>
                    <a:pt x="167" y="74"/>
                  </a:lnTo>
                  <a:lnTo>
                    <a:pt x="167" y="74"/>
                  </a:lnTo>
                  <a:lnTo>
                    <a:pt x="169" y="72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7" y="70"/>
                  </a:lnTo>
                  <a:lnTo>
                    <a:pt x="167" y="68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7" y="58"/>
                  </a:lnTo>
                  <a:lnTo>
                    <a:pt x="167" y="56"/>
                  </a:lnTo>
                  <a:lnTo>
                    <a:pt x="167" y="54"/>
                  </a:lnTo>
                  <a:lnTo>
                    <a:pt x="167" y="54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7" y="50"/>
                  </a:lnTo>
                  <a:lnTo>
                    <a:pt x="167" y="48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5" y="45"/>
                  </a:lnTo>
                  <a:lnTo>
                    <a:pt x="167" y="45"/>
                  </a:lnTo>
                  <a:lnTo>
                    <a:pt x="167" y="43"/>
                  </a:lnTo>
                  <a:lnTo>
                    <a:pt x="167" y="41"/>
                  </a:lnTo>
                  <a:lnTo>
                    <a:pt x="167" y="39"/>
                  </a:lnTo>
                  <a:lnTo>
                    <a:pt x="167" y="39"/>
                  </a:lnTo>
                  <a:lnTo>
                    <a:pt x="167" y="37"/>
                  </a:lnTo>
                  <a:lnTo>
                    <a:pt x="167" y="35"/>
                  </a:lnTo>
                  <a:lnTo>
                    <a:pt x="167" y="31"/>
                  </a:lnTo>
                  <a:lnTo>
                    <a:pt x="167" y="29"/>
                  </a:lnTo>
                  <a:lnTo>
                    <a:pt x="167" y="29"/>
                  </a:lnTo>
                  <a:lnTo>
                    <a:pt x="167" y="27"/>
                  </a:lnTo>
                  <a:lnTo>
                    <a:pt x="165" y="23"/>
                  </a:lnTo>
                  <a:lnTo>
                    <a:pt x="167" y="19"/>
                  </a:lnTo>
                  <a:lnTo>
                    <a:pt x="165" y="17"/>
                  </a:lnTo>
                  <a:lnTo>
                    <a:pt x="165" y="17"/>
                  </a:lnTo>
                  <a:lnTo>
                    <a:pt x="167" y="15"/>
                  </a:lnTo>
                  <a:lnTo>
                    <a:pt x="169" y="13"/>
                  </a:lnTo>
                  <a:lnTo>
                    <a:pt x="167" y="11"/>
                  </a:lnTo>
                  <a:lnTo>
                    <a:pt x="167" y="11"/>
                  </a:lnTo>
                  <a:lnTo>
                    <a:pt x="167" y="11"/>
                  </a:lnTo>
                  <a:lnTo>
                    <a:pt x="169" y="8"/>
                  </a:lnTo>
                  <a:lnTo>
                    <a:pt x="167" y="6"/>
                  </a:lnTo>
                  <a:lnTo>
                    <a:pt x="169" y="6"/>
                  </a:lnTo>
                  <a:lnTo>
                    <a:pt x="169" y="4"/>
                  </a:lnTo>
                  <a:lnTo>
                    <a:pt x="167" y="2"/>
                  </a:lnTo>
                  <a:lnTo>
                    <a:pt x="167" y="0"/>
                  </a:lnTo>
                  <a:lnTo>
                    <a:pt x="165" y="2"/>
                  </a:lnTo>
                  <a:lnTo>
                    <a:pt x="163" y="4"/>
                  </a:lnTo>
                  <a:lnTo>
                    <a:pt x="158" y="8"/>
                  </a:lnTo>
                  <a:lnTo>
                    <a:pt x="156" y="8"/>
                  </a:lnTo>
                  <a:lnTo>
                    <a:pt x="154" y="11"/>
                  </a:lnTo>
                  <a:lnTo>
                    <a:pt x="152" y="11"/>
                  </a:lnTo>
                  <a:lnTo>
                    <a:pt x="150" y="13"/>
                  </a:lnTo>
                  <a:lnTo>
                    <a:pt x="148" y="13"/>
                  </a:lnTo>
                  <a:lnTo>
                    <a:pt x="146" y="15"/>
                  </a:lnTo>
                  <a:lnTo>
                    <a:pt x="142" y="15"/>
                  </a:lnTo>
                  <a:lnTo>
                    <a:pt x="140" y="15"/>
                  </a:lnTo>
                  <a:lnTo>
                    <a:pt x="136" y="17"/>
                  </a:lnTo>
                  <a:lnTo>
                    <a:pt x="134" y="19"/>
                  </a:lnTo>
                  <a:lnTo>
                    <a:pt x="132" y="17"/>
                  </a:lnTo>
                  <a:lnTo>
                    <a:pt x="130" y="17"/>
                  </a:lnTo>
                  <a:lnTo>
                    <a:pt x="128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4" y="19"/>
                  </a:lnTo>
                  <a:lnTo>
                    <a:pt x="124" y="21"/>
                  </a:lnTo>
                  <a:lnTo>
                    <a:pt x="121" y="21"/>
                  </a:lnTo>
                  <a:lnTo>
                    <a:pt x="119" y="23"/>
                  </a:lnTo>
                  <a:lnTo>
                    <a:pt x="115" y="25"/>
                  </a:lnTo>
                  <a:lnTo>
                    <a:pt x="113" y="23"/>
                  </a:lnTo>
                  <a:lnTo>
                    <a:pt x="111" y="23"/>
                  </a:lnTo>
                  <a:lnTo>
                    <a:pt x="111" y="23"/>
                  </a:lnTo>
                  <a:lnTo>
                    <a:pt x="109" y="21"/>
                  </a:lnTo>
                  <a:lnTo>
                    <a:pt x="109" y="21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3" y="25"/>
                  </a:lnTo>
                  <a:lnTo>
                    <a:pt x="99" y="25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5" y="21"/>
                  </a:lnTo>
                  <a:lnTo>
                    <a:pt x="93" y="19"/>
                  </a:lnTo>
                  <a:lnTo>
                    <a:pt x="91" y="19"/>
                  </a:lnTo>
                  <a:lnTo>
                    <a:pt x="89" y="21"/>
                  </a:lnTo>
                  <a:lnTo>
                    <a:pt x="89" y="21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4" y="23"/>
                  </a:lnTo>
                  <a:lnTo>
                    <a:pt x="84" y="21"/>
                  </a:lnTo>
                  <a:lnTo>
                    <a:pt x="80" y="21"/>
                  </a:lnTo>
                  <a:lnTo>
                    <a:pt x="78" y="21"/>
                  </a:lnTo>
                  <a:lnTo>
                    <a:pt x="76" y="21"/>
                  </a:lnTo>
                  <a:lnTo>
                    <a:pt x="72" y="21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9"/>
                  </a:lnTo>
                  <a:lnTo>
                    <a:pt x="68" y="31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8" y="37"/>
                  </a:lnTo>
                  <a:lnTo>
                    <a:pt x="70" y="39"/>
                  </a:lnTo>
                  <a:lnTo>
                    <a:pt x="70" y="41"/>
                  </a:lnTo>
                  <a:lnTo>
                    <a:pt x="70" y="45"/>
                  </a:lnTo>
                  <a:lnTo>
                    <a:pt x="70" y="50"/>
                  </a:lnTo>
                  <a:lnTo>
                    <a:pt x="70" y="52"/>
                  </a:lnTo>
                  <a:lnTo>
                    <a:pt x="70" y="54"/>
                  </a:lnTo>
                  <a:lnTo>
                    <a:pt x="70" y="56"/>
                  </a:lnTo>
                  <a:lnTo>
                    <a:pt x="72" y="56"/>
                  </a:lnTo>
                  <a:lnTo>
                    <a:pt x="74" y="58"/>
                  </a:lnTo>
                  <a:lnTo>
                    <a:pt x="76" y="58"/>
                  </a:lnTo>
                  <a:lnTo>
                    <a:pt x="78" y="60"/>
                  </a:lnTo>
                  <a:lnTo>
                    <a:pt x="80" y="64"/>
                  </a:lnTo>
                  <a:lnTo>
                    <a:pt x="82" y="68"/>
                  </a:lnTo>
                  <a:lnTo>
                    <a:pt x="84" y="70"/>
                  </a:lnTo>
                  <a:lnTo>
                    <a:pt x="89" y="74"/>
                  </a:lnTo>
                  <a:lnTo>
                    <a:pt x="91" y="78"/>
                  </a:lnTo>
                  <a:lnTo>
                    <a:pt x="91" y="82"/>
                  </a:lnTo>
                  <a:lnTo>
                    <a:pt x="91" y="82"/>
                  </a:lnTo>
                  <a:lnTo>
                    <a:pt x="91" y="85"/>
                  </a:lnTo>
                  <a:lnTo>
                    <a:pt x="89" y="89"/>
                  </a:lnTo>
                  <a:lnTo>
                    <a:pt x="91" y="93"/>
                  </a:lnTo>
                  <a:lnTo>
                    <a:pt x="89" y="97"/>
                  </a:lnTo>
                  <a:lnTo>
                    <a:pt x="89" y="103"/>
                  </a:lnTo>
                  <a:lnTo>
                    <a:pt x="89" y="103"/>
                  </a:lnTo>
                  <a:lnTo>
                    <a:pt x="87" y="105"/>
                  </a:lnTo>
                  <a:lnTo>
                    <a:pt x="87" y="105"/>
                  </a:lnTo>
                  <a:lnTo>
                    <a:pt x="82" y="105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78" y="111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80" y="115"/>
                  </a:lnTo>
                  <a:lnTo>
                    <a:pt x="80" y="117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8" y="120"/>
                  </a:lnTo>
                  <a:lnTo>
                    <a:pt x="76" y="117"/>
                  </a:lnTo>
                  <a:lnTo>
                    <a:pt x="76" y="117"/>
                  </a:lnTo>
                  <a:lnTo>
                    <a:pt x="74" y="117"/>
                  </a:lnTo>
                  <a:lnTo>
                    <a:pt x="72" y="113"/>
                  </a:lnTo>
                  <a:lnTo>
                    <a:pt x="70" y="111"/>
                  </a:lnTo>
                  <a:lnTo>
                    <a:pt x="68" y="109"/>
                  </a:lnTo>
                  <a:lnTo>
                    <a:pt x="66" y="107"/>
                  </a:lnTo>
                  <a:lnTo>
                    <a:pt x="66" y="107"/>
                  </a:lnTo>
                  <a:lnTo>
                    <a:pt x="66" y="107"/>
                  </a:lnTo>
                  <a:lnTo>
                    <a:pt x="66" y="105"/>
                  </a:lnTo>
                  <a:lnTo>
                    <a:pt x="66" y="105"/>
                  </a:lnTo>
                  <a:lnTo>
                    <a:pt x="66" y="103"/>
                  </a:lnTo>
                  <a:lnTo>
                    <a:pt x="64" y="101"/>
                  </a:lnTo>
                  <a:lnTo>
                    <a:pt x="64" y="101"/>
                  </a:lnTo>
                  <a:lnTo>
                    <a:pt x="64" y="99"/>
                  </a:lnTo>
                  <a:lnTo>
                    <a:pt x="64" y="99"/>
                  </a:lnTo>
                  <a:lnTo>
                    <a:pt x="66" y="97"/>
                  </a:lnTo>
                  <a:lnTo>
                    <a:pt x="66" y="95"/>
                  </a:lnTo>
                  <a:lnTo>
                    <a:pt x="68" y="93"/>
                  </a:lnTo>
                  <a:lnTo>
                    <a:pt x="68" y="91"/>
                  </a:lnTo>
                  <a:lnTo>
                    <a:pt x="70" y="87"/>
                  </a:lnTo>
                  <a:lnTo>
                    <a:pt x="70" y="85"/>
                  </a:lnTo>
                  <a:lnTo>
                    <a:pt x="70" y="82"/>
                  </a:lnTo>
                  <a:lnTo>
                    <a:pt x="70" y="80"/>
                  </a:lnTo>
                  <a:lnTo>
                    <a:pt x="68" y="76"/>
                  </a:lnTo>
                  <a:lnTo>
                    <a:pt x="66" y="74"/>
                  </a:lnTo>
                  <a:lnTo>
                    <a:pt x="66" y="74"/>
                  </a:lnTo>
                  <a:lnTo>
                    <a:pt x="64" y="74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0" y="74"/>
                  </a:lnTo>
                  <a:lnTo>
                    <a:pt x="58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4" y="74"/>
                  </a:lnTo>
                  <a:lnTo>
                    <a:pt x="52" y="72"/>
                  </a:lnTo>
                  <a:lnTo>
                    <a:pt x="50" y="66"/>
                  </a:lnTo>
                  <a:lnTo>
                    <a:pt x="48" y="66"/>
                  </a:lnTo>
                  <a:lnTo>
                    <a:pt x="45" y="68"/>
                  </a:lnTo>
                  <a:lnTo>
                    <a:pt x="43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1" y="72"/>
                  </a:lnTo>
                  <a:lnTo>
                    <a:pt x="29" y="72"/>
                  </a:lnTo>
                  <a:lnTo>
                    <a:pt x="29" y="74"/>
                  </a:lnTo>
                  <a:lnTo>
                    <a:pt x="25" y="74"/>
                  </a:lnTo>
                  <a:lnTo>
                    <a:pt x="23" y="76"/>
                  </a:lnTo>
                  <a:lnTo>
                    <a:pt x="21" y="76"/>
                  </a:lnTo>
                  <a:lnTo>
                    <a:pt x="19" y="78"/>
                  </a:lnTo>
                  <a:lnTo>
                    <a:pt x="15" y="78"/>
                  </a:lnTo>
                  <a:lnTo>
                    <a:pt x="11" y="80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7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2" y="91"/>
                  </a:lnTo>
                  <a:lnTo>
                    <a:pt x="2" y="93"/>
                  </a:lnTo>
                  <a:lnTo>
                    <a:pt x="2" y="97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6" y="103"/>
                  </a:lnTo>
                  <a:lnTo>
                    <a:pt x="11" y="103"/>
                  </a:lnTo>
                  <a:lnTo>
                    <a:pt x="17" y="103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23" y="107"/>
                  </a:lnTo>
                  <a:lnTo>
                    <a:pt x="27" y="111"/>
                  </a:lnTo>
                  <a:lnTo>
                    <a:pt x="31" y="111"/>
                  </a:lnTo>
                  <a:lnTo>
                    <a:pt x="35" y="111"/>
                  </a:lnTo>
                  <a:lnTo>
                    <a:pt x="37" y="113"/>
                  </a:lnTo>
                  <a:lnTo>
                    <a:pt x="39" y="115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3" y="115"/>
                  </a:lnTo>
                  <a:lnTo>
                    <a:pt x="43" y="117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3" y="126"/>
                  </a:lnTo>
                  <a:lnTo>
                    <a:pt x="43" y="130"/>
                  </a:lnTo>
                  <a:lnTo>
                    <a:pt x="41" y="136"/>
                  </a:lnTo>
                  <a:lnTo>
                    <a:pt x="41" y="140"/>
                  </a:lnTo>
                  <a:lnTo>
                    <a:pt x="41" y="142"/>
                  </a:lnTo>
                  <a:lnTo>
                    <a:pt x="43" y="144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1" y="148"/>
                  </a:lnTo>
                  <a:lnTo>
                    <a:pt x="41" y="150"/>
                  </a:lnTo>
                  <a:lnTo>
                    <a:pt x="41" y="152"/>
                  </a:lnTo>
                  <a:lnTo>
                    <a:pt x="41" y="152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4"/>
                  </a:lnTo>
                  <a:lnTo>
                    <a:pt x="37" y="157"/>
                  </a:lnTo>
                  <a:lnTo>
                    <a:pt x="37" y="159"/>
                  </a:lnTo>
                  <a:lnTo>
                    <a:pt x="39" y="159"/>
                  </a:lnTo>
                  <a:lnTo>
                    <a:pt x="39" y="159"/>
                  </a:lnTo>
                  <a:lnTo>
                    <a:pt x="39" y="161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9" y="165"/>
                  </a:lnTo>
                  <a:lnTo>
                    <a:pt x="39" y="169"/>
                  </a:lnTo>
                  <a:lnTo>
                    <a:pt x="39" y="171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39" y="181"/>
                  </a:lnTo>
                  <a:lnTo>
                    <a:pt x="37" y="183"/>
                  </a:lnTo>
                  <a:lnTo>
                    <a:pt x="37" y="185"/>
                  </a:lnTo>
                  <a:lnTo>
                    <a:pt x="33" y="187"/>
                  </a:lnTo>
                  <a:lnTo>
                    <a:pt x="33" y="187"/>
                  </a:lnTo>
                  <a:lnTo>
                    <a:pt x="33" y="189"/>
                  </a:lnTo>
                  <a:lnTo>
                    <a:pt x="33" y="191"/>
                  </a:lnTo>
                  <a:lnTo>
                    <a:pt x="33" y="194"/>
                  </a:lnTo>
                  <a:lnTo>
                    <a:pt x="31" y="198"/>
                  </a:lnTo>
                  <a:lnTo>
                    <a:pt x="31" y="200"/>
                  </a:lnTo>
                  <a:lnTo>
                    <a:pt x="31" y="200"/>
                  </a:lnTo>
                  <a:lnTo>
                    <a:pt x="31" y="202"/>
                  </a:lnTo>
                  <a:lnTo>
                    <a:pt x="29" y="204"/>
                  </a:lnTo>
                  <a:lnTo>
                    <a:pt x="25" y="208"/>
                  </a:lnTo>
                  <a:lnTo>
                    <a:pt x="23" y="210"/>
                  </a:lnTo>
                  <a:lnTo>
                    <a:pt x="21" y="212"/>
                  </a:lnTo>
                  <a:lnTo>
                    <a:pt x="19" y="216"/>
                  </a:lnTo>
                  <a:lnTo>
                    <a:pt x="15" y="218"/>
                  </a:lnTo>
                  <a:lnTo>
                    <a:pt x="13" y="220"/>
                  </a:lnTo>
                  <a:lnTo>
                    <a:pt x="13" y="222"/>
                  </a:lnTo>
                  <a:lnTo>
                    <a:pt x="13" y="222"/>
                  </a:lnTo>
                  <a:lnTo>
                    <a:pt x="15" y="224"/>
                  </a:lnTo>
                  <a:lnTo>
                    <a:pt x="15" y="228"/>
                  </a:lnTo>
                  <a:lnTo>
                    <a:pt x="15" y="233"/>
                  </a:lnTo>
                  <a:lnTo>
                    <a:pt x="17" y="237"/>
                  </a:lnTo>
                  <a:lnTo>
                    <a:pt x="17" y="239"/>
                  </a:lnTo>
                  <a:lnTo>
                    <a:pt x="17" y="241"/>
                  </a:lnTo>
                  <a:lnTo>
                    <a:pt x="17" y="241"/>
                  </a:lnTo>
                  <a:lnTo>
                    <a:pt x="19" y="243"/>
                  </a:lnTo>
                  <a:lnTo>
                    <a:pt x="19" y="245"/>
                  </a:lnTo>
                  <a:lnTo>
                    <a:pt x="19" y="245"/>
                  </a:lnTo>
                  <a:lnTo>
                    <a:pt x="21" y="247"/>
                  </a:lnTo>
                  <a:lnTo>
                    <a:pt x="21" y="251"/>
                  </a:lnTo>
                  <a:lnTo>
                    <a:pt x="21" y="253"/>
                  </a:lnTo>
                  <a:lnTo>
                    <a:pt x="23" y="255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3" y="261"/>
                  </a:lnTo>
                  <a:lnTo>
                    <a:pt x="23" y="265"/>
                  </a:lnTo>
                  <a:lnTo>
                    <a:pt x="23" y="270"/>
                  </a:lnTo>
                  <a:lnTo>
                    <a:pt x="23" y="274"/>
                  </a:lnTo>
                  <a:lnTo>
                    <a:pt x="23" y="274"/>
                  </a:lnTo>
                  <a:lnTo>
                    <a:pt x="23" y="280"/>
                  </a:lnTo>
                  <a:lnTo>
                    <a:pt x="21" y="282"/>
                  </a:lnTo>
                  <a:lnTo>
                    <a:pt x="21" y="284"/>
                  </a:lnTo>
                  <a:lnTo>
                    <a:pt x="21" y="286"/>
                  </a:lnTo>
                  <a:lnTo>
                    <a:pt x="21" y="286"/>
                  </a:lnTo>
                  <a:lnTo>
                    <a:pt x="23" y="286"/>
                  </a:lnTo>
                  <a:lnTo>
                    <a:pt x="23" y="288"/>
                  </a:lnTo>
                  <a:lnTo>
                    <a:pt x="23" y="290"/>
                  </a:lnTo>
                  <a:lnTo>
                    <a:pt x="23" y="292"/>
                  </a:lnTo>
                  <a:lnTo>
                    <a:pt x="23" y="292"/>
                  </a:lnTo>
                  <a:lnTo>
                    <a:pt x="23" y="294"/>
                  </a:lnTo>
                  <a:lnTo>
                    <a:pt x="23" y="296"/>
                  </a:lnTo>
                  <a:lnTo>
                    <a:pt x="23" y="303"/>
                  </a:lnTo>
                  <a:lnTo>
                    <a:pt x="25" y="303"/>
                  </a:lnTo>
                  <a:lnTo>
                    <a:pt x="27" y="303"/>
                  </a:lnTo>
                  <a:lnTo>
                    <a:pt x="29" y="303"/>
                  </a:lnTo>
                  <a:lnTo>
                    <a:pt x="31" y="303"/>
                  </a:lnTo>
                  <a:lnTo>
                    <a:pt x="33" y="303"/>
                  </a:lnTo>
                  <a:lnTo>
                    <a:pt x="35" y="303"/>
                  </a:lnTo>
                  <a:lnTo>
                    <a:pt x="35" y="303"/>
                  </a:lnTo>
                  <a:lnTo>
                    <a:pt x="37" y="290"/>
                  </a:lnTo>
                  <a:lnTo>
                    <a:pt x="37" y="288"/>
                  </a:lnTo>
                  <a:lnTo>
                    <a:pt x="37" y="288"/>
                  </a:lnTo>
                  <a:lnTo>
                    <a:pt x="35" y="288"/>
                  </a:lnTo>
                  <a:lnTo>
                    <a:pt x="35" y="292"/>
                  </a:lnTo>
                  <a:lnTo>
                    <a:pt x="35" y="290"/>
                  </a:lnTo>
                  <a:lnTo>
                    <a:pt x="33" y="290"/>
                  </a:lnTo>
                  <a:lnTo>
                    <a:pt x="33" y="290"/>
                  </a:lnTo>
                  <a:lnTo>
                    <a:pt x="31" y="288"/>
                  </a:lnTo>
                  <a:lnTo>
                    <a:pt x="31" y="286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5" y="280"/>
                  </a:lnTo>
                  <a:lnTo>
                    <a:pt x="37" y="278"/>
                  </a:lnTo>
                  <a:lnTo>
                    <a:pt x="43" y="274"/>
                  </a:lnTo>
                  <a:lnTo>
                    <a:pt x="48" y="272"/>
                  </a:lnTo>
                  <a:lnTo>
                    <a:pt x="52" y="270"/>
                  </a:lnTo>
                  <a:lnTo>
                    <a:pt x="64" y="265"/>
                  </a:lnTo>
                  <a:lnTo>
                    <a:pt x="70" y="261"/>
                  </a:lnTo>
                  <a:lnTo>
                    <a:pt x="72" y="259"/>
                  </a:lnTo>
                  <a:lnTo>
                    <a:pt x="74" y="257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80" y="247"/>
                  </a:lnTo>
                  <a:lnTo>
                    <a:pt x="78" y="245"/>
                  </a:lnTo>
                  <a:lnTo>
                    <a:pt x="78" y="245"/>
                  </a:lnTo>
                  <a:lnTo>
                    <a:pt x="78" y="247"/>
                  </a:lnTo>
                  <a:lnTo>
                    <a:pt x="76" y="247"/>
                  </a:lnTo>
                  <a:lnTo>
                    <a:pt x="76" y="247"/>
                  </a:lnTo>
                  <a:lnTo>
                    <a:pt x="76" y="245"/>
                  </a:lnTo>
                  <a:lnTo>
                    <a:pt x="78" y="235"/>
                  </a:lnTo>
                  <a:lnTo>
                    <a:pt x="80" y="231"/>
                  </a:lnTo>
                  <a:lnTo>
                    <a:pt x="80" y="226"/>
                  </a:lnTo>
                  <a:lnTo>
                    <a:pt x="80" y="224"/>
                  </a:lnTo>
                  <a:lnTo>
                    <a:pt x="80" y="220"/>
                  </a:lnTo>
                  <a:lnTo>
                    <a:pt x="80" y="218"/>
                  </a:lnTo>
                  <a:lnTo>
                    <a:pt x="80" y="218"/>
                  </a:lnTo>
                  <a:lnTo>
                    <a:pt x="80" y="216"/>
                  </a:lnTo>
                  <a:lnTo>
                    <a:pt x="80" y="216"/>
                  </a:lnTo>
                  <a:lnTo>
                    <a:pt x="80" y="214"/>
                  </a:lnTo>
                  <a:lnTo>
                    <a:pt x="78" y="216"/>
                  </a:lnTo>
                  <a:lnTo>
                    <a:pt x="78" y="218"/>
                  </a:lnTo>
                  <a:lnTo>
                    <a:pt x="78" y="220"/>
                  </a:lnTo>
                  <a:lnTo>
                    <a:pt x="78" y="222"/>
                  </a:lnTo>
                  <a:lnTo>
                    <a:pt x="76" y="220"/>
                  </a:lnTo>
                  <a:lnTo>
                    <a:pt x="76" y="218"/>
                  </a:lnTo>
                  <a:lnTo>
                    <a:pt x="78" y="214"/>
                  </a:lnTo>
                  <a:lnTo>
                    <a:pt x="76" y="208"/>
                  </a:lnTo>
                  <a:lnTo>
                    <a:pt x="76" y="206"/>
                  </a:lnTo>
                  <a:lnTo>
                    <a:pt x="74" y="202"/>
                  </a:lnTo>
                  <a:lnTo>
                    <a:pt x="74" y="198"/>
                  </a:lnTo>
                  <a:lnTo>
                    <a:pt x="72" y="191"/>
                  </a:lnTo>
                  <a:lnTo>
                    <a:pt x="72" y="189"/>
                  </a:lnTo>
                  <a:lnTo>
                    <a:pt x="70" y="187"/>
                  </a:lnTo>
                  <a:lnTo>
                    <a:pt x="68" y="185"/>
                  </a:lnTo>
                  <a:lnTo>
                    <a:pt x="68" y="183"/>
                  </a:lnTo>
                  <a:lnTo>
                    <a:pt x="70" y="177"/>
                  </a:lnTo>
                  <a:lnTo>
                    <a:pt x="70" y="175"/>
                  </a:lnTo>
                  <a:lnTo>
                    <a:pt x="70" y="173"/>
                  </a:lnTo>
                  <a:lnTo>
                    <a:pt x="70" y="173"/>
                  </a:lnTo>
                  <a:lnTo>
                    <a:pt x="68" y="171"/>
                  </a:lnTo>
                  <a:lnTo>
                    <a:pt x="70" y="171"/>
                  </a:lnTo>
                  <a:lnTo>
                    <a:pt x="72" y="173"/>
                  </a:lnTo>
                  <a:lnTo>
                    <a:pt x="72" y="173"/>
                  </a:lnTo>
                  <a:lnTo>
                    <a:pt x="72" y="173"/>
                  </a:lnTo>
                  <a:lnTo>
                    <a:pt x="80" y="167"/>
                  </a:lnTo>
                  <a:lnTo>
                    <a:pt x="84" y="161"/>
                  </a:lnTo>
                  <a:lnTo>
                    <a:pt x="89" y="159"/>
                  </a:lnTo>
                  <a:lnTo>
                    <a:pt x="91" y="157"/>
                  </a:lnTo>
                  <a:lnTo>
                    <a:pt x="93" y="154"/>
                  </a:lnTo>
                  <a:lnTo>
                    <a:pt x="93" y="157"/>
                  </a:lnTo>
                  <a:lnTo>
                    <a:pt x="95" y="154"/>
                  </a:lnTo>
                  <a:lnTo>
                    <a:pt x="95" y="152"/>
                  </a:lnTo>
                  <a:lnTo>
                    <a:pt x="95" y="154"/>
                  </a:lnTo>
                  <a:lnTo>
                    <a:pt x="97" y="154"/>
                  </a:lnTo>
                  <a:lnTo>
                    <a:pt x="97" y="152"/>
                  </a:lnTo>
                  <a:lnTo>
                    <a:pt x="99" y="150"/>
                  </a:lnTo>
                  <a:lnTo>
                    <a:pt x="99" y="148"/>
                  </a:lnTo>
                  <a:lnTo>
                    <a:pt x="103" y="144"/>
                  </a:lnTo>
                  <a:lnTo>
                    <a:pt x="105" y="142"/>
                  </a:lnTo>
                  <a:lnTo>
                    <a:pt x="105" y="140"/>
                  </a:lnTo>
                  <a:lnTo>
                    <a:pt x="105" y="140"/>
                  </a:lnTo>
                  <a:lnTo>
                    <a:pt x="107" y="138"/>
                  </a:lnTo>
                  <a:lnTo>
                    <a:pt x="107" y="138"/>
                  </a:lnTo>
                  <a:lnTo>
                    <a:pt x="111" y="134"/>
                  </a:lnTo>
                  <a:lnTo>
                    <a:pt x="115" y="132"/>
                  </a:lnTo>
                  <a:lnTo>
                    <a:pt x="121" y="128"/>
                  </a:lnTo>
                  <a:lnTo>
                    <a:pt x="124" y="128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30" y="124"/>
                  </a:lnTo>
                  <a:lnTo>
                    <a:pt x="134" y="124"/>
                  </a:lnTo>
                  <a:lnTo>
                    <a:pt x="134" y="122"/>
                  </a:lnTo>
                  <a:lnTo>
                    <a:pt x="136" y="122"/>
                  </a:lnTo>
                  <a:lnTo>
                    <a:pt x="136" y="122"/>
                  </a:lnTo>
                  <a:lnTo>
                    <a:pt x="138" y="122"/>
                  </a:lnTo>
                  <a:lnTo>
                    <a:pt x="138" y="122"/>
                  </a:lnTo>
                  <a:lnTo>
                    <a:pt x="140" y="122"/>
                  </a:lnTo>
                  <a:lnTo>
                    <a:pt x="142" y="117"/>
                  </a:lnTo>
                  <a:lnTo>
                    <a:pt x="144" y="117"/>
                  </a:lnTo>
                  <a:lnTo>
                    <a:pt x="150" y="113"/>
                  </a:lnTo>
                  <a:lnTo>
                    <a:pt x="152" y="111"/>
                  </a:lnTo>
                  <a:lnTo>
                    <a:pt x="154" y="111"/>
                  </a:lnTo>
                  <a:lnTo>
                    <a:pt x="152" y="109"/>
                  </a:lnTo>
                  <a:lnTo>
                    <a:pt x="154" y="107"/>
                  </a:lnTo>
                  <a:lnTo>
                    <a:pt x="156" y="107"/>
                  </a:lnTo>
                  <a:lnTo>
                    <a:pt x="158" y="103"/>
                  </a:lnTo>
                  <a:lnTo>
                    <a:pt x="158" y="103"/>
                  </a:lnTo>
                  <a:lnTo>
                    <a:pt x="158" y="103"/>
                  </a:lnTo>
                  <a:lnTo>
                    <a:pt x="160" y="101"/>
                  </a:lnTo>
                  <a:lnTo>
                    <a:pt x="160" y="99"/>
                  </a:lnTo>
                  <a:lnTo>
                    <a:pt x="165" y="93"/>
                  </a:lnTo>
                  <a:lnTo>
                    <a:pt x="167" y="89"/>
                  </a:lnTo>
                  <a:lnTo>
                    <a:pt x="167" y="89"/>
                  </a:lnTo>
                  <a:lnTo>
                    <a:pt x="167" y="87"/>
                  </a:lnTo>
                  <a:lnTo>
                    <a:pt x="167" y="87"/>
                  </a:lnTo>
                  <a:lnTo>
                    <a:pt x="169" y="87"/>
                  </a:lnTo>
                  <a:lnTo>
                    <a:pt x="169" y="85"/>
                  </a:lnTo>
                  <a:lnTo>
                    <a:pt x="169" y="82"/>
                  </a:lnTo>
                  <a:lnTo>
                    <a:pt x="169" y="82"/>
                  </a:lnTo>
                  <a:lnTo>
                    <a:pt x="171" y="80"/>
                  </a:lnTo>
                  <a:lnTo>
                    <a:pt x="171" y="78"/>
                  </a:lnTo>
                  <a:lnTo>
                    <a:pt x="171" y="78"/>
                  </a:lnTo>
                  <a:close/>
                  <a:moveTo>
                    <a:pt x="72" y="31"/>
                  </a:moveTo>
                  <a:lnTo>
                    <a:pt x="72" y="31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31"/>
                  </a:lnTo>
                  <a:close/>
                  <a:moveTo>
                    <a:pt x="74" y="31"/>
                  </a:moveTo>
                  <a:lnTo>
                    <a:pt x="74" y="31"/>
                  </a:lnTo>
                  <a:lnTo>
                    <a:pt x="74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31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59" name="Freeform 101">
              <a:extLst>
                <a:ext uri="{FF2B5EF4-FFF2-40B4-BE49-F238E27FC236}">
                  <a16:creationId xmlns:a16="http://schemas.microsoft.com/office/drawing/2014/main" id="{795856A4-A3A2-E640-8708-0505122C0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1059" y="2749465"/>
              <a:ext cx="307792" cy="317300"/>
            </a:xfrm>
            <a:custGeom>
              <a:avLst/>
              <a:gdLst>
                <a:gd name="T0" fmla="*/ 254 w 259"/>
                <a:gd name="T1" fmla="*/ 60 h 267"/>
                <a:gd name="T2" fmla="*/ 250 w 259"/>
                <a:gd name="T3" fmla="*/ 43 h 267"/>
                <a:gd name="T4" fmla="*/ 248 w 259"/>
                <a:gd name="T5" fmla="*/ 29 h 267"/>
                <a:gd name="T6" fmla="*/ 248 w 259"/>
                <a:gd name="T7" fmla="*/ 25 h 267"/>
                <a:gd name="T8" fmla="*/ 242 w 259"/>
                <a:gd name="T9" fmla="*/ 16 h 267"/>
                <a:gd name="T10" fmla="*/ 232 w 259"/>
                <a:gd name="T11" fmla="*/ 12 h 267"/>
                <a:gd name="T12" fmla="*/ 226 w 259"/>
                <a:gd name="T13" fmla="*/ 14 h 267"/>
                <a:gd name="T14" fmla="*/ 207 w 259"/>
                <a:gd name="T15" fmla="*/ 14 h 267"/>
                <a:gd name="T16" fmla="*/ 197 w 259"/>
                <a:gd name="T17" fmla="*/ 0 h 267"/>
                <a:gd name="T18" fmla="*/ 187 w 259"/>
                <a:gd name="T19" fmla="*/ 4 h 267"/>
                <a:gd name="T20" fmla="*/ 148 w 259"/>
                <a:gd name="T21" fmla="*/ 47 h 267"/>
                <a:gd name="T22" fmla="*/ 131 w 259"/>
                <a:gd name="T23" fmla="*/ 68 h 267"/>
                <a:gd name="T24" fmla="*/ 121 w 259"/>
                <a:gd name="T25" fmla="*/ 97 h 267"/>
                <a:gd name="T26" fmla="*/ 123 w 259"/>
                <a:gd name="T27" fmla="*/ 111 h 267"/>
                <a:gd name="T28" fmla="*/ 100 w 259"/>
                <a:gd name="T29" fmla="*/ 134 h 267"/>
                <a:gd name="T30" fmla="*/ 72 w 259"/>
                <a:gd name="T31" fmla="*/ 146 h 267"/>
                <a:gd name="T32" fmla="*/ 61 w 259"/>
                <a:gd name="T33" fmla="*/ 162 h 267"/>
                <a:gd name="T34" fmla="*/ 47 w 259"/>
                <a:gd name="T35" fmla="*/ 177 h 267"/>
                <a:gd name="T36" fmla="*/ 39 w 259"/>
                <a:gd name="T37" fmla="*/ 193 h 267"/>
                <a:gd name="T38" fmla="*/ 24 w 259"/>
                <a:gd name="T39" fmla="*/ 218 h 267"/>
                <a:gd name="T40" fmla="*/ 20 w 259"/>
                <a:gd name="T41" fmla="*/ 224 h 267"/>
                <a:gd name="T42" fmla="*/ 16 w 259"/>
                <a:gd name="T43" fmla="*/ 234 h 267"/>
                <a:gd name="T44" fmla="*/ 8 w 259"/>
                <a:gd name="T45" fmla="*/ 251 h 267"/>
                <a:gd name="T46" fmla="*/ 2 w 259"/>
                <a:gd name="T47" fmla="*/ 267 h 267"/>
                <a:gd name="T48" fmla="*/ 20 w 259"/>
                <a:gd name="T49" fmla="*/ 265 h 267"/>
                <a:gd name="T50" fmla="*/ 35 w 259"/>
                <a:gd name="T51" fmla="*/ 267 h 267"/>
                <a:gd name="T52" fmla="*/ 39 w 259"/>
                <a:gd name="T53" fmla="*/ 259 h 267"/>
                <a:gd name="T54" fmla="*/ 43 w 259"/>
                <a:gd name="T55" fmla="*/ 253 h 267"/>
                <a:gd name="T56" fmla="*/ 47 w 259"/>
                <a:gd name="T57" fmla="*/ 243 h 267"/>
                <a:gd name="T58" fmla="*/ 49 w 259"/>
                <a:gd name="T59" fmla="*/ 228 h 267"/>
                <a:gd name="T60" fmla="*/ 57 w 259"/>
                <a:gd name="T61" fmla="*/ 222 h 267"/>
                <a:gd name="T62" fmla="*/ 63 w 259"/>
                <a:gd name="T63" fmla="*/ 216 h 267"/>
                <a:gd name="T64" fmla="*/ 70 w 259"/>
                <a:gd name="T65" fmla="*/ 210 h 267"/>
                <a:gd name="T66" fmla="*/ 76 w 259"/>
                <a:gd name="T67" fmla="*/ 204 h 267"/>
                <a:gd name="T68" fmla="*/ 80 w 259"/>
                <a:gd name="T69" fmla="*/ 189 h 267"/>
                <a:gd name="T70" fmla="*/ 82 w 259"/>
                <a:gd name="T71" fmla="*/ 183 h 267"/>
                <a:gd name="T72" fmla="*/ 88 w 259"/>
                <a:gd name="T73" fmla="*/ 179 h 267"/>
                <a:gd name="T74" fmla="*/ 92 w 259"/>
                <a:gd name="T75" fmla="*/ 173 h 267"/>
                <a:gd name="T76" fmla="*/ 94 w 259"/>
                <a:gd name="T77" fmla="*/ 167 h 267"/>
                <a:gd name="T78" fmla="*/ 105 w 259"/>
                <a:gd name="T79" fmla="*/ 165 h 267"/>
                <a:gd name="T80" fmla="*/ 113 w 259"/>
                <a:gd name="T81" fmla="*/ 167 h 267"/>
                <a:gd name="T82" fmla="*/ 119 w 259"/>
                <a:gd name="T83" fmla="*/ 167 h 267"/>
                <a:gd name="T84" fmla="*/ 125 w 259"/>
                <a:gd name="T85" fmla="*/ 162 h 267"/>
                <a:gd name="T86" fmla="*/ 135 w 259"/>
                <a:gd name="T87" fmla="*/ 162 h 267"/>
                <a:gd name="T88" fmla="*/ 135 w 259"/>
                <a:gd name="T89" fmla="*/ 156 h 267"/>
                <a:gd name="T90" fmla="*/ 137 w 259"/>
                <a:gd name="T91" fmla="*/ 152 h 267"/>
                <a:gd name="T92" fmla="*/ 137 w 259"/>
                <a:gd name="T93" fmla="*/ 134 h 267"/>
                <a:gd name="T94" fmla="*/ 148 w 259"/>
                <a:gd name="T95" fmla="*/ 125 h 267"/>
                <a:gd name="T96" fmla="*/ 160 w 259"/>
                <a:gd name="T97" fmla="*/ 119 h 267"/>
                <a:gd name="T98" fmla="*/ 168 w 259"/>
                <a:gd name="T99" fmla="*/ 117 h 267"/>
                <a:gd name="T100" fmla="*/ 172 w 259"/>
                <a:gd name="T101" fmla="*/ 113 h 267"/>
                <a:gd name="T102" fmla="*/ 178 w 259"/>
                <a:gd name="T103" fmla="*/ 113 h 267"/>
                <a:gd name="T104" fmla="*/ 193 w 259"/>
                <a:gd name="T105" fmla="*/ 107 h 267"/>
                <a:gd name="T106" fmla="*/ 207 w 259"/>
                <a:gd name="T107" fmla="*/ 97 h 267"/>
                <a:gd name="T108" fmla="*/ 217 w 259"/>
                <a:gd name="T109" fmla="*/ 90 h 267"/>
                <a:gd name="T110" fmla="*/ 215 w 259"/>
                <a:gd name="T111" fmla="*/ 88 h 267"/>
                <a:gd name="T112" fmla="*/ 215 w 259"/>
                <a:gd name="T113" fmla="*/ 80 h 267"/>
                <a:gd name="T114" fmla="*/ 222 w 259"/>
                <a:gd name="T115" fmla="*/ 78 h 267"/>
                <a:gd name="T116" fmla="*/ 230 w 259"/>
                <a:gd name="T117" fmla="*/ 72 h 267"/>
                <a:gd name="T118" fmla="*/ 246 w 259"/>
                <a:gd name="T119" fmla="*/ 70 h 267"/>
                <a:gd name="T120" fmla="*/ 256 w 259"/>
                <a:gd name="T121" fmla="*/ 68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267">
                  <a:moveTo>
                    <a:pt x="256" y="66"/>
                  </a:moveTo>
                  <a:lnTo>
                    <a:pt x="259" y="64"/>
                  </a:lnTo>
                  <a:lnTo>
                    <a:pt x="259" y="62"/>
                  </a:lnTo>
                  <a:lnTo>
                    <a:pt x="256" y="62"/>
                  </a:lnTo>
                  <a:lnTo>
                    <a:pt x="254" y="60"/>
                  </a:lnTo>
                  <a:lnTo>
                    <a:pt x="254" y="60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3"/>
                  </a:lnTo>
                  <a:lnTo>
                    <a:pt x="250" y="51"/>
                  </a:lnTo>
                  <a:lnTo>
                    <a:pt x="250" y="49"/>
                  </a:lnTo>
                  <a:lnTo>
                    <a:pt x="250" y="43"/>
                  </a:lnTo>
                  <a:lnTo>
                    <a:pt x="250" y="41"/>
                  </a:lnTo>
                  <a:lnTo>
                    <a:pt x="250" y="39"/>
                  </a:lnTo>
                  <a:lnTo>
                    <a:pt x="250" y="39"/>
                  </a:lnTo>
                  <a:lnTo>
                    <a:pt x="250" y="37"/>
                  </a:lnTo>
                  <a:lnTo>
                    <a:pt x="250" y="33"/>
                  </a:lnTo>
                  <a:lnTo>
                    <a:pt x="248" y="29"/>
                  </a:lnTo>
                  <a:lnTo>
                    <a:pt x="250" y="29"/>
                  </a:lnTo>
                  <a:lnTo>
                    <a:pt x="250" y="27"/>
                  </a:lnTo>
                  <a:lnTo>
                    <a:pt x="250" y="27"/>
                  </a:lnTo>
                  <a:lnTo>
                    <a:pt x="248" y="27"/>
                  </a:lnTo>
                  <a:lnTo>
                    <a:pt x="248" y="25"/>
                  </a:lnTo>
                  <a:lnTo>
                    <a:pt x="248" y="25"/>
                  </a:lnTo>
                  <a:lnTo>
                    <a:pt x="248" y="23"/>
                  </a:lnTo>
                  <a:lnTo>
                    <a:pt x="248" y="23"/>
                  </a:lnTo>
                  <a:lnTo>
                    <a:pt x="248" y="21"/>
                  </a:lnTo>
                  <a:lnTo>
                    <a:pt x="244" y="19"/>
                  </a:lnTo>
                  <a:lnTo>
                    <a:pt x="244" y="16"/>
                  </a:lnTo>
                  <a:lnTo>
                    <a:pt x="242" y="16"/>
                  </a:lnTo>
                  <a:lnTo>
                    <a:pt x="240" y="14"/>
                  </a:lnTo>
                  <a:lnTo>
                    <a:pt x="236" y="16"/>
                  </a:lnTo>
                  <a:lnTo>
                    <a:pt x="236" y="14"/>
                  </a:lnTo>
                  <a:lnTo>
                    <a:pt x="234" y="14"/>
                  </a:lnTo>
                  <a:lnTo>
                    <a:pt x="234" y="14"/>
                  </a:lnTo>
                  <a:lnTo>
                    <a:pt x="232" y="12"/>
                  </a:lnTo>
                  <a:lnTo>
                    <a:pt x="232" y="12"/>
                  </a:lnTo>
                  <a:lnTo>
                    <a:pt x="232" y="10"/>
                  </a:lnTo>
                  <a:lnTo>
                    <a:pt x="232" y="10"/>
                  </a:lnTo>
                  <a:lnTo>
                    <a:pt x="230" y="12"/>
                  </a:lnTo>
                  <a:lnTo>
                    <a:pt x="228" y="12"/>
                  </a:lnTo>
                  <a:lnTo>
                    <a:pt x="226" y="14"/>
                  </a:lnTo>
                  <a:lnTo>
                    <a:pt x="222" y="12"/>
                  </a:lnTo>
                  <a:lnTo>
                    <a:pt x="222" y="12"/>
                  </a:lnTo>
                  <a:lnTo>
                    <a:pt x="220" y="12"/>
                  </a:lnTo>
                  <a:lnTo>
                    <a:pt x="215" y="12"/>
                  </a:lnTo>
                  <a:lnTo>
                    <a:pt x="211" y="14"/>
                  </a:lnTo>
                  <a:lnTo>
                    <a:pt x="207" y="14"/>
                  </a:lnTo>
                  <a:lnTo>
                    <a:pt x="203" y="12"/>
                  </a:lnTo>
                  <a:lnTo>
                    <a:pt x="199" y="8"/>
                  </a:lnTo>
                  <a:lnTo>
                    <a:pt x="197" y="6"/>
                  </a:lnTo>
                  <a:lnTo>
                    <a:pt x="197" y="4"/>
                  </a:lnTo>
                  <a:lnTo>
                    <a:pt x="197" y="2"/>
                  </a:lnTo>
                  <a:lnTo>
                    <a:pt x="197" y="0"/>
                  </a:lnTo>
                  <a:lnTo>
                    <a:pt x="195" y="0"/>
                  </a:lnTo>
                  <a:lnTo>
                    <a:pt x="193" y="2"/>
                  </a:lnTo>
                  <a:lnTo>
                    <a:pt x="193" y="2"/>
                  </a:lnTo>
                  <a:lnTo>
                    <a:pt x="191" y="2"/>
                  </a:lnTo>
                  <a:lnTo>
                    <a:pt x="187" y="2"/>
                  </a:lnTo>
                  <a:lnTo>
                    <a:pt x="187" y="4"/>
                  </a:lnTo>
                  <a:lnTo>
                    <a:pt x="180" y="23"/>
                  </a:lnTo>
                  <a:lnTo>
                    <a:pt x="172" y="33"/>
                  </a:lnTo>
                  <a:lnTo>
                    <a:pt x="170" y="37"/>
                  </a:lnTo>
                  <a:lnTo>
                    <a:pt x="166" y="39"/>
                  </a:lnTo>
                  <a:lnTo>
                    <a:pt x="160" y="43"/>
                  </a:lnTo>
                  <a:lnTo>
                    <a:pt x="148" y="47"/>
                  </a:lnTo>
                  <a:lnTo>
                    <a:pt x="146" y="49"/>
                  </a:lnTo>
                  <a:lnTo>
                    <a:pt x="144" y="51"/>
                  </a:lnTo>
                  <a:lnTo>
                    <a:pt x="139" y="56"/>
                  </a:lnTo>
                  <a:lnTo>
                    <a:pt x="133" y="62"/>
                  </a:lnTo>
                  <a:lnTo>
                    <a:pt x="133" y="64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25" y="78"/>
                  </a:lnTo>
                  <a:lnTo>
                    <a:pt x="123" y="84"/>
                  </a:lnTo>
                  <a:lnTo>
                    <a:pt x="121" y="90"/>
                  </a:lnTo>
                  <a:lnTo>
                    <a:pt x="121" y="95"/>
                  </a:lnTo>
                  <a:lnTo>
                    <a:pt x="121" y="97"/>
                  </a:lnTo>
                  <a:lnTo>
                    <a:pt x="121" y="97"/>
                  </a:lnTo>
                  <a:lnTo>
                    <a:pt x="123" y="99"/>
                  </a:lnTo>
                  <a:lnTo>
                    <a:pt x="125" y="101"/>
                  </a:lnTo>
                  <a:lnTo>
                    <a:pt x="125" y="103"/>
                  </a:lnTo>
                  <a:lnTo>
                    <a:pt x="123" y="107"/>
                  </a:lnTo>
                  <a:lnTo>
                    <a:pt x="123" y="111"/>
                  </a:lnTo>
                  <a:lnTo>
                    <a:pt x="121" y="113"/>
                  </a:lnTo>
                  <a:lnTo>
                    <a:pt x="117" y="115"/>
                  </a:lnTo>
                  <a:lnTo>
                    <a:pt x="115" y="121"/>
                  </a:lnTo>
                  <a:lnTo>
                    <a:pt x="111" y="128"/>
                  </a:lnTo>
                  <a:lnTo>
                    <a:pt x="107" y="130"/>
                  </a:lnTo>
                  <a:lnTo>
                    <a:pt x="100" y="134"/>
                  </a:lnTo>
                  <a:lnTo>
                    <a:pt x="96" y="136"/>
                  </a:lnTo>
                  <a:lnTo>
                    <a:pt x="94" y="140"/>
                  </a:lnTo>
                  <a:lnTo>
                    <a:pt x="92" y="140"/>
                  </a:lnTo>
                  <a:lnTo>
                    <a:pt x="86" y="144"/>
                  </a:lnTo>
                  <a:lnTo>
                    <a:pt x="78" y="146"/>
                  </a:lnTo>
                  <a:lnTo>
                    <a:pt x="72" y="146"/>
                  </a:lnTo>
                  <a:lnTo>
                    <a:pt x="70" y="148"/>
                  </a:lnTo>
                  <a:lnTo>
                    <a:pt x="68" y="150"/>
                  </a:lnTo>
                  <a:lnTo>
                    <a:pt x="66" y="152"/>
                  </a:lnTo>
                  <a:lnTo>
                    <a:pt x="66" y="152"/>
                  </a:lnTo>
                  <a:lnTo>
                    <a:pt x="66" y="156"/>
                  </a:lnTo>
                  <a:lnTo>
                    <a:pt x="61" y="162"/>
                  </a:lnTo>
                  <a:lnTo>
                    <a:pt x="61" y="167"/>
                  </a:lnTo>
                  <a:lnTo>
                    <a:pt x="59" y="169"/>
                  </a:lnTo>
                  <a:lnTo>
                    <a:pt x="57" y="171"/>
                  </a:lnTo>
                  <a:lnTo>
                    <a:pt x="53" y="175"/>
                  </a:lnTo>
                  <a:lnTo>
                    <a:pt x="49" y="175"/>
                  </a:lnTo>
                  <a:lnTo>
                    <a:pt x="47" y="177"/>
                  </a:lnTo>
                  <a:lnTo>
                    <a:pt x="45" y="179"/>
                  </a:lnTo>
                  <a:lnTo>
                    <a:pt x="45" y="179"/>
                  </a:lnTo>
                  <a:lnTo>
                    <a:pt x="43" y="185"/>
                  </a:lnTo>
                  <a:lnTo>
                    <a:pt x="43" y="187"/>
                  </a:lnTo>
                  <a:lnTo>
                    <a:pt x="41" y="191"/>
                  </a:lnTo>
                  <a:lnTo>
                    <a:pt x="39" y="193"/>
                  </a:lnTo>
                  <a:lnTo>
                    <a:pt x="37" y="197"/>
                  </a:lnTo>
                  <a:lnTo>
                    <a:pt x="37" y="204"/>
                  </a:lnTo>
                  <a:lnTo>
                    <a:pt x="37" y="206"/>
                  </a:lnTo>
                  <a:lnTo>
                    <a:pt x="35" y="210"/>
                  </a:lnTo>
                  <a:lnTo>
                    <a:pt x="31" y="210"/>
                  </a:lnTo>
                  <a:lnTo>
                    <a:pt x="24" y="218"/>
                  </a:lnTo>
                  <a:lnTo>
                    <a:pt x="22" y="220"/>
                  </a:lnTo>
                  <a:lnTo>
                    <a:pt x="20" y="222"/>
                  </a:lnTo>
                  <a:lnTo>
                    <a:pt x="18" y="224"/>
                  </a:lnTo>
                  <a:lnTo>
                    <a:pt x="18" y="226"/>
                  </a:lnTo>
                  <a:lnTo>
                    <a:pt x="20" y="224"/>
                  </a:lnTo>
                  <a:lnTo>
                    <a:pt x="20" y="224"/>
                  </a:lnTo>
                  <a:lnTo>
                    <a:pt x="20" y="222"/>
                  </a:lnTo>
                  <a:lnTo>
                    <a:pt x="22" y="224"/>
                  </a:lnTo>
                  <a:lnTo>
                    <a:pt x="20" y="224"/>
                  </a:lnTo>
                  <a:lnTo>
                    <a:pt x="18" y="228"/>
                  </a:lnTo>
                  <a:lnTo>
                    <a:pt x="18" y="230"/>
                  </a:lnTo>
                  <a:lnTo>
                    <a:pt x="16" y="234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9"/>
                  </a:lnTo>
                  <a:lnTo>
                    <a:pt x="12" y="241"/>
                  </a:lnTo>
                  <a:lnTo>
                    <a:pt x="12" y="245"/>
                  </a:lnTo>
                  <a:lnTo>
                    <a:pt x="8" y="251"/>
                  </a:lnTo>
                  <a:lnTo>
                    <a:pt x="6" y="251"/>
                  </a:lnTo>
                  <a:lnTo>
                    <a:pt x="4" y="253"/>
                  </a:lnTo>
                  <a:lnTo>
                    <a:pt x="2" y="259"/>
                  </a:lnTo>
                  <a:lnTo>
                    <a:pt x="0" y="267"/>
                  </a:lnTo>
                  <a:lnTo>
                    <a:pt x="0" y="267"/>
                  </a:lnTo>
                  <a:lnTo>
                    <a:pt x="2" y="267"/>
                  </a:lnTo>
                  <a:lnTo>
                    <a:pt x="4" y="265"/>
                  </a:lnTo>
                  <a:lnTo>
                    <a:pt x="8" y="265"/>
                  </a:lnTo>
                  <a:lnTo>
                    <a:pt x="14" y="265"/>
                  </a:lnTo>
                  <a:lnTo>
                    <a:pt x="16" y="265"/>
                  </a:lnTo>
                  <a:lnTo>
                    <a:pt x="18" y="265"/>
                  </a:lnTo>
                  <a:lnTo>
                    <a:pt x="20" y="265"/>
                  </a:lnTo>
                  <a:lnTo>
                    <a:pt x="22" y="265"/>
                  </a:lnTo>
                  <a:lnTo>
                    <a:pt x="24" y="267"/>
                  </a:lnTo>
                  <a:lnTo>
                    <a:pt x="29" y="267"/>
                  </a:lnTo>
                  <a:lnTo>
                    <a:pt x="31" y="267"/>
                  </a:lnTo>
                  <a:lnTo>
                    <a:pt x="33" y="267"/>
                  </a:lnTo>
                  <a:lnTo>
                    <a:pt x="35" y="267"/>
                  </a:lnTo>
                  <a:lnTo>
                    <a:pt x="37" y="265"/>
                  </a:lnTo>
                  <a:lnTo>
                    <a:pt x="37" y="263"/>
                  </a:lnTo>
                  <a:lnTo>
                    <a:pt x="39" y="261"/>
                  </a:lnTo>
                  <a:lnTo>
                    <a:pt x="39" y="261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57"/>
                  </a:lnTo>
                  <a:lnTo>
                    <a:pt x="41" y="257"/>
                  </a:lnTo>
                  <a:lnTo>
                    <a:pt x="41" y="255"/>
                  </a:lnTo>
                  <a:lnTo>
                    <a:pt x="41" y="255"/>
                  </a:lnTo>
                  <a:lnTo>
                    <a:pt x="43" y="255"/>
                  </a:lnTo>
                  <a:lnTo>
                    <a:pt x="43" y="253"/>
                  </a:lnTo>
                  <a:lnTo>
                    <a:pt x="45" y="251"/>
                  </a:lnTo>
                  <a:lnTo>
                    <a:pt x="45" y="251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5"/>
                  </a:lnTo>
                  <a:lnTo>
                    <a:pt x="47" y="243"/>
                  </a:lnTo>
                  <a:lnTo>
                    <a:pt x="47" y="241"/>
                  </a:lnTo>
                  <a:lnTo>
                    <a:pt x="47" y="239"/>
                  </a:lnTo>
                  <a:lnTo>
                    <a:pt x="47" y="236"/>
                  </a:lnTo>
                  <a:lnTo>
                    <a:pt x="49" y="232"/>
                  </a:lnTo>
                  <a:lnTo>
                    <a:pt x="49" y="230"/>
                  </a:lnTo>
                  <a:lnTo>
                    <a:pt x="49" y="228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3" y="224"/>
                  </a:lnTo>
                  <a:lnTo>
                    <a:pt x="53" y="224"/>
                  </a:lnTo>
                  <a:lnTo>
                    <a:pt x="55" y="222"/>
                  </a:lnTo>
                  <a:lnTo>
                    <a:pt x="57" y="222"/>
                  </a:lnTo>
                  <a:lnTo>
                    <a:pt x="57" y="222"/>
                  </a:lnTo>
                  <a:lnTo>
                    <a:pt x="59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18"/>
                  </a:lnTo>
                  <a:lnTo>
                    <a:pt x="63" y="216"/>
                  </a:lnTo>
                  <a:lnTo>
                    <a:pt x="63" y="214"/>
                  </a:lnTo>
                  <a:lnTo>
                    <a:pt x="66" y="212"/>
                  </a:lnTo>
                  <a:lnTo>
                    <a:pt x="66" y="212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70" y="210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4" y="206"/>
                  </a:lnTo>
                  <a:lnTo>
                    <a:pt x="74" y="206"/>
                  </a:lnTo>
                  <a:lnTo>
                    <a:pt x="76" y="204"/>
                  </a:lnTo>
                  <a:lnTo>
                    <a:pt x="76" y="204"/>
                  </a:lnTo>
                  <a:lnTo>
                    <a:pt x="76" y="202"/>
                  </a:lnTo>
                  <a:lnTo>
                    <a:pt x="78" y="199"/>
                  </a:lnTo>
                  <a:lnTo>
                    <a:pt x="78" y="195"/>
                  </a:lnTo>
                  <a:lnTo>
                    <a:pt x="80" y="193"/>
                  </a:lnTo>
                  <a:lnTo>
                    <a:pt x="80" y="191"/>
                  </a:lnTo>
                  <a:lnTo>
                    <a:pt x="80" y="189"/>
                  </a:lnTo>
                  <a:lnTo>
                    <a:pt x="80" y="187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3"/>
                  </a:lnTo>
                  <a:lnTo>
                    <a:pt x="82" y="183"/>
                  </a:lnTo>
                  <a:lnTo>
                    <a:pt x="82" y="183"/>
                  </a:lnTo>
                  <a:lnTo>
                    <a:pt x="84" y="181"/>
                  </a:lnTo>
                  <a:lnTo>
                    <a:pt x="86" y="181"/>
                  </a:lnTo>
                  <a:lnTo>
                    <a:pt x="86" y="181"/>
                  </a:lnTo>
                  <a:lnTo>
                    <a:pt x="88" y="181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77"/>
                  </a:lnTo>
                  <a:lnTo>
                    <a:pt x="90" y="177"/>
                  </a:lnTo>
                  <a:lnTo>
                    <a:pt x="90" y="175"/>
                  </a:lnTo>
                  <a:lnTo>
                    <a:pt x="92" y="175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69"/>
                  </a:lnTo>
                  <a:lnTo>
                    <a:pt x="94" y="169"/>
                  </a:lnTo>
                  <a:lnTo>
                    <a:pt x="94" y="167"/>
                  </a:lnTo>
                  <a:lnTo>
                    <a:pt x="96" y="167"/>
                  </a:lnTo>
                  <a:lnTo>
                    <a:pt x="96" y="165"/>
                  </a:lnTo>
                  <a:lnTo>
                    <a:pt x="98" y="165"/>
                  </a:lnTo>
                  <a:lnTo>
                    <a:pt x="100" y="165"/>
                  </a:lnTo>
                  <a:lnTo>
                    <a:pt x="102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7" y="165"/>
                  </a:lnTo>
                  <a:lnTo>
                    <a:pt x="109" y="165"/>
                  </a:lnTo>
                  <a:lnTo>
                    <a:pt x="111" y="167"/>
                  </a:lnTo>
                  <a:lnTo>
                    <a:pt x="111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7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21" y="167"/>
                  </a:lnTo>
                  <a:lnTo>
                    <a:pt x="123" y="165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9" y="162"/>
                  </a:lnTo>
                  <a:lnTo>
                    <a:pt x="131" y="162"/>
                  </a:lnTo>
                  <a:lnTo>
                    <a:pt x="133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5" y="160"/>
                  </a:lnTo>
                  <a:lnTo>
                    <a:pt x="135" y="160"/>
                  </a:lnTo>
                  <a:lnTo>
                    <a:pt x="135" y="158"/>
                  </a:lnTo>
                  <a:lnTo>
                    <a:pt x="135" y="158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4"/>
                  </a:lnTo>
                  <a:lnTo>
                    <a:pt x="135" y="152"/>
                  </a:lnTo>
                  <a:lnTo>
                    <a:pt x="135" y="152"/>
                  </a:lnTo>
                  <a:lnTo>
                    <a:pt x="135" y="152"/>
                  </a:lnTo>
                  <a:lnTo>
                    <a:pt x="137" y="152"/>
                  </a:lnTo>
                  <a:lnTo>
                    <a:pt x="137" y="148"/>
                  </a:lnTo>
                  <a:lnTo>
                    <a:pt x="137" y="144"/>
                  </a:lnTo>
                  <a:lnTo>
                    <a:pt x="137" y="140"/>
                  </a:lnTo>
                  <a:lnTo>
                    <a:pt x="137" y="138"/>
                  </a:lnTo>
                  <a:lnTo>
                    <a:pt x="137" y="134"/>
                  </a:lnTo>
                  <a:lnTo>
                    <a:pt x="137" y="134"/>
                  </a:lnTo>
                  <a:lnTo>
                    <a:pt x="137" y="134"/>
                  </a:lnTo>
                  <a:lnTo>
                    <a:pt x="139" y="132"/>
                  </a:lnTo>
                  <a:lnTo>
                    <a:pt x="141" y="130"/>
                  </a:lnTo>
                  <a:lnTo>
                    <a:pt x="144" y="130"/>
                  </a:lnTo>
                  <a:lnTo>
                    <a:pt x="144" y="128"/>
                  </a:lnTo>
                  <a:lnTo>
                    <a:pt x="148" y="125"/>
                  </a:lnTo>
                  <a:lnTo>
                    <a:pt x="150" y="125"/>
                  </a:lnTo>
                  <a:lnTo>
                    <a:pt x="154" y="121"/>
                  </a:lnTo>
                  <a:lnTo>
                    <a:pt x="154" y="121"/>
                  </a:lnTo>
                  <a:lnTo>
                    <a:pt x="156" y="121"/>
                  </a:lnTo>
                  <a:lnTo>
                    <a:pt x="158" y="119"/>
                  </a:lnTo>
                  <a:lnTo>
                    <a:pt x="160" y="119"/>
                  </a:lnTo>
                  <a:lnTo>
                    <a:pt x="160" y="117"/>
                  </a:lnTo>
                  <a:lnTo>
                    <a:pt x="162" y="117"/>
                  </a:lnTo>
                  <a:lnTo>
                    <a:pt x="162" y="117"/>
                  </a:lnTo>
                  <a:lnTo>
                    <a:pt x="164" y="117"/>
                  </a:lnTo>
                  <a:lnTo>
                    <a:pt x="166" y="117"/>
                  </a:lnTo>
                  <a:lnTo>
                    <a:pt x="168" y="117"/>
                  </a:lnTo>
                  <a:lnTo>
                    <a:pt x="170" y="117"/>
                  </a:lnTo>
                  <a:lnTo>
                    <a:pt x="170" y="117"/>
                  </a:lnTo>
                  <a:lnTo>
                    <a:pt x="172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3"/>
                  </a:lnTo>
                  <a:lnTo>
                    <a:pt x="172" y="113"/>
                  </a:lnTo>
                  <a:lnTo>
                    <a:pt x="172" y="113"/>
                  </a:lnTo>
                  <a:lnTo>
                    <a:pt x="174" y="113"/>
                  </a:lnTo>
                  <a:lnTo>
                    <a:pt x="174" y="113"/>
                  </a:lnTo>
                  <a:lnTo>
                    <a:pt x="176" y="113"/>
                  </a:lnTo>
                  <a:lnTo>
                    <a:pt x="178" y="113"/>
                  </a:lnTo>
                  <a:lnTo>
                    <a:pt x="180" y="113"/>
                  </a:lnTo>
                  <a:lnTo>
                    <a:pt x="185" y="111"/>
                  </a:lnTo>
                  <a:lnTo>
                    <a:pt x="187" y="111"/>
                  </a:lnTo>
                  <a:lnTo>
                    <a:pt x="189" y="111"/>
                  </a:lnTo>
                  <a:lnTo>
                    <a:pt x="191" y="109"/>
                  </a:lnTo>
                  <a:lnTo>
                    <a:pt x="193" y="107"/>
                  </a:lnTo>
                  <a:lnTo>
                    <a:pt x="195" y="103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203" y="99"/>
                  </a:lnTo>
                  <a:lnTo>
                    <a:pt x="203" y="99"/>
                  </a:lnTo>
                  <a:lnTo>
                    <a:pt x="207" y="97"/>
                  </a:lnTo>
                  <a:lnTo>
                    <a:pt x="209" y="95"/>
                  </a:lnTo>
                  <a:lnTo>
                    <a:pt x="213" y="93"/>
                  </a:lnTo>
                  <a:lnTo>
                    <a:pt x="215" y="93"/>
                  </a:lnTo>
                  <a:lnTo>
                    <a:pt x="217" y="93"/>
                  </a:lnTo>
                  <a:lnTo>
                    <a:pt x="217" y="93"/>
                  </a:lnTo>
                  <a:lnTo>
                    <a:pt x="217" y="90"/>
                  </a:lnTo>
                  <a:lnTo>
                    <a:pt x="217" y="90"/>
                  </a:lnTo>
                  <a:lnTo>
                    <a:pt x="217" y="88"/>
                  </a:lnTo>
                  <a:lnTo>
                    <a:pt x="217" y="88"/>
                  </a:lnTo>
                  <a:lnTo>
                    <a:pt x="215" y="88"/>
                  </a:lnTo>
                  <a:lnTo>
                    <a:pt x="215" y="88"/>
                  </a:lnTo>
                  <a:lnTo>
                    <a:pt x="215" y="88"/>
                  </a:lnTo>
                  <a:lnTo>
                    <a:pt x="215" y="86"/>
                  </a:lnTo>
                  <a:lnTo>
                    <a:pt x="215" y="86"/>
                  </a:lnTo>
                  <a:lnTo>
                    <a:pt x="215" y="84"/>
                  </a:lnTo>
                  <a:lnTo>
                    <a:pt x="215" y="82"/>
                  </a:lnTo>
                  <a:lnTo>
                    <a:pt x="215" y="82"/>
                  </a:lnTo>
                  <a:lnTo>
                    <a:pt x="215" y="80"/>
                  </a:lnTo>
                  <a:lnTo>
                    <a:pt x="215" y="80"/>
                  </a:lnTo>
                  <a:lnTo>
                    <a:pt x="215" y="78"/>
                  </a:lnTo>
                  <a:lnTo>
                    <a:pt x="217" y="78"/>
                  </a:lnTo>
                  <a:lnTo>
                    <a:pt x="217" y="78"/>
                  </a:lnTo>
                  <a:lnTo>
                    <a:pt x="220" y="78"/>
                  </a:lnTo>
                  <a:lnTo>
                    <a:pt x="222" y="78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30" y="74"/>
                  </a:lnTo>
                  <a:lnTo>
                    <a:pt x="230" y="72"/>
                  </a:lnTo>
                  <a:lnTo>
                    <a:pt x="230" y="72"/>
                  </a:lnTo>
                  <a:lnTo>
                    <a:pt x="230" y="72"/>
                  </a:lnTo>
                  <a:lnTo>
                    <a:pt x="234" y="72"/>
                  </a:lnTo>
                  <a:lnTo>
                    <a:pt x="236" y="70"/>
                  </a:lnTo>
                  <a:lnTo>
                    <a:pt x="238" y="70"/>
                  </a:lnTo>
                  <a:lnTo>
                    <a:pt x="240" y="70"/>
                  </a:lnTo>
                  <a:lnTo>
                    <a:pt x="242" y="70"/>
                  </a:lnTo>
                  <a:lnTo>
                    <a:pt x="246" y="70"/>
                  </a:lnTo>
                  <a:lnTo>
                    <a:pt x="250" y="72"/>
                  </a:lnTo>
                  <a:lnTo>
                    <a:pt x="252" y="72"/>
                  </a:lnTo>
                  <a:lnTo>
                    <a:pt x="254" y="72"/>
                  </a:lnTo>
                  <a:lnTo>
                    <a:pt x="256" y="70"/>
                  </a:lnTo>
                  <a:lnTo>
                    <a:pt x="256" y="70"/>
                  </a:lnTo>
                  <a:lnTo>
                    <a:pt x="256" y="68"/>
                  </a:lnTo>
                  <a:lnTo>
                    <a:pt x="256" y="66"/>
                  </a:lnTo>
                  <a:lnTo>
                    <a:pt x="256" y="6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60" name="Freeform 103">
              <a:extLst>
                <a:ext uri="{FF2B5EF4-FFF2-40B4-BE49-F238E27FC236}">
                  <a16:creationId xmlns:a16="http://schemas.microsoft.com/office/drawing/2014/main" id="{A1017756-171E-6D49-B6C9-A475B6905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9426" y="2585467"/>
              <a:ext cx="34463" cy="36840"/>
            </a:xfrm>
            <a:custGeom>
              <a:avLst/>
              <a:gdLst>
                <a:gd name="T0" fmla="*/ 27 w 29"/>
                <a:gd name="T1" fmla="*/ 11 h 31"/>
                <a:gd name="T2" fmla="*/ 23 w 29"/>
                <a:gd name="T3" fmla="*/ 8 h 31"/>
                <a:gd name="T4" fmla="*/ 19 w 29"/>
                <a:gd name="T5" fmla="*/ 8 h 31"/>
                <a:gd name="T6" fmla="*/ 17 w 29"/>
                <a:gd name="T7" fmla="*/ 6 h 31"/>
                <a:gd name="T8" fmla="*/ 15 w 29"/>
                <a:gd name="T9" fmla="*/ 4 h 31"/>
                <a:gd name="T10" fmla="*/ 10 w 29"/>
                <a:gd name="T11" fmla="*/ 2 h 31"/>
                <a:gd name="T12" fmla="*/ 10 w 29"/>
                <a:gd name="T13" fmla="*/ 0 h 31"/>
                <a:gd name="T14" fmla="*/ 10 w 29"/>
                <a:gd name="T15" fmla="*/ 0 h 31"/>
                <a:gd name="T16" fmla="*/ 8 w 29"/>
                <a:gd name="T17" fmla="*/ 0 h 31"/>
                <a:gd name="T18" fmla="*/ 8 w 29"/>
                <a:gd name="T19" fmla="*/ 0 h 31"/>
                <a:gd name="T20" fmla="*/ 6 w 29"/>
                <a:gd name="T21" fmla="*/ 2 h 31"/>
                <a:gd name="T22" fmla="*/ 8 w 29"/>
                <a:gd name="T23" fmla="*/ 4 h 31"/>
                <a:gd name="T24" fmla="*/ 8 w 29"/>
                <a:gd name="T25" fmla="*/ 4 h 31"/>
                <a:gd name="T26" fmla="*/ 6 w 29"/>
                <a:gd name="T27" fmla="*/ 4 h 31"/>
                <a:gd name="T28" fmla="*/ 4 w 29"/>
                <a:gd name="T29" fmla="*/ 4 h 31"/>
                <a:gd name="T30" fmla="*/ 2 w 29"/>
                <a:gd name="T31" fmla="*/ 6 h 31"/>
                <a:gd name="T32" fmla="*/ 2 w 29"/>
                <a:gd name="T33" fmla="*/ 8 h 31"/>
                <a:gd name="T34" fmla="*/ 0 w 29"/>
                <a:gd name="T35" fmla="*/ 11 h 31"/>
                <a:gd name="T36" fmla="*/ 0 w 29"/>
                <a:gd name="T37" fmla="*/ 11 h 31"/>
                <a:gd name="T38" fmla="*/ 0 w 29"/>
                <a:gd name="T39" fmla="*/ 15 h 31"/>
                <a:gd name="T40" fmla="*/ 2 w 29"/>
                <a:gd name="T41" fmla="*/ 17 h 31"/>
                <a:gd name="T42" fmla="*/ 0 w 29"/>
                <a:gd name="T43" fmla="*/ 19 h 31"/>
                <a:gd name="T44" fmla="*/ 0 w 29"/>
                <a:gd name="T45" fmla="*/ 19 h 31"/>
                <a:gd name="T46" fmla="*/ 0 w 29"/>
                <a:gd name="T47" fmla="*/ 19 h 31"/>
                <a:gd name="T48" fmla="*/ 2 w 29"/>
                <a:gd name="T49" fmla="*/ 21 h 31"/>
                <a:gd name="T50" fmla="*/ 4 w 29"/>
                <a:gd name="T51" fmla="*/ 21 h 31"/>
                <a:gd name="T52" fmla="*/ 2 w 29"/>
                <a:gd name="T53" fmla="*/ 21 h 31"/>
                <a:gd name="T54" fmla="*/ 6 w 29"/>
                <a:gd name="T55" fmla="*/ 23 h 31"/>
                <a:gd name="T56" fmla="*/ 12 w 29"/>
                <a:gd name="T57" fmla="*/ 29 h 31"/>
                <a:gd name="T58" fmla="*/ 15 w 29"/>
                <a:gd name="T59" fmla="*/ 29 h 31"/>
                <a:gd name="T60" fmla="*/ 15 w 29"/>
                <a:gd name="T61" fmla="*/ 27 h 31"/>
                <a:gd name="T62" fmla="*/ 15 w 29"/>
                <a:gd name="T63" fmla="*/ 25 h 31"/>
                <a:gd name="T64" fmla="*/ 15 w 29"/>
                <a:gd name="T65" fmla="*/ 23 h 31"/>
                <a:gd name="T66" fmla="*/ 15 w 29"/>
                <a:gd name="T67" fmla="*/ 21 h 31"/>
                <a:gd name="T68" fmla="*/ 17 w 29"/>
                <a:gd name="T69" fmla="*/ 19 h 31"/>
                <a:gd name="T70" fmla="*/ 19 w 29"/>
                <a:gd name="T71" fmla="*/ 17 h 31"/>
                <a:gd name="T72" fmla="*/ 19 w 29"/>
                <a:gd name="T73" fmla="*/ 17 h 31"/>
                <a:gd name="T74" fmla="*/ 21 w 29"/>
                <a:gd name="T75" fmla="*/ 19 h 31"/>
                <a:gd name="T76" fmla="*/ 21 w 29"/>
                <a:gd name="T77" fmla="*/ 19 h 31"/>
                <a:gd name="T78" fmla="*/ 25 w 29"/>
                <a:gd name="T79" fmla="*/ 19 h 31"/>
                <a:gd name="T80" fmla="*/ 25 w 29"/>
                <a:gd name="T81" fmla="*/ 19 h 31"/>
                <a:gd name="T82" fmla="*/ 25 w 29"/>
                <a:gd name="T83" fmla="*/ 17 h 31"/>
                <a:gd name="T84" fmla="*/ 25 w 29"/>
                <a:gd name="T85" fmla="*/ 15 h 31"/>
                <a:gd name="T86" fmla="*/ 27 w 29"/>
                <a:gd name="T87" fmla="*/ 15 h 31"/>
                <a:gd name="T88" fmla="*/ 29 w 29"/>
                <a:gd name="T89" fmla="*/ 13 h 31"/>
                <a:gd name="T90" fmla="*/ 29 w 29"/>
                <a:gd name="T91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" h="31">
                  <a:moveTo>
                    <a:pt x="29" y="13"/>
                  </a:moveTo>
                  <a:lnTo>
                    <a:pt x="27" y="11"/>
                  </a:lnTo>
                  <a:lnTo>
                    <a:pt x="25" y="11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19" y="8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5" y="4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4" y="21"/>
                  </a:lnTo>
                  <a:lnTo>
                    <a:pt x="6" y="23"/>
                  </a:lnTo>
                  <a:lnTo>
                    <a:pt x="10" y="27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2" y="25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3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61" name="Freeform 105">
              <a:extLst>
                <a:ext uri="{FF2B5EF4-FFF2-40B4-BE49-F238E27FC236}">
                  <a16:creationId xmlns:a16="http://schemas.microsoft.com/office/drawing/2014/main" id="{2CB0505C-9627-8E47-88F5-05FDAE5E2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907" y="2580714"/>
              <a:ext cx="0" cy="2377"/>
            </a:xfrm>
            <a:custGeom>
              <a:avLst/>
              <a:gdLst>
                <a:gd name="T0" fmla="*/ 0 h 2"/>
                <a:gd name="T1" fmla="*/ 0 h 2"/>
                <a:gd name="T2" fmla="*/ 0 h 2"/>
                <a:gd name="T3" fmla="*/ 0 h 2"/>
                <a:gd name="T4" fmla="*/ 2 h 2"/>
                <a:gd name="T5" fmla="*/ 0 h 2"/>
                <a:gd name="T6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62" name="Freeform 106">
              <a:extLst>
                <a:ext uri="{FF2B5EF4-FFF2-40B4-BE49-F238E27FC236}">
                  <a16:creationId xmlns:a16="http://schemas.microsoft.com/office/drawing/2014/main" id="{7F1F93AB-569C-7842-A886-ABBEE29C8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3713" y="2480889"/>
              <a:ext cx="62985" cy="62985"/>
            </a:xfrm>
            <a:custGeom>
              <a:avLst/>
              <a:gdLst>
                <a:gd name="T0" fmla="*/ 49 w 53"/>
                <a:gd name="T1" fmla="*/ 31 h 53"/>
                <a:gd name="T2" fmla="*/ 47 w 53"/>
                <a:gd name="T3" fmla="*/ 29 h 53"/>
                <a:gd name="T4" fmla="*/ 43 w 53"/>
                <a:gd name="T5" fmla="*/ 27 h 53"/>
                <a:gd name="T6" fmla="*/ 43 w 53"/>
                <a:gd name="T7" fmla="*/ 22 h 53"/>
                <a:gd name="T8" fmla="*/ 43 w 53"/>
                <a:gd name="T9" fmla="*/ 20 h 53"/>
                <a:gd name="T10" fmla="*/ 41 w 53"/>
                <a:gd name="T11" fmla="*/ 20 h 53"/>
                <a:gd name="T12" fmla="*/ 37 w 53"/>
                <a:gd name="T13" fmla="*/ 18 h 53"/>
                <a:gd name="T14" fmla="*/ 37 w 53"/>
                <a:gd name="T15" fmla="*/ 14 h 53"/>
                <a:gd name="T16" fmla="*/ 37 w 53"/>
                <a:gd name="T17" fmla="*/ 12 h 53"/>
                <a:gd name="T18" fmla="*/ 35 w 53"/>
                <a:gd name="T19" fmla="*/ 8 h 53"/>
                <a:gd name="T20" fmla="*/ 33 w 53"/>
                <a:gd name="T21" fmla="*/ 8 h 53"/>
                <a:gd name="T22" fmla="*/ 29 w 53"/>
                <a:gd name="T23" fmla="*/ 4 h 53"/>
                <a:gd name="T24" fmla="*/ 27 w 53"/>
                <a:gd name="T25" fmla="*/ 6 h 53"/>
                <a:gd name="T26" fmla="*/ 25 w 53"/>
                <a:gd name="T27" fmla="*/ 4 h 53"/>
                <a:gd name="T28" fmla="*/ 25 w 53"/>
                <a:gd name="T29" fmla="*/ 4 h 53"/>
                <a:gd name="T30" fmla="*/ 21 w 53"/>
                <a:gd name="T31" fmla="*/ 2 h 53"/>
                <a:gd name="T32" fmla="*/ 19 w 53"/>
                <a:gd name="T33" fmla="*/ 2 h 53"/>
                <a:gd name="T34" fmla="*/ 12 w 53"/>
                <a:gd name="T35" fmla="*/ 0 h 53"/>
                <a:gd name="T36" fmla="*/ 12 w 53"/>
                <a:gd name="T37" fmla="*/ 0 h 53"/>
                <a:gd name="T38" fmla="*/ 8 w 53"/>
                <a:gd name="T39" fmla="*/ 2 h 53"/>
                <a:gd name="T40" fmla="*/ 2 w 53"/>
                <a:gd name="T41" fmla="*/ 0 h 53"/>
                <a:gd name="T42" fmla="*/ 2 w 53"/>
                <a:gd name="T43" fmla="*/ 2 h 53"/>
                <a:gd name="T44" fmla="*/ 6 w 53"/>
                <a:gd name="T45" fmla="*/ 4 h 53"/>
                <a:gd name="T46" fmla="*/ 8 w 53"/>
                <a:gd name="T47" fmla="*/ 8 h 53"/>
                <a:gd name="T48" fmla="*/ 10 w 53"/>
                <a:gd name="T49" fmla="*/ 12 h 53"/>
                <a:gd name="T50" fmla="*/ 12 w 53"/>
                <a:gd name="T51" fmla="*/ 16 h 53"/>
                <a:gd name="T52" fmla="*/ 17 w 53"/>
                <a:gd name="T53" fmla="*/ 20 h 53"/>
                <a:gd name="T54" fmla="*/ 19 w 53"/>
                <a:gd name="T55" fmla="*/ 22 h 53"/>
                <a:gd name="T56" fmla="*/ 25 w 53"/>
                <a:gd name="T57" fmla="*/ 29 h 53"/>
                <a:gd name="T58" fmla="*/ 25 w 53"/>
                <a:gd name="T59" fmla="*/ 35 h 53"/>
                <a:gd name="T60" fmla="*/ 25 w 53"/>
                <a:gd name="T61" fmla="*/ 41 h 53"/>
                <a:gd name="T62" fmla="*/ 25 w 53"/>
                <a:gd name="T63" fmla="*/ 47 h 53"/>
                <a:gd name="T64" fmla="*/ 27 w 53"/>
                <a:gd name="T65" fmla="*/ 49 h 53"/>
                <a:gd name="T66" fmla="*/ 25 w 53"/>
                <a:gd name="T67" fmla="*/ 51 h 53"/>
                <a:gd name="T68" fmla="*/ 27 w 53"/>
                <a:gd name="T69" fmla="*/ 53 h 53"/>
                <a:gd name="T70" fmla="*/ 31 w 53"/>
                <a:gd name="T71" fmla="*/ 53 h 53"/>
                <a:gd name="T72" fmla="*/ 31 w 53"/>
                <a:gd name="T73" fmla="*/ 51 h 53"/>
                <a:gd name="T74" fmla="*/ 31 w 53"/>
                <a:gd name="T75" fmla="*/ 49 h 53"/>
                <a:gd name="T76" fmla="*/ 33 w 53"/>
                <a:gd name="T77" fmla="*/ 45 h 53"/>
                <a:gd name="T78" fmla="*/ 37 w 53"/>
                <a:gd name="T79" fmla="*/ 41 h 53"/>
                <a:gd name="T80" fmla="*/ 35 w 53"/>
                <a:gd name="T81" fmla="*/ 37 h 53"/>
                <a:gd name="T82" fmla="*/ 37 w 53"/>
                <a:gd name="T83" fmla="*/ 35 h 53"/>
                <a:gd name="T84" fmla="*/ 39 w 53"/>
                <a:gd name="T85" fmla="*/ 35 h 53"/>
                <a:gd name="T86" fmla="*/ 41 w 53"/>
                <a:gd name="T87" fmla="*/ 37 h 53"/>
                <a:gd name="T88" fmla="*/ 43 w 53"/>
                <a:gd name="T89" fmla="*/ 35 h 53"/>
                <a:gd name="T90" fmla="*/ 43 w 53"/>
                <a:gd name="T91" fmla="*/ 35 h 53"/>
                <a:gd name="T92" fmla="*/ 47 w 53"/>
                <a:gd name="T93" fmla="*/ 37 h 53"/>
                <a:gd name="T94" fmla="*/ 49 w 53"/>
                <a:gd name="T95" fmla="*/ 37 h 53"/>
                <a:gd name="T96" fmla="*/ 53 w 53"/>
                <a:gd name="T97" fmla="*/ 3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" h="53">
                  <a:moveTo>
                    <a:pt x="49" y="35"/>
                  </a:moveTo>
                  <a:lnTo>
                    <a:pt x="49" y="33"/>
                  </a:lnTo>
                  <a:lnTo>
                    <a:pt x="49" y="31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7" y="29"/>
                  </a:lnTo>
                  <a:lnTo>
                    <a:pt x="45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39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0"/>
                  </a:lnTo>
                  <a:lnTo>
                    <a:pt x="37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1" y="6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21" y="25"/>
                  </a:lnTo>
                  <a:lnTo>
                    <a:pt x="23" y="27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5" y="37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5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9"/>
                  </a:lnTo>
                  <a:lnTo>
                    <a:pt x="27" y="49"/>
                  </a:lnTo>
                  <a:lnTo>
                    <a:pt x="25" y="49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7" y="51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9" y="53"/>
                  </a:lnTo>
                  <a:lnTo>
                    <a:pt x="31" y="53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5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7" y="39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41" y="37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7" y="37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51" y="37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49" y="3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63" name="Freeform 109">
              <a:extLst>
                <a:ext uri="{FF2B5EF4-FFF2-40B4-BE49-F238E27FC236}">
                  <a16:creationId xmlns:a16="http://schemas.microsoft.com/office/drawing/2014/main" id="{EC086C68-C112-FF44-AA57-91CDC368C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8751" y="3809507"/>
              <a:ext cx="5942" cy="8319"/>
            </a:xfrm>
            <a:custGeom>
              <a:avLst/>
              <a:gdLst>
                <a:gd name="T0" fmla="*/ 5 w 5"/>
                <a:gd name="T1" fmla="*/ 2 h 7"/>
                <a:gd name="T2" fmla="*/ 3 w 5"/>
                <a:gd name="T3" fmla="*/ 2 h 7"/>
                <a:gd name="T4" fmla="*/ 3 w 5"/>
                <a:gd name="T5" fmla="*/ 2 h 7"/>
                <a:gd name="T6" fmla="*/ 3 w 5"/>
                <a:gd name="T7" fmla="*/ 0 h 7"/>
                <a:gd name="T8" fmla="*/ 0 w 5"/>
                <a:gd name="T9" fmla="*/ 0 h 7"/>
                <a:gd name="T10" fmla="*/ 3 w 5"/>
                <a:gd name="T11" fmla="*/ 2 h 7"/>
                <a:gd name="T12" fmla="*/ 3 w 5"/>
                <a:gd name="T13" fmla="*/ 4 h 7"/>
                <a:gd name="T14" fmla="*/ 0 w 5"/>
                <a:gd name="T15" fmla="*/ 4 h 7"/>
                <a:gd name="T16" fmla="*/ 3 w 5"/>
                <a:gd name="T17" fmla="*/ 7 h 7"/>
                <a:gd name="T18" fmla="*/ 3 w 5"/>
                <a:gd name="T19" fmla="*/ 7 h 7"/>
                <a:gd name="T20" fmla="*/ 3 w 5"/>
                <a:gd name="T21" fmla="*/ 7 h 7"/>
                <a:gd name="T22" fmla="*/ 3 w 5"/>
                <a:gd name="T23" fmla="*/ 4 h 7"/>
                <a:gd name="T24" fmla="*/ 5 w 5"/>
                <a:gd name="T25" fmla="*/ 4 h 7"/>
                <a:gd name="T26" fmla="*/ 5 w 5"/>
                <a:gd name="T27" fmla="*/ 4 h 7"/>
                <a:gd name="T28" fmla="*/ 5 w 5"/>
                <a:gd name="T2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" h="7">
                  <a:moveTo>
                    <a:pt x="5" y="2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lnTo>
                    <a:pt x="3" y="4"/>
                  </a:lnTo>
                  <a:lnTo>
                    <a:pt x="0" y="4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64" name="Freeform 110">
              <a:extLst>
                <a:ext uri="{FF2B5EF4-FFF2-40B4-BE49-F238E27FC236}">
                  <a16:creationId xmlns:a16="http://schemas.microsoft.com/office/drawing/2014/main" id="{7E60C143-18D0-C746-9E0C-B7C78EACE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356" y="3971128"/>
              <a:ext cx="10695" cy="9507"/>
            </a:xfrm>
            <a:custGeom>
              <a:avLst/>
              <a:gdLst>
                <a:gd name="T0" fmla="*/ 9 w 9"/>
                <a:gd name="T1" fmla="*/ 0 h 8"/>
                <a:gd name="T2" fmla="*/ 7 w 9"/>
                <a:gd name="T3" fmla="*/ 0 h 8"/>
                <a:gd name="T4" fmla="*/ 7 w 9"/>
                <a:gd name="T5" fmla="*/ 0 h 8"/>
                <a:gd name="T6" fmla="*/ 4 w 9"/>
                <a:gd name="T7" fmla="*/ 0 h 8"/>
                <a:gd name="T8" fmla="*/ 4 w 9"/>
                <a:gd name="T9" fmla="*/ 2 h 8"/>
                <a:gd name="T10" fmla="*/ 2 w 9"/>
                <a:gd name="T11" fmla="*/ 2 h 8"/>
                <a:gd name="T12" fmla="*/ 2 w 9"/>
                <a:gd name="T13" fmla="*/ 4 h 8"/>
                <a:gd name="T14" fmla="*/ 2 w 9"/>
                <a:gd name="T15" fmla="*/ 6 h 8"/>
                <a:gd name="T16" fmla="*/ 2 w 9"/>
                <a:gd name="T17" fmla="*/ 6 h 8"/>
                <a:gd name="T18" fmla="*/ 0 w 9"/>
                <a:gd name="T19" fmla="*/ 6 h 8"/>
                <a:gd name="T20" fmla="*/ 0 w 9"/>
                <a:gd name="T21" fmla="*/ 8 h 8"/>
                <a:gd name="T22" fmla="*/ 2 w 9"/>
                <a:gd name="T23" fmla="*/ 8 h 8"/>
                <a:gd name="T24" fmla="*/ 4 w 9"/>
                <a:gd name="T25" fmla="*/ 8 h 8"/>
                <a:gd name="T26" fmla="*/ 7 w 9"/>
                <a:gd name="T27" fmla="*/ 8 h 8"/>
                <a:gd name="T28" fmla="*/ 7 w 9"/>
                <a:gd name="T29" fmla="*/ 6 h 8"/>
                <a:gd name="T30" fmla="*/ 9 w 9"/>
                <a:gd name="T31" fmla="*/ 6 h 8"/>
                <a:gd name="T32" fmla="*/ 9 w 9"/>
                <a:gd name="T33" fmla="*/ 6 h 8"/>
                <a:gd name="T34" fmla="*/ 9 w 9"/>
                <a:gd name="T35" fmla="*/ 2 h 8"/>
                <a:gd name="T36" fmla="*/ 9 w 9"/>
                <a:gd name="T3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" h="8">
                  <a:moveTo>
                    <a:pt x="9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8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65" name="Freeform 111">
              <a:extLst>
                <a:ext uri="{FF2B5EF4-FFF2-40B4-BE49-F238E27FC236}">
                  <a16:creationId xmlns:a16="http://schemas.microsoft.com/office/drawing/2014/main" id="{C1EA0A15-2BFC-5E42-BA21-6FD1F83A05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059" y="2937230"/>
              <a:ext cx="231736" cy="274518"/>
            </a:xfrm>
            <a:custGeom>
              <a:avLst/>
              <a:gdLst>
                <a:gd name="T0" fmla="*/ 8 w 195"/>
                <a:gd name="T1" fmla="*/ 140 h 231"/>
                <a:gd name="T2" fmla="*/ 183 w 195"/>
                <a:gd name="T3" fmla="*/ 44 h 231"/>
                <a:gd name="T4" fmla="*/ 185 w 195"/>
                <a:gd name="T5" fmla="*/ 35 h 231"/>
                <a:gd name="T6" fmla="*/ 170 w 195"/>
                <a:gd name="T7" fmla="*/ 25 h 231"/>
                <a:gd name="T8" fmla="*/ 156 w 195"/>
                <a:gd name="T9" fmla="*/ 15 h 231"/>
                <a:gd name="T10" fmla="*/ 141 w 195"/>
                <a:gd name="T11" fmla="*/ 4 h 231"/>
                <a:gd name="T12" fmla="*/ 135 w 195"/>
                <a:gd name="T13" fmla="*/ 11 h 231"/>
                <a:gd name="T14" fmla="*/ 121 w 195"/>
                <a:gd name="T15" fmla="*/ 25 h 231"/>
                <a:gd name="T16" fmla="*/ 82 w 195"/>
                <a:gd name="T17" fmla="*/ 27 h 231"/>
                <a:gd name="T18" fmla="*/ 82 w 195"/>
                <a:gd name="T19" fmla="*/ 39 h 231"/>
                <a:gd name="T20" fmla="*/ 82 w 195"/>
                <a:gd name="T21" fmla="*/ 52 h 231"/>
                <a:gd name="T22" fmla="*/ 82 w 195"/>
                <a:gd name="T23" fmla="*/ 64 h 231"/>
                <a:gd name="T24" fmla="*/ 78 w 195"/>
                <a:gd name="T25" fmla="*/ 72 h 231"/>
                <a:gd name="T26" fmla="*/ 68 w 195"/>
                <a:gd name="T27" fmla="*/ 78 h 231"/>
                <a:gd name="T28" fmla="*/ 61 w 195"/>
                <a:gd name="T29" fmla="*/ 85 h 231"/>
                <a:gd name="T30" fmla="*/ 63 w 195"/>
                <a:gd name="T31" fmla="*/ 95 h 231"/>
                <a:gd name="T32" fmla="*/ 63 w 195"/>
                <a:gd name="T33" fmla="*/ 107 h 231"/>
                <a:gd name="T34" fmla="*/ 51 w 195"/>
                <a:gd name="T35" fmla="*/ 111 h 231"/>
                <a:gd name="T36" fmla="*/ 33 w 195"/>
                <a:gd name="T37" fmla="*/ 111 h 231"/>
                <a:gd name="T38" fmla="*/ 14 w 195"/>
                <a:gd name="T39" fmla="*/ 111 h 231"/>
                <a:gd name="T40" fmla="*/ 0 w 195"/>
                <a:gd name="T41" fmla="*/ 113 h 231"/>
                <a:gd name="T42" fmla="*/ 0 w 195"/>
                <a:gd name="T43" fmla="*/ 115 h 231"/>
                <a:gd name="T44" fmla="*/ 6 w 195"/>
                <a:gd name="T45" fmla="*/ 124 h 231"/>
                <a:gd name="T46" fmla="*/ 10 w 195"/>
                <a:gd name="T47" fmla="*/ 128 h 231"/>
                <a:gd name="T48" fmla="*/ 8 w 195"/>
                <a:gd name="T49" fmla="*/ 144 h 231"/>
                <a:gd name="T50" fmla="*/ 8 w 195"/>
                <a:gd name="T51" fmla="*/ 148 h 231"/>
                <a:gd name="T52" fmla="*/ 14 w 195"/>
                <a:gd name="T53" fmla="*/ 167 h 231"/>
                <a:gd name="T54" fmla="*/ 6 w 195"/>
                <a:gd name="T55" fmla="*/ 198 h 231"/>
                <a:gd name="T56" fmla="*/ 4 w 195"/>
                <a:gd name="T57" fmla="*/ 206 h 231"/>
                <a:gd name="T58" fmla="*/ 8 w 195"/>
                <a:gd name="T59" fmla="*/ 198 h 231"/>
                <a:gd name="T60" fmla="*/ 16 w 195"/>
                <a:gd name="T61" fmla="*/ 200 h 231"/>
                <a:gd name="T62" fmla="*/ 27 w 195"/>
                <a:gd name="T63" fmla="*/ 198 h 231"/>
                <a:gd name="T64" fmla="*/ 29 w 195"/>
                <a:gd name="T65" fmla="*/ 196 h 231"/>
                <a:gd name="T66" fmla="*/ 41 w 195"/>
                <a:gd name="T67" fmla="*/ 198 h 231"/>
                <a:gd name="T68" fmla="*/ 47 w 195"/>
                <a:gd name="T69" fmla="*/ 206 h 231"/>
                <a:gd name="T70" fmla="*/ 51 w 195"/>
                <a:gd name="T71" fmla="*/ 206 h 231"/>
                <a:gd name="T72" fmla="*/ 53 w 195"/>
                <a:gd name="T73" fmla="*/ 206 h 231"/>
                <a:gd name="T74" fmla="*/ 57 w 195"/>
                <a:gd name="T75" fmla="*/ 216 h 231"/>
                <a:gd name="T76" fmla="*/ 59 w 195"/>
                <a:gd name="T77" fmla="*/ 218 h 231"/>
                <a:gd name="T78" fmla="*/ 61 w 195"/>
                <a:gd name="T79" fmla="*/ 222 h 231"/>
                <a:gd name="T80" fmla="*/ 66 w 195"/>
                <a:gd name="T81" fmla="*/ 224 h 231"/>
                <a:gd name="T82" fmla="*/ 72 w 195"/>
                <a:gd name="T83" fmla="*/ 231 h 231"/>
                <a:gd name="T84" fmla="*/ 78 w 195"/>
                <a:gd name="T85" fmla="*/ 227 h 231"/>
                <a:gd name="T86" fmla="*/ 82 w 195"/>
                <a:gd name="T87" fmla="*/ 218 h 231"/>
                <a:gd name="T88" fmla="*/ 90 w 195"/>
                <a:gd name="T89" fmla="*/ 220 h 231"/>
                <a:gd name="T90" fmla="*/ 96 w 195"/>
                <a:gd name="T91" fmla="*/ 220 h 231"/>
                <a:gd name="T92" fmla="*/ 105 w 195"/>
                <a:gd name="T93" fmla="*/ 218 h 231"/>
                <a:gd name="T94" fmla="*/ 115 w 195"/>
                <a:gd name="T95" fmla="*/ 218 h 231"/>
                <a:gd name="T96" fmla="*/ 119 w 195"/>
                <a:gd name="T97" fmla="*/ 214 h 231"/>
                <a:gd name="T98" fmla="*/ 127 w 195"/>
                <a:gd name="T99" fmla="*/ 218 h 231"/>
                <a:gd name="T100" fmla="*/ 174 w 195"/>
                <a:gd name="T101" fmla="*/ 218 h 231"/>
                <a:gd name="T102" fmla="*/ 180 w 195"/>
                <a:gd name="T103" fmla="*/ 200 h 231"/>
                <a:gd name="T104" fmla="*/ 176 w 195"/>
                <a:gd name="T105" fmla="*/ 179 h 231"/>
                <a:gd name="T106" fmla="*/ 176 w 195"/>
                <a:gd name="T107" fmla="*/ 157 h 231"/>
                <a:gd name="T108" fmla="*/ 174 w 195"/>
                <a:gd name="T109" fmla="*/ 134 h 231"/>
                <a:gd name="T110" fmla="*/ 172 w 195"/>
                <a:gd name="T111" fmla="*/ 111 h 231"/>
                <a:gd name="T112" fmla="*/ 170 w 195"/>
                <a:gd name="T113" fmla="*/ 89 h 231"/>
                <a:gd name="T114" fmla="*/ 168 w 195"/>
                <a:gd name="T115" fmla="*/ 66 h 231"/>
                <a:gd name="T116" fmla="*/ 168 w 195"/>
                <a:gd name="T117" fmla="*/ 44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5" h="231">
                  <a:moveTo>
                    <a:pt x="10" y="140"/>
                  </a:moveTo>
                  <a:lnTo>
                    <a:pt x="10" y="138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8" y="140"/>
                  </a:lnTo>
                  <a:lnTo>
                    <a:pt x="8" y="142"/>
                  </a:lnTo>
                  <a:lnTo>
                    <a:pt x="8" y="142"/>
                  </a:lnTo>
                  <a:lnTo>
                    <a:pt x="10" y="140"/>
                  </a:lnTo>
                  <a:close/>
                  <a:moveTo>
                    <a:pt x="178" y="44"/>
                  </a:moveTo>
                  <a:lnTo>
                    <a:pt x="183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3" y="41"/>
                  </a:lnTo>
                  <a:lnTo>
                    <a:pt x="189" y="37"/>
                  </a:lnTo>
                  <a:lnTo>
                    <a:pt x="185" y="35"/>
                  </a:lnTo>
                  <a:lnTo>
                    <a:pt x="183" y="33"/>
                  </a:lnTo>
                  <a:lnTo>
                    <a:pt x="178" y="31"/>
                  </a:lnTo>
                  <a:lnTo>
                    <a:pt x="176" y="29"/>
                  </a:lnTo>
                  <a:lnTo>
                    <a:pt x="174" y="27"/>
                  </a:lnTo>
                  <a:lnTo>
                    <a:pt x="170" y="25"/>
                  </a:lnTo>
                  <a:lnTo>
                    <a:pt x="168" y="23"/>
                  </a:lnTo>
                  <a:lnTo>
                    <a:pt x="164" y="21"/>
                  </a:lnTo>
                  <a:lnTo>
                    <a:pt x="162" y="19"/>
                  </a:lnTo>
                  <a:lnTo>
                    <a:pt x="160" y="17"/>
                  </a:lnTo>
                  <a:lnTo>
                    <a:pt x="156" y="15"/>
                  </a:lnTo>
                  <a:lnTo>
                    <a:pt x="154" y="13"/>
                  </a:lnTo>
                  <a:lnTo>
                    <a:pt x="150" y="11"/>
                  </a:lnTo>
                  <a:lnTo>
                    <a:pt x="148" y="9"/>
                  </a:lnTo>
                  <a:lnTo>
                    <a:pt x="146" y="7"/>
                  </a:lnTo>
                  <a:lnTo>
                    <a:pt x="141" y="4"/>
                  </a:lnTo>
                  <a:lnTo>
                    <a:pt x="139" y="2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9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5"/>
                  </a:lnTo>
                  <a:lnTo>
                    <a:pt x="121" y="25"/>
                  </a:lnTo>
                  <a:lnTo>
                    <a:pt x="117" y="25"/>
                  </a:lnTo>
                  <a:lnTo>
                    <a:pt x="96" y="25"/>
                  </a:lnTo>
                  <a:lnTo>
                    <a:pt x="94" y="25"/>
                  </a:lnTo>
                  <a:lnTo>
                    <a:pt x="82" y="25"/>
                  </a:lnTo>
                  <a:lnTo>
                    <a:pt x="82" y="27"/>
                  </a:lnTo>
                  <a:lnTo>
                    <a:pt x="82" y="29"/>
                  </a:lnTo>
                  <a:lnTo>
                    <a:pt x="82" y="31"/>
                  </a:lnTo>
                  <a:lnTo>
                    <a:pt x="82" y="35"/>
                  </a:lnTo>
                  <a:lnTo>
                    <a:pt x="82" y="37"/>
                  </a:lnTo>
                  <a:lnTo>
                    <a:pt x="82" y="39"/>
                  </a:lnTo>
                  <a:lnTo>
                    <a:pt x="82" y="41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2" y="54"/>
                  </a:lnTo>
                  <a:lnTo>
                    <a:pt x="82" y="58"/>
                  </a:lnTo>
                  <a:lnTo>
                    <a:pt x="82" y="60"/>
                  </a:lnTo>
                  <a:lnTo>
                    <a:pt x="82" y="62"/>
                  </a:lnTo>
                  <a:lnTo>
                    <a:pt x="82" y="64"/>
                  </a:lnTo>
                  <a:lnTo>
                    <a:pt x="82" y="66"/>
                  </a:lnTo>
                  <a:lnTo>
                    <a:pt x="82" y="70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8" y="72"/>
                  </a:lnTo>
                  <a:lnTo>
                    <a:pt x="76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0" y="76"/>
                  </a:lnTo>
                  <a:lnTo>
                    <a:pt x="68" y="78"/>
                  </a:lnTo>
                  <a:lnTo>
                    <a:pt x="63" y="81"/>
                  </a:lnTo>
                  <a:lnTo>
                    <a:pt x="63" y="83"/>
                  </a:lnTo>
                  <a:lnTo>
                    <a:pt x="61" y="83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3" y="89"/>
                  </a:lnTo>
                  <a:lnTo>
                    <a:pt x="63" y="89"/>
                  </a:lnTo>
                  <a:lnTo>
                    <a:pt x="63" y="91"/>
                  </a:lnTo>
                  <a:lnTo>
                    <a:pt x="63" y="93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63" y="101"/>
                  </a:lnTo>
                  <a:lnTo>
                    <a:pt x="63" y="103"/>
                  </a:lnTo>
                  <a:lnTo>
                    <a:pt x="63" y="105"/>
                  </a:lnTo>
                  <a:lnTo>
                    <a:pt x="63" y="107"/>
                  </a:lnTo>
                  <a:lnTo>
                    <a:pt x="63" y="111"/>
                  </a:lnTo>
                  <a:lnTo>
                    <a:pt x="61" y="111"/>
                  </a:lnTo>
                  <a:lnTo>
                    <a:pt x="57" y="111"/>
                  </a:lnTo>
                  <a:lnTo>
                    <a:pt x="53" y="111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29" y="111"/>
                  </a:lnTo>
                  <a:lnTo>
                    <a:pt x="24" y="111"/>
                  </a:lnTo>
                  <a:lnTo>
                    <a:pt x="20" y="111"/>
                  </a:lnTo>
                  <a:lnTo>
                    <a:pt x="18" y="111"/>
                  </a:lnTo>
                  <a:lnTo>
                    <a:pt x="14" y="111"/>
                  </a:lnTo>
                  <a:lnTo>
                    <a:pt x="10" y="111"/>
                  </a:lnTo>
                  <a:lnTo>
                    <a:pt x="6" y="111"/>
                  </a:lnTo>
                  <a:lnTo>
                    <a:pt x="4" y="111"/>
                  </a:lnTo>
                  <a:lnTo>
                    <a:pt x="2" y="111"/>
                  </a:lnTo>
                  <a:lnTo>
                    <a:pt x="0" y="113"/>
                  </a:lnTo>
                  <a:lnTo>
                    <a:pt x="0" y="115"/>
                  </a:lnTo>
                  <a:lnTo>
                    <a:pt x="0" y="118"/>
                  </a:lnTo>
                  <a:lnTo>
                    <a:pt x="0" y="120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4" y="120"/>
                  </a:lnTo>
                  <a:lnTo>
                    <a:pt x="6" y="124"/>
                  </a:lnTo>
                  <a:lnTo>
                    <a:pt x="6" y="124"/>
                  </a:lnTo>
                  <a:lnTo>
                    <a:pt x="8" y="124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4"/>
                  </a:lnTo>
                  <a:lnTo>
                    <a:pt x="10" y="128"/>
                  </a:lnTo>
                  <a:lnTo>
                    <a:pt x="12" y="130"/>
                  </a:lnTo>
                  <a:lnTo>
                    <a:pt x="12" y="132"/>
                  </a:lnTo>
                  <a:lnTo>
                    <a:pt x="12" y="134"/>
                  </a:lnTo>
                  <a:lnTo>
                    <a:pt x="10" y="138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8" y="146"/>
                  </a:lnTo>
                  <a:lnTo>
                    <a:pt x="8" y="146"/>
                  </a:lnTo>
                  <a:lnTo>
                    <a:pt x="6" y="146"/>
                  </a:lnTo>
                  <a:lnTo>
                    <a:pt x="8" y="148"/>
                  </a:lnTo>
                  <a:lnTo>
                    <a:pt x="10" y="150"/>
                  </a:lnTo>
                  <a:lnTo>
                    <a:pt x="10" y="152"/>
                  </a:lnTo>
                  <a:lnTo>
                    <a:pt x="12" y="159"/>
                  </a:lnTo>
                  <a:lnTo>
                    <a:pt x="12" y="163"/>
                  </a:lnTo>
                  <a:lnTo>
                    <a:pt x="14" y="167"/>
                  </a:lnTo>
                  <a:lnTo>
                    <a:pt x="14" y="173"/>
                  </a:lnTo>
                  <a:lnTo>
                    <a:pt x="12" y="179"/>
                  </a:lnTo>
                  <a:lnTo>
                    <a:pt x="10" y="187"/>
                  </a:lnTo>
                  <a:lnTo>
                    <a:pt x="8" y="192"/>
                  </a:lnTo>
                  <a:lnTo>
                    <a:pt x="6" y="198"/>
                  </a:lnTo>
                  <a:lnTo>
                    <a:pt x="6" y="200"/>
                  </a:lnTo>
                  <a:lnTo>
                    <a:pt x="4" y="204"/>
                  </a:lnTo>
                  <a:lnTo>
                    <a:pt x="4" y="212"/>
                  </a:lnTo>
                  <a:lnTo>
                    <a:pt x="4" y="210"/>
                  </a:lnTo>
                  <a:lnTo>
                    <a:pt x="4" y="206"/>
                  </a:lnTo>
                  <a:lnTo>
                    <a:pt x="6" y="204"/>
                  </a:lnTo>
                  <a:lnTo>
                    <a:pt x="6" y="204"/>
                  </a:lnTo>
                  <a:lnTo>
                    <a:pt x="6" y="202"/>
                  </a:lnTo>
                  <a:lnTo>
                    <a:pt x="8" y="200"/>
                  </a:lnTo>
                  <a:lnTo>
                    <a:pt x="8" y="198"/>
                  </a:lnTo>
                  <a:lnTo>
                    <a:pt x="10" y="198"/>
                  </a:lnTo>
                  <a:lnTo>
                    <a:pt x="10" y="198"/>
                  </a:lnTo>
                  <a:lnTo>
                    <a:pt x="12" y="200"/>
                  </a:lnTo>
                  <a:lnTo>
                    <a:pt x="14" y="200"/>
                  </a:lnTo>
                  <a:lnTo>
                    <a:pt x="16" y="200"/>
                  </a:lnTo>
                  <a:lnTo>
                    <a:pt x="18" y="200"/>
                  </a:lnTo>
                  <a:lnTo>
                    <a:pt x="20" y="198"/>
                  </a:lnTo>
                  <a:lnTo>
                    <a:pt x="22" y="198"/>
                  </a:lnTo>
                  <a:lnTo>
                    <a:pt x="24" y="198"/>
                  </a:lnTo>
                  <a:lnTo>
                    <a:pt x="27" y="198"/>
                  </a:lnTo>
                  <a:lnTo>
                    <a:pt x="27" y="196"/>
                  </a:lnTo>
                  <a:lnTo>
                    <a:pt x="27" y="196"/>
                  </a:lnTo>
                  <a:lnTo>
                    <a:pt x="29" y="196"/>
                  </a:lnTo>
                  <a:lnTo>
                    <a:pt x="29" y="196"/>
                  </a:lnTo>
                  <a:lnTo>
                    <a:pt x="29" y="196"/>
                  </a:lnTo>
                  <a:lnTo>
                    <a:pt x="29" y="196"/>
                  </a:lnTo>
                  <a:lnTo>
                    <a:pt x="31" y="196"/>
                  </a:lnTo>
                  <a:lnTo>
                    <a:pt x="33" y="196"/>
                  </a:lnTo>
                  <a:lnTo>
                    <a:pt x="37" y="196"/>
                  </a:lnTo>
                  <a:lnTo>
                    <a:pt x="41" y="198"/>
                  </a:lnTo>
                  <a:lnTo>
                    <a:pt x="43" y="200"/>
                  </a:lnTo>
                  <a:lnTo>
                    <a:pt x="45" y="202"/>
                  </a:lnTo>
                  <a:lnTo>
                    <a:pt x="45" y="204"/>
                  </a:lnTo>
                  <a:lnTo>
                    <a:pt x="45" y="204"/>
                  </a:lnTo>
                  <a:lnTo>
                    <a:pt x="47" y="206"/>
                  </a:lnTo>
                  <a:lnTo>
                    <a:pt x="47" y="206"/>
                  </a:lnTo>
                  <a:lnTo>
                    <a:pt x="49" y="206"/>
                  </a:lnTo>
                  <a:lnTo>
                    <a:pt x="49" y="206"/>
                  </a:lnTo>
                  <a:lnTo>
                    <a:pt x="49" y="206"/>
                  </a:lnTo>
                  <a:lnTo>
                    <a:pt x="51" y="206"/>
                  </a:lnTo>
                  <a:lnTo>
                    <a:pt x="51" y="206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3" y="208"/>
                  </a:lnTo>
                  <a:lnTo>
                    <a:pt x="55" y="208"/>
                  </a:lnTo>
                  <a:lnTo>
                    <a:pt x="55" y="210"/>
                  </a:lnTo>
                  <a:lnTo>
                    <a:pt x="55" y="214"/>
                  </a:lnTo>
                  <a:lnTo>
                    <a:pt x="57" y="216"/>
                  </a:lnTo>
                  <a:lnTo>
                    <a:pt x="57" y="216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8"/>
                  </a:lnTo>
                  <a:lnTo>
                    <a:pt x="59" y="218"/>
                  </a:lnTo>
                  <a:lnTo>
                    <a:pt x="59" y="218"/>
                  </a:lnTo>
                  <a:lnTo>
                    <a:pt x="61" y="218"/>
                  </a:lnTo>
                  <a:lnTo>
                    <a:pt x="61" y="220"/>
                  </a:lnTo>
                  <a:lnTo>
                    <a:pt x="63" y="222"/>
                  </a:lnTo>
                  <a:lnTo>
                    <a:pt x="61" y="222"/>
                  </a:lnTo>
                  <a:lnTo>
                    <a:pt x="61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4"/>
                  </a:lnTo>
                  <a:lnTo>
                    <a:pt x="66" y="224"/>
                  </a:lnTo>
                  <a:lnTo>
                    <a:pt x="68" y="227"/>
                  </a:lnTo>
                  <a:lnTo>
                    <a:pt x="68" y="227"/>
                  </a:lnTo>
                  <a:lnTo>
                    <a:pt x="70" y="229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4" y="231"/>
                  </a:lnTo>
                  <a:lnTo>
                    <a:pt x="74" y="231"/>
                  </a:lnTo>
                  <a:lnTo>
                    <a:pt x="76" y="231"/>
                  </a:lnTo>
                  <a:lnTo>
                    <a:pt x="78" y="229"/>
                  </a:lnTo>
                  <a:lnTo>
                    <a:pt x="78" y="227"/>
                  </a:lnTo>
                  <a:lnTo>
                    <a:pt x="78" y="224"/>
                  </a:lnTo>
                  <a:lnTo>
                    <a:pt x="78" y="222"/>
                  </a:lnTo>
                  <a:lnTo>
                    <a:pt x="80" y="220"/>
                  </a:lnTo>
                  <a:lnTo>
                    <a:pt x="80" y="218"/>
                  </a:lnTo>
                  <a:lnTo>
                    <a:pt x="82" y="218"/>
                  </a:lnTo>
                  <a:lnTo>
                    <a:pt x="82" y="216"/>
                  </a:lnTo>
                  <a:lnTo>
                    <a:pt x="84" y="214"/>
                  </a:lnTo>
                  <a:lnTo>
                    <a:pt x="84" y="216"/>
                  </a:lnTo>
                  <a:lnTo>
                    <a:pt x="86" y="216"/>
                  </a:lnTo>
                  <a:lnTo>
                    <a:pt x="90" y="220"/>
                  </a:lnTo>
                  <a:lnTo>
                    <a:pt x="92" y="222"/>
                  </a:lnTo>
                  <a:lnTo>
                    <a:pt x="92" y="224"/>
                  </a:lnTo>
                  <a:lnTo>
                    <a:pt x="94" y="224"/>
                  </a:lnTo>
                  <a:lnTo>
                    <a:pt x="94" y="222"/>
                  </a:lnTo>
                  <a:lnTo>
                    <a:pt x="96" y="220"/>
                  </a:lnTo>
                  <a:lnTo>
                    <a:pt x="96" y="218"/>
                  </a:lnTo>
                  <a:lnTo>
                    <a:pt x="98" y="218"/>
                  </a:lnTo>
                  <a:lnTo>
                    <a:pt x="100" y="218"/>
                  </a:lnTo>
                  <a:lnTo>
                    <a:pt x="102" y="218"/>
                  </a:lnTo>
                  <a:lnTo>
                    <a:pt x="105" y="218"/>
                  </a:lnTo>
                  <a:lnTo>
                    <a:pt x="105" y="220"/>
                  </a:lnTo>
                  <a:lnTo>
                    <a:pt x="107" y="220"/>
                  </a:lnTo>
                  <a:lnTo>
                    <a:pt x="109" y="220"/>
                  </a:lnTo>
                  <a:lnTo>
                    <a:pt x="113" y="220"/>
                  </a:lnTo>
                  <a:lnTo>
                    <a:pt x="115" y="218"/>
                  </a:lnTo>
                  <a:lnTo>
                    <a:pt x="117" y="218"/>
                  </a:lnTo>
                  <a:lnTo>
                    <a:pt x="117" y="218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19" y="216"/>
                  </a:lnTo>
                  <a:lnTo>
                    <a:pt x="119" y="218"/>
                  </a:lnTo>
                  <a:lnTo>
                    <a:pt x="121" y="218"/>
                  </a:lnTo>
                  <a:lnTo>
                    <a:pt x="127" y="218"/>
                  </a:lnTo>
                  <a:lnTo>
                    <a:pt x="131" y="218"/>
                  </a:lnTo>
                  <a:lnTo>
                    <a:pt x="148" y="218"/>
                  </a:lnTo>
                  <a:lnTo>
                    <a:pt x="150" y="218"/>
                  </a:lnTo>
                  <a:lnTo>
                    <a:pt x="166" y="218"/>
                  </a:lnTo>
                  <a:lnTo>
                    <a:pt x="174" y="218"/>
                  </a:lnTo>
                  <a:lnTo>
                    <a:pt x="180" y="218"/>
                  </a:lnTo>
                  <a:lnTo>
                    <a:pt x="180" y="212"/>
                  </a:lnTo>
                  <a:lnTo>
                    <a:pt x="183" y="208"/>
                  </a:lnTo>
                  <a:lnTo>
                    <a:pt x="183" y="204"/>
                  </a:lnTo>
                  <a:lnTo>
                    <a:pt x="180" y="200"/>
                  </a:lnTo>
                  <a:lnTo>
                    <a:pt x="178" y="198"/>
                  </a:lnTo>
                  <a:lnTo>
                    <a:pt x="178" y="194"/>
                  </a:lnTo>
                  <a:lnTo>
                    <a:pt x="178" y="190"/>
                  </a:lnTo>
                  <a:lnTo>
                    <a:pt x="178" y="185"/>
                  </a:lnTo>
                  <a:lnTo>
                    <a:pt x="176" y="179"/>
                  </a:lnTo>
                  <a:lnTo>
                    <a:pt x="176" y="175"/>
                  </a:lnTo>
                  <a:lnTo>
                    <a:pt x="176" y="171"/>
                  </a:lnTo>
                  <a:lnTo>
                    <a:pt x="176" y="167"/>
                  </a:lnTo>
                  <a:lnTo>
                    <a:pt x="176" y="161"/>
                  </a:lnTo>
                  <a:lnTo>
                    <a:pt x="176" y="157"/>
                  </a:lnTo>
                  <a:lnTo>
                    <a:pt x="174" y="152"/>
                  </a:lnTo>
                  <a:lnTo>
                    <a:pt x="174" y="148"/>
                  </a:lnTo>
                  <a:lnTo>
                    <a:pt x="174" y="144"/>
                  </a:lnTo>
                  <a:lnTo>
                    <a:pt x="174" y="138"/>
                  </a:lnTo>
                  <a:lnTo>
                    <a:pt x="174" y="134"/>
                  </a:lnTo>
                  <a:lnTo>
                    <a:pt x="174" y="130"/>
                  </a:lnTo>
                  <a:lnTo>
                    <a:pt x="172" y="126"/>
                  </a:lnTo>
                  <a:lnTo>
                    <a:pt x="172" y="120"/>
                  </a:lnTo>
                  <a:lnTo>
                    <a:pt x="172" y="115"/>
                  </a:lnTo>
                  <a:lnTo>
                    <a:pt x="172" y="111"/>
                  </a:lnTo>
                  <a:lnTo>
                    <a:pt x="172" y="107"/>
                  </a:lnTo>
                  <a:lnTo>
                    <a:pt x="172" y="103"/>
                  </a:lnTo>
                  <a:lnTo>
                    <a:pt x="170" y="97"/>
                  </a:lnTo>
                  <a:lnTo>
                    <a:pt x="170" y="93"/>
                  </a:lnTo>
                  <a:lnTo>
                    <a:pt x="170" y="89"/>
                  </a:lnTo>
                  <a:lnTo>
                    <a:pt x="170" y="85"/>
                  </a:lnTo>
                  <a:lnTo>
                    <a:pt x="170" y="78"/>
                  </a:lnTo>
                  <a:lnTo>
                    <a:pt x="170" y="74"/>
                  </a:lnTo>
                  <a:lnTo>
                    <a:pt x="170" y="70"/>
                  </a:lnTo>
                  <a:lnTo>
                    <a:pt x="168" y="66"/>
                  </a:lnTo>
                  <a:lnTo>
                    <a:pt x="168" y="62"/>
                  </a:lnTo>
                  <a:lnTo>
                    <a:pt x="168" y="56"/>
                  </a:lnTo>
                  <a:lnTo>
                    <a:pt x="168" y="52"/>
                  </a:lnTo>
                  <a:lnTo>
                    <a:pt x="168" y="48"/>
                  </a:lnTo>
                  <a:lnTo>
                    <a:pt x="168" y="44"/>
                  </a:lnTo>
                  <a:lnTo>
                    <a:pt x="172" y="44"/>
                  </a:lnTo>
                  <a:lnTo>
                    <a:pt x="178" y="4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66" name="Freeform 115">
              <a:extLst>
                <a:ext uri="{FF2B5EF4-FFF2-40B4-BE49-F238E27FC236}">
                  <a16:creationId xmlns:a16="http://schemas.microsoft.com/office/drawing/2014/main" id="{5087E916-F999-CB4C-9472-210353EA5D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6934" y="2747088"/>
              <a:ext cx="7130" cy="4754"/>
            </a:xfrm>
            <a:custGeom>
              <a:avLst/>
              <a:gdLst>
                <a:gd name="T0" fmla="*/ 6 w 6"/>
                <a:gd name="T1" fmla="*/ 4 h 4"/>
                <a:gd name="T2" fmla="*/ 4 w 6"/>
                <a:gd name="T3" fmla="*/ 2 h 4"/>
                <a:gd name="T4" fmla="*/ 4 w 6"/>
                <a:gd name="T5" fmla="*/ 2 h 4"/>
                <a:gd name="T6" fmla="*/ 4 w 6"/>
                <a:gd name="T7" fmla="*/ 4 h 4"/>
                <a:gd name="T8" fmla="*/ 4 w 6"/>
                <a:gd name="T9" fmla="*/ 4 h 4"/>
                <a:gd name="T10" fmla="*/ 6 w 6"/>
                <a:gd name="T11" fmla="*/ 4 h 4"/>
                <a:gd name="T12" fmla="*/ 6 w 6"/>
                <a:gd name="T13" fmla="*/ 4 h 4"/>
                <a:gd name="T14" fmla="*/ 6 w 6"/>
                <a:gd name="T15" fmla="*/ 4 h 4"/>
                <a:gd name="T16" fmla="*/ 2 w 6"/>
                <a:gd name="T17" fmla="*/ 0 h 4"/>
                <a:gd name="T18" fmla="*/ 0 w 6"/>
                <a:gd name="T19" fmla="*/ 0 h 4"/>
                <a:gd name="T20" fmla="*/ 0 w 6"/>
                <a:gd name="T21" fmla="*/ 0 h 4"/>
                <a:gd name="T22" fmla="*/ 2 w 6"/>
                <a:gd name="T23" fmla="*/ 0 h 4"/>
                <a:gd name="T24" fmla="*/ 2 w 6"/>
                <a:gd name="T25" fmla="*/ 0 h 4"/>
                <a:gd name="T26" fmla="*/ 2 w 6"/>
                <a:gd name="T27" fmla="*/ 0 h 4"/>
                <a:gd name="T28" fmla="*/ 2 w 6"/>
                <a:gd name="T29" fmla="*/ 0 h 4"/>
                <a:gd name="T30" fmla="*/ 2 w 6"/>
                <a:gd name="T3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6" y="4"/>
                  </a:move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67" name="Freeform 116">
              <a:extLst>
                <a:ext uri="{FF2B5EF4-FFF2-40B4-BE49-F238E27FC236}">
                  <a16:creationId xmlns:a16="http://schemas.microsoft.com/office/drawing/2014/main" id="{27F4791F-DA34-4C48-8A9A-D39015E38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6623" y="2989519"/>
              <a:ext cx="314923" cy="322053"/>
            </a:xfrm>
            <a:custGeom>
              <a:avLst/>
              <a:gdLst>
                <a:gd name="T0" fmla="*/ 248 w 265"/>
                <a:gd name="T1" fmla="*/ 108 h 271"/>
                <a:gd name="T2" fmla="*/ 250 w 265"/>
                <a:gd name="T3" fmla="*/ 102 h 271"/>
                <a:gd name="T4" fmla="*/ 244 w 265"/>
                <a:gd name="T5" fmla="*/ 92 h 271"/>
                <a:gd name="T6" fmla="*/ 228 w 265"/>
                <a:gd name="T7" fmla="*/ 86 h 271"/>
                <a:gd name="T8" fmla="*/ 217 w 265"/>
                <a:gd name="T9" fmla="*/ 76 h 271"/>
                <a:gd name="T10" fmla="*/ 199 w 265"/>
                <a:gd name="T11" fmla="*/ 57 h 271"/>
                <a:gd name="T12" fmla="*/ 158 w 265"/>
                <a:gd name="T13" fmla="*/ 26 h 271"/>
                <a:gd name="T14" fmla="*/ 119 w 265"/>
                <a:gd name="T15" fmla="*/ 0 h 271"/>
                <a:gd name="T16" fmla="*/ 96 w 265"/>
                <a:gd name="T17" fmla="*/ 18 h 271"/>
                <a:gd name="T18" fmla="*/ 98 w 265"/>
                <a:gd name="T19" fmla="*/ 53 h 271"/>
                <a:gd name="T20" fmla="*/ 102 w 265"/>
                <a:gd name="T21" fmla="*/ 90 h 271"/>
                <a:gd name="T22" fmla="*/ 104 w 265"/>
                <a:gd name="T23" fmla="*/ 127 h 271"/>
                <a:gd name="T24" fmla="*/ 111 w 265"/>
                <a:gd name="T25" fmla="*/ 160 h 271"/>
                <a:gd name="T26" fmla="*/ 59 w 265"/>
                <a:gd name="T27" fmla="*/ 174 h 271"/>
                <a:gd name="T28" fmla="*/ 45 w 265"/>
                <a:gd name="T29" fmla="*/ 172 h 271"/>
                <a:gd name="T30" fmla="*/ 33 w 265"/>
                <a:gd name="T31" fmla="*/ 174 h 271"/>
                <a:gd name="T32" fmla="*/ 20 w 265"/>
                <a:gd name="T33" fmla="*/ 180 h 271"/>
                <a:gd name="T34" fmla="*/ 8 w 265"/>
                <a:gd name="T35" fmla="*/ 174 h 271"/>
                <a:gd name="T36" fmla="*/ 2 w 265"/>
                <a:gd name="T37" fmla="*/ 187 h 271"/>
                <a:gd name="T38" fmla="*/ 4 w 265"/>
                <a:gd name="T39" fmla="*/ 197 h 271"/>
                <a:gd name="T40" fmla="*/ 2 w 265"/>
                <a:gd name="T41" fmla="*/ 207 h 271"/>
                <a:gd name="T42" fmla="*/ 8 w 265"/>
                <a:gd name="T43" fmla="*/ 211 h 271"/>
                <a:gd name="T44" fmla="*/ 12 w 265"/>
                <a:gd name="T45" fmla="*/ 220 h 271"/>
                <a:gd name="T46" fmla="*/ 12 w 265"/>
                <a:gd name="T47" fmla="*/ 230 h 271"/>
                <a:gd name="T48" fmla="*/ 14 w 265"/>
                <a:gd name="T49" fmla="*/ 238 h 271"/>
                <a:gd name="T50" fmla="*/ 22 w 265"/>
                <a:gd name="T51" fmla="*/ 240 h 271"/>
                <a:gd name="T52" fmla="*/ 28 w 265"/>
                <a:gd name="T53" fmla="*/ 234 h 271"/>
                <a:gd name="T54" fmla="*/ 41 w 265"/>
                <a:gd name="T55" fmla="*/ 236 h 271"/>
                <a:gd name="T56" fmla="*/ 45 w 265"/>
                <a:gd name="T57" fmla="*/ 230 h 271"/>
                <a:gd name="T58" fmla="*/ 51 w 265"/>
                <a:gd name="T59" fmla="*/ 234 h 271"/>
                <a:gd name="T60" fmla="*/ 57 w 265"/>
                <a:gd name="T61" fmla="*/ 246 h 271"/>
                <a:gd name="T62" fmla="*/ 59 w 265"/>
                <a:gd name="T63" fmla="*/ 250 h 271"/>
                <a:gd name="T64" fmla="*/ 59 w 265"/>
                <a:gd name="T65" fmla="*/ 254 h 271"/>
                <a:gd name="T66" fmla="*/ 61 w 265"/>
                <a:gd name="T67" fmla="*/ 265 h 271"/>
                <a:gd name="T68" fmla="*/ 69 w 265"/>
                <a:gd name="T69" fmla="*/ 271 h 271"/>
                <a:gd name="T70" fmla="*/ 76 w 265"/>
                <a:gd name="T71" fmla="*/ 269 h 271"/>
                <a:gd name="T72" fmla="*/ 84 w 265"/>
                <a:gd name="T73" fmla="*/ 271 h 271"/>
                <a:gd name="T74" fmla="*/ 88 w 265"/>
                <a:gd name="T75" fmla="*/ 267 h 271"/>
                <a:gd name="T76" fmla="*/ 92 w 265"/>
                <a:gd name="T77" fmla="*/ 265 h 271"/>
                <a:gd name="T78" fmla="*/ 94 w 265"/>
                <a:gd name="T79" fmla="*/ 265 h 271"/>
                <a:gd name="T80" fmla="*/ 96 w 265"/>
                <a:gd name="T81" fmla="*/ 271 h 271"/>
                <a:gd name="T82" fmla="*/ 106 w 265"/>
                <a:gd name="T83" fmla="*/ 267 h 271"/>
                <a:gd name="T84" fmla="*/ 108 w 265"/>
                <a:gd name="T85" fmla="*/ 254 h 271"/>
                <a:gd name="T86" fmla="*/ 111 w 265"/>
                <a:gd name="T87" fmla="*/ 242 h 271"/>
                <a:gd name="T88" fmla="*/ 121 w 265"/>
                <a:gd name="T89" fmla="*/ 236 h 271"/>
                <a:gd name="T90" fmla="*/ 123 w 265"/>
                <a:gd name="T91" fmla="*/ 226 h 271"/>
                <a:gd name="T92" fmla="*/ 129 w 265"/>
                <a:gd name="T93" fmla="*/ 213 h 271"/>
                <a:gd name="T94" fmla="*/ 143 w 265"/>
                <a:gd name="T95" fmla="*/ 213 h 271"/>
                <a:gd name="T96" fmla="*/ 150 w 265"/>
                <a:gd name="T97" fmla="*/ 207 h 271"/>
                <a:gd name="T98" fmla="*/ 162 w 265"/>
                <a:gd name="T99" fmla="*/ 199 h 271"/>
                <a:gd name="T100" fmla="*/ 176 w 265"/>
                <a:gd name="T101" fmla="*/ 187 h 271"/>
                <a:gd name="T102" fmla="*/ 189 w 265"/>
                <a:gd name="T103" fmla="*/ 183 h 271"/>
                <a:gd name="T104" fmla="*/ 207 w 265"/>
                <a:gd name="T105" fmla="*/ 185 h 271"/>
                <a:gd name="T106" fmla="*/ 236 w 265"/>
                <a:gd name="T107" fmla="*/ 176 h 271"/>
                <a:gd name="T108" fmla="*/ 252 w 265"/>
                <a:gd name="T109" fmla="*/ 174 h 271"/>
                <a:gd name="T110" fmla="*/ 260 w 265"/>
                <a:gd name="T111" fmla="*/ 164 h 271"/>
                <a:gd name="T112" fmla="*/ 265 w 265"/>
                <a:gd name="T1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5" h="271">
                  <a:moveTo>
                    <a:pt x="260" y="108"/>
                  </a:moveTo>
                  <a:lnTo>
                    <a:pt x="256" y="108"/>
                  </a:lnTo>
                  <a:lnTo>
                    <a:pt x="252" y="108"/>
                  </a:lnTo>
                  <a:lnTo>
                    <a:pt x="252" y="108"/>
                  </a:lnTo>
                  <a:lnTo>
                    <a:pt x="250" y="111"/>
                  </a:lnTo>
                  <a:lnTo>
                    <a:pt x="250" y="108"/>
                  </a:lnTo>
                  <a:lnTo>
                    <a:pt x="250" y="108"/>
                  </a:lnTo>
                  <a:lnTo>
                    <a:pt x="248" y="108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8" y="102"/>
                  </a:lnTo>
                  <a:lnTo>
                    <a:pt x="250" y="102"/>
                  </a:lnTo>
                  <a:lnTo>
                    <a:pt x="250" y="102"/>
                  </a:lnTo>
                  <a:lnTo>
                    <a:pt x="248" y="100"/>
                  </a:lnTo>
                  <a:lnTo>
                    <a:pt x="248" y="98"/>
                  </a:lnTo>
                  <a:lnTo>
                    <a:pt x="248" y="96"/>
                  </a:lnTo>
                  <a:lnTo>
                    <a:pt x="248" y="96"/>
                  </a:lnTo>
                  <a:lnTo>
                    <a:pt x="248" y="94"/>
                  </a:lnTo>
                  <a:lnTo>
                    <a:pt x="248" y="94"/>
                  </a:lnTo>
                  <a:lnTo>
                    <a:pt x="246" y="92"/>
                  </a:lnTo>
                  <a:lnTo>
                    <a:pt x="244" y="92"/>
                  </a:lnTo>
                  <a:lnTo>
                    <a:pt x="242" y="92"/>
                  </a:lnTo>
                  <a:lnTo>
                    <a:pt x="240" y="92"/>
                  </a:lnTo>
                  <a:lnTo>
                    <a:pt x="238" y="90"/>
                  </a:lnTo>
                  <a:lnTo>
                    <a:pt x="236" y="90"/>
                  </a:lnTo>
                  <a:lnTo>
                    <a:pt x="234" y="88"/>
                  </a:lnTo>
                  <a:lnTo>
                    <a:pt x="234" y="86"/>
                  </a:lnTo>
                  <a:lnTo>
                    <a:pt x="228" y="86"/>
                  </a:lnTo>
                  <a:lnTo>
                    <a:pt x="228" y="86"/>
                  </a:lnTo>
                  <a:lnTo>
                    <a:pt x="226" y="86"/>
                  </a:lnTo>
                  <a:lnTo>
                    <a:pt x="226" y="84"/>
                  </a:lnTo>
                  <a:lnTo>
                    <a:pt x="223" y="82"/>
                  </a:lnTo>
                  <a:lnTo>
                    <a:pt x="223" y="82"/>
                  </a:lnTo>
                  <a:lnTo>
                    <a:pt x="223" y="82"/>
                  </a:lnTo>
                  <a:lnTo>
                    <a:pt x="219" y="78"/>
                  </a:lnTo>
                  <a:lnTo>
                    <a:pt x="217" y="78"/>
                  </a:lnTo>
                  <a:lnTo>
                    <a:pt x="217" y="76"/>
                  </a:lnTo>
                  <a:lnTo>
                    <a:pt x="217" y="76"/>
                  </a:lnTo>
                  <a:lnTo>
                    <a:pt x="217" y="74"/>
                  </a:lnTo>
                  <a:lnTo>
                    <a:pt x="217" y="71"/>
                  </a:lnTo>
                  <a:lnTo>
                    <a:pt x="217" y="71"/>
                  </a:lnTo>
                  <a:lnTo>
                    <a:pt x="213" y="69"/>
                  </a:lnTo>
                  <a:lnTo>
                    <a:pt x="209" y="65"/>
                  </a:lnTo>
                  <a:lnTo>
                    <a:pt x="203" y="61"/>
                  </a:lnTo>
                  <a:lnTo>
                    <a:pt x="199" y="57"/>
                  </a:lnTo>
                  <a:lnTo>
                    <a:pt x="193" y="53"/>
                  </a:lnTo>
                  <a:lnTo>
                    <a:pt x="189" y="49"/>
                  </a:lnTo>
                  <a:lnTo>
                    <a:pt x="182" y="45"/>
                  </a:lnTo>
                  <a:lnTo>
                    <a:pt x="178" y="41"/>
                  </a:lnTo>
                  <a:lnTo>
                    <a:pt x="172" y="37"/>
                  </a:lnTo>
                  <a:lnTo>
                    <a:pt x="168" y="34"/>
                  </a:lnTo>
                  <a:lnTo>
                    <a:pt x="162" y="30"/>
                  </a:lnTo>
                  <a:lnTo>
                    <a:pt x="158" y="26"/>
                  </a:lnTo>
                  <a:lnTo>
                    <a:pt x="154" y="22"/>
                  </a:lnTo>
                  <a:lnTo>
                    <a:pt x="148" y="18"/>
                  </a:lnTo>
                  <a:lnTo>
                    <a:pt x="143" y="14"/>
                  </a:lnTo>
                  <a:lnTo>
                    <a:pt x="137" y="10"/>
                  </a:lnTo>
                  <a:lnTo>
                    <a:pt x="133" y="6"/>
                  </a:lnTo>
                  <a:lnTo>
                    <a:pt x="129" y="4"/>
                  </a:lnTo>
                  <a:lnTo>
                    <a:pt x="123" y="0"/>
                  </a:lnTo>
                  <a:lnTo>
                    <a:pt x="119" y="0"/>
                  </a:lnTo>
                  <a:lnTo>
                    <a:pt x="111" y="0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96" y="22"/>
                  </a:lnTo>
                  <a:lnTo>
                    <a:pt x="98" y="26"/>
                  </a:lnTo>
                  <a:lnTo>
                    <a:pt x="98" y="30"/>
                  </a:lnTo>
                  <a:lnTo>
                    <a:pt x="98" y="34"/>
                  </a:lnTo>
                  <a:lnTo>
                    <a:pt x="98" y="41"/>
                  </a:lnTo>
                  <a:lnTo>
                    <a:pt x="98" y="45"/>
                  </a:lnTo>
                  <a:lnTo>
                    <a:pt x="98" y="49"/>
                  </a:lnTo>
                  <a:lnTo>
                    <a:pt x="98" y="53"/>
                  </a:lnTo>
                  <a:lnTo>
                    <a:pt x="100" y="59"/>
                  </a:lnTo>
                  <a:lnTo>
                    <a:pt x="100" y="63"/>
                  </a:lnTo>
                  <a:lnTo>
                    <a:pt x="100" y="67"/>
                  </a:lnTo>
                  <a:lnTo>
                    <a:pt x="100" y="71"/>
                  </a:lnTo>
                  <a:lnTo>
                    <a:pt x="100" y="76"/>
                  </a:lnTo>
                  <a:lnTo>
                    <a:pt x="100" y="82"/>
                  </a:lnTo>
                  <a:lnTo>
                    <a:pt x="102" y="86"/>
                  </a:lnTo>
                  <a:lnTo>
                    <a:pt x="102" y="90"/>
                  </a:lnTo>
                  <a:lnTo>
                    <a:pt x="102" y="94"/>
                  </a:lnTo>
                  <a:lnTo>
                    <a:pt x="102" y="100"/>
                  </a:lnTo>
                  <a:lnTo>
                    <a:pt x="102" y="104"/>
                  </a:lnTo>
                  <a:lnTo>
                    <a:pt x="102" y="108"/>
                  </a:lnTo>
                  <a:lnTo>
                    <a:pt x="104" y="113"/>
                  </a:lnTo>
                  <a:lnTo>
                    <a:pt x="104" y="117"/>
                  </a:lnTo>
                  <a:lnTo>
                    <a:pt x="104" y="123"/>
                  </a:lnTo>
                  <a:lnTo>
                    <a:pt x="104" y="127"/>
                  </a:lnTo>
                  <a:lnTo>
                    <a:pt x="104" y="131"/>
                  </a:lnTo>
                  <a:lnTo>
                    <a:pt x="104" y="135"/>
                  </a:lnTo>
                  <a:lnTo>
                    <a:pt x="106" y="141"/>
                  </a:lnTo>
                  <a:lnTo>
                    <a:pt x="106" y="146"/>
                  </a:lnTo>
                  <a:lnTo>
                    <a:pt x="106" y="150"/>
                  </a:lnTo>
                  <a:lnTo>
                    <a:pt x="106" y="154"/>
                  </a:lnTo>
                  <a:lnTo>
                    <a:pt x="108" y="156"/>
                  </a:lnTo>
                  <a:lnTo>
                    <a:pt x="111" y="160"/>
                  </a:lnTo>
                  <a:lnTo>
                    <a:pt x="111" y="164"/>
                  </a:lnTo>
                  <a:lnTo>
                    <a:pt x="108" y="168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4" y="174"/>
                  </a:lnTo>
                  <a:lnTo>
                    <a:pt x="78" y="174"/>
                  </a:lnTo>
                  <a:lnTo>
                    <a:pt x="76" y="174"/>
                  </a:lnTo>
                  <a:lnTo>
                    <a:pt x="59" y="174"/>
                  </a:lnTo>
                  <a:lnTo>
                    <a:pt x="55" y="174"/>
                  </a:lnTo>
                  <a:lnTo>
                    <a:pt x="49" y="174"/>
                  </a:lnTo>
                  <a:lnTo>
                    <a:pt x="47" y="174"/>
                  </a:lnTo>
                  <a:lnTo>
                    <a:pt x="47" y="172"/>
                  </a:lnTo>
                  <a:lnTo>
                    <a:pt x="47" y="170"/>
                  </a:lnTo>
                  <a:lnTo>
                    <a:pt x="47" y="170"/>
                  </a:lnTo>
                  <a:lnTo>
                    <a:pt x="45" y="172"/>
                  </a:lnTo>
                  <a:lnTo>
                    <a:pt x="45" y="172"/>
                  </a:lnTo>
                  <a:lnTo>
                    <a:pt x="45" y="174"/>
                  </a:lnTo>
                  <a:lnTo>
                    <a:pt x="45" y="174"/>
                  </a:lnTo>
                  <a:lnTo>
                    <a:pt x="43" y="174"/>
                  </a:lnTo>
                  <a:lnTo>
                    <a:pt x="41" y="176"/>
                  </a:lnTo>
                  <a:lnTo>
                    <a:pt x="37" y="176"/>
                  </a:lnTo>
                  <a:lnTo>
                    <a:pt x="35" y="176"/>
                  </a:lnTo>
                  <a:lnTo>
                    <a:pt x="33" y="176"/>
                  </a:lnTo>
                  <a:lnTo>
                    <a:pt x="33" y="174"/>
                  </a:lnTo>
                  <a:lnTo>
                    <a:pt x="30" y="174"/>
                  </a:lnTo>
                  <a:lnTo>
                    <a:pt x="28" y="174"/>
                  </a:lnTo>
                  <a:lnTo>
                    <a:pt x="26" y="174"/>
                  </a:lnTo>
                  <a:lnTo>
                    <a:pt x="24" y="174"/>
                  </a:lnTo>
                  <a:lnTo>
                    <a:pt x="24" y="176"/>
                  </a:lnTo>
                  <a:lnTo>
                    <a:pt x="22" y="178"/>
                  </a:lnTo>
                  <a:lnTo>
                    <a:pt x="22" y="180"/>
                  </a:lnTo>
                  <a:lnTo>
                    <a:pt x="20" y="180"/>
                  </a:lnTo>
                  <a:lnTo>
                    <a:pt x="20" y="178"/>
                  </a:lnTo>
                  <a:lnTo>
                    <a:pt x="18" y="176"/>
                  </a:lnTo>
                  <a:lnTo>
                    <a:pt x="14" y="172"/>
                  </a:lnTo>
                  <a:lnTo>
                    <a:pt x="12" y="172"/>
                  </a:lnTo>
                  <a:lnTo>
                    <a:pt x="12" y="170"/>
                  </a:lnTo>
                  <a:lnTo>
                    <a:pt x="10" y="172"/>
                  </a:lnTo>
                  <a:lnTo>
                    <a:pt x="10" y="174"/>
                  </a:lnTo>
                  <a:lnTo>
                    <a:pt x="8" y="174"/>
                  </a:lnTo>
                  <a:lnTo>
                    <a:pt x="8" y="176"/>
                  </a:lnTo>
                  <a:lnTo>
                    <a:pt x="6" y="178"/>
                  </a:lnTo>
                  <a:lnTo>
                    <a:pt x="6" y="180"/>
                  </a:lnTo>
                  <a:lnTo>
                    <a:pt x="6" y="183"/>
                  </a:lnTo>
                  <a:lnTo>
                    <a:pt x="6" y="185"/>
                  </a:lnTo>
                  <a:lnTo>
                    <a:pt x="4" y="187"/>
                  </a:lnTo>
                  <a:lnTo>
                    <a:pt x="2" y="187"/>
                  </a:lnTo>
                  <a:lnTo>
                    <a:pt x="2" y="187"/>
                  </a:lnTo>
                  <a:lnTo>
                    <a:pt x="0" y="187"/>
                  </a:lnTo>
                  <a:lnTo>
                    <a:pt x="2" y="189"/>
                  </a:lnTo>
                  <a:lnTo>
                    <a:pt x="0" y="191"/>
                  </a:lnTo>
                  <a:lnTo>
                    <a:pt x="0" y="193"/>
                  </a:lnTo>
                  <a:lnTo>
                    <a:pt x="2" y="195"/>
                  </a:lnTo>
                  <a:lnTo>
                    <a:pt x="2" y="195"/>
                  </a:lnTo>
                  <a:lnTo>
                    <a:pt x="2" y="197"/>
                  </a:lnTo>
                  <a:lnTo>
                    <a:pt x="4" y="197"/>
                  </a:lnTo>
                  <a:lnTo>
                    <a:pt x="4" y="199"/>
                  </a:lnTo>
                  <a:lnTo>
                    <a:pt x="4" y="201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2" y="205"/>
                  </a:lnTo>
                  <a:lnTo>
                    <a:pt x="2" y="207"/>
                  </a:lnTo>
                  <a:lnTo>
                    <a:pt x="4" y="209"/>
                  </a:lnTo>
                  <a:lnTo>
                    <a:pt x="6" y="211"/>
                  </a:lnTo>
                  <a:lnTo>
                    <a:pt x="6" y="211"/>
                  </a:lnTo>
                  <a:lnTo>
                    <a:pt x="6" y="213"/>
                  </a:lnTo>
                  <a:lnTo>
                    <a:pt x="6" y="213"/>
                  </a:lnTo>
                  <a:lnTo>
                    <a:pt x="6" y="213"/>
                  </a:lnTo>
                  <a:lnTo>
                    <a:pt x="6" y="213"/>
                  </a:lnTo>
                  <a:lnTo>
                    <a:pt x="8" y="211"/>
                  </a:lnTo>
                  <a:lnTo>
                    <a:pt x="8" y="213"/>
                  </a:lnTo>
                  <a:lnTo>
                    <a:pt x="10" y="213"/>
                  </a:lnTo>
                  <a:lnTo>
                    <a:pt x="10" y="213"/>
                  </a:lnTo>
                  <a:lnTo>
                    <a:pt x="10" y="215"/>
                  </a:lnTo>
                  <a:lnTo>
                    <a:pt x="10" y="215"/>
                  </a:lnTo>
                  <a:lnTo>
                    <a:pt x="12" y="217"/>
                  </a:lnTo>
                  <a:lnTo>
                    <a:pt x="12" y="220"/>
                  </a:lnTo>
                  <a:lnTo>
                    <a:pt x="12" y="220"/>
                  </a:lnTo>
                  <a:lnTo>
                    <a:pt x="12" y="220"/>
                  </a:lnTo>
                  <a:lnTo>
                    <a:pt x="12" y="222"/>
                  </a:lnTo>
                  <a:lnTo>
                    <a:pt x="12" y="224"/>
                  </a:lnTo>
                  <a:lnTo>
                    <a:pt x="12" y="226"/>
                  </a:lnTo>
                  <a:lnTo>
                    <a:pt x="12" y="228"/>
                  </a:lnTo>
                  <a:lnTo>
                    <a:pt x="12" y="228"/>
                  </a:lnTo>
                  <a:lnTo>
                    <a:pt x="12" y="230"/>
                  </a:lnTo>
                  <a:lnTo>
                    <a:pt x="12" y="230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2" y="234"/>
                  </a:lnTo>
                  <a:lnTo>
                    <a:pt x="10" y="234"/>
                  </a:lnTo>
                  <a:lnTo>
                    <a:pt x="10" y="234"/>
                  </a:lnTo>
                  <a:lnTo>
                    <a:pt x="12" y="236"/>
                  </a:lnTo>
                  <a:lnTo>
                    <a:pt x="14" y="238"/>
                  </a:lnTo>
                  <a:lnTo>
                    <a:pt x="14" y="238"/>
                  </a:lnTo>
                  <a:lnTo>
                    <a:pt x="16" y="238"/>
                  </a:lnTo>
                  <a:lnTo>
                    <a:pt x="16" y="236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20" y="234"/>
                  </a:lnTo>
                  <a:lnTo>
                    <a:pt x="20" y="236"/>
                  </a:lnTo>
                  <a:lnTo>
                    <a:pt x="22" y="238"/>
                  </a:lnTo>
                  <a:lnTo>
                    <a:pt x="22" y="240"/>
                  </a:lnTo>
                  <a:lnTo>
                    <a:pt x="22" y="240"/>
                  </a:lnTo>
                  <a:lnTo>
                    <a:pt x="24" y="240"/>
                  </a:lnTo>
                  <a:lnTo>
                    <a:pt x="24" y="240"/>
                  </a:lnTo>
                  <a:lnTo>
                    <a:pt x="24" y="240"/>
                  </a:lnTo>
                  <a:lnTo>
                    <a:pt x="24" y="238"/>
                  </a:lnTo>
                  <a:lnTo>
                    <a:pt x="24" y="238"/>
                  </a:lnTo>
                  <a:lnTo>
                    <a:pt x="26" y="236"/>
                  </a:lnTo>
                  <a:lnTo>
                    <a:pt x="28" y="234"/>
                  </a:lnTo>
                  <a:lnTo>
                    <a:pt x="28" y="234"/>
                  </a:lnTo>
                  <a:lnTo>
                    <a:pt x="30" y="234"/>
                  </a:lnTo>
                  <a:lnTo>
                    <a:pt x="33" y="234"/>
                  </a:lnTo>
                  <a:lnTo>
                    <a:pt x="35" y="236"/>
                  </a:lnTo>
                  <a:lnTo>
                    <a:pt x="39" y="238"/>
                  </a:lnTo>
                  <a:lnTo>
                    <a:pt x="39" y="238"/>
                  </a:lnTo>
                  <a:lnTo>
                    <a:pt x="39" y="238"/>
                  </a:lnTo>
                  <a:lnTo>
                    <a:pt x="41" y="236"/>
                  </a:lnTo>
                  <a:lnTo>
                    <a:pt x="41" y="234"/>
                  </a:lnTo>
                  <a:lnTo>
                    <a:pt x="43" y="234"/>
                  </a:lnTo>
                  <a:lnTo>
                    <a:pt x="45" y="234"/>
                  </a:lnTo>
                  <a:lnTo>
                    <a:pt x="45" y="234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5" y="230"/>
                  </a:lnTo>
                  <a:lnTo>
                    <a:pt x="45" y="230"/>
                  </a:lnTo>
                  <a:lnTo>
                    <a:pt x="45" y="230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9" y="230"/>
                  </a:lnTo>
                  <a:lnTo>
                    <a:pt x="51" y="230"/>
                  </a:lnTo>
                  <a:lnTo>
                    <a:pt x="51" y="232"/>
                  </a:lnTo>
                  <a:lnTo>
                    <a:pt x="51" y="234"/>
                  </a:lnTo>
                  <a:lnTo>
                    <a:pt x="53" y="236"/>
                  </a:lnTo>
                  <a:lnTo>
                    <a:pt x="53" y="240"/>
                  </a:lnTo>
                  <a:lnTo>
                    <a:pt x="53" y="242"/>
                  </a:lnTo>
                  <a:lnTo>
                    <a:pt x="53" y="244"/>
                  </a:lnTo>
                  <a:lnTo>
                    <a:pt x="55" y="244"/>
                  </a:lnTo>
                  <a:lnTo>
                    <a:pt x="55" y="244"/>
                  </a:lnTo>
                  <a:lnTo>
                    <a:pt x="55" y="244"/>
                  </a:lnTo>
                  <a:lnTo>
                    <a:pt x="57" y="246"/>
                  </a:lnTo>
                  <a:lnTo>
                    <a:pt x="57" y="246"/>
                  </a:lnTo>
                  <a:lnTo>
                    <a:pt x="57" y="248"/>
                  </a:lnTo>
                  <a:lnTo>
                    <a:pt x="59" y="248"/>
                  </a:lnTo>
                  <a:lnTo>
                    <a:pt x="61" y="248"/>
                  </a:lnTo>
                  <a:lnTo>
                    <a:pt x="61" y="250"/>
                  </a:lnTo>
                  <a:lnTo>
                    <a:pt x="61" y="250"/>
                  </a:lnTo>
                  <a:lnTo>
                    <a:pt x="59" y="250"/>
                  </a:lnTo>
                  <a:lnTo>
                    <a:pt x="59" y="250"/>
                  </a:lnTo>
                  <a:lnTo>
                    <a:pt x="59" y="252"/>
                  </a:lnTo>
                  <a:lnTo>
                    <a:pt x="57" y="252"/>
                  </a:lnTo>
                  <a:lnTo>
                    <a:pt x="55" y="254"/>
                  </a:lnTo>
                  <a:lnTo>
                    <a:pt x="55" y="257"/>
                  </a:lnTo>
                  <a:lnTo>
                    <a:pt x="57" y="257"/>
                  </a:lnTo>
                  <a:lnTo>
                    <a:pt x="57" y="257"/>
                  </a:lnTo>
                  <a:lnTo>
                    <a:pt x="57" y="257"/>
                  </a:lnTo>
                  <a:lnTo>
                    <a:pt x="59" y="254"/>
                  </a:lnTo>
                  <a:lnTo>
                    <a:pt x="59" y="257"/>
                  </a:lnTo>
                  <a:lnTo>
                    <a:pt x="61" y="257"/>
                  </a:lnTo>
                  <a:lnTo>
                    <a:pt x="61" y="257"/>
                  </a:lnTo>
                  <a:lnTo>
                    <a:pt x="61" y="259"/>
                  </a:lnTo>
                  <a:lnTo>
                    <a:pt x="61" y="259"/>
                  </a:lnTo>
                  <a:lnTo>
                    <a:pt x="61" y="261"/>
                  </a:lnTo>
                  <a:lnTo>
                    <a:pt x="61" y="263"/>
                  </a:lnTo>
                  <a:lnTo>
                    <a:pt x="61" y="265"/>
                  </a:lnTo>
                  <a:lnTo>
                    <a:pt x="63" y="267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71"/>
                  </a:lnTo>
                  <a:lnTo>
                    <a:pt x="67" y="271"/>
                  </a:lnTo>
                  <a:lnTo>
                    <a:pt x="67" y="271"/>
                  </a:lnTo>
                  <a:lnTo>
                    <a:pt x="67" y="271"/>
                  </a:lnTo>
                  <a:lnTo>
                    <a:pt x="69" y="271"/>
                  </a:lnTo>
                  <a:lnTo>
                    <a:pt x="72" y="269"/>
                  </a:lnTo>
                  <a:lnTo>
                    <a:pt x="72" y="267"/>
                  </a:lnTo>
                  <a:lnTo>
                    <a:pt x="74" y="267"/>
                  </a:lnTo>
                  <a:lnTo>
                    <a:pt x="74" y="267"/>
                  </a:lnTo>
                  <a:lnTo>
                    <a:pt x="76" y="267"/>
                  </a:lnTo>
                  <a:lnTo>
                    <a:pt x="76" y="267"/>
                  </a:lnTo>
                  <a:lnTo>
                    <a:pt x="76" y="269"/>
                  </a:lnTo>
                  <a:lnTo>
                    <a:pt x="76" y="269"/>
                  </a:lnTo>
                  <a:lnTo>
                    <a:pt x="78" y="269"/>
                  </a:lnTo>
                  <a:lnTo>
                    <a:pt x="80" y="271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2" y="269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86" y="269"/>
                  </a:lnTo>
                  <a:lnTo>
                    <a:pt x="86" y="269"/>
                  </a:lnTo>
                  <a:lnTo>
                    <a:pt x="88" y="269"/>
                  </a:lnTo>
                  <a:lnTo>
                    <a:pt x="88" y="267"/>
                  </a:lnTo>
                  <a:lnTo>
                    <a:pt x="88" y="265"/>
                  </a:lnTo>
                  <a:lnTo>
                    <a:pt x="88" y="265"/>
                  </a:lnTo>
                  <a:lnTo>
                    <a:pt x="88" y="263"/>
                  </a:lnTo>
                  <a:lnTo>
                    <a:pt x="88" y="263"/>
                  </a:lnTo>
                  <a:lnTo>
                    <a:pt x="90" y="265"/>
                  </a:lnTo>
                  <a:lnTo>
                    <a:pt x="90" y="265"/>
                  </a:lnTo>
                  <a:lnTo>
                    <a:pt x="92" y="265"/>
                  </a:lnTo>
                  <a:lnTo>
                    <a:pt x="92" y="265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94" y="263"/>
                  </a:lnTo>
                  <a:lnTo>
                    <a:pt x="94" y="265"/>
                  </a:lnTo>
                  <a:lnTo>
                    <a:pt x="96" y="265"/>
                  </a:lnTo>
                  <a:lnTo>
                    <a:pt x="96" y="267"/>
                  </a:lnTo>
                  <a:lnTo>
                    <a:pt x="96" y="267"/>
                  </a:lnTo>
                  <a:lnTo>
                    <a:pt x="96" y="269"/>
                  </a:lnTo>
                  <a:lnTo>
                    <a:pt x="94" y="269"/>
                  </a:lnTo>
                  <a:lnTo>
                    <a:pt x="94" y="269"/>
                  </a:lnTo>
                  <a:lnTo>
                    <a:pt x="96" y="271"/>
                  </a:lnTo>
                  <a:lnTo>
                    <a:pt x="96" y="271"/>
                  </a:lnTo>
                  <a:lnTo>
                    <a:pt x="98" y="271"/>
                  </a:lnTo>
                  <a:lnTo>
                    <a:pt x="98" y="271"/>
                  </a:lnTo>
                  <a:lnTo>
                    <a:pt x="100" y="269"/>
                  </a:lnTo>
                  <a:lnTo>
                    <a:pt x="100" y="269"/>
                  </a:lnTo>
                  <a:lnTo>
                    <a:pt x="100" y="269"/>
                  </a:lnTo>
                  <a:lnTo>
                    <a:pt x="100" y="267"/>
                  </a:lnTo>
                  <a:lnTo>
                    <a:pt x="104" y="267"/>
                  </a:lnTo>
                  <a:lnTo>
                    <a:pt x="106" y="267"/>
                  </a:lnTo>
                  <a:lnTo>
                    <a:pt x="106" y="267"/>
                  </a:lnTo>
                  <a:lnTo>
                    <a:pt x="106" y="265"/>
                  </a:lnTo>
                  <a:lnTo>
                    <a:pt x="106" y="265"/>
                  </a:lnTo>
                  <a:lnTo>
                    <a:pt x="106" y="263"/>
                  </a:lnTo>
                  <a:lnTo>
                    <a:pt x="108" y="261"/>
                  </a:lnTo>
                  <a:lnTo>
                    <a:pt x="108" y="257"/>
                  </a:lnTo>
                  <a:lnTo>
                    <a:pt x="106" y="254"/>
                  </a:lnTo>
                  <a:lnTo>
                    <a:pt x="108" y="254"/>
                  </a:lnTo>
                  <a:lnTo>
                    <a:pt x="108" y="254"/>
                  </a:lnTo>
                  <a:lnTo>
                    <a:pt x="111" y="252"/>
                  </a:lnTo>
                  <a:lnTo>
                    <a:pt x="111" y="248"/>
                  </a:lnTo>
                  <a:lnTo>
                    <a:pt x="111" y="246"/>
                  </a:lnTo>
                  <a:lnTo>
                    <a:pt x="111" y="246"/>
                  </a:lnTo>
                  <a:lnTo>
                    <a:pt x="111" y="244"/>
                  </a:lnTo>
                  <a:lnTo>
                    <a:pt x="111" y="244"/>
                  </a:lnTo>
                  <a:lnTo>
                    <a:pt x="111" y="242"/>
                  </a:lnTo>
                  <a:lnTo>
                    <a:pt x="111" y="240"/>
                  </a:lnTo>
                  <a:lnTo>
                    <a:pt x="111" y="240"/>
                  </a:lnTo>
                  <a:lnTo>
                    <a:pt x="113" y="238"/>
                  </a:lnTo>
                  <a:lnTo>
                    <a:pt x="113" y="238"/>
                  </a:lnTo>
                  <a:lnTo>
                    <a:pt x="117" y="238"/>
                  </a:lnTo>
                  <a:lnTo>
                    <a:pt x="119" y="238"/>
                  </a:lnTo>
                  <a:lnTo>
                    <a:pt x="121" y="236"/>
                  </a:lnTo>
                  <a:lnTo>
                    <a:pt x="121" y="236"/>
                  </a:lnTo>
                  <a:lnTo>
                    <a:pt x="123" y="236"/>
                  </a:lnTo>
                  <a:lnTo>
                    <a:pt x="123" y="234"/>
                  </a:lnTo>
                  <a:lnTo>
                    <a:pt x="123" y="232"/>
                  </a:lnTo>
                  <a:lnTo>
                    <a:pt x="125" y="232"/>
                  </a:lnTo>
                  <a:lnTo>
                    <a:pt x="125" y="228"/>
                  </a:lnTo>
                  <a:lnTo>
                    <a:pt x="125" y="228"/>
                  </a:lnTo>
                  <a:lnTo>
                    <a:pt x="125" y="226"/>
                  </a:lnTo>
                  <a:lnTo>
                    <a:pt x="123" y="226"/>
                  </a:lnTo>
                  <a:lnTo>
                    <a:pt x="127" y="224"/>
                  </a:lnTo>
                  <a:lnTo>
                    <a:pt x="127" y="222"/>
                  </a:lnTo>
                  <a:lnTo>
                    <a:pt x="127" y="220"/>
                  </a:lnTo>
                  <a:lnTo>
                    <a:pt x="127" y="217"/>
                  </a:lnTo>
                  <a:lnTo>
                    <a:pt x="127" y="217"/>
                  </a:lnTo>
                  <a:lnTo>
                    <a:pt x="127" y="215"/>
                  </a:lnTo>
                  <a:lnTo>
                    <a:pt x="129" y="215"/>
                  </a:lnTo>
                  <a:lnTo>
                    <a:pt x="129" y="213"/>
                  </a:lnTo>
                  <a:lnTo>
                    <a:pt x="131" y="213"/>
                  </a:lnTo>
                  <a:lnTo>
                    <a:pt x="133" y="211"/>
                  </a:lnTo>
                  <a:lnTo>
                    <a:pt x="133" y="213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1" y="215"/>
                  </a:lnTo>
                  <a:lnTo>
                    <a:pt x="143" y="213"/>
                  </a:lnTo>
                  <a:lnTo>
                    <a:pt x="143" y="211"/>
                  </a:lnTo>
                  <a:lnTo>
                    <a:pt x="143" y="209"/>
                  </a:lnTo>
                  <a:lnTo>
                    <a:pt x="143" y="207"/>
                  </a:lnTo>
                  <a:lnTo>
                    <a:pt x="145" y="207"/>
                  </a:lnTo>
                  <a:lnTo>
                    <a:pt x="148" y="207"/>
                  </a:lnTo>
                  <a:lnTo>
                    <a:pt x="148" y="207"/>
                  </a:lnTo>
                  <a:lnTo>
                    <a:pt x="150" y="207"/>
                  </a:lnTo>
                  <a:lnTo>
                    <a:pt x="150" y="207"/>
                  </a:lnTo>
                  <a:lnTo>
                    <a:pt x="150" y="205"/>
                  </a:lnTo>
                  <a:lnTo>
                    <a:pt x="150" y="205"/>
                  </a:lnTo>
                  <a:lnTo>
                    <a:pt x="150" y="201"/>
                  </a:lnTo>
                  <a:lnTo>
                    <a:pt x="152" y="199"/>
                  </a:lnTo>
                  <a:lnTo>
                    <a:pt x="154" y="197"/>
                  </a:lnTo>
                  <a:lnTo>
                    <a:pt x="156" y="197"/>
                  </a:lnTo>
                  <a:lnTo>
                    <a:pt x="158" y="197"/>
                  </a:lnTo>
                  <a:lnTo>
                    <a:pt x="162" y="199"/>
                  </a:lnTo>
                  <a:lnTo>
                    <a:pt x="164" y="197"/>
                  </a:lnTo>
                  <a:lnTo>
                    <a:pt x="164" y="193"/>
                  </a:lnTo>
                  <a:lnTo>
                    <a:pt x="166" y="193"/>
                  </a:lnTo>
                  <a:lnTo>
                    <a:pt x="168" y="193"/>
                  </a:lnTo>
                  <a:lnTo>
                    <a:pt x="170" y="191"/>
                  </a:lnTo>
                  <a:lnTo>
                    <a:pt x="170" y="191"/>
                  </a:lnTo>
                  <a:lnTo>
                    <a:pt x="172" y="189"/>
                  </a:lnTo>
                  <a:lnTo>
                    <a:pt x="176" y="187"/>
                  </a:lnTo>
                  <a:lnTo>
                    <a:pt x="180" y="187"/>
                  </a:lnTo>
                  <a:lnTo>
                    <a:pt x="180" y="187"/>
                  </a:lnTo>
                  <a:lnTo>
                    <a:pt x="182" y="185"/>
                  </a:lnTo>
                  <a:lnTo>
                    <a:pt x="184" y="183"/>
                  </a:lnTo>
                  <a:lnTo>
                    <a:pt x="187" y="180"/>
                  </a:lnTo>
                  <a:lnTo>
                    <a:pt x="189" y="180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91" y="183"/>
                  </a:lnTo>
                  <a:lnTo>
                    <a:pt x="193" y="183"/>
                  </a:lnTo>
                  <a:lnTo>
                    <a:pt x="197" y="183"/>
                  </a:lnTo>
                  <a:lnTo>
                    <a:pt x="199" y="185"/>
                  </a:lnTo>
                  <a:lnTo>
                    <a:pt x="201" y="183"/>
                  </a:lnTo>
                  <a:lnTo>
                    <a:pt x="201" y="183"/>
                  </a:lnTo>
                  <a:lnTo>
                    <a:pt x="203" y="183"/>
                  </a:lnTo>
                  <a:lnTo>
                    <a:pt x="207" y="185"/>
                  </a:lnTo>
                  <a:lnTo>
                    <a:pt x="211" y="183"/>
                  </a:lnTo>
                  <a:lnTo>
                    <a:pt x="211" y="183"/>
                  </a:lnTo>
                  <a:lnTo>
                    <a:pt x="215" y="180"/>
                  </a:lnTo>
                  <a:lnTo>
                    <a:pt x="217" y="178"/>
                  </a:lnTo>
                  <a:lnTo>
                    <a:pt x="221" y="178"/>
                  </a:lnTo>
                  <a:lnTo>
                    <a:pt x="226" y="176"/>
                  </a:lnTo>
                  <a:lnTo>
                    <a:pt x="230" y="176"/>
                  </a:lnTo>
                  <a:lnTo>
                    <a:pt x="236" y="176"/>
                  </a:lnTo>
                  <a:lnTo>
                    <a:pt x="240" y="176"/>
                  </a:lnTo>
                  <a:lnTo>
                    <a:pt x="244" y="176"/>
                  </a:lnTo>
                  <a:lnTo>
                    <a:pt x="244" y="174"/>
                  </a:lnTo>
                  <a:lnTo>
                    <a:pt x="246" y="174"/>
                  </a:lnTo>
                  <a:lnTo>
                    <a:pt x="246" y="174"/>
                  </a:lnTo>
                  <a:lnTo>
                    <a:pt x="250" y="176"/>
                  </a:lnTo>
                  <a:lnTo>
                    <a:pt x="252" y="176"/>
                  </a:lnTo>
                  <a:lnTo>
                    <a:pt x="252" y="174"/>
                  </a:lnTo>
                  <a:lnTo>
                    <a:pt x="256" y="170"/>
                  </a:lnTo>
                  <a:lnTo>
                    <a:pt x="258" y="170"/>
                  </a:lnTo>
                  <a:lnTo>
                    <a:pt x="258" y="170"/>
                  </a:lnTo>
                  <a:lnTo>
                    <a:pt x="258" y="168"/>
                  </a:lnTo>
                  <a:lnTo>
                    <a:pt x="258" y="168"/>
                  </a:lnTo>
                  <a:lnTo>
                    <a:pt x="258" y="166"/>
                  </a:lnTo>
                  <a:lnTo>
                    <a:pt x="260" y="166"/>
                  </a:lnTo>
                  <a:lnTo>
                    <a:pt x="260" y="164"/>
                  </a:lnTo>
                  <a:lnTo>
                    <a:pt x="260" y="160"/>
                  </a:lnTo>
                  <a:lnTo>
                    <a:pt x="262" y="158"/>
                  </a:lnTo>
                  <a:lnTo>
                    <a:pt x="265" y="154"/>
                  </a:lnTo>
                  <a:lnTo>
                    <a:pt x="265" y="150"/>
                  </a:lnTo>
                  <a:lnTo>
                    <a:pt x="265" y="148"/>
                  </a:lnTo>
                  <a:lnTo>
                    <a:pt x="265" y="146"/>
                  </a:lnTo>
                  <a:lnTo>
                    <a:pt x="265" y="141"/>
                  </a:lnTo>
                  <a:lnTo>
                    <a:pt x="265" y="135"/>
                  </a:lnTo>
                  <a:lnTo>
                    <a:pt x="265" y="131"/>
                  </a:lnTo>
                  <a:lnTo>
                    <a:pt x="265" y="125"/>
                  </a:lnTo>
                  <a:lnTo>
                    <a:pt x="265" y="121"/>
                  </a:lnTo>
                  <a:lnTo>
                    <a:pt x="265" y="115"/>
                  </a:lnTo>
                  <a:lnTo>
                    <a:pt x="265" y="111"/>
                  </a:lnTo>
                  <a:lnTo>
                    <a:pt x="265" y="106"/>
                  </a:lnTo>
                  <a:lnTo>
                    <a:pt x="260" y="10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68" name="Freeform 119">
              <a:extLst>
                <a:ext uri="{FF2B5EF4-FFF2-40B4-BE49-F238E27FC236}">
                  <a16:creationId xmlns:a16="http://schemas.microsoft.com/office/drawing/2014/main" id="{DB5F388C-E3D4-A548-A832-CC0E0D5238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2262" y="3739392"/>
              <a:ext cx="61796" cy="168751"/>
            </a:xfrm>
            <a:custGeom>
              <a:avLst/>
              <a:gdLst>
                <a:gd name="T0" fmla="*/ 33 w 52"/>
                <a:gd name="T1" fmla="*/ 49 h 142"/>
                <a:gd name="T2" fmla="*/ 35 w 52"/>
                <a:gd name="T3" fmla="*/ 47 h 142"/>
                <a:gd name="T4" fmla="*/ 33 w 52"/>
                <a:gd name="T5" fmla="*/ 47 h 142"/>
                <a:gd name="T6" fmla="*/ 33 w 52"/>
                <a:gd name="T7" fmla="*/ 49 h 142"/>
                <a:gd name="T8" fmla="*/ 52 w 52"/>
                <a:gd name="T9" fmla="*/ 100 h 142"/>
                <a:gd name="T10" fmla="*/ 45 w 52"/>
                <a:gd name="T11" fmla="*/ 88 h 142"/>
                <a:gd name="T12" fmla="*/ 37 w 52"/>
                <a:gd name="T13" fmla="*/ 76 h 142"/>
                <a:gd name="T14" fmla="*/ 31 w 52"/>
                <a:gd name="T15" fmla="*/ 72 h 142"/>
                <a:gd name="T16" fmla="*/ 31 w 52"/>
                <a:gd name="T17" fmla="*/ 59 h 142"/>
                <a:gd name="T18" fmla="*/ 29 w 52"/>
                <a:gd name="T19" fmla="*/ 51 h 142"/>
                <a:gd name="T20" fmla="*/ 31 w 52"/>
                <a:gd name="T21" fmla="*/ 45 h 142"/>
                <a:gd name="T22" fmla="*/ 37 w 52"/>
                <a:gd name="T23" fmla="*/ 39 h 142"/>
                <a:gd name="T24" fmla="*/ 37 w 52"/>
                <a:gd name="T25" fmla="*/ 37 h 142"/>
                <a:gd name="T26" fmla="*/ 35 w 52"/>
                <a:gd name="T27" fmla="*/ 35 h 142"/>
                <a:gd name="T28" fmla="*/ 33 w 52"/>
                <a:gd name="T29" fmla="*/ 31 h 142"/>
                <a:gd name="T30" fmla="*/ 33 w 52"/>
                <a:gd name="T31" fmla="*/ 24 h 142"/>
                <a:gd name="T32" fmla="*/ 33 w 52"/>
                <a:gd name="T33" fmla="*/ 20 h 142"/>
                <a:gd name="T34" fmla="*/ 33 w 52"/>
                <a:gd name="T35" fmla="*/ 14 h 142"/>
                <a:gd name="T36" fmla="*/ 29 w 52"/>
                <a:gd name="T37" fmla="*/ 6 h 142"/>
                <a:gd name="T38" fmla="*/ 23 w 52"/>
                <a:gd name="T39" fmla="*/ 2 h 142"/>
                <a:gd name="T40" fmla="*/ 23 w 52"/>
                <a:gd name="T41" fmla="*/ 4 h 142"/>
                <a:gd name="T42" fmla="*/ 19 w 52"/>
                <a:gd name="T43" fmla="*/ 4 h 142"/>
                <a:gd name="T44" fmla="*/ 13 w 52"/>
                <a:gd name="T45" fmla="*/ 2 h 142"/>
                <a:gd name="T46" fmla="*/ 6 w 52"/>
                <a:gd name="T47" fmla="*/ 0 h 142"/>
                <a:gd name="T48" fmla="*/ 6 w 52"/>
                <a:gd name="T49" fmla="*/ 2 h 142"/>
                <a:gd name="T50" fmla="*/ 9 w 52"/>
                <a:gd name="T51" fmla="*/ 4 h 142"/>
                <a:gd name="T52" fmla="*/ 11 w 52"/>
                <a:gd name="T53" fmla="*/ 4 h 142"/>
                <a:gd name="T54" fmla="*/ 13 w 52"/>
                <a:gd name="T55" fmla="*/ 10 h 142"/>
                <a:gd name="T56" fmla="*/ 17 w 52"/>
                <a:gd name="T57" fmla="*/ 14 h 142"/>
                <a:gd name="T58" fmla="*/ 19 w 52"/>
                <a:gd name="T59" fmla="*/ 20 h 142"/>
                <a:gd name="T60" fmla="*/ 13 w 52"/>
                <a:gd name="T61" fmla="*/ 26 h 142"/>
                <a:gd name="T62" fmla="*/ 13 w 52"/>
                <a:gd name="T63" fmla="*/ 29 h 142"/>
                <a:gd name="T64" fmla="*/ 11 w 52"/>
                <a:gd name="T65" fmla="*/ 37 h 142"/>
                <a:gd name="T66" fmla="*/ 11 w 52"/>
                <a:gd name="T67" fmla="*/ 41 h 142"/>
                <a:gd name="T68" fmla="*/ 11 w 52"/>
                <a:gd name="T69" fmla="*/ 49 h 142"/>
                <a:gd name="T70" fmla="*/ 15 w 52"/>
                <a:gd name="T71" fmla="*/ 53 h 142"/>
                <a:gd name="T72" fmla="*/ 11 w 52"/>
                <a:gd name="T73" fmla="*/ 57 h 142"/>
                <a:gd name="T74" fmla="*/ 6 w 52"/>
                <a:gd name="T75" fmla="*/ 63 h 142"/>
                <a:gd name="T76" fmla="*/ 6 w 52"/>
                <a:gd name="T77" fmla="*/ 70 h 142"/>
                <a:gd name="T78" fmla="*/ 4 w 52"/>
                <a:gd name="T79" fmla="*/ 74 h 142"/>
                <a:gd name="T80" fmla="*/ 0 w 52"/>
                <a:gd name="T81" fmla="*/ 78 h 142"/>
                <a:gd name="T82" fmla="*/ 2 w 52"/>
                <a:gd name="T83" fmla="*/ 80 h 142"/>
                <a:gd name="T84" fmla="*/ 4 w 52"/>
                <a:gd name="T85" fmla="*/ 82 h 142"/>
                <a:gd name="T86" fmla="*/ 6 w 52"/>
                <a:gd name="T87" fmla="*/ 84 h 142"/>
                <a:gd name="T88" fmla="*/ 9 w 52"/>
                <a:gd name="T89" fmla="*/ 84 h 142"/>
                <a:gd name="T90" fmla="*/ 17 w 52"/>
                <a:gd name="T91" fmla="*/ 94 h 142"/>
                <a:gd name="T92" fmla="*/ 21 w 52"/>
                <a:gd name="T93" fmla="*/ 92 h 142"/>
                <a:gd name="T94" fmla="*/ 27 w 52"/>
                <a:gd name="T95" fmla="*/ 92 h 142"/>
                <a:gd name="T96" fmla="*/ 31 w 52"/>
                <a:gd name="T97" fmla="*/ 100 h 142"/>
                <a:gd name="T98" fmla="*/ 29 w 52"/>
                <a:gd name="T99" fmla="*/ 111 h 142"/>
                <a:gd name="T100" fmla="*/ 25 w 52"/>
                <a:gd name="T101" fmla="*/ 117 h 142"/>
                <a:gd name="T102" fmla="*/ 27 w 52"/>
                <a:gd name="T103" fmla="*/ 123 h 142"/>
                <a:gd name="T104" fmla="*/ 27 w 52"/>
                <a:gd name="T105" fmla="*/ 125 h 142"/>
                <a:gd name="T106" fmla="*/ 35 w 52"/>
                <a:gd name="T107" fmla="*/ 135 h 142"/>
                <a:gd name="T108" fmla="*/ 37 w 52"/>
                <a:gd name="T109" fmla="*/ 140 h 142"/>
                <a:gd name="T110" fmla="*/ 39 w 52"/>
                <a:gd name="T111" fmla="*/ 142 h 142"/>
                <a:gd name="T112" fmla="*/ 41 w 52"/>
                <a:gd name="T113" fmla="*/ 135 h 142"/>
                <a:gd name="T114" fmla="*/ 39 w 52"/>
                <a:gd name="T115" fmla="*/ 129 h 142"/>
                <a:gd name="T116" fmla="*/ 43 w 52"/>
                <a:gd name="T117" fmla="*/ 123 h 142"/>
                <a:gd name="T118" fmla="*/ 50 w 52"/>
                <a:gd name="T119" fmla="*/ 121 h 142"/>
                <a:gd name="T120" fmla="*/ 52 w 52"/>
                <a:gd name="T121" fmla="*/ 10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2" h="142">
                  <a:moveTo>
                    <a:pt x="33" y="47"/>
                  </a:moveTo>
                  <a:lnTo>
                    <a:pt x="33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3" y="47"/>
                  </a:lnTo>
                  <a:close/>
                  <a:moveTo>
                    <a:pt x="33" y="47"/>
                  </a:moveTo>
                  <a:lnTo>
                    <a:pt x="31" y="47"/>
                  </a:lnTo>
                  <a:lnTo>
                    <a:pt x="31" y="47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close/>
                  <a:moveTo>
                    <a:pt x="52" y="100"/>
                  </a:moveTo>
                  <a:lnTo>
                    <a:pt x="52" y="100"/>
                  </a:lnTo>
                  <a:lnTo>
                    <a:pt x="52" y="96"/>
                  </a:lnTo>
                  <a:lnTo>
                    <a:pt x="50" y="92"/>
                  </a:lnTo>
                  <a:lnTo>
                    <a:pt x="45" y="88"/>
                  </a:lnTo>
                  <a:lnTo>
                    <a:pt x="43" y="86"/>
                  </a:lnTo>
                  <a:lnTo>
                    <a:pt x="41" y="82"/>
                  </a:lnTo>
                  <a:lnTo>
                    <a:pt x="39" y="78"/>
                  </a:lnTo>
                  <a:lnTo>
                    <a:pt x="37" y="76"/>
                  </a:lnTo>
                  <a:lnTo>
                    <a:pt x="35" y="76"/>
                  </a:lnTo>
                  <a:lnTo>
                    <a:pt x="33" y="74"/>
                  </a:lnTo>
                  <a:lnTo>
                    <a:pt x="31" y="74"/>
                  </a:lnTo>
                  <a:lnTo>
                    <a:pt x="31" y="72"/>
                  </a:lnTo>
                  <a:lnTo>
                    <a:pt x="31" y="70"/>
                  </a:lnTo>
                  <a:lnTo>
                    <a:pt x="31" y="68"/>
                  </a:lnTo>
                  <a:lnTo>
                    <a:pt x="31" y="63"/>
                  </a:lnTo>
                  <a:lnTo>
                    <a:pt x="31" y="59"/>
                  </a:lnTo>
                  <a:lnTo>
                    <a:pt x="31" y="57"/>
                  </a:lnTo>
                  <a:lnTo>
                    <a:pt x="29" y="55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9" y="49"/>
                  </a:lnTo>
                  <a:lnTo>
                    <a:pt x="31" y="47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39"/>
                  </a:lnTo>
                  <a:lnTo>
                    <a:pt x="37" y="39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29"/>
                  </a:lnTo>
                  <a:lnTo>
                    <a:pt x="33" y="26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6"/>
                  </a:lnTo>
                  <a:lnTo>
                    <a:pt x="33" y="14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19" y="4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6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3" y="12"/>
                  </a:lnTo>
                  <a:lnTo>
                    <a:pt x="15" y="12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17" y="16"/>
                  </a:lnTo>
                  <a:lnTo>
                    <a:pt x="17" y="18"/>
                  </a:lnTo>
                  <a:lnTo>
                    <a:pt x="17" y="20"/>
                  </a:lnTo>
                  <a:lnTo>
                    <a:pt x="19" y="20"/>
                  </a:lnTo>
                  <a:lnTo>
                    <a:pt x="19" y="22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3" y="29"/>
                  </a:lnTo>
                  <a:lnTo>
                    <a:pt x="13" y="31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41"/>
                  </a:lnTo>
                  <a:lnTo>
                    <a:pt x="13" y="41"/>
                  </a:lnTo>
                  <a:lnTo>
                    <a:pt x="13" y="43"/>
                  </a:lnTo>
                  <a:lnTo>
                    <a:pt x="13" y="45"/>
                  </a:lnTo>
                  <a:lnTo>
                    <a:pt x="11" y="49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5"/>
                  </a:lnTo>
                  <a:lnTo>
                    <a:pt x="13" y="55"/>
                  </a:lnTo>
                  <a:lnTo>
                    <a:pt x="13" y="57"/>
                  </a:lnTo>
                  <a:lnTo>
                    <a:pt x="11" y="57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61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4" y="70"/>
                  </a:lnTo>
                  <a:lnTo>
                    <a:pt x="4" y="72"/>
                  </a:lnTo>
                  <a:lnTo>
                    <a:pt x="4" y="74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4" y="80"/>
                  </a:lnTo>
                  <a:lnTo>
                    <a:pt x="4" y="82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9" y="84"/>
                  </a:lnTo>
                  <a:lnTo>
                    <a:pt x="9" y="82"/>
                  </a:lnTo>
                  <a:lnTo>
                    <a:pt x="9" y="84"/>
                  </a:lnTo>
                  <a:lnTo>
                    <a:pt x="11" y="84"/>
                  </a:lnTo>
                  <a:lnTo>
                    <a:pt x="13" y="90"/>
                  </a:lnTo>
                  <a:lnTo>
                    <a:pt x="15" y="92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9" y="94"/>
                  </a:lnTo>
                  <a:lnTo>
                    <a:pt x="21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5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9" y="94"/>
                  </a:lnTo>
                  <a:lnTo>
                    <a:pt x="31" y="98"/>
                  </a:lnTo>
                  <a:lnTo>
                    <a:pt x="31" y="100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9" y="109"/>
                  </a:lnTo>
                  <a:lnTo>
                    <a:pt x="29" y="111"/>
                  </a:lnTo>
                  <a:lnTo>
                    <a:pt x="27" y="113"/>
                  </a:lnTo>
                  <a:lnTo>
                    <a:pt x="27" y="115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7" y="121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9" y="127"/>
                  </a:lnTo>
                  <a:lnTo>
                    <a:pt x="31" y="129"/>
                  </a:lnTo>
                  <a:lnTo>
                    <a:pt x="33" y="131"/>
                  </a:lnTo>
                  <a:lnTo>
                    <a:pt x="35" y="135"/>
                  </a:lnTo>
                  <a:lnTo>
                    <a:pt x="37" y="135"/>
                  </a:lnTo>
                  <a:lnTo>
                    <a:pt x="37" y="135"/>
                  </a:lnTo>
                  <a:lnTo>
                    <a:pt x="39" y="138"/>
                  </a:lnTo>
                  <a:lnTo>
                    <a:pt x="37" y="140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2"/>
                  </a:lnTo>
                  <a:lnTo>
                    <a:pt x="39" y="142"/>
                  </a:lnTo>
                  <a:lnTo>
                    <a:pt x="39" y="142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1" y="135"/>
                  </a:lnTo>
                  <a:lnTo>
                    <a:pt x="41" y="133"/>
                  </a:lnTo>
                  <a:lnTo>
                    <a:pt x="39" y="131"/>
                  </a:lnTo>
                  <a:lnTo>
                    <a:pt x="39" y="131"/>
                  </a:lnTo>
                  <a:lnTo>
                    <a:pt x="39" y="129"/>
                  </a:lnTo>
                  <a:lnTo>
                    <a:pt x="41" y="127"/>
                  </a:lnTo>
                  <a:lnTo>
                    <a:pt x="41" y="125"/>
                  </a:lnTo>
                  <a:lnTo>
                    <a:pt x="41" y="125"/>
                  </a:lnTo>
                  <a:lnTo>
                    <a:pt x="43" y="123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0" y="115"/>
                  </a:lnTo>
                  <a:lnTo>
                    <a:pt x="52" y="111"/>
                  </a:lnTo>
                  <a:lnTo>
                    <a:pt x="50" y="107"/>
                  </a:lnTo>
                  <a:lnTo>
                    <a:pt x="52" y="103"/>
                  </a:lnTo>
                  <a:lnTo>
                    <a:pt x="52" y="10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69" name="Freeform 120">
              <a:extLst>
                <a:ext uri="{FF2B5EF4-FFF2-40B4-BE49-F238E27FC236}">
                  <a16:creationId xmlns:a16="http://schemas.microsoft.com/office/drawing/2014/main" id="{D7F91219-48EC-6543-A32C-191EE092CB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346" y="3797623"/>
              <a:ext cx="143795" cy="293532"/>
            </a:xfrm>
            <a:custGeom>
              <a:avLst/>
              <a:gdLst>
                <a:gd name="T0" fmla="*/ 110 w 121"/>
                <a:gd name="T1" fmla="*/ 84 h 247"/>
                <a:gd name="T2" fmla="*/ 88 w 121"/>
                <a:gd name="T3" fmla="*/ 21 h 247"/>
                <a:gd name="T4" fmla="*/ 88 w 121"/>
                <a:gd name="T5" fmla="*/ 25 h 247"/>
                <a:gd name="T6" fmla="*/ 117 w 121"/>
                <a:gd name="T7" fmla="*/ 35 h 247"/>
                <a:gd name="T8" fmla="*/ 113 w 121"/>
                <a:gd name="T9" fmla="*/ 14 h 247"/>
                <a:gd name="T10" fmla="*/ 104 w 121"/>
                <a:gd name="T11" fmla="*/ 2 h 247"/>
                <a:gd name="T12" fmla="*/ 100 w 121"/>
                <a:gd name="T13" fmla="*/ 4 h 247"/>
                <a:gd name="T14" fmla="*/ 96 w 121"/>
                <a:gd name="T15" fmla="*/ 10 h 247"/>
                <a:gd name="T16" fmla="*/ 92 w 121"/>
                <a:gd name="T17" fmla="*/ 25 h 247"/>
                <a:gd name="T18" fmla="*/ 86 w 121"/>
                <a:gd name="T19" fmla="*/ 29 h 247"/>
                <a:gd name="T20" fmla="*/ 80 w 121"/>
                <a:gd name="T21" fmla="*/ 31 h 247"/>
                <a:gd name="T22" fmla="*/ 82 w 121"/>
                <a:gd name="T23" fmla="*/ 35 h 247"/>
                <a:gd name="T24" fmla="*/ 80 w 121"/>
                <a:gd name="T25" fmla="*/ 47 h 247"/>
                <a:gd name="T26" fmla="*/ 73 w 121"/>
                <a:gd name="T27" fmla="*/ 54 h 247"/>
                <a:gd name="T28" fmla="*/ 73 w 121"/>
                <a:gd name="T29" fmla="*/ 49 h 247"/>
                <a:gd name="T30" fmla="*/ 69 w 121"/>
                <a:gd name="T31" fmla="*/ 49 h 247"/>
                <a:gd name="T32" fmla="*/ 67 w 121"/>
                <a:gd name="T33" fmla="*/ 58 h 247"/>
                <a:gd name="T34" fmla="*/ 65 w 121"/>
                <a:gd name="T35" fmla="*/ 62 h 247"/>
                <a:gd name="T36" fmla="*/ 59 w 121"/>
                <a:gd name="T37" fmla="*/ 60 h 247"/>
                <a:gd name="T38" fmla="*/ 53 w 121"/>
                <a:gd name="T39" fmla="*/ 68 h 247"/>
                <a:gd name="T40" fmla="*/ 51 w 121"/>
                <a:gd name="T41" fmla="*/ 68 h 247"/>
                <a:gd name="T42" fmla="*/ 43 w 121"/>
                <a:gd name="T43" fmla="*/ 68 h 247"/>
                <a:gd name="T44" fmla="*/ 41 w 121"/>
                <a:gd name="T45" fmla="*/ 72 h 247"/>
                <a:gd name="T46" fmla="*/ 34 w 121"/>
                <a:gd name="T47" fmla="*/ 72 h 247"/>
                <a:gd name="T48" fmla="*/ 24 w 121"/>
                <a:gd name="T49" fmla="*/ 76 h 247"/>
                <a:gd name="T50" fmla="*/ 22 w 121"/>
                <a:gd name="T51" fmla="*/ 84 h 247"/>
                <a:gd name="T52" fmla="*/ 14 w 121"/>
                <a:gd name="T53" fmla="*/ 107 h 247"/>
                <a:gd name="T54" fmla="*/ 18 w 121"/>
                <a:gd name="T55" fmla="*/ 123 h 247"/>
                <a:gd name="T56" fmla="*/ 20 w 121"/>
                <a:gd name="T57" fmla="*/ 138 h 247"/>
                <a:gd name="T58" fmla="*/ 16 w 121"/>
                <a:gd name="T59" fmla="*/ 152 h 247"/>
                <a:gd name="T60" fmla="*/ 8 w 121"/>
                <a:gd name="T61" fmla="*/ 167 h 247"/>
                <a:gd name="T62" fmla="*/ 2 w 121"/>
                <a:gd name="T63" fmla="*/ 177 h 247"/>
                <a:gd name="T64" fmla="*/ 0 w 121"/>
                <a:gd name="T65" fmla="*/ 183 h 247"/>
                <a:gd name="T66" fmla="*/ 0 w 121"/>
                <a:gd name="T67" fmla="*/ 197 h 247"/>
                <a:gd name="T68" fmla="*/ 6 w 121"/>
                <a:gd name="T69" fmla="*/ 210 h 247"/>
                <a:gd name="T70" fmla="*/ 4 w 121"/>
                <a:gd name="T71" fmla="*/ 224 h 247"/>
                <a:gd name="T72" fmla="*/ 8 w 121"/>
                <a:gd name="T73" fmla="*/ 234 h 247"/>
                <a:gd name="T74" fmla="*/ 14 w 121"/>
                <a:gd name="T75" fmla="*/ 241 h 247"/>
                <a:gd name="T76" fmla="*/ 24 w 121"/>
                <a:gd name="T77" fmla="*/ 247 h 247"/>
                <a:gd name="T78" fmla="*/ 39 w 121"/>
                <a:gd name="T79" fmla="*/ 243 h 247"/>
                <a:gd name="T80" fmla="*/ 55 w 121"/>
                <a:gd name="T81" fmla="*/ 239 h 247"/>
                <a:gd name="T82" fmla="*/ 61 w 121"/>
                <a:gd name="T83" fmla="*/ 224 h 247"/>
                <a:gd name="T84" fmla="*/ 65 w 121"/>
                <a:gd name="T85" fmla="*/ 212 h 247"/>
                <a:gd name="T86" fmla="*/ 73 w 121"/>
                <a:gd name="T87" fmla="*/ 189 h 247"/>
                <a:gd name="T88" fmla="*/ 88 w 121"/>
                <a:gd name="T89" fmla="*/ 148 h 247"/>
                <a:gd name="T90" fmla="*/ 98 w 121"/>
                <a:gd name="T91" fmla="*/ 119 h 247"/>
                <a:gd name="T92" fmla="*/ 102 w 121"/>
                <a:gd name="T93" fmla="*/ 95 h 247"/>
                <a:gd name="T94" fmla="*/ 108 w 121"/>
                <a:gd name="T95" fmla="*/ 86 h 247"/>
                <a:gd name="T96" fmla="*/ 108 w 121"/>
                <a:gd name="T97" fmla="*/ 76 h 247"/>
                <a:gd name="T98" fmla="*/ 108 w 121"/>
                <a:gd name="T99" fmla="*/ 68 h 247"/>
                <a:gd name="T100" fmla="*/ 110 w 121"/>
                <a:gd name="T101" fmla="*/ 62 h 247"/>
                <a:gd name="T102" fmla="*/ 115 w 121"/>
                <a:gd name="T103" fmla="*/ 72 h 247"/>
                <a:gd name="T104" fmla="*/ 121 w 121"/>
                <a:gd name="T105" fmla="*/ 6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1" h="247">
                  <a:moveTo>
                    <a:pt x="108" y="89"/>
                  </a:moveTo>
                  <a:lnTo>
                    <a:pt x="108" y="93"/>
                  </a:lnTo>
                  <a:lnTo>
                    <a:pt x="110" y="89"/>
                  </a:lnTo>
                  <a:lnTo>
                    <a:pt x="113" y="84"/>
                  </a:lnTo>
                  <a:lnTo>
                    <a:pt x="110" y="84"/>
                  </a:lnTo>
                  <a:lnTo>
                    <a:pt x="108" y="89"/>
                  </a:lnTo>
                  <a:close/>
                  <a:moveTo>
                    <a:pt x="88" y="25"/>
                  </a:moveTo>
                  <a:lnTo>
                    <a:pt x="88" y="23"/>
                  </a:lnTo>
                  <a:lnTo>
                    <a:pt x="88" y="23"/>
                  </a:lnTo>
                  <a:lnTo>
                    <a:pt x="88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5"/>
                  </a:lnTo>
                  <a:lnTo>
                    <a:pt x="88" y="25"/>
                  </a:lnTo>
                  <a:close/>
                  <a:moveTo>
                    <a:pt x="121" y="56"/>
                  </a:moveTo>
                  <a:lnTo>
                    <a:pt x="119" y="51"/>
                  </a:lnTo>
                  <a:lnTo>
                    <a:pt x="117" y="49"/>
                  </a:lnTo>
                  <a:lnTo>
                    <a:pt x="117" y="45"/>
                  </a:lnTo>
                  <a:lnTo>
                    <a:pt x="117" y="35"/>
                  </a:lnTo>
                  <a:lnTo>
                    <a:pt x="115" y="27"/>
                  </a:lnTo>
                  <a:lnTo>
                    <a:pt x="115" y="23"/>
                  </a:lnTo>
                  <a:lnTo>
                    <a:pt x="115" y="19"/>
                  </a:lnTo>
                  <a:lnTo>
                    <a:pt x="113" y="17"/>
                  </a:lnTo>
                  <a:lnTo>
                    <a:pt x="113" y="14"/>
                  </a:lnTo>
                  <a:lnTo>
                    <a:pt x="108" y="10"/>
                  </a:lnTo>
                  <a:lnTo>
                    <a:pt x="108" y="8"/>
                  </a:lnTo>
                  <a:lnTo>
                    <a:pt x="108" y="6"/>
                  </a:lnTo>
                  <a:lnTo>
                    <a:pt x="106" y="4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2" y="0"/>
                  </a:lnTo>
                  <a:lnTo>
                    <a:pt x="100" y="4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10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98" y="17"/>
                  </a:lnTo>
                  <a:lnTo>
                    <a:pt x="96" y="21"/>
                  </a:lnTo>
                  <a:lnTo>
                    <a:pt x="92" y="25"/>
                  </a:lnTo>
                  <a:lnTo>
                    <a:pt x="90" y="25"/>
                  </a:lnTo>
                  <a:lnTo>
                    <a:pt x="88" y="27"/>
                  </a:lnTo>
                  <a:lnTo>
                    <a:pt x="88" y="29"/>
                  </a:lnTo>
                  <a:lnTo>
                    <a:pt x="86" y="31"/>
                  </a:lnTo>
                  <a:lnTo>
                    <a:pt x="86" y="29"/>
                  </a:lnTo>
                  <a:lnTo>
                    <a:pt x="84" y="29"/>
                  </a:lnTo>
                  <a:lnTo>
                    <a:pt x="84" y="27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3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2" y="37"/>
                  </a:lnTo>
                  <a:lnTo>
                    <a:pt x="78" y="41"/>
                  </a:lnTo>
                  <a:lnTo>
                    <a:pt x="78" y="45"/>
                  </a:lnTo>
                  <a:lnTo>
                    <a:pt x="82" y="47"/>
                  </a:lnTo>
                  <a:lnTo>
                    <a:pt x="80" y="47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6" y="49"/>
                  </a:lnTo>
                  <a:lnTo>
                    <a:pt x="76" y="51"/>
                  </a:lnTo>
                  <a:lnTo>
                    <a:pt x="73" y="54"/>
                  </a:lnTo>
                  <a:lnTo>
                    <a:pt x="73" y="54"/>
                  </a:lnTo>
                  <a:lnTo>
                    <a:pt x="71" y="54"/>
                  </a:lnTo>
                  <a:lnTo>
                    <a:pt x="71" y="51"/>
                  </a:lnTo>
                  <a:lnTo>
                    <a:pt x="73" y="51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7"/>
                  </a:lnTo>
                  <a:lnTo>
                    <a:pt x="71" y="47"/>
                  </a:lnTo>
                  <a:lnTo>
                    <a:pt x="71" y="49"/>
                  </a:lnTo>
                  <a:lnTo>
                    <a:pt x="69" y="49"/>
                  </a:lnTo>
                  <a:lnTo>
                    <a:pt x="69" y="51"/>
                  </a:lnTo>
                  <a:lnTo>
                    <a:pt x="67" y="54"/>
                  </a:lnTo>
                  <a:lnTo>
                    <a:pt x="67" y="56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59" y="60"/>
                  </a:lnTo>
                  <a:lnTo>
                    <a:pt x="57" y="64"/>
                  </a:lnTo>
                  <a:lnTo>
                    <a:pt x="55" y="64"/>
                  </a:lnTo>
                  <a:lnTo>
                    <a:pt x="53" y="66"/>
                  </a:lnTo>
                  <a:lnTo>
                    <a:pt x="53" y="68"/>
                  </a:lnTo>
                  <a:lnTo>
                    <a:pt x="53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49" y="68"/>
                  </a:lnTo>
                  <a:lnTo>
                    <a:pt x="47" y="68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3" y="70"/>
                  </a:lnTo>
                  <a:lnTo>
                    <a:pt x="43" y="70"/>
                  </a:lnTo>
                  <a:lnTo>
                    <a:pt x="43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39" y="72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37" y="70"/>
                  </a:lnTo>
                  <a:lnTo>
                    <a:pt x="34" y="72"/>
                  </a:lnTo>
                  <a:lnTo>
                    <a:pt x="32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22" y="80"/>
                  </a:lnTo>
                  <a:lnTo>
                    <a:pt x="22" y="82"/>
                  </a:lnTo>
                  <a:lnTo>
                    <a:pt x="22" y="84"/>
                  </a:lnTo>
                  <a:lnTo>
                    <a:pt x="14" y="97"/>
                  </a:lnTo>
                  <a:lnTo>
                    <a:pt x="14" y="101"/>
                  </a:lnTo>
                  <a:lnTo>
                    <a:pt x="14" y="103"/>
                  </a:lnTo>
                  <a:lnTo>
                    <a:pt x="14" y="105"/>
                  </a:lnTo>
                  <a:lnTo>
                    <a:pt x="14" y="107"/>
                  </a:lnTo>
                  <a:lnTo>
                    <a:pt x="14" y="113"/>
                  </a:lnTo>
                  <a:lnTo>
                    <a:pt x="16" y="117"/>
                  </a:lnTo>
                  <a:lnTo>
                    <a:pt x="16" y="119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20" y="132"/>
                  </a:lnTo>
                  <a:lnTo>
                    <a:pt x="20" y="134"/>
                  </a:lnTo>
                  <a:lnTo>
                    <a:pt x="20" y="138"/>
                  </a:lnTo>
                  <a:lnTo>
                    <a:pt x="20" y="140"/>
                  </a:lnTo>
                  <a:lnTo>
                    <a:pt x="20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16" y="152"/>
                  </a:lnTo>
                  <a:lnTo>
                    <a:pt x="14" y="154"/>
                  </a:lnTo>
                  <a:lnTo>
                    <a:pt x="14" y="156"/>
                  </a:lnTo>
                  <a:lnTo>
                    <a:pt x="10" y="160"/>
                  </a:lnTo>
                  <a:lnTo>
                    <a:pt x="10" y="165"/>
                  </a:lnTo>
                  <a:lnTo>
                    <a:pt x="8" y="167"/>
                  </a:lnTo>
                  <a:lnTo>
                    <a:pt x="8" y="169"/>
                  </a:lnTo>
                  <a:lnTo>
                    <a:pt x="6" y="169"/>
                  </a:lnTo>
                  <a:lnTo>
                    <a:pt x="4" y="171"/>
                  </a:lnTo>
                  <a:lnTo>
                    <a:pt x="2" y="175"/>
                  </a:lnTo>
                  <a:lnTo>
                    <a:pt x="2" y="177"/>
                  </a:lnTo>
                  <a:lnTo>
                    <a:pt x="2" y="177"/>
                  </a:lnTo>
                  <a:lnTo>
                    <a:pt x="2" y="179"/>
                  </a:lnTo>
                  <a:lnTo>
                    <a:pt x="0" y="179"/>
                  </a:lnTo>
                  <a:lnTo>
                    <a:pt x="0" y="181"/>
                  </a:lnTo>
                  <a:lnTo>
                    <a:pt x="0" y="183"/>
                  </a:lnTo>
                  <a:lnTo>
                    <a:pt x="0" y="187"/>
                  </a:lnTo>
                  <a:lnTo>
                    <a:pt x="0" y="189"/>
                  </a:lnTo>
                  <a:lnTo>
                    <a:pt x="0" y="195"/>
                  </a:lnTo>
                  <a:lnTo>
                    <a:pt x="0" y="197"/>
                  </a:lnTo>
                  <a:lnTo>
                    <a:pt x="0" y="197"/>
                  </a:lnTo>
                  <a:lnTo>
                    <a:pt x="4" y="202"/>
                  </a:lnTo>
                  <a:lnTo>
                    <a:pt x="4" y="204"/>
                  </a:lnTo>
                  <a:lnTo>
                    <a:pt x="4" y="206"/>
                  </a:lnTo>
                  <a:lnTo>
                    <a:pt x="6" y="208"/>
                  </a:lnTo>
                  <a:lnTo>
                    <a:pt x="6" y="210"/>
                  </a:lnTo>
                  <a:lnTo>
                    <a:pt x="4" y="212"/>
                  </a:lnTo>
                  <a:lnTo>
                    <a:pt x="4" y="214"/>
                  </a:lnTo>
                  <a:lnTo>
                    <a:pt x="4" y="218"/>
                  </a:lnTo>
                  <a:lnTo>
                    <a:pt x="4" y="220"/>
                  </a:lnTo>
                  <a:lnTo>
                    <a:pt x="4" y="224"/>
                  </a:lnTo>
                  <a:lnTo>
                    <a:pt x="4" y="226"/>
                  </a:lnTo>
                  <a:lnTo>
                    <a:pt x="6" y="228"/>
                  </a:lnTo>
                  <a:lnTo>
                    <a:pt x="8" y="230"/>
                  </a:lnTo>
                  <a:lnTo>
                    <a:pt x="8" y="232"/>
                  </a:lnTo>
                  <a:lnTo>
                    <a:pt x="8" y="234"/>
                  </a:lnTo>
                  <a:lnTo>
                    <a:pt x="8" y="237"/>
                  </a:lnTo>
                  <a:lnTo>
                    <a:pt x="8" y="237"/>
                  </a:lnTo>
                  <a:lnTo>
                    <a:pt x="10" y="237"/>
                  </a:lnTo>
                  <a:lnTo>
                    <a:pt x="12" y="239"/>
                  </a:lnTo>
                  <a:lnTo>
                    <a:pt x="14" y="241"/>
                  </a:lnTo>
                  <a:lnTo>
                    <a:pt x="14" y="243"/>
                  </a:lnTo>
                  <a:lnTo>
                    <a:pt x="16" y="243"/>
                  </a:lnTo>
                  <a:lnTo>
                    <a:pt x="18" y="243"/>
                  </a:lnTo>
                  <a:lnTo>
                    <a:pt x="20" y="243"/>
                  </a:lnTo>
                  <a:lnTo>
                    <a:pt x="24" y="247"/>
                  </a:lnTo>
                  <a:lnTo>
                    <a:pt x="26" y="247"/>
                  </a:lnTo>
                  <a:lnTo>
                    <a:pt x="30" y="247"/>
                  </a:lnTo>
                  <a:lnTo>
                    <a:pt x="32" y="247"/>
                  </a:lnTo>
                  <a:lnTo>
                    <a:pt x="34" y="245"/>
                  </a:lnTo>
                  <a:lnTo>
                    <a:pt x="39" y="243"/>
                  </a:lnTo>
                  <a:lnTo>
                    <a:pt x="41" y="241"/>
                  </a:lnTo>
                  <a:lnTo>
                    <a:pt x="45" y="241"/>
                  </a:lnTo>
                  <a:lnTo>
                    <a:pt x="49" y="241"/>
                  </a:lnTo>
                  <a:lnTo>
                    <a:pt x="51" y="241"/>
                  </a:lnTo>
                  <a:lnTo>
                    <a:pt x="55" y="239"/>
                  </a:lnTo>
                  <a:lnTo>
                    <a:pt x="55" y="237"/>
                  </a:lnTo>
                  <a:lnTo>
                    <a:pt x="59" y="232"/>
                  </a:lnTo>
                  <a:lnTo>
                    <a:pt x="59" y="228"/>
                  </a:lnTo>
                  <a:lnTo>
                    <a:pt x="61" y="226"/>
                  </a:lnTo>
                  <a:lnTo>
                    <a:pt x="61" y="224"/>
                  </a:lnTo>
                  <a:lnTo>
                    <a:pt x="61" y="222"/>
                  </a:lnTo>
                  <a:lnTo>
                    <a:pt x="63" y="220"/>
                  </a:lnTo>
                  <a:lnTo>
                    <a:pt x="65" y="216"/>
                  </a:lnTo>
                  <a:lnTo>
                    <a:pt x="65" y="214"/>
                  </a:lnTo>
                  <a:lnTo>
                    <a:pt x="65" y="212"/>
                  </a:lnTo>
                  <a:lnTo>
                    <a:pt x="69" y="204"/>
                  </a:lnTo>
                  <a:lnTo>
                    <a:pt x="69" y="200"/>
                  </a:lnTo>
                  <a:lnTo>
                    <a:pt x="71" y="195"/>
                  </a:lnTo>
                  <a:lnTo>
                    <a:pt x="71" y="191"/>
                  </a:lnTo>
                  <a:lnTo>
                    <a:pt x="73" y="189"/>
                  </a:lnTo>
                  <a:lnTo>
                    <a:pt x="78" y="179"/>
                  </a:lnTo>
                  <a:lnTo>
                    <a:pt x="80" y="171"/>
                  </a:lnTo>
                  <a:lnTo>
                    <a:pt x="84" y="163"/>
                  </a:lnTo>
                  <a:lnTo>
                    <a:pt x="86" y="154"/>
                  </a:lnTo>
                  <a:lnTo>
                    <a:pt x="88" y="148"/>
                  </a:lnTo>
                  <a:lnTo>
                    <a:pt x="90" y="144"/>
                  </a:lnTo>
                  <a:lnTo>
                    <a:pt x="92" y="136"/>
                  </a:lnTo>
                  <a:lnTo>
                    <a:pt x="94" y="130"/>
                  </a:lnTo>
                  <a:lnTo>
                    <a:pt x="96" y="123"/>
                  </a:lnTo>
                  <a:lnTo>
                    <a:pt x="98" y="119"/>
                  </a:lnTo>
                  <a:lnTo>
                    <a:pt x="100" y="115"/>
                  </a:lnTo>
                  <a:lnTo>
                    <a:pt x="102" y="107"/>
                  </a:lnTo>
                  <a:lnTo>
                    <a:pt x="102" y="103"/>
                  </a:lnTo>
                  <a:lnTo>
                    <a:pt x="102" y="97"/>
                  </a:lnTo>
                  <a:lnTo>
                    <a:pt x="102" y="95"/>
                  </a:lnTo>
                  <a:lnTo>
                    <a:pt x="104" y="91"/>
                  </a:lnTo>
                  <a:lnTo>
                    <a:pt x="104" y="89"/>
                  </a:lnTo>
                  <a:lnTo>
                    <a:pt x="106" y="89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6" y="86"/>
                  </a:lnTo>
                  <a:lnTo>
                    <a:pt x="106" y="84"/>
                  </a:lnTo>
                  <a:lnTo>
                    <a:pt x="108" y="82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4"/>
                  </a:lnTo>
                  <a:lnTo>
                    <a:pt x="108" y="74"/>
                  </a:lnTo>
                  <a:lnTo>
                    <a:pt x="108" y="74"/>
                  </a:lnTo>
                  <a:lnTo>
                    <a:pt x="108" y="70"/>
                  </a:lnTo>
                  <a:lnTo>
                    <a:pt x="108" y="68"/>
                  </a:lnTo>
                  <a:lnTo>
                    <a:pt x="106" y="66"/>
                  </a:lnTo>
                  <a:lnTo>
                    <a:pt x="106" y="64"/>
                  </a:lnTo>
                  <a:lnTo>
                    <a:pt x="106" y="64"/>
                  </a:lnTo>
                  <a:lnTo>
                    <a:pt x="108" y="62"/>
                  </a:lnTo>
                  <a:lnTo>
                    <a:pt x="110" y="62"/>
                  </a:lnTo>
                  <a:lnTo>
                    <a:pt x="110" y="62"/>
                  </a:lnTo>
                  <a:lnTo>
                    <a:pt x="110" y="64"/>
                  </a:lnTo>
                  <a:lnTo>
                    <a:pt x="113" y="68"/>
                  </a:lnTo>
                  <a:lnTo>
                    <a:pt x="115" y="70"/>
                  </a:lnTo>
                  <a:lnTo>
                    <a:pt x="115" y="72"/>
                  </a:lnTo>
                  <a:lnTo>
                    <a:pt x="117" y="72"/>
                  </a:lnTo>
                  <a:lnTo>
                    <a:pt x="117" y="70"/>
                  </a:lnTo>
                  <a:lnTo>
                    <a:pt x="117" y="70"/>
                  </a:lnTo>
                  <a:lnTo>
                    <a:pt x="119" y="66"/>
                  </a:lnTo>
                  <a:lnTo>
                    <a:pt x="121" y="60"/>
                  </a:lnTo>
                  <a:lnTo>
                    <a:pt x="121" y="5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70" name="Freeform 121">
              <a:extLst>
                <a:ext uri="{FF2B5EF4-FFF2-40B4-BE49-F238E27FC236}">
                  <a16:creationId xmlns:a16="http://schemas.microsoft.com/office/drawing/2014/main" id="{F86D6FAE-350F-544C-9E4E-428E25BC5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6266" y="2610424"/>
              <a:ext cx="43970" cy="34463"/>
            </a:xfrm>
            <a:custGeom>
              <a:avLst/>
              <a:gdLst>
                <a:gd name="T0" fmla="*/ 37 w 37"/>
                <a:gd name="T1" fmla="*/ 12 h 29"/>
                <a:gd name="T2" fmla="*/ 35 w 37"/>
                <a:gd name="T3" fmla="*/ 10 h 29"/>
                <a:gd name="T4" fmla="*/ 35 w 37"/>
                <a:gd name="T5" fmla="*/ 6 h 29"/>
                <a:gd name="T6" fmla="*/ 31 w 37"/>
                <a:gd name="T7" fmla="*/ 6 h 29"/>
                <a:gd name="T8" fmla="*/ 27 w 37"/>
                <a:gd name="T9" fmla="*/ 2 h 29"/>
                <a:gd name="T10" fmla="*/ 27 w 37"/>
                <a:gd name="T11" fmla="*/ 2 h 29"/>
                <a:gd name="T12" fmla="*/ 25 w 37"/>
                <a:gd name="T13" fmla="*/ 2 h 29"/>
                <a:gd name="T14" fmla="*/ 23 w 37"/>
                <a:gd name="T15" fmla="*/ 2 h 29"/>
                <a:gd name="T16" fmla="*/ 20 w 37"/>
                <a:gd name="T17" fmla="*/ 2 h 29"/>
                <a:gd name="T18" fmla="*/ 18 w 37"/>
                <a:gd name="T19" fmla="*/ 2 h 29"/>
                <a:gd name="T20" fmla="*/ 16 w 37"/>
                <a:gd name="T21" fmla="*/ 2 h 29"/>
                <a:gd name="T22" fmla="*/ 12 w 37"/>
                <a:gd name="T23" fmla="*/ 4 h 29"/>
                <a:gd name="T24" fmla="*/ 12 w 37"/>
                <a:gd name="T25" fmla="*/ 4 h 29"/>
                <a:gd name="T26" fmla="*/ 10 w 37"/>
                <a:gd name="T27" fmla="*/ 6 h 29"/>
                <a:gd name="T28" fmla="*/ 10 w 37"/>
                <a:gd name="T29" fmla="*/ 4 h 29"/>
                <a:gd name="T30" fmla="*/ 4 w 37"/>
                <a:gd name="T31" fmla="*/ 6 h 29"/>
                <a:gd name="T32" fmla="*/ 4 w 37"/>
                <a:gd name="T33" fmla="*/ 8 h 29"/>
                <a:gd name="T34" fmla="*/ 4 w 37"/>
                <a:gd name="T35" fmla="*/ 10 h 29"/>
                <a:gd name="T36" fmla="*/ 2 w 37"/>
                <a:gd name="T37" fmla="*/ 10 h 29"/>
                <a:gd name="T38" fmla="*/ 0 w 37"/>
                <a:gd name="T39" fmla="*/ 12 h 29"/>
                <a:gd name="T40" fmla="*/ 0 w 37"/>
                <a:gd name="T41" fmla="*/ 14 h 29"/>
                <a:gd name="T42" fmla="*/ 0 w 37"/>
                <a:gd name="T43" fmla="*/ 16 h 29"/>
                <a:gd name="T44" fmla="*/ 0 w 37"/>
                <a:gd name="T45" fmla="*/ 18 h 29"/>
                <a:gd name="T46" fmla="*/ 2 w 37"/>
                <a:gd name="T47" fmla="*/ 22 h 29"/>
                <a:gd name="T48" fmla="*/ 4 w 37"/>
                <a:gd name="T49" fmla="*/ 25 h 29"/>
                <a:gd name="T50" fmla="*/ 4 w 37"/>
                <a:gd name="T51" fmla="*/ 27 h 29"/>
                <a:gd name="T52" fmla="*/ 8 w 37"/>
                <a:gd name="T53" fmla="*/ 27 h 29"/>
                <a:gd name="T54" fmla="*/ 8 w 37"/>
                <a:gd name="T55" fmla="*/ 29 h 29"/>
                <a:gd name="T56" fmla="*/ 10 w 37"/>
                <a:gd name="T57" fmla="*/ 27 h 29"/>
                <a:gd name="T58" fmla="*/ 14 w 37"/>
                <a:gd name="T59" fmla="*/ 27 h 29"/>
                <a:gd name="T60" fmla="*/ 16 w 37"/>
                <a:gd name="T61" fmla="*/ 27 h 29"/>
                <a:gd name="T62" fmla="*/ 20 w 37"/>
                <a:gd name="T63" fmla="*/ 27 h 29"/>
                <a:gd name="T64" fmla="*/ 23 w 37"/>
                <a:gd name="T65" fmla="*/ 22 h 29"/>
                <a:gd name="T66" fmla="*/ 27 w 37"/>
                <a:gd name="T67" fmla="*/ 22 h 29"/>
                <a:gd name="T68" fmla="*/ 29 w 37"/>
                <a:gd name="T69" fmla="*/ 22 h 29"/>
                <a:gd name="T70" fmla="*/ 33 w 37"/>
                <a:gd name="T71" fmla="*/ 22 h 29"/>
                <a:gd name="T72" fmla="*/ 35 w 37"/>
                <a:gd name="T73" fmla="*/ 20 h 29"/>
                <a:gd name="T74" fmla="*/ 35 w 37"/>
                <a:gd name="T75" fmla="*/ 18 h 29"/>
                <a:gd name="T76" fmla="*/ 37 w 37"/>
                <a:gd name="T77" fmla="*/ 18 h 29"/>
                <a:gd name="T78" fmla="*/ 37 w 37"/>
                <a:gd name="T7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" h="29">
                  <a:moveTo>
                    <a:pt x="37" y="12"/>
                  </a:moveTo>
                  <a:lnTo>
                    <a:pt x="37" y="12"/>
                  </a:lnTo>
                  <a:lnTo>
                    <a:pt x="37" y="10"/>
                  </a:lnTo>
                  <a:lnTo>
                    <a:pt x="35" y="10"/>
                  </a:lnTo>
                  <a:lnTo>
                    <a:pt x="35" y="8"/>
                  </a:lnTo>
                  <a:lnTo>
                    <a:pt x="35" y="6"/>
                  </a:lnTo>
                  <a:lnTo>
                    <a:pt x="33" y="6"/>
                  </a:lnTo>
                  <a:lnTo>
                    <a:pt x="31" y="6"/>
                  </a:lnTo>
                  <a:lnTo>
                    <a:pt x="29" y="4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0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2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6" y="27"/>
                  </a:lnTo>
                  <a:lnTo>
                    <a:pt x="18" y="27"/>
                  </a:lnTo>
                  <a:lnTo>
                    <a:pt x="20" y="27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5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9" y="22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5" y="20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4"/>
                  </a:lnTo>
                  <a:lnTo>
                    <a:pt x="37" y="12"/>
                  </a:lnTo>
                  <a:lnTo>
                    <a:pt x="37" y="1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71" name="Freeform 123">
              <a:extLst>
                <a:ext uri="{FF2B5EF4-FFF2-40B4-BE49-F238E27FC236}">
                  <a16:creationId xmlns:a16="http://schemas.microsoft.com/office/drawing/2014/main" id="{9014AAB2-6092-AA48-88BB-4367DD035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1951" y="2444049"/>
              <a:ext cx="13072" cy="14261"/>
            </a:xfrm>
            <a:custGeom>
              <a:avLst/>
              <a:gdLst>
                <a:gd name="T0" fmla="*/ 11 w 11"/>
                <a:gd name="T1" fmla="*/ 6 h 12"/>
                <a:gd name="T2" fmla="*/ 9 w 11"/>
                <a:gd name="T3" fmla="*/ 6 h 12"/>
                <a:gd name="T4" fmla="*/ 9 w 11"/>
                <a:gd name="T5" fmla="*/ 6 h 12"/>
                <a:gd name="T6" fmla="*/ 7 w 11"/>
                <a:gd name="T7" fmla="*/ 4 h 12"/>
                <a:gd name="T8" fmla="*/ 7 w 11"/>
                <a:gd name="T9" fmla="*/ 4 h 12"/>
                <a:gd name="T10" fmla="*/ 5 w 11"/>
                <a:gd name="T11" fmla="*/ 4 h 12"/>
                <a:gd name="T12" fmla="*/ 5 w 11"/>
                <a:gd name="T13" fmla="*/ 2 h 12"/>
                <a:gd name="T14" fmla="*/ 5 w 11"/>
                <a:gd name="T15" fmla="*/ 2 h 12"/>
                <a:gd name="T16" fmla="*/ 5 w 11"/>
                <a:gd name="T17" fmla="*/ 0 h 12"/>
                <a:gd name="T18" fmla="*/ 5 w 11"/>
                <a:gd name="T19" fmla="*/ 0 h 12"/>
                <a:gd name="T20" fmla="*/ 5 w 11"/>
                <a:gd name="T21" fmla="*/ 0 h 12"/>
                <a:gd name="T22" fmla="*/ 5 w 11"/>
                <a:gd name="T23" fmla="*/ 0 h 12"/>
                <a:gd name="T24" fmla="*/ 2 w 11"/>
                <a:gd name="T25" fmla="*/ 0 h 12"/>
                <a:gd name="T26" fmla="*/ 2 w 11"/>
                <a:gd name="T27" fmla="*/ 2 h 12"/>
                <a:gd name="T28" fmla="*/ 0 w 11"/>
                <a:gd name="T29" fmla="*/ 2 h 12"/>
                <a:gd name="T30" fmla="*/ 0 w 11"/>
                <a:gd name="T31" fmla="*/ 4 h 12"/>
                <a:gd name="T32" fmla="*/ 0 w 11"/>
                <a:gd name="T33" fmla="*/ 4 h 12"/>
                <a:gd name="T34" fmla="*/ 0 w 11"/>
                <a:gd name="T35" fmla="*/ 4 h 12"/>
                <a:gd name="T36" fmla="*/ 0 w 11"/>
                <a:gd name="T37" fmla="*/ 6 h 12"/>
                <a:gd name="T38" fmla="*/ 0 w 11"/>
                <a:gd name="T39" fmla="*/ 6 h 12"/>
                <a:gd name="T40" fmla="*/ 0 w 11"/>
                <a:gd name="T41" fmla="*/ 6 h 12"/>
                <a:gd name="T42" fmla="*/ 0 w 11"/>
                <a:gd name="T43" fmla="*/ 6 h 12"/>
                <a:gd name="T44" fmla="*/ 0 w 11"/>
                <a:gd name="T45" fmla="*/ 8 h 12"/>
                <a:gd name="T46" fmla="*/ 2 w 11"/>
                <a:gd name="T47" fmla="*/ 8 h 12"/>
                <a:gd name="T48" fmla="*/ 0 w 11"/>
                <a:gd name="T49" fmla="*/ 10 h 12"/>
                <a:gd name="T50" fmla="*/ 0 w 11"/>
                <a:gd name="T51" fmla="*/ 10 h 12"/>
                <a:gd name="T52" fmla="*/ 0 w 11"/>
                <a:gd name="T53" fmla="*/ 10 h 12"/>
                <a:gd name="T54" fmla="*/ 0 w 11"/>
                <a:gd name="T55" fmla="*/ 10 h 12"/>
                <a:gd name="T56" fmla="*/ 0 w 11"/>
                <a:gd name="T57" fmla="*/ 12 h 12"/>
                <a:gd name="T58" fmla="*/ 2 w 11"/>
                <a:gd name="T59" fmla="*/ 12 h 12"/>
                <a:gd name="T60" fmla="*/ 2 w 11"/>
                <a:gd name="T61" fmla="*/ 12 h 12"/>
                <a:gd name="T62" fmla="*/ 2 w 11"/>
                <a:gd name="T63" fmla="*/ 12 h 12"/>
                <a:gd name="T64" fmla="*/ 2 w 11"/>
                <a:gd name="T65" fmla="*/ 12 h 12"/>
                <a:gd name="T66" fmla="*/ 5 w 11"/>
                <a:gd name="T67" fmla="*/ 12 h 12"/>
                <a:gd name="T68" fmla="*/ 5 w 11"/>
                <a:gd name="T69" fmla="*/ 12 h 12"/>
                <a:gd name="T70" fmla="*/ 7 w 11"/>
                <a:gd name="T71" fmla="*/ 12 h 12"/>
                <a:gd name="T72" fmla="*/ 7 w 11"/>
                <a:gd name="T73" fmla="*/ 12 h 12"/>
                <a:gd name="T74" fmla="*/ 7 w 11"/>
                <a:gd name="T75" fmla="*/ 12 h 12"/>
                <a:gd name="T76" fmla="*/ 9 w 11"/>
                <a:gd name="T77" fmla="*/ 12 h 12"/>
                <a:gd name="T78" fmla="*/ 9 w 11"/>
                <a:gd name="T79" fmla="*/ 12 h 12"/>
                <a:gd name="T80" fmla="*/ 9 w 11"/>
                <a:gd name="T81" fmla="*/ 10 h 12"/>
                <a:gd name="T82" fmla="*/ 9 w 11"/>
                <a:gd name="T83" fmla="*/ 8 h 12"/>
                <a:gd name="T84" fmla="*/ 9 w 11"/>
                <a:gd name="T85" fmla="*/ 8 h 12"/>
                <a:gd name="T86" fmla="*/ 11 w 11"/>
                <a:gd name="T87" fmla="*/ 8 h 12"/>
                <a:gd name="T88" fmla="*/ 11 w 11"/>
                <a:gd name="T89" fmla="*/ 6 h 12"/>
                <a:gd name="T90" fmla="*/ 11 w 11"/>
                <a:gd name="T9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lnTo>
                    <a:pt x="9" y="6"/>
                  </a:lnTo>
                  <a:lnTo>
                    <a:pt x="9" y="6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9" y="8"/>
                  </a:lnTo>
                  <a:lnTo>
                    <a:pt x="9" y="8"/>
                  </a:lnTo>
                  <a:lnTo>
                    <a:pt x="11" y="8"/>
                  </a:lnTo>
                  <a:lnTo>
                    <a:pt x="11" y="6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72" name="Freeform 124">
              <a:extLst>
                <a:ext uri="{FF2B5EF4-FFF2-40B4-BE49-F238E27FC236}">
                  <a16:creationId xmlns:a16="http://schemas.microsoft.com/office/drawing/2014/main" id="{FAAD872B-5F60-F240-A849-CF5C3EFB53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7947" y="2313326"/>
              <a:ext cx="92694" cy="51101"/>
            </a:xfrm>
            <a:custGeom>
              <a:avLst/>
              <a:gdLst>
                <a:gd name="T0" fmla="*/ 0 w 78"/>
                <a:gd name="T1" fmla="*/ 16 h 43"/>
                <a:gd name="T2" fmla="*/ 2 w 78"/>
                <a:gd name="T3" fmla="*/ 19 h 43"/>
                <a:gd name="T4" fmla="*/ 2 w 78"/>
                <a:gd name="T5" fmla="*/ 12 h 43"/>
                <a:gd name="T6" fmla="*/ 78 w 78"/>
                <a:gd name="T7" fmla="*/ 19 h 43"/>
                <a:gd name="T8" fmla="*/ 74 w 78"/>
                <a:gd name="T9" fmla="*/ 19 h 43"/>
                <a:gd name="T10" fmla="*/ 76 w 78"/>
                <a:gd name="T11" fmla="*/ 12 h 43"/>
                <a:gd name="T12" fmla="*/ 74 w 78"/>
                <a:gd name="T13" fmla="*/ 12 h 43"/>
                <a:gd name="T14" fmla="*/ 68 w 78"/>
                <a:gd name="T15" fmla="*/ 8 h 43"/>
                <a:gd name="T16" fmla="*/ 61 w 78"/>
                <a:gd name="T17" fmla="*/ 4 h 43"/>
                <a:gd name="T18" fmla="*/ 53 w 78"/>
                <a:gd name="T19" fmla="*/ 4 h 43"/>
                <a:gd name="T20" fmla="*/ 51 w 78"/>
                <a:gd name="T21" fmla="*/ 0 h 43"/>
                <a:gd name="T22" fmla="*/ 47 w 78"/>
                <a:gd name="T23" fmla="*/ 2 h 43"/>
                <a:gd name="T24" fmla="*/ 41 w 78"/>
                <a:gd name="T25" fmla="*/ 2 h 43"/>
                <a:gd name="T26" fmla="*/ 35 w 78"/>
                <a:gd name="T27" fmla="*/ 0 h 43"/>
                <a:gd name="T28" fmla="*/ 29 w 78"/>
                <a:gd name="T29" fmla="*/ 0 h 43"/>
                <a:gd name="T30" fmla="*/ 24 w 78"/>
                <a:gd name="T31" fmla="*/ 0 h 43"/>
                <a:gd name="T32" fmla="*/ 18 w 78"/>
                <a:gd name="T33" fmla="*/ 0 h 43"/>
                <a:gd name="T34" fmla="*/ 10 w 78"/>
                <a:gd name="T35" fmla="*/ 2 h 43"/>
                <a:gd name="T36" fmla="*/ 0 w 78"/>
                <a:gd name="T37" fmla="*/ 6 h 43"/>
                <a:gd name="T38" fmla="*/ 2 w 78"/>
                <a:gd name="T39" fmla="*/ 12 h 43"/>
                <a:gd name="T40" fmla="*/ 4 w 78"/>
                <a:gd name="T41" fmla="*/ 19 h 43"/>
                <a:gd name="T42" fmla="*/ 6 w 78"/>
                <a:gd name="T43" fmla="*/ 19 h 43"/>
                <a:gd name="T44" fmla="*/ 10 w 78"/>
                <a:gd name="T45" fmla="*/ 21 h 43"/>
                <a:gd name="T46" fmla="*/ 16 w 78"/>
                <a:gd name="T47" fmla="*/ 23 h 43"/>
                <a:gd name="T48" fmla="*/ 22 w 78"/>
                <a:gd name="T49" fmla="*/ 25 h 43"/>
                <a:gd name="T50" fmla="*/ 26 w 78"/>
                <a:gd name="T51" fmla="*/ 27 h 43"/>
                <a:gd name="T52" fmla="*/ 24 w 78"/>
                <a:gd name="T53" fmla="*/ 33 h 43"/>
                <a:gd name="T54" fmla="*/ 26 w 78"/>
                <a:gd name="T55" fmla="*/ 35 h 43"/>
                <a:gd name="T56" fmla="*/ 29 w 78"/>
                <a:gd name="T57" fmla="*/ 35 h 43"/>
                <a:gd name="T58" fmla="*/ 31 w 78"/>
                <a:gd name="T59" fmla="*/ 37 h 43"/>
                <a:gd name="T60" fmla="*/ 35 w 78"/>
                <a:gd name="T61" fmla="*/ 37 h 43"/>
                <a:gd name="T62" fmla="*/ 37 w 78"/>
                <a:gd name="T63" fmla="*/ 41 h 43"/>
                <a:gd name="T64" fmla="*/ 37 w 78"/>
                <a:gd name="T65" fmla="*/ 43 h 43"/>
                <a:gd name="T66" fmla="*/ 43 w 78"/>
                <a:gd name="T67" fmla="*/ 43 h 43"/>
                <a:gd name="T68" fmla="*/ 45 w 78"/>
                <a:gd name="T69" fmla="*/ 43 h 43"/>
                <a:gd name="T70" fmla="*/ 49 w 78"/>
                <a:gd name="T71" fmla="*/ 43 h 43"/>
                <a:gd name="T72" fmla="*/ 53 w 78"/>
                <a:gd name="T73" fmla="*/ 41 h 43"/>
                <a:gd name="T74" fmla="*/ 57 w 78"/>
                <a:gd name="T75" fmla="*/ 39 h 43"/>
                <a:gd name="T76" fmla="*/ 59 w 78"/>
                <a:gd name="T77" fmla="*/ 37 h 43"/>
                <a:gd name="T78" fmla="*/ 63 w 78"/>
                <a:gd name="T79" fmla="*/ 37 h 43"/>
                <a:gd name="T80" fmla="*/ 63 w 78"/>
                <a:gd name="T81" fmla="*/ 39 h 43"/>
                <a:gd name="T82" fmla="*/ 68 w 78"/>
                <a:gd name="T83" fmla="*/ 39 h 43"/>
                <a:gd name="T84" fmla="*/ 66 w 78"/>
                <a:gd name="T85" fmla="*/ 37 h 43"/>
                <a:gd name="T86" fmla="*/ 63 w 78"/>
                <a:gd name="T87" fmla="*/ 35 h 43"/>
                <a:gd name="T88" fmla="*/ 63 w 78"/>
                <a:gd name="T89" fmla="*/ 33 h 43"/>
                <a:gd name="T90" fmla="*/ 66 w 78"/>
                <a:gd name="T91" fmla="*/ 31 h 43"/>
                <a:gd name="T92" fmla="*/ 66 w 78"/>
                <a:gd name="T93" fmla="*/ 27 h 43"/>
                <a:gd name="T94" fmla="*/ 70 w 78"/>
                <a:gd name="T95" fmla="*/ 25 h 43"/>
                <a:gd name="T96" fmla="*/ 72 w 78"/>
                <a:gd name="T97" fmla="*/ 23 h 43"/>
                <a:gd name="T98" fmla="*/ 76 w 78"/>
                <a:gd name="T99" fmla="*/ 23 h 43"/>
                <a:gd name="T100" fmla="*/ 78 w 78"/>
                <a:gd name="T101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" h="43">
                  <a:moveTo>
                    <a:pt x="2" y="14"/>
                  </a:moveTo>
                  <a:lnTo>
                    <a:pt x="2" y="16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2" y="14"/>
                  </a:lnTo>
                  <a:close/>
                  <a:moveTo>
                    <a:pt x="78" y="19"/>
                  </a:moveTo>
                  <a:lnTo>
                    <a:pt x="78" y="19"/>
                  </a:lnTo>
                  <a:lnTo>
                    <a:pt x="76" y="19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6" y="16"/>
                  </a:lnTo>
                  <a:lnTo>
                    <a:pt x="76" y="14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4" y="12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6" y="6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55" y="4"/>
                  </a:lnTo>
                  <a:lnTo>
                    <a:pt x="53" y="4"/>
                  </a:lnTo>
                  <a:lnTo>
                    <a:pt x="53" y="2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1" y="2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2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22" y="23"/>
                  </a:lnTo>
                  <a:lnTo>
                    <a:pt x="22" y="25"/>
                  </a:lnTo>
                  <a:lnTo>
                    <a:pt x="24" y="25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3"/>
                  </a:lnTo>
                  <a:lnTo>
                    <a:pt x="24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5" y="37"/>
                  </a:lnTo>
                  <a:lnTo>
                    <a:pt x="35" y="39"/>
                  </a:lnTo>
                  <a:lnTo>
                    <a:pt x="37" y="39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39" y="43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9" y="43"/>
                  </a:lnTo>
                  <a:lnTo>
                    <a:pt x="51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39"/>
                  </a:lnTo>
                  <a:lnTo>
                    <a:pt x="55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61" y="37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9"/>
                  </a:lnTo>
                  <a:lnTo>
                    <a:pt x="63" y="39"/>
                  </a:lnTo>
                  <a:lnTo>
                    <a:pt x="63" y="39"/>
                  </a:lnTo>
                  <a:lnTo>
                    <a:pt x="66" y="39"/>
                  </a:lnTo>
                  <a:lnTo>
                    <a:pt x="68" y="39"/>
                  </a:lnTo>
                  <a:lnTo>
                    <a:pt x="68" y="39"/>
                  </a:lnTo>
                  <a:lnTo>
                    <a:pt x="68" y="37"/>
                  </a:lnTo>
                  <a:lnTo>
                    <a:pt x="66" y="37"/>
                  </a:lnTo>
                  <a:lnTo>
                    <a:pt x="66" y="37"/>
                  </a:lnTo>
                  <a:lnTo>
                    <a:pt x="66" y="35"/>
                  </a:lnTo>
                  <a:lnTo>
                    <a:pt x="63" y="35"/>
                  </a:lnTo>
                  <a:lnTo>
                    <a:pt x="63" y="35"/>
                  </a:lnTo>
                  <a:lnTo>
                    <a:pt x="63" y="35"/>
                  </a:lnTo>
                  <a:lnTo>
                    <a:pt x="63" y="33"/>
                  </a:lnTo>
                  <a:lnTo>
                    <a:pt x="66" y="33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6" y="29"/>
                  </a:lnTo>
                  <a:lnTo>
                    <a:pt x="66" y="27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70" y="25"/>
                  </a:lnTo>
                  <a:lnTo>
                    <a:pt x="72" y="25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1"/>
                  </a:lnTo>
                  <a:lnTo>
                    <a:pt x="76" y="23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19"/>
                  </a:lnTo>
                  <a:lnTo>
                    <a:pt x="78" y="1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73" name="Freeform 125">
              <a:extLst>
                <a:ext uri="{FF2B5EF4-FFF2-40B4-BE49-F238E27FC236}">
                  <a16:creationId xmlns:a16="http://schemas.microsoft.com/office/drawing/2014/main" id="{C1E6B102-88FB-3444-8137-D613F7D2E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3747" y="2504657"/>
              <a:ext cx="2377" cy="5942"/>
            </a:xfrm>
            <a:custGeom>
              <a:avLst/>
              <a:gdLst>
                <a:gd name="T0" fmla="*/ 2 w 2"/>
                <a:gd name="T1" fmla="*/ 2 h 5"/>
                <a:gd name="T2" fmla="*/ 2 w 2"/>
                <a:gd name="T3" fmla="*/ 2 h 5"/>
                <a:gd name="T4" fmla="*/ 2 w 2"/>
                <a:gd name="T5" fmla="*/ 2 h 5"/>
                <a:gd name="T6" fmla="*/ 2 w 2"/>
                <a:gd name="T7" fmla="*/ 2 h 5"/>
                <a:gd name="T8" fmla="*/ 2 w 2"/>
                <a:gd name="T9" fmla="*/ 0 h 5"/>
                <a:gd name="T10" fmla="*/ 2 w 2"/>
                <a:gd name="T11" fmla="*/ 0 h 5"/>
                <a:gd name="T12" fmla="*/ 0 w 2"/>
                <a:gd name="T13" fmla="*/ 0 h 5"/>
                <a:gd name="T14" fmla="*/ 0 w 2"/>
                <a:gd name="T15" fmla="*/ 2 h 5"/>
                <a:gd name="T16" fmla="*/ 0 w 2"/>
                <a:gd name="T17" fmla="*/ 5 h 5"/>
                <a:gd name="T18" fmla="*/ 0 w 2"/>
                <a:gd name="T19" fmla="*/ 5 h 5"/>
                <a:gd name="T20" fmla="*/ 0 w 2"/>
                <a:gd name="T21" fmla="*/ 5 h 5"/>
                <a:gd name="T22" fmla="*/ 2 w 2"/>
                <a:gd name="T23" fmla="*/ 5 h 5"/>
                <a:gd name="T24" fmla="*/ 2 w 2"/>
                <a:gd name="T25" fmla="*/ 5 h 5"/>
                <a:gd name="T26" fmla="*/ 2 w 2"/>
                <a:gd name="T27" fmla="*/ 5 h 5"/>
                <a:gd name="T28" fmla="*/ 2 w 2"/>
                <a:gd name="T2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" h="5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74" name="Freeform 126">
              <a:extLst>
                <a:ext uri="{FF2B5EF4-FFF2-40B4-BE49-F238E27FC236}">
                  <a16:creationId xmlns:a16="http://schemas.microsoft.com/office/drawing/2014/main" id="{062300A9-800B-F64D-8165-BFDF1B3B7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8993" y="2810073"/>
              <a:ext cx="294720" cy="298285"/>
            </a:xfrm>
            <a:custGeom>
              <a:avLst/>
              <a:gdLst>
                <a:gd name="T0" fmla="*/ 248 w 248"/>
                <a:gd name="T1" fmla="*/ 202 h 251"/>
                <a:gd name="T2" fmla="*/ 246 w 248"/>
                <a:gd name="T3" fmla="*/ 181 h 251"/>
                <a:gd name="T4" fmla="*/ 246 w 248"/>
                <a:gd name="T5" fmla="*/ 161 h 251"/>
                <a:gd name="T6" fmla="*/ 246 w 248"/>
                <a:gd name="T7" fmla="*/ 140 h 251"/>
                <a:gd name="T8" fmla="*/ 246 w 248"/>
                <a:gd name="T9" fmla="*/ 120 h 251"/>
                <a:gd name="T10" fmla="*/ 244 w 248"/>
                <a:gd name="T11" fmla="*/ 97 h 251"/>
                <a:gd name="T12" fmla="*/ 244 w 248"/>
                <a:gd name="T13" fmla="*/ 77 h 251"/>
                <a:gd name="T14" fmla="*/ 240 w 248"/>
                <a:gd name="T15" fmla="*/ 62 h 251"/>
                <a:gd name="T16" fmla="*/ 242 w 248"/>
                <a:gd name="T17" fmla="*/ 50 h 251"/>
                <a:gd name="T18" fmla="*/ 240 w 248"/>
                <a:gd name="T19" fmla="*/ 39 h 251"/>
                <a:gd name="T20" fmla="*/ 244 w 248"/>
                <a:gd name="T21" fmla="*/ 29 h 251"/>
                <a:gd name="T22" fmla="*/ 242 w 248"/>
                <a:gd name="T23" fmla="*/ 23 h 251"/>
                <a:gd name="T24" fmla="*/ 228 w 248"/>
                <a:gd name="T25" fmla="*/ 21 h 251"/>
                <a:gd name="T26" fmla="*/ 213 w 248"/>
                <a:gd name="T27" fmla="*/ 15 h 251"/>
                <a:gd name="T28" fmla="*/ 203 w 248"/>
                <a:gd name="T29" fmla="*/ 7 h 251"/>
                <a:gd name="T30" fmla="*/ 189 w 248"/>
                <a:gd name="T31" fmla="*/ 5 h 251"/>
                <a:gd name="T32" fmla="*/ 170 w 248"/>
                <a:gd name="T33" fmla="*/ 15 h 251"/>
                <a:gd name="T34" fmla="*/ 164 w 248"/>
                <a:gd name="T35" fmla="*/ 29 h 251"/>
                <a:gd name="T36" fmla="*/ 168 w 248"/>
                <a:gd name="T37" fmla="*/ 42 h 251"/>
                <a:gd name="T38" fmla="*/ 152 w 248"/>
                <a:gd name="T39" fmla="*/ 54 h 251"/>
                <a:gd name="T40" fmla="*/ 131 w 248"/>
                <a:gd name="T41" fmla="*/ 42 h 251"/>
                <a:gd name="T42" fmla="*/ 100 w 248"/>
                <a:gd name="T43" fmla="*/ 33 h 251"/>
                <a:gd name="T44" fmla="*/ 94 w 248"/>
                <a:gd name="T45" fmla="*/ 23 h 251"/>
                <a:gd name="T46" fmla="*/ 78 w 248"/>
                <a:gd name="T47" fmla="*/ 11 h 251"/>
                <a:gd name="T48" fmla="*/ 65 w 248"/>
                <a:gd name="T49" fmla="*/ 7 h 251"/>
                <a:gd name="T50" fmla="*/ 45 w 248"/>
                <a:gd name="T51" fmla="*/ 7 h 251"/>
                <a:gd name="T52" fmla="*/ 33 w 248"/>
                <a:gd name="T53" fmla="*/ 5 h 251"/>
                <a:gd name="T54" fmla="*/ 35 w 248"/>
                <a:gd name="T55" fmla="*/ 13 h 251"/>
                <a:gd name="T56" fmla="*/ 22 w 248"/>
                <a:gd name="T57" fmla="*/ 21 h 251"/>
                <a:gd name="T58" fmla="*/ 18 w 248"/>
                <a:gd name="T59" fmla="*/ 25 h 251"/>
                <a:gd name="T60" fmla="*/ 12 w 248"/>
                <a:gd name="T61" fmla="*/ 29 h 251"/>
                <a:gd name="T62" fmla="*/ 14 w 248"/>
                <a:gd name="T63" fmla="*/ 42 h 251"/>
                <a:gd name="T64" fmla="*/ 8 w 248"/>
                <a:gd name="T65" fmla="*/ 52 h 251"/>
                <a:gd name="T66" fmla="*/ 0 w 248"/>
                <a:gd name="T67" fmla="*/ 56 h 251"/>
                <a:gd name="T68" fmla="*/ 6 w 248"/>
                <a:gd name="T69" fmla="*/ 70 h 251"/>
                <a:gd name="T70" fmla="*/ 8 w 248"/>
                <a:gd name="T71" fmla="*/ 95 h 251"/>
                <a:gd name="T72" fmla="*/ 8 w 248"/>
                <a:gd name="T73" fmla="*/ 114 h 251"/>
                <a:gd name="T74" fmla="*/ 6 w 248"/>
                <a:gd name="T75" fmla="*/ 124 h 251"/>
                <a:gd name="T76" fmla="*/ 4 w 248"/>
                <a:gd name="T77" fmla="*/ 134 h 251"/>
                <a:gd name="T78" fmla="*/ 12 w 248"/>
                <a:gd name="T79" fmla="*/ 155 h 251"/>
                <a:gd name="T80" fmla="*/ 16 w 248"/>
                <a:gd name="T81" fmla="*/ 159 h 251"/>
                <a:gd name="T82" fmla="*/ 37 w 248"/>
                <a:gd name="T83" fmla="*/ 167 h 251"/>
                <a:gd name="T84" fmla="*/ 57 w 248"/>
                <a:gd name="T85" fmla="*/ 181 h 251"/>
                <a:gd name="T86" fmla="*/ 78 w 248"/>
                <a:gd name="T87" fmla="*/ 194 h 251"/>
                <a:gd name="T88" fmla="*/ 94 w 248"/>
                <a:gd name="T89" fmla="*/ 183 h 251"/>
                <a:gd name="T90" fmla="*/ 125 w 248"/>
                <a:gd name="T91" fmla="*/ 190 h 251"/>
                <a:gd name="T92" fmla="*/ 164 w 248"/>
                <a:gd name="T93" fmla="*/ 212 h 251"/>
                <a:gd name="T94" fmla="*/ 201 w 248"/>
                <a:gd name="T95" fmla="*/ 235 h 251"/>
                <a:gd name="T96" fmla="*/ 232 w 248"/>
                <a:gd name="T97" fmla="*/ 249 h 251"/>
                <a:gd name="T98" fmla="*/ 240 w 248"/>
                <a:gd name="T99" fmla="*/ 243 h 251"/>
                <a:gd name="T100" fmla="*/ 248 w 248"/>
                <a:gd name="T101" fmla="*/ 24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8" h="251">
                  <a:moveTo>
                    <a:pt x="248" y="233"/>
                  </a:moveTo>
                  <a:lnTo>
                    <a:pt x="248" y="225"/>
                  </a:lnTo>
                  <a:lnTo>
                    <a:pt x="248" y="214"/>
                  </a:lnTo>
                  <a:lnTo>
                    <a:pt x="248" y="206"/>
                  </a:lnTo>
                  <a:lnTo>
                    <a:pt x="248" y="202"/>
                  </a:lnTo>
                  <a:lnTo>
                    <a:pt x="248" y="198"/>
                  </a:lnTo>
                  <a:lnTo>
                    <a:pt x="248" y="194"/>
                  </a:lnTo>
                  <a:lnTo>
                    <a:pt x="246" y="190"/>
                  </a:lnTo>
                  <a:lnTo>
                    <a:pt x="246" y="185"/>
                  </a:lnTo>
                  <a:lnTo>
                    <a:pt x="246" y="181"/>
                  </a:lnTo>
                  <a:lnTo>
                    <a:pt x="246" y="177"/>
                  </a:lnTo>
                  <a:lnTo>
                    <a:pt x="246" y="173"/>
                  </a:lnTo>
                  <a:lnTo>
                    <a:pt x="246" y="169"/>
                  </a:lnTo>
                  <a:lnTo>
                    <a:pt x="246" y="165"/>
                  </a:lnTo>
                  <a:lnTo>
                    <a:pt x="246" y="161"/>
                  </a:lnTo>
                  <a:lnTo>
                    <a:pt x="246" y="157"/>
                  </a:lnTo>
                  <a:lnTo>
                    <a:pt x="246" y="153"/>
                  </a:lnTo>
                  <a:lnTo>
                    <a:pt x="246" y="148"/>
                  </a:lnTo>
                  <a:lnTo>
                    <a:pt x="246" y="144"/>
                  </a:lnTo>
                  <a:lnTo>
                    <a:pt x="246" y="140"/>
                  </a:lnTo>
                  <a:lnTo>
                    <a:pt x="246" y="136"/>
                  </a:lnTo>
                  <a:lnTo>
                    <a:pt x="246" y="132"/>
                  </a:lnTo>
                  <a:lnTo>
                    <a:pt x="246" y="128"/>
                  </a:lnTo>
                  <a:lnTo>
                    <a:pt x="246" y="124"/>
                  </a:lnTo>
                  <a:lnTo>
                    <a:pt x="246" y="120"/>
                  </a:lnTo>
                  <a:lnTo>
                    <a:pt x="246" y="116"/>
                  </a:lnTo>
                  <a:lnTo>
                    <a:pt x="244" y="111"/>
                  </a:lnTo>
                  <a:lnTo>
                    <a:pt x="244" y="107"/>
                  </a:lnTo>
                  <a:lnTo>
                    <a:pt x="244" y="101"/>
                  </a:lnTo>
                  <a:lnTo>
                    <a:pt x="244" y="97"/>
                  </a:lnTo>
                  <a:lnTo>
                    <a:pt x="244" y="93"/>
                  </a:lnTo>
                  <a:lnTo>
                    <a:pt x="244" y="89"/>
                  </a:lnTo>
                  <a:lnTo>
                    <a:pt x="244" y="85"/>
                  </a:lnTo>
                  <a:lnTo>
                    <a:pt x="244" y="81"/>
                  </a:lnTo>
                  <a:lnTo>
                    <a:pt x="244" y="77"/>
                  </a:lnTo>
                  <a:lnTo>
                    <a:pt x="244" y="72"/>
                  </a:lnTo>
                  <a:lnTo>
                    <a:pt x="244" y="72"/>
                  </a:lnTo>
                  <a:lnTo>
                    <a:pt x="242" y="70"/>
                  </a:lnTo>
                  <a:lnTo>
                    <a:pt x="242" y="66"/>
                  </a:lnTo>
                  <a:lnTo>
                    <a:pt x="240" y="62"/>
                  </a:lnTo>
                  <a:lnTo>
                    <a:pt x="240" y="60"/>
                  </a:lnTo>
                  <a:lnTo>
                    <a:pt x="240" y="56"/>
                  </a:lnTo>
                  <a:lnTo>
                    <a:pt x="238" y="54"/>
                  </a:lnTo>
                  <a:lnTo>
                    <a:pt x="240" y="54"/>
                  </a:lnTo>
                  <a:lnTo>
                    <a:pt x="242" y="50"/>
                  </a:lnTo>
                  <a:lnTo>
                    <a:pt x="242" y="48"/>
                  </a:lnTo>
                  <a:lnTo>
                    <a:pt x="242" y="46"/>
                  </a:lnTo>
                  <a:lnTo>
                    <a:pt x="242" y="44"/>
                  </a:lnTo>
                  <a:lnTo>
                    <a:pt x="242" y="42"/>
                  </a:lnTo>
                  <a:lnTo>
                    <a:pt x="240" y="39"/>
                  </a:lnTo>
                  <a:lnTo>
                    <a:pt x="240" y="37"/>
                  </a:lnTo>
                  <a:lnTo>
                    <a:pt x="240" y="33"/>
                  </a:lnTo>
                  <a:lnTo>
                    <a:pt x="242" y="31"/>
                  </a:lnTo>
                  <a:lnTo>
                    <a:pt x="242" y="31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4" y="27"/>
                  </a:lnTo>
                  <a:lnTo>
                    <a:pt x="244" y="27"/>
                  </a:lnTo>
                  <a:lnTo>
                    <a:pt x="242" y="23"/>
                  </a:lnTo>
                  <a:lnTo>
                    <a:pt x="242" y="23"/>
                  </a:lnTo>
                  <a:lnTo>
                    <a:pt x="240" y="23"/>
                  </a:lnTo>
                  <a:lnTo>
                    <a:pt x="238" y="21"/>
                  </a:lnTo>
                  <a:lnTo>
                    <a:pt x="234" y="21"/>
                  </a:lnTo>
                  <a:lnTo>
                    <a:pt x="228" y="21"/>
                  </a:lnTo>
                  <a:lnTo>
                    <a:pt x="228" y="21"/>
                  </a:lnTo>
                  <a:lnTo>
                    <a:pt x="226" y="19"/>
                  </a:lnTo>
                  <a:lnTo>
                    <a:pt x="223" y="19"/>
                  </a:lnTo>
                  <a:lnTo>
                    <a:pt x="215" y="17"/>
                  </a:lnTo>
                  <a:lnTo>
                    <a:pt x="213" y="15"/>
                  </a:lnTo>
                  <a:lnTo>
                    <a:pt x="213" y="15"/>
                  </a:lnTo>
                  <a:lnTo>
                    <a:pt x="213" y="13"/>
                  </a:lnTo>
                  <a:lnTo>
                    <a:pt x="211" y="11"/>
                  </a:lnTo>
                  <a:lnTo>
                    <a:pt x="209" y="9"/>
                  </a:lnTo>
                  <a:lnTo>
                    <a:pt x="207" y="9"/>
                  </a:lnTo>
                  <a:lnTo>
                    <a:pt x="203" y="7"/>
                  </a:lnTo>
                  <a:lnTo>
                    <a:pt x="201" y="7"/>
                  </a:lnTo>
                  <a:lnTo>
                    <a:pt x="199" y="5"/>
                  </a:lnTo>
                  <a:lnTo>
                    <a:pt x="193" y="5"/>
                  </a:lnTo>
                  <a:lnTo>
                    <a:pt x="191" y="5"/>
                  </a:lnTo>
                  <a:lnTo>
                    <a:pt x="189" y="5"/>
                  </a:lnTo>
                  <a:lnTo>
                    <a:pt x="186" y="7"/>
                  </a:lnTo>
                  <a:lnTo>
                    <a:pt x="184" y="7"/>
                  </a:lnTo>
                  <a:lnTo>
                    <a:pt x="180" y="7"/>
                  </a:lnTo>
                  <a:lnTo>
                    <a:pt x="174" y="11"/>
                  </a:lnTo>
                  <a:lnTo>
                    <a:pt x="170" y="15"/>
                  </a:lnTo>
                  <a:lnTo>
                    <a:pt x="166" y="17"/>
                  </a:lnTo>
                  <a:lnTo>
                    <a:pt x="166" y="19"/>
                  </a:lnTo>
                  <a:lnTo>
                    <a:pt x="164" y="21"/>
                  </a:lnTo>
                  <a:lnTo>
                    <a:pt x="164" y="25"/>
                  </a:lnTo>
                  <a:lnTo>
                    <a:pt x="164" y="29"/>
                  </a:lnTo>
                  <a:lnTo>
                    <a:pt x="166" y="33"/>
                  </a:lnTo>
                  <a:lnTo>
                    <a:pt x="166" y="35"/>
                  </a:lnTo>
                  <a:lnTo>
                    <a:pt x="168" y="37"/>
                  </a:lnTo>
                  <a:lnTo>
                    <a:pt x="168" y="39"/>
                  </a:lnTo>
                  <a:lnTo>
                    <a:pt x="168" y="42"/>
                  </a:lnTo>
                  <a:lnTo>
                    <a:pt x="166" y="44"/>
                  </a:lnTo>
                  <a:lnTo>
                    <a:pt x="162" y="50"/>
                  </a:lnTo>
                  <a:lnTo>
                    <a:pt x="160" y="52"/>
                  </a:lnTo>
                  <a:lnTo>
                    <a:pt x="154" y="54"/>
                  </a:lnTo>
                  <a:lnTo>
                    <a:pt x="152" y="54"/>
                  </a:lnTo>
                  <a:lnTo>
                    <a:pt x="150" y="54"/>
                  </a:lnTo>
                  <a:lnTo>
                    <a:pt x="145" y="50"/>
                  </a:lnTo>
                  <a:lnTo>
                    <a:pt x="137" y="44"/>
                  </a:lnTo>
                  <a:lnTo>
                    <a:pt x="133" y="44"/>
                  </a:lnTo>
                  <a:lnTo>
                    <a:pt x="131" y="42"/>
                  </a:lnTo>
                  <a:lnTo>
                    <a:pt x="125" y="39"/>
                  </a:lnTo>
                  <a:lnTo>
                    <a:pt x="115" y="35"/>
                  </a:lnTo>
                  <a:lnTo>
                    <a:pt x="111" y="35"/>
                  </a:lnTo>
                  <a:lnTo>
                    <a:pt x="104" y="35"/>
                  </a:lnTo>
                  <a:lnTo>
                    <a:pt x="100" y="33"/>
                  </a:lnTo>
                  <a:lnTo>
                    <a:pt x="98" y="31"/>
                  </a:lnTo>
                  <a:lnTo>
                    <a:pt x="96" y="31"/>
                  </a:lnTo>
                  <a:lnTo>
                    <a:pt x="96" y="27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2" y="19"/>
                  </a:lnTo>
                  <a:lnTo>
                    <a:pt x="92" y="17"/>
                  </a:lnTo>
                  <a:lnTo>
                    <a:pt x="90" y="15"/>
                  </a:lnTo>
                  <a:lnTo>
                    <a:pt x="80" y="13"/>
                  </a:lnTo>
                  <a:lnTo>
                    <a:pt x="78" y="11"/>
                  </a:lnTo>
                  <a:lnTo>
                    <a:pt x="76" y="9"/>
                  </a:lnTo>
                  <a:lnTo>
                    <a:pt x="74" y="9"/>
                  </a:lnTo>
                  <a:lnTo>
                    <a:pt x="69" y="7"/>
                  </a:lnTo>
                  <a:lnTo>
                    <a:pt x="67" y="7"/>
                  </a:lnTo>
                  <a:lnTo>
                    <a:pt x="65" y="7"/>
                  </a:lnTo>
                  <a:lnTo>
                    <a:pt x="61" y="5"/>
                  </a:lnTo>
                  <a:lnTo>
                    <a:pt x="59" y="5"/>
                  </a:lnTo>
                  <a:lnTo>
                    <a:pt x="53" y="7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7"/>
                  </a:lnTo>
                  <a:lnTo>
                    <a:pt x="33" y="11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5"/>
                  </a:lnTo>
                  <a:lnTo>
                    <a:pt x="30" y="15"/>
                  </a:lnTo>
                  <a:lnTo>
                    <a:pt x="28" y="17"/>
                  </a:lnTo>
                  <a:lnTo>
                    <a:pt x="26" y="19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8" y="25"/>
                  </a:lnTo>
                  <a:lnTo>
                    <a:pt x="18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9"/>
                  </a:lnTo>
                  <a:lnTo>
                    <a:pt x="12" y="29"/>
                  </a:lnTo>
                  <a:lnTo>
                    <a:pt x="12" y="31"/>
                  </a:lnTo>
                  <a:lnTo>
                    <a:pt x="12" y="35"/>
                  </a:lnTo>
                  <a:lnTo>
                    <a:pt x="14" y="39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0" y="50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2" y="58"/>
                  </a:lnTo>
                  <a:lnTo>
                    <a:pt x="4" y="62"/>
                  </a:lnTo>
                  <a:lnTo>
                    <a:pt x="4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8" y="77"/>
                  </a:lnTo>
                  <a:lnTo>
                    <a:pt x="8" y="85"/>
                  </a:lnTo>
                  <a:lnTo>
                    <a:pt x="8" y="95"/>
                  </a:lnTo>
                  <a:lnTo>
                    <a:pt x="8" y="99"/>
                  </a:lnTo>
                  <a:lnTo>
                    <a:pt x="8" y="103"/>
                  </a:lnTo>
                  <a:lnTo>
                    <a:pt x="6" y="107"/>
                  </a:lnTo>
                  <a:lnTo>
                    <a:pt x="6" y="109"/>
                  </a:lnTo>
                  <a:lnTo>
                    <a:pt x="8" y="114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20"/>
                  </a:lnTo>
                  <a:lnTo>
                    <a:pt x="8" y="122"/>
                  </a:lnTo>
                  <a:lnTo>
                    <a:pt x="6" y="124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4" y="134"/>
                  </a:lnTo>
                  <a:lnTo>
                    <a:pt x="6" y="138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8"/>
                  </a:lnTo>
                  <a:lnTo>
                    <a:pt x="12" y="155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20" y="159"/>
                  </a:lnTo>
                  <a:lnTo>
                    <a:pt x="28" y="161"/>
                  </a:lnTo>
                  <a:lnTo>
                    <a:pt x="35" y="163"/>
                  </a:lnTo>
                  <a:lnTo>
                    <a:pt x="35" y="163"/>
                  </a:lnTo>
                  <a:lnTo>
                    <a:pt x="37" y="167"/>
                  </a:lnTo>
                  <a:lnTo>
                    <a:pt x="39" y="171"/>
                  </a:lnTo>
                  <a:lnTo>
                    <a:pt x="39" y="173"/>
                  </a:lnTo>
                  <a:lnTo>
                    <a:pt x="41" y="177"/>
                  </a:lnTo>
                  <a:lnTo>
                    <a:pt x="49" y="179"/>
                  </a:lnTo>
                  <a:lnTo>
                    <a:pt x="57" y="181"/>
                  </a:lnTo>
                  <a:lnTo>
                    <a:pt x="65" y="183"/>
                  </a:lnTo>
                  <a:lnTo>
                    <a:pt x="67" y="185"/>
                  </a:lnTo>
                  <a:lnTo>
                    <a:pt x="72" y="190"/>
                  </a:lnTo>
                  <a:lnTo>
                    <a:pt x="76" y="194"/>
                  </a:lnTo>
                  <a:lnTo>
                    <a:pt x="78" y="194"/>
                  </a:lnTo>
                  <a:lnTo>
                    <a:pt x="78" y="194"/>
                  </a:lnTo>
                  <a:lnTo>
                    <a:pt x="82" y="192"/>
                  </a:lnTo>
                  <a:lnTo>
                    <a:pt x="88" y="188"/>
                  </a:lnTo>
                  <a:lnTo>
                    <a:pt x="88" y="188"/>
                  </a:lnTo>
                  <a:lnTo>
                    <a:pt x="94" y="183"/>
                  </a:lnTo>
                  <a:lnTo>
                    <a:pt x="98" y="181"/>
                  </a:lnTo>
                  <a:lnTo>
                    <a:pt x="104" y="179"/>
                  </a:lnTo>
                  <a:lnTo>
                    <a:pt x="111" y="181"/>
                  </a:lnTo>
                  <a:lnTo>
                    <a:pt x="117" y="185"/>
                  </a:lnTo>
                  <a:lnTo>
                    <a:pt x="125" y="190"/>
                  </a:lnTo>
                  <a:lnTo>
                    <a:pt x="133" y="196"/>
                  </a:lnTo>
                  <a:lnTo>
                    <a:pt x="141" y="200"/>
                  </a:lnTo>
                  <a:lnTo>
                    <a:pt x="147" y="204"/>
                  </a:lnTo>
                  <a:lnTo>
                    <a:pt x="156" y="208"/>
                  </a:lnTo>
                  <a:lnTo>
                    <a:pt x="164" y="212"/>
                  </a:lnTo>
                  <a:lnTo>
                    <a:pt x="170" y="216"/>
                  </a:lnTo>
                  <a:lnTo>
                    <a:pt x="178" y="220"/>
                  </a:lnTo>
                  <a:lnTo>
                    <a:pt x="186" y="225"/>
                  </a:lnTo>
                  <a:lnTo>
                    <a:pt x="195" y="229"/>
                  </a:lnTo>
                  <a:lnTo>
                    <a:pt x="201" y="235"/>
                  </a:lnTo>
                  <a:lnTo>
                    <a:pt x="209" y="239"/>
                  </a:lnTo>
                  <a:lnTo>
                    <a:pt x="217" y="243"/>
                  </a:lnTo>
                  <a:lnTo>
                    <a:pt x="226" y="247"/>
                  </a:lnTo>
                  <a:lnTo>
                    <a:pt x="232" y="251"/>
                  </a:lnTo>
                  <a:lnTo>
                    <a:pt x="232" y="249"/>
                  </a:lnTo>
                  <a:lnTo>
                    <a:pt x="232" y="247"/>
                  </a:lnTo>
                  <a:lnTo>
                    <a:pt x="232" y="245"/>
                  </a:lnTo>
                  <a:lnTo>
                    <a:pt x="232" y="243"/>
                  </a:lnTo>
                  <a:lnTo>
                    <a:pt x="236" y="243"/>
                  </a:lnTo>
                  <a:lnTo>
                    <a:pt x="240" y="243"/>
                  </a:lnTo>
                  <a:lnTo>
                    <a:pt x="244" y="243"/>
                  </a:lnTo>
                  <a:lnTo>
                    <a:pt x="248" y="243"/>
                  </a:lnTo>
                  <a:lnTo>
                    <a:pt x="248" y="241"/>
                  </a:lnTo>
                  <a:lnTo>
                    <a:pt x="248" y="241"/>
                  </a:lnTo>
                  <a:lnTo>
                    <a:pt x="248" y="241"/>
                  </a:lnTo>
                  <a:lnTo>
                    <a:pt x="248" y="241"/>
                  </a:lnTo>
                  <a:lnTo>
                    <a:pt x="248" y="23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75" name="Freeform 127">
              <a:extLst>
                <a:ext uri="{FF2B5EF4-FFF2-40B4-BE49-F238E27FC236}">
                  <a16:creationId xmlns:a16="http://schemas.microsoft.com/office/drawing/2014/main" id="{698D4615-96D4-2147-80A7-6A23638AC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507" y="3348412"/>
              <a:ext cx="78434" cy="90317"/>
            </a:xfrm>
            <a:custGeom>
              <a:avLst/>
              <a:gdLst>
                <a:gd name="T0" fmla="*/ 64 w 66"/>
                <a:gd name="T1" fmla="*/ 49 h 76"/>
                <a:gd name="T2" fmla="*/ 62 w 66"/>
                <a:gd name="T3" fmla="*/ 47 h 76"/>
                <a:gd name="T4" fmla="*/ 59 w 66"/>
                <a:gd name="T5" fmla="*/ 45 h 76"/>
                <a:gd name="T6" fmla="*/ 57 w 66"/>
                <a:gd name="T7" fmla="*/ 41 h 76"/>
                <a:gd name="T8" fmla="*/ 53 w 66"/>
                <a:gd name="T9" fmla="*/ 41 h 76"/>
                <a:gd name="T10" fmla="*/ 49 w 66"/>
                <a:gd name="T11" fmla="*/ 39 h 76"/>
                <a:gd name="T12" fmla="*/ 47 w 66"/>
                <a:gd name="T13" fmla="*/ 37 h 76"/>
                <a:gd name="T14" fmla="*/ 45 w 66"/>
                <a:gd name="T15" fmla="*/ 37 h 76"/>
                <a:gd name="T16" fmla="*/ 51 w 66"/>
                <a:gd name="T17" fmla="*/ 31 h 76"/>
                <a:gd name="T18" fmla="*/ 51 w 66"/>
                <a:gd name="T19" fmla="*/ 27 h 76"/>
                <a:gd name="T20" fmla="*/ 49 w 66"/>
                <a:gd name="T21" fmla="*/ 18 h 76"/>
                <a:gd name="T22" fmla="*/ 47 w 66"/>
                <a:gd name="T23" fmla="*/ 16 h 76"/>
                <a:gd name="T24" fmla="*/ 45 w 66"/>
                <a:gd name="T25" fmla="*/ 14 h 76"/>
                <a:gd name="T26" fmla="*/ 43 w 66"/>
                <a:gd name="T27" fmla="*/ 18 h 76"/>
                <a:gd name="T28" fmla="*/ 43 w 66"/>
                <a:gd name="T29" fmla="*/ 20 h 76"/>
                <a:gd name="T30" fmla="*/ 41 w 66"/>
                <a:gd name="T31" fmla="*/ 22 h 76"/>
                <a:gd name="T32" fmla="*/ 39 w 66"/>
                <a:gd name="T33" fmla="*/ 24 h 76"/>
                <a:gd name="T34" fmla="*/ 37 w 66"/>
                <a:gd name="T35" fmla="*/ 22 h 76"/>
                <a:gd name="T36" fmla="*/ 35 w 66"/>
                <a:gd name="T37" fmla="*/ 20 h 76"/>
                <a:gd name="T38" fmla="*/ 33 w 66"/>
                <a:gd name="T39" fmla="*/ 20 h 76"/>
                <a:gd name="T40" fmla="*/ 33 w 66"/>
                <a:gd name="T41" fmla="*/ 16 h 76"/>
                <a:gd name="T42" fmla="*/ 33 w 66"/>
                <a:gd name="T43" fmla="*/ 12 h 76"/>
                <a:gd name="T44" fmla="*/ 33 w 66"/>
                <a:gd name="T45" fmla="*/ 10 h 76"/>
                <a:gd name="T46" fmla="*/ 33 w 66"/>
                <a:gd name="T47" fmla="*/ 8 h 76"/>
                <a:gd name="T48" fmla="*/ 31 w 66"/>
                <a:gd name="T49" fmla="*/ 4 h 76"/>
                <a:gd name="T50" fmla="*/ 31 w 66"/>
                <a:gd name="T51" fmla="*/ 2 h 76"/>
                <a:gd name="T52" fmla="*/ 29 w 66"/>
                <a:gd name="T53" fmla="*/ 0 h 76"/>
                <a:gd name="T54" fmla="*/ 29 w 66"/>
                <a:gd name="T55" fmla="*/ 2 h 76"/>
                <a:gd name="T56" fmla="*/ 27 w 66"/>
                <a:gd name="T57" fmla="*/ 0 h 76"/>
                <a:gd name="T58" fmla="*/ 23 w 66"/>
                <a:gd name="T59" fmla="*/ 0 h 76"/>
                <a:gd name="T60" fmla="*/ 18 w 66"/>
                <a:gd name="T61" fmla="*/ 0 h 76"/>
                <a:gd name="T62" fmla="*/ 18 w 66"/>
                <a:gd name="T63" fmla="*/ 6 h 76"/>
                <a:gd name="T64" fmla="*/ 14 w 66"/>
                <a:gd name="T65" fmla="*/ 8 h 76"/>
                <a:gd name="T66" fmla="*/ 12 w 66"/>
                <a:gd name="T67" fmla="*/ 14 h 76"/>
                <a:gd name="T68" fmla="*/ 6 w 66"/>
                <a:gd name="T69" fmla="*/ 20 h 76"/>
                <a:gd name="T70" fmla="*/ 2 w 66"/>
                <a:gd name="T71" fmla="*/ 27 h 76"/>
                <a:gd name="T72" fmla="*/ 2 w 66"/>
                <a:gd name="T73" fmla="*/ 33 h 76"/>
                <a:gd name="T74" fmla="*/ 10 w 66"/>
                <a:gd name="T75" fmla="*/ 41 h 76"/>
                <a:gd name="T76" fmla="*/ 16 w 66"/>
                <a:gd name="T77" fmla="*/ 43 h 76"/>
                <a:gd name="T78" fmla="*/ 33 w 66"/>
                <a:gd name="T79" fmla="*/ 59 h 76"/>
                <a:gd name="T80" fmla="*/ 55 w 66"/>
                <a:gd name="T81" fmla="*/ 74 h 76"/>
                <a:gd name="T82" fmla="*/ 62 w 66"/>
                <a:gd name="T83" fmla="*/ 76 h 76"/>
                <a:gd name="T84" fmla="*/ 62 w 66"/>
                <a:gd name="T85" fmla="*/ 66 h 76"/>
                <a:gd name="T86" fmla="*/ 64 w 66"/>
                <a:gd name="T87" fmla="*/ 61 h 76"/>
                <a:gd name="T88" fmla="*/ 66 w 66"/>
                <a:gd name="T89" fmla="*/ 57 h 76"/>
                <a:gd name="T90" fmla="*/ 66 w 66"/>
                <a:gd name="T91" fmla="*/ 5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6" h="76">
                  <a:moveTo>
                    <a:pt x="66" y="53"/>
                  </a:moveTo>
                  <a:lnTo>
                    <a:pt x="64" y="49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2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5"/>
                  </a:lnTo>
                  <a:lnTo>
                    <a:pt x="57" y="45"/>
                  </a:lnTo>
                  <a:lnTo>
                    <a:pt x="57" y="43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1" y="41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49" y="37"/>
                  </a:lnTo>
                  <a:lnTo>
                    <a:pt x="47" y="37"/>
                  </a:lnTo>
                  <a:lnTo>
                    <a:pt x="47" y="37"/>
                  </a:lnTo>
                  <a:lnTo>
                    <a:pt x="47" y="37"/>
                  </a:lnTo>
                  <a:lnTo>
                    <a:pt x="45" y="37"/>
                  </a:lnTo>
                  <a:lnTo>
                    <a:pt x="49" y="33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7"/>
                  </a:lnTo>
                  <a:lnTo>
                    <a:pt x="49" y="20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7" y="18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2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39" y="24"/>
                  </a:lnTo>
                  <a:lnTo>
                    <a:pt x="37" y="24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8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4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6"/>
                  </a:lnTo>
                  <a:lnTo>
                    <a:pt x="31" y="6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9" y="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8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2" y="27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33"/>
                  </a:lnTo>
                  <a:lnTo>
                    <a:pt x="8" y="35"/>
                  </a:lnTo>
                  <a:lnTo>
                    <a:pt x="10" y="37"/>
                  </a:lnTo>
                  <a:lnTo>
                    <a:pt x="10" y="41"/>
                  </a:lnTo>
                  <a:lnTo>
                    <a:pt x="12" y="41"/>
                  </a:lnTo>
                  <a:lnTo>
                    <a:pt x="14" y="43"/>
                  </a:lnTo>
                  <a:lnTo>
                    <a:pt x="16" y="43"/>
                  </a:lnTo>
                  <a:lnTo>
                    <a:pt x="18" y="45"/>
                  </a:lnTo>
                  <a:lnTo>
                    <a:pt x="29" y="55"/>
                  </a:lnTo>
                  <a:lnTo>
                    <a:pt x="33" y="59"/>
                  </a:lnTo>
                  <a:lnTo>
                    <a:pt x="37" y="64"/>
                  </a:lnTo>
                  <a:lnTo>
                    <a:pt x="51" y="72"/>
                  </a:lnTo>
                  <a:lnTo>
                    <a:pt x="55" y="74"/>
                  </a:lnTo>
                  <a:lnTo>
                    <a:pt x="62" y="76"/>
                  </a:lnTo>
                  <a:lnTo>
                    <a:pt x="64" y="76"/>
                  </a:lnTo>
                  <a:lnTo>
                    <a:pt x="62" y="76"/>
                  </a:lnTo>
                  <a:lnTo>
                    <a:pt x="62" y="72"/>
                  </a:lnTo>
                  <a:lnTo>
                    <a:pt x="62" y="68"/>
                  </a:lnTo>
                  <a:lnTo>
                    <a:pt x="62" y="66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4" y="61"/>
                  </a:lnTo>
                  <a:lnTo>
                    <a:pt x="64" y="61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6" y="55"/>
                  </a:lnTo>
                  <a:lnTo>
                    <a:pt x="66" y="55"/>
                  </a:lnTo>
                  <a:lnTo>
                    <a:pt x="66" y="53"/>
                  </a:lnTo>
                  <a:lnTo>
                    <a:pt x="66" y="5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76" name="Freeform 128">
              <a:extLst>
                <a:ext uri="{FF2B5EF4-FFF2-40B4-BE49-F238E27FC236}">
                  <a16:creationId xmlns:a16="http://schemas.microsoft.com/office/drawing/2014/main" id="{C78B94DC-B1B5-5D4D-AA90-72886C788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800" y="4156516"/>
              <a:ext cx="43970" cy="46347"/>
            </a:xfrm>
            <a:custGeom>
              <a:avLst/>
              <a:gdLst>
                <a:gd name="T0" fmla="*/ 37 w 37"/>
                <a:gd name="T1" fmla="*/ 11 h 39"/>
                <a:gd name="T2" fmla="*/ 35 w 37"/>
                <a:gd name="T3" fmla="*/ 11 h 39"/>
                <a:gd name="T4" fmla="*/ 33 w 37"/>
                <a:gd name="T5" fmla="*/ 9 h 39"/>
                <a:gd name="T6" fmla="*/ 29 w 37"/>
                <a:gd name="T7" fmla="*/ 4 h 39"/>
                <a:gd name="T8" fmla="*/ 26 w 37"/>
                <a:gd name="T9" fmla="*/ 2 h 39"/>
                <a:gd name="T10" fmla="*/ 26 w 37"/>
                <a:gd name="T11" fmla="*/ 0 h 39"/>
                <a:gd name="T12" fmla="*/ 24 w 37"/>
                <a:gd name="T13" fmla="*/ 0 h 39"/>
                <a:gd name="T14" fmla="*/ 20 w 37"/>
                <a:gd name="T15" fmla="*/ 2 h 39"/>
                <a:gd name="T16" fmla="*/ 16 w 37"/>
                <a:gd name="T17" fmla="*/ 7 h 39"/>
                <a:gd name="T18" fmla="*/ 12 w 37"/>
                <a:gd name="T19" fmla="*/ 7 h 39"/>
                <a:gd name="T20" fmla="*/ 10 w 37"/>
                <a:gd name="T21" fmla="*/ 11 h 39"/>
                <a:gd name="T22" fmla="*/ 8 w 37"/>
                <a:gd name="T23" fmla="*/ 13 h 39"/>
                <a:gd name="T24" fmla="*/ 6 w 37"/>
                <a:gd name="T25" fmla="*/ 15 h 39"/>
                <a:gd name="T26" fmla="*/ 4 w 37"/>
                <a:gd name="T27" fmla="*/ 19 h 39"/>
                <a:gd name="T28" fmla="*/ 2 w 37"/>
                <a:gd name="T29" fmla="*/ 19 h 39"/>
                <a:gd name="T30" fmla="*/ 0 w 37"/>
                <a:gd name="T31" fmla="*/ 21 h 39"/>
                <a:gd name="T32" fmla="*/ 2 w 37"/>
                <a:gd name="T33" fmla="*/ 23 h 39"/>
                <a:gd name="T34" fmla="*/ 4 w 37"/>
                <a:gd name="T35" fmla="*/ 27 h 39"/>
                <a:gd name="T36" fmla="*/ 6 w 37"/>
                <a:gd name="T37" fmla="*/ 29 h 39"/>
                <a:gd name="T38" fmla="*/ 6 w 37"/>
                <a:gd name="T39" fmla="*/ 31 h 39"/>
                <a:gd name="T40" fmla="*/ 6 w 37"/>
                <a:gd name="T41" fmla="*/ 33 h 39"/>
                <a:gd name="T42" fmla="*/ 6 w 37"/>
                <a:gd name="T43" fmla="*/ 33 h 39"/>
                <a:gd name="T44" fmla="*/ 8 w 37"/>
                <a:gd name="T45" fmla="*/ 35 h 39"/>
                <a:gd name="T46" fmla="*/ 10 w 37"/>
                <a:gd name="T47" fmla="*/ 37 h 39"/>
                <a:gd name="T48" fmla="*/ 12 w 37"/>
                <a:gd name="T49" fmla="*/ 37 h 39"/>
                <a:gd name="T50" fmla="*/ 16 w 37"/>
                <a:gd name="T51" fmla="*/ 37 h 39"/>
                <a:gd name="T52" fmla="*/ 16 w 37"/>
                <a:gd name="T53" fmla="*/ 37 h 39"/>
                <a:gd name="T54" fmla="*/ 18 w 37"/>
                <a:gd name="T55" fmla="*/ 35 h 39"/>
                <a:gd name="T56" fmla="*/ 20 w 37"/>
                <a:gd name="T57" fmla="*/ 29 h 39"/>
                <a:gd name="T58" fmla="*/ 22 w 37"/>
                <a:gd name="T59" fmla="*/ 29 h 39"/>
                <a:gd name="T60" fmla="*/ 24 w 37"/>
                <a:gd name="T61" fmla="*/ 29 h 39"/>
                <a:gd name="T62" fmla="*/ 26 w 37"/>
                <a:gd name="T63" fmla="*/ 29 h 39"/>
                <a:gd name="T64" fmla="*/ 31 w 37"/>
                <a:gd name="T65" fmla="*/ 27 h 39"/>
                <a:gd name="T66" fmla="*/ 33 w 37"/>
                <a:gd name="T67" fmla="*/ 25 h 39"/>
                <a:gd name="T68" fmla="*/ 33 w 37"/>
                <a:gd name="T69" fmla="*/ 21 h 39"/>
                <a:gd name="T70" fmla="*/ 35 w 37"/>
                <a:gd name="T71" fmla="*/ 19 h 39"/>
                <a:gd name="T72" fmla="*/ 37 w 37"/>
                <a:gd name="T73" fmla="*/ 17 h 39"/>
                <a:gd name="T74" fmla="*/ 37 w 37"/>
                <a:gd name="T75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" h="39">
                  <a:moveTo>
                    <a:pt x="37" y="13"/>
                  </a:moveTo>
                  <a:lnTo>
                    <a:pt x="37" y="11"/>
                  </a:lnTo>
                  <a:lnTo>
                    <a:pt x="37" y="11"/>
                  </a:lnTo>
                  <a:lnTo>
                    <a:pt x="35" y="11"/>
                  </a:lnTo>
                  <a:lnTo>
                    <a:pt x="35" y="9"/>
                  </a:lnTo>
                  <a:lnTo>
                    <a:pt x="33" y="9"/>
                  </a:lnTo>
                  <a:lnTo>
                    <a:pt x="31" y="7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2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6" y="7"/>
                  </a:lnTo>
                  <a:lnTo>
                    <a:pt x="14" y="7"/>
                  </a:lnTo>
                  <a:lnTo>
                    <a:pt x="12" y="7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5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4" y="31"/>
                  </a:lnTo>
                  <a:lnTo>
                    <a:pt x="6" y="31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8" y="33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2" y="37"/>
                  </a:lnTo>
                  <a:lnTo>
                    <a:pt x="14" y="39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5"/>
                  </a:lnTo>
                  <a:lnTo>
                    <a:pt x="18" y="35"/>
                  </a:lnTo>
                  <a:lnTo>
                    <a:pt x="20" y="31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6" y="29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3" y="25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7" y="1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77" name="Freeform 129">
              <a:extLst>
                <a:ext uri="{FF2B5EF4-FFF2-40B4-BE49-F238E27FC236}">
                  <a16:creationId xmlns:a16="http://schemas.microsoft.com/office/drawing/2014/main" id="{2173044A-6849-C144-BA3C-B6166B5F5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9595" y="2776798"/>
              <a:ext cx="26145" cy="35652"/>
            </a:xfrm>
            <a:custGeom>
              <a:avLst/>
              <a:gdLst>
                <a:gd name="T0" fmla="*/ 20 w 22"/>
                <a:gd name="T1" fmla="*/ 6 h 30"/>
                <a:gd name="T2" fmla="*/ 18 w 22"/>
                <a:gd name="T3" fmla="*/ 4 h 30"/>
                <a:gd name="T4" fmla="*/ 18 w 22"/>
                <a:gd name="T5" fmla="*/ 4 h 30"/>
                <a:gd name="T6" fmla="*/ 16 w 22"/>
                <a:gd name="T7" fmla="*/ 4 h 30"/>
                <a:gd name="T8" fmla="*/ 16 w 22"/>
                <a:gd name="T9" fmla="*/ 4 h 30"/>
                <a:gd name="T10" fmla="*/ 18 w 22"/>
                <a:gd name="T11" fmla="*/ 2 h 30"/>
                <a:gd name="T12" fmla="*/ 18 w 22"/>
                <a:gd name="T13" fmla="*/ 2 h 30"/>
                <a:gd name="T14" fmla="*/ 18 w 22"/>
                <a:gd name="T15" fmla="*/ 2 h 30"/>
                <a:gd name="T16" fmla="*/ 16 w 22"/>
                <a:gd name="T17" fmla="*/ 0 h 30"/>
                <a:gd name="T18" fmla="*/ 16 w 22"/>
                <a:gd name="T19" fmla="*/ 2 h 30"/>
                <a:gd name="T20" fmla="*/ 14 w 22"/>
                <a:gd name="T21" fmla="*/ 2 h 30"/>
                <a:gd name="T22" fmla="*/ 12 w 22"/>
                <a:gd name="T23" fmla="*/ 2 h 30"/>
                <a:gd name="T24" fmla="*/ 12 w 22"/>
                <a:gd name="T25" fmla="*/ 4 h 30"/>
                <a:gd name="T26" fmla="*/ 10 w 22"/>
                <a:gd name="T27" fmla="*/ 4 h 30"/>
                <a:gd name="T28" fmla="*/ 10 w 22"/>
                <a:gd name="T29" fmla="*/ 6 h 30"/>
                <a:gd name="T30" fmla="*/ 8 w 22"/>
                <a:gd name="T31" fmla="*/ 8 h 30"/>
                <a:gd name="T32" fmla="*/ 6 w 22"/>
                <a:gd name="T33" fmla="*/ 12 h 30"/>
                <a:gd name="T34" fmla="*/ 6 w 22"/>
                <a:gd name="T35" fmla="*/ 16 h 30"/>
                <a:gd name="T36" fmla="*/ 4 w 22"/>
                <a:gd name="T37" fmla="*/ 22 h 30"/>
                <a:gd name="T38" fmla="*/ 2 w 22"/>
                <a:gd name="T39" fmla="*/ 24 h 30"/>
                <a:gd name="T40" fmla="*/ 2 w 22"/>
                <a:gd name="T41" fmla="*/ 26 h 30"/>
                <a:gd name="T42" fmla="*/ 2 w 22"/>
                <a:gd name="T43" fmla="*/ 28 h 30"/>
                <a:gd name="T44" fmla="*/ 0 w 22"/>
                <a:gd name="T45" fmla="*/ 30 h 30"/>
                <a:gd name="T46" fmla="*/ 2 w 22"/>
                <a:gd name="T47" fmla="*/ 30 h 30"/>
                <a:gd name="T48" fmla="*/ 4 w 22"/>
                <a:gd name="T49" fmla="*/ 30 h 30"/>
                <a:gd name="T50" fmla="*/ 6 w 22"/>
                <a:gd name="T51" fmla="*/ 30 h 30"/>
                <a:gd name="T52" fmla="*/ 6 w 22"/>
                <a:gd name="T53" fmla="*/ 28 h 30"/>
                <a:gd name="T54" fmla="*/ 6 w 22"/>
                <a:gd name="T55" fmla="*/ 26 h 30"/>
                <a:gd name="T56" fmla="*/ 8 w 22"/>
                <a:gd name="T57" fmla="*/ 26 h 30"/>
                <a:gd name="T58" fmla="*/ 8 w 22"/>
                <a:gd name="T59" fmla="*/ 26 h 30"/>
                <a:gd name="T60" fmla="*/ 8 w 22"/>
                <a:gd name="T61" fmla="*/ 26 h 30"/>
                <a:gd name="T62" fmla="*/ 10 w 22"/>
                <a:gd name="T63" fmla="*/ 26 h 30"/>
                <a:gd name="T64" fmla="*/ 10 w 22"/>
                <a:gd name="T65" fmla="*/ 24 h 30"/>
                <a:gd name="T66" fmla="*/ 12 w 22"/>
                <a:gd name="T67" fmla="*/ 24 h 30"/>
                <a:gd name="T68" fmla="*/ 12 w 22"/>
                <a:gd name="T69" fmla="*/ 24 h 30"/>
                <a:gd name="T70" fmla="*/ 12 w 22"/>
                <a:gd name="T71" fmla="*/ 22 h 30"/>
                <a:gd name="T72" fmla="*/ 12 w 22"/>
                <a:gd name="T73" fmla="*/ 22 h 30"/>
                <a:gd name="T74" fmla="*/ 12 w 22"/>
                <a:gd name="T75" fmla="*/ 22 h 30"/>
                <a:gd name="T76" fmla="*/ 14 w 22"/>
                <a:gd name="T77" fmla="*/ 20 h 30"/>
                <a:gd name="T78" fmla="*/ 14 w 22"/>
                <a:gd name="T79" fmla="*/ 20 h 30"/>
                <a:gd name="T80" fmla="*/ 14 w 22"/>
                <a:gd name="T81" fmla="*/ 20 h 30"/>
                <a:gd name="T82" fmla="*/ 12 w 22"/>
                <a:gd name="T83" fmla="*/ 20 h 30"/>
                <a:gd name="T84" fmla="*/ 12 w 22"/>
                <a:gd name="T85" fmla="*/ 20 h 30"/>
                <a:gd name="T86" fmla="*/ 12 w 22"/>
                <a:gd name="T87" fmla="*/ 18 h 30"/>
                <a:gd name="T88" fmla="*/ 12 w 22"/>
                <a:gd name="T89" fmla="*/ 18 h 30"/>
                <a:gd name="T90" fmla="*/ 14 w 22"/>
                <a:gd name="T91" fmla="*/ 16 h 30"/>
                <a:gd name="T92" fmla="*/ 14 w 22"/>
                <a:gd name="T93" fmla="*/ 16 h 30"/>
                <a:gd name="T94" fmla="*/ 16 w 22"/>
                <a:gd name="T95" fmla="*/ 16 h 30"/>
                <a:gd name="T96" fmla="*/ 16 w 22"/>
                <a:gd name="T97" fmla="*/ 16 h 30"/>
                <a:gd name="T98" fmla="*/ 18 w 22"/>
                <a:gd name="T99" fmla="*/ 16 h 30"/>
                <a:gd name="T100" fmla="*/ 18 w 22"/>
                <a:gd name="T101" fmla="*/ 16 h 30"/>
                <a:gd name="T102" fmla="*/ 18 w 22"/>
                <a:gd name="T103" fmla="*/ 16 h 30"/>
                <a:gd name="T104" fmla="*/ 18 w 22"/>
                <a:gd name="T105" fmla="*/ 16 h 30"/>
                <a:gd name="T106" fmla="*/ 18 w 22"/>
                <a:gd name="T107" fmla="*/ 14 h 30"/>
                <a:gd name="T108" fmla="*/ 18 w 22"/>
                <a:gd name="T109" fmla="*/ 14 h 30"/>
                <a:gd name="T110" fmla="*/ 18 w 22"/>
                <a:gd name="T111" fmla="*/ 14 h 30"/>
                <a:gd name="T112" fmla="*/ 18 w 22"/>
                <a:gd name="T113" fmla="*/ 12 h 30"/>
                <a:gd name="T114" fmla="*/ 20 w 22"/>
                <a:gd name="T115" fmla="*/ 12 h 30"/>
                <a:gd name="T116" fmla="*/ 20 w 22"/>
                <a:gd name="T117" fmla="*/ 12 h 30"/>
                <a:gd name="T118" fmla="*/ 20 w 22"/>
                <a:gd name="T119" fmla="*/ 10 h 30"/>
                <a:gd name="T120" fmla="*/ 22 w 22"/>
                <a:gd name="T121" fmla="*/ 10 h 30"/>
                <a:gd name="T122" fmla="*/ 20 w 22"/>
                <a:gd name="T123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" h="30">
                  <a:moveTo>
                    <a:pt x="20" y="6"/>
                  </a:moveTo>
                  <a:lnTo>
                    <a:pt x="18" y="4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12"/>
                  </a:lnTo>
                  <a:lnTo>
                    <a:pt x="6" y="16"/>
                  </a:lnTo>
                  <a:lnTo>
                    <a:pt x="4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6" y="28"/>
                  </a:lnTo>
                  <a:lnTo>
                    <a:pt x="6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10" y="26"/>
                  </a:lnTo>
                  <a:lnTo>
                    <a:pt x="10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22" y="10"/>
                  </a:lnTo>
                  <a:lnTo>
                    <a:pt x="20" y="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78" name="Freeform 130">
              <a:extLst>
                <a:ext uri="{FF2B5EF4-FFF2-40B4-BE49-F238E27FC236}">
                  <a16:creationId xmlns:a16="http://schemas.microsoft.com/office/drawing/2014/main" id="{0E26AF5F-1A49-9B4F-92D0-51EBA0F273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35" y="2280052"/>
              <a:ext cx="114085" cy="48724"/>
            </a:xfrm>
            <a:custGeom>
              <a:avLst/>
              <a:gdLst>
                <a:gd name="T0" fmla="*/ 94 w 96"/>
                <a:gd name="T1" fmla="*/ 27 h 41"/>
                <a:gd name="T2" fmla="*/ 92 w 96"/>
                <a:gd name="T3" fmla="*/ 25 h 41"/>
                <a:gd name="T4" fmla="*/ 90 w 96"/>
                <a:gd name="T5" fmla="*/ 21 h 41"/>
                <a:gd name="T6" fmla="*/ 88 w 96"/>
                <a:gd name="T7" fmla="*/ 21 h 41"/>
                <a:gd name="T8" fmla="*/ 88 w 96"/>
                <a:gd name="T9" fmla="*/ 17 h 41"/>
                <a:gd name="T10" fmla="*/ 90 w 96"/>
                <a:gd name="T11" fmla="*/ 15 h 41"/>
                <a:gd name="T12" fmla="*/ 88 w 96"/>
                <a:gd name="T13" fmla="*/ 13 h 41"/>
                <a:gd name="T14" fmla="*/ 84 w 96"/>
                <a:gd name="T15" fmla="*/ 11 h 41"/>
                <a:gd name="T16" fmla="*/ 82 w 96"/>
                <a:gd name="T17" fmla="*/ 11 h 41"/>
                <a:gd name="T18" fmla="*/ 78 w 96"/>
                <a:gd name="T19" fmla="*/ 8 h 41"/>
                <a:gd name="T20" fmla="*/ 72 w 96"/>
                <a:gd name="T21" fmla="*/ 8 h 41"/>
                <a:gd name="T22" fmla="*/ 68 w 96"/>
                <a:gd name="T23" fmla="*/ 6 h 41"/>
                <a:gd name="T24" fmla="*/ 63 w 96"/>
                <a:gd name="T25" fmla="*/ 4 h 41"/>
                <a:gd name="T26" fmla="*/ 59 w 96"/>
                <a:gd name="T27" fmla="*/ 2 h 41"/>
                <a:gd name="T28" fmla="*/ 53 w 96"/>
                <a:gd name="T29" fmla="*/ 0 h 41"/>
                <a:gd name="T30" fmla="*/ 53 w 96"/>
                <a:gd name="T31" fmla="*/ 2 h 41"/>
                <a:gd name="T32" fmla="*/ 51 w 96"/>
                <a:gd name="T33" fmla="*/ 0 h 41"/>
                <a:gd name="T34" fmla="*/ 47 w 96"/>
                <a:gd name="T35" fmla="*/ 2 h 41"/>
                <a:gd name="T36" fmla="*/ 41 w 96"/>
                <a:gd name="T37" fmla="*/ 4 h 41"/>
                <a:gd name="T38" fmla="*/ 43 w 96"/>
                <a:gd name="T39" fmla="*/ 13 h 41"/>
                <a:gd name="T40" fmla="*/ 39 w 96"/>
                <a:gd name="T41" fmla="*/ 17 h 41"/>
                <a:gd name="T42" fmla="*/ 29 w 96"/>
                <a:gd name="T43" fmla="*/ 17 h 41"/>
                <a:gd name="T44" fmla="*/ 20 w 96"/>
                <a:gd name="T45" fmla="*/ 8 h 41"/>
                <a:gd name="T46" fmla="*/ 14 w 96"/>
                <a:gd name="T47" fmla="*/ 6 h 41"/>
                <a:gd name="T48" fmla="*/ 4 w 96"/>
                <a:gd name="T49" fmla="*/ 13 h 41"/>
                <a:gd name="T50" fmla="*/ 4 w 96"/>
                <a:gd name="T51" fmla="*/ 19 h 41"/>
                <a:gd name="T52" fmla="*/ 0 w 96"/>
                <a:gd name="T53" fmla="*/ 25 h 41"/>
                <a:gd name="T54" fmla="*/ 4 w 96"/>
                <a:gd name="T55" fmla="*/ 33 h 41"/>
                <a:gd name="T56" fmla="*/ 14 w 96"/>
                <a:gd name="T57" fmla="*/ 29 h 41"/>
                <a:gd name="T58" fmla="*/ 20 w 96"/>
                <a:gd name="T59" fmla="*/ 29 h 41"/>
                <a:gd name="T60" fmla="*/ 26 w 96"/>
                <a:gd name="T61" fmla="*/ 29 h 41"/>
                <a:gd name="T62" fmla="*/ 29 w 96"/>
                <a:gd name="T63" fmla="*/ 29 h 41"/>
                <a:gd name="T64" fmla="*/ 37 w 96"/>
                <a:gd name="T65" fmla="*/ 29 h 41"/>
                <a:gd name="T66" fmla="*/ 45 w 96"/>
                <a:gd name="T67" fmla="*/ 31 h 41"/>
                <a:gd name="T68" fmla="*/ 49 w 96"/>
                <a:gd name="T69" fmla="*/ 29 h 41"/>
                <a:gd name="T70" fmla="*/ 51 w 96"/>
                <a:gd name="T71" fmla="*/ 29 h 41"/>
                <a:gd name="T72" fmla="*/ 55 w 96"/>
                <a:gd name="T73" fmla="*/ 33 h 41"/>
                <a:gd name="T74" fmla="*/ 66 w 96"/>
                <a:gd name="T75" fmla="*/ 35 h 41"/>
                <a:gd name="T76" fmla="*/ 70 w 96"/>
                <a:gd name="T77" fmla="*/ 39 h 41"/>
                <a:gd name="T78" fmla="*/ 76 w 96"/>
                <a:gd name="T79" fmla="*/ 41 h 41"/>
                <a:gd name="T80" fmla="*/ 78 w 96"/>
                <a:gd name="T81" fmla="*/ 41 h 41"/>
                <a:gd name="T82" fmla="*/ 82 w 96"/>
                <a:gd name="T83" fmla="*/ 39 h 41"/>
                <a:gd name="T84" fmla="*/ 86 w 96"/>
                <a:gd name="T85" fmla="*/ 39 h 41"/>
                <a:gd name="T86" fmla="*/ 90 w 96"/>
                <a:gd name="T87" fmla="*/ 37 h 41"/>
                <a:gd name="T88" fmla="*/ 94 w 96"/>
                <a:gd name="T89" fmla="*/ 33 h 41"/>
                <a:gd name="T90" fmla="*/ 96 w 96"/>
                <a:gd name="T91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" h="41">
                  <a:moveTo>
                    <a:pt x="96" y="31"/>
                  </a:moveTo>
                  <a:lnTo>
                    <a:pt x="94" y="29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0" y="23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6" y="13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82" y="8"/>
                  </a:lnTo>
                  <a:lnTo>
                    <a:pt x="82" y="11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2" y="8"/>
                  </a:lnTo>
                  <a:lnTo>
                    <a:pt x="70" y="8"/>
                  </a:lnTo>
                  <a:lnTo>
                    <a:pt x="68" y="8"/>
                  </a:lnTo>
                  <a:lnTo>
                    <a:pt x="68" y="6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1" y="4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7" y="2"/>
                  </a:lnTo>
                  <a:lnTo>
                    <a:pt x="55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7" y="2"/>
                  </a:lnTo>
                  <a:lnTo>
                    <a:pt x="43" y="2"/>
                  </a:lnTo>
                  <a:lnTo>
                    <a:pt x="43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3" y="8"/>
                  </a:lnTo>
                  <a:lnTo>
                    <a:pt x="43" y="13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39" y="17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29" y="17"/>
                  </a:lnTo>
                  <a:lnTo>
                    <a:pt x="26" y="13"/>
                  </a:lnTo>
                  <a:lnTo>
                    <a:pt x="24" y="13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0" y="8"/>
                  </a:lnTo>
                  <a:lnTo>
                    <a:pt x="8" y="8"/>
                  </a:lnTo>
                  <a:lnTo>
                    <a:pt x="4" y="13"/>
                  </a:lnTo>
                  <a:lnTo>
                    <a:pt x="4" y="15"/>
                  </a:lnTo>
                  <a:lnTo>
                    <a:pt x="4" y="17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4" y="33"/>
                  </a:lnTo>
                  <a:lnTo>
                    <a:pt x="8" y="31"/>
                  </a:lnTo>
                  <a:lnTo>
                    <a:pt x="10" y="31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8" y="29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4" y="29"/>
                  </a:lnTo>
                  <a:lnTo>
                    <a:pt x="26" y="29"/>
                  </a:lnTo>
                  <a:lnTo>
                    <a:pt x="26" y="31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9" y="31"/>
                  </a:lnTo>
                  <a:lnTo>
                    <a:pt x="41" y="31"/>
                  </a:lnTo>
                  <a:lnTo>
                    <a:pt x="45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3" y="31"/>
                  </a:lnTo>
                  <a:lnTo>
                    <a:pt x="53" y="33"/>
                  </a:lnTo>
                  <a:lnTo>
                    <a:pt x="55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6" y="35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4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80" y="39"/>
                  </a:lnTo>
                  <a:lnTo>
                    <a:pt x="82" y="39"/>
                  </a:lnTo>
                  <a:lnTo>
                    <a:pt x="84" y="39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92" y="35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1"/>
                  </a:lnTo>
                  <a:lnTo>
                    <a:pt x="96" y="31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79" name="Freeform 132">
              <a:extLst>
                <a:ext uri="{FF2B5EF4-FFF2-40B4-BE49-F238E27FC236}">
                  <a16:creationId xmlns:a16="http://schemas.microsoft.com/office/drawing/2014/main" id="{39114EA5-F544-DD4D-9BB6-1D8FC0432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9447" y="2876622"/>
              <a:ext cx="35652" cy="34463"/>
            </a:xfrm>
            <a:custGeom>
              <a:avLst/>
              <a:gdLst>
                <a:gd name="T0" fmla="*/ 24 w 30"/>
                <a:gd name="T1" fmla="*/ 10 h 29"/>
                <a:gd name="T2" fmla="*/ 24 w 30"/>
                <a:gd name="T3" fmla="*/ 10 h 29"/>
                <a:gd name="T4" fmla="*/ 26 w 30"/>
                <a:gd name="T5" fmla="*/ 8 h 29"/>
                <a:gd name="T6" fmla="*/ 24 w 30"/>
                <a:gd name="T7" fmla="*/ 4 h 29"/>
                <a:gd name="T8" fmla="*/ 22 w 30"/>
                <a:gd name="T9" fmla="*/ 4 h 29"/>
                <a:gd name="T10" fmla="*/ 22 w 30"/>
                <a:gd name="T11" fmla="*/ 4 h 29"/>
                <a:gd name="T12" fmla="*/ 22 w 30"/>
                <a:gd name="T13" fmla="*/ 6 h 29"/>
                <a:gd name="T14" fmla="*/ 22 w 30"/>
                <a:gd name="T15" fmla="*/ 8 h 29"/>
                <a:gd name="T16" fmla="*/ 28 w 30"/>
                <a:gd name="T17" fmla="*/ 27 h 29"/>
                <a:gd name="T18" fmla="*/ 26 w 30"/>
                <a:gd name="T19" fmla="*/ 23 h 29"/>
                <a:gd name="T20" fmla="*/ 22 w 30"/>
                <a:gd name="T21" fmla="*/ 16 h 29"/>
                <a:gd name="T22" fmla="*/ 22 w 30"/>
                <a:gd name="T23" fmla="*/ 14 h 29"/>
                <a:gd name="T24" fmla="*/ 20 w 30"/>
                <a:gd name="T25" fmla="*/ 14 h 29"/>
                <a:gd name="T26" fmla="*/ 16 w 30"/>
                <a:gd name="T27" fmla="*/ 14 h 29"/>
                <a:gd name="T28" fmla="*/ 18 w 30"/>
                <a:gd name="T29" fmla="*/ 12 h 29"/>
                <a:gd name="T30" fmla="*/ 22 w 30"/>
                <a:gd name="T31" fmla="*/ 10 h 29"/>
                <a:gd name="T32" fmla="*/ 22 w 30"/>
                <a:gd name="T33" fmla="*/ 10 h 29"/>
                <a:gd name="T34" fmla="*/ 22 w 30"/>
                <a:gd name="T35" fmla="*/ 8 h 29"/>
                <a:gd name="T36" fmla="*/ 20 w 30"/>
                <a:gd name="T37" fmla="*/ 4 h 29"/>
                <a:gd name="T38" fmla="*/ 16 w 30"/>
                <a:gd name="T39" fmla="*/ 0 h 29"/>
                <a:gd name="T40" fmla="*/ 14 w 30"/>
                <a:gd name="T41" fmla="*/ 0 h 29"/>
                <a:gd name="T42" fmla="*/ 10 w 30"/>
                <a:gd name="T43" fmla="*/ 0 h 29"/>
                <a:gd name="T44" fmla="*/ 6 w 30"/>
                <a:gd name="T45" fmla="*/ 2 h 29"/>
                <a:gd name="T46" fmla="*/ 6 w 30"/>
                <a:gd name="T47" fmla="*/ 4 h 29"/>
                <a:gd name="T48" fmla="*/ 4 w 30"/>
                <a:gd name="T49" fmla="*/ 8 h 29"/>
                <a:gd name="T50" fmla="*/ 2 w 30"/>
                <a:gd name="T51" fmla="*/ 14 h 29"/>
                <a:gd name="T52" fmla="*/ 0 w 30"/>
                <a:gd name="T53" fmla="*/ 18 h 29"/>
                <a:gd name="T54" fmla="*/ 6 w 30"/>
                <a:gd name="T55" fmla="*/ 21 h 29"/>
                <a:gd name="T56" fmla="*/ 14 w 30"/>
                <a:gd name="T57" fmla="*/ 21 h 29"/>
                <a:gd name="T58" fmla="*/ 16 w 30"/>
                <a:gd name="T59" fmla="*/ 25 h 29"/>
                <a:gd name="T60" fmla="*/ 18 w 30"/>
                <a:gd name="T61" fmla="*/ 29 h 29"/>
                <a:gd name="T62" fmla="*/ 24 w 30"/>
                <a:gd name="T63" fmla="*/ 29 h 29"/>
                <a:gd name="T64" fmla="*/ 30 w 30"/>
                <a:gd name="T6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29">
                  <a:moveTo>
                    <a:pt x="22" y="8"/>
                  </a:move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8"/>
                  </a:lnTo>
                  <a:close/>
                  <a:moveTo>
                    <a:pt x="28" y="27"/>
                  </a:moveTo>
                  <a:lnTo>
                    <a:pt x="28" y="27"/>
                  </a:lnTo>
                  <a:lnTo>
                    <a:pt x="28" y="25"/>
                  </a:lnTo>
                  <a:lnTo>
                    <a:pt x="26" y="23"/>
                  </a:lnTo>
                  <a:lnTo>
                    <a:pt x="24" y="21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8" y="12"/>
                  </a:lnTo>
                  <a:lnTo>
                    <a:pt x="20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6" y="21"/>
                  </a:lnTo>
                  <a:lnTo>
                    <a:pt x="8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5"/>
                  </a:lnTo>
                  <a:lnTo>
                    <a:pt x="16" y="27"/>
                  </a:lnTo>
                  <a:lnTo>
                    <a:pt x="18" y="29"/>
                  </a:lnTo>
                  <a:lnTo>
                    <a:pt x="20" y="29"/>
                  </a:lnTo>
                  <a:lnTo>
                    <a:pt x="24" y="29"/>
                  </a:lnTo>
                  <a:lnTo>
                    <a:pt x="26" y="29"/>
                  </a:lnTo>
                  <a:lnTo>
                    <a:pt x="30" y="29"/>
                  </a:lnTo>
                  <a:lnTo>
                    <a:pt x="28" y="2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80" name="Freeform 134">
              <a:extLst>
                <a:ext uri="{FF2B5EF4-FFF2-40B4-BE49-F238E27FC236}">
                  <a16:creationId xmlns:a16="http://schemas.microsoft.com/office/drawing/2014/main" id="{CF959DCE-CA77-3A47-ABA4-EBB1685FB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6759" y="2592598"/>
              <a:ext cx="30898" cy="29710"/>
            </a:xfrm>
            <a:custGeom>
              <a:avLst/>
              <a:gdLst>
                <a:gd name="T0" fmla="*/ 26 w 26"/>
                <a:gd name="T1" fmla="*/ 11 h 25"/>
                <a:gd name="T2" fmla="*/ 20 w 26"/>
                <a:gd name="T3" fmla="*/ 9 h 25"/>
                <a:gd name="T4" fmla="*/ 20 w 26"/>
                <a:gd name="T5" fmla="*/ 7 h 25"/>
                <a:gd name="T6" fmla="*/ 18 w 26"/>
                <a:gd name="T7" fmla="*/ 5 h 25"/>
                <a:gd name="T8" fmla="*/ 16 w 26"/>
                <a:gd name="T9" fmla="*/ 2 h 25"/>
                <a:gd name="T10" fmla="*/ 12 w 26"/>
                <a:gd name="T11" fmla="*/ 2 h 25"/>
                <a:gd name="T12" fmla="*/ 12 w 26"/>
                <a:gd name="T13" fmla="*/ 0 h 25"/>
                <a:gd name="T14" fmla="*/ 12 w 26"/>
                <a:gd name="T15" fmla="*/ 0 h 25"/>
                <a:gd name="T16" fmla="*/ 10 w 26"/>
                <a:gd name="T17" fmla="*/ 0 h 25"/>
                <a:gd name="T18" fmla="*/ 8 w 26"/>
                <a:gd name="T19" fmla="*/ 0 h 25"/>
                <a:gd name="T20" fmla="*/ 10 w 26"/>
                <a:gd name="T21" fmla="*/ 2 h 25"/>
                <a:gd name="T22" fmla="*/ 10 w 26"/>
                <a:gd name="T23" fmla="*/ 5 h 25"/>
                <a:gd name="T24" fmla="*/ 6 w 26"/>
                <a:gd name="T25" fmla="*/ 7 h 25"/>
                <a:gd name="T26" fmla="*/ 8 w 26"/>
                <a:gd name="T27" fmla="*/ 7 h 25"/>
                <a:gd name="T28" fmla="*/ 4 w 26"/>
                <a:gd name="T29" fmla="*/ 9 h 25"/>
                <a:gd name="T30" fmla="*/ 2 w 26"/>
                <a:gd name="T31" fmla="*/ 9 h 25"/>
                <a:gd name="T32" fmla="*/ 0 w 26"/>
                <a:gd name="T33" fmla="*/ 9 h 25"/>
                <a:gd name="T34" fmla="*/ 2 w 26"/>
                <a:gd name="T35" fmla="*/ 11 h 25"/>
                <a:gd name="T36" fmla="*/ 2 w 26"/>
                <a:gd name="T37" fmla="*/ 13 h 25"/>
                <a:gd name="T38" fmla="*/ 4 w 26"/>
                <a:gd name="T39" fmla="*/ 15 h 25"/>
                <a:gd name="T40" fmla="*/ 6 w 26"/>
                <a:gd name="T41" fmla="*/ 17 h 25"/>
                <a:gd name="T42" fmla="*/ 8 w 26"/>
                <a:gd name="T43" fmla="*/ 19 h 25"/>
                <a:gd name="T44" fmla="*/ 10 w 26"/>
                <a:gd name="T45" fmla="*/ 21 h 25"/>
                <a:gd name="T46" fmla="*/ 10 w 26"/>
                <a:gd name="T47" fmla="*/ 25 h 25"/>
                <a:gd name="T48" fmla="*/ 12 w 26"/>
                <a:gd name="T49" fmla="*/ 25 h 25"/>
                <a:gd name="T50" fmla="*/ 12 w 26"/>
                <a:gd name="T51" fmla="*/ 23 h 25"/>
                <a:gd name="T52" fmla="*/ 12 w 26"/>
                <a:gd name="T53" fmla="*/ 21 h 25"/>
                <a:gd name="T54" fmla="*/ 18 w 26"/>
                <a:gd name="T55" fmla="*/ 19 h 25"/>
                <a:gd name="T56" fmla="*/ 18 w 26"/>
                <a:gd name="T57" fmla="*/ 21 h 25"/>
                <a:gd name="T58" fmla="*/ 20 w 26"/>
                <a:gd name="T59" fmla="*/ 19 h 25"/>
                <a:gd name="T60" fmla="*/ 20 w 26"/>
                <a:gd name="T61" fmla="*/ 19 h 25"/>
                <a:gd name="T62" fmla="*/ 24 w 26"/>
                <a:gd name="T63" fmla="*/ 17 h 25"/>
                <a:gd name="T64" fmla="*/ 22 w 26"/>
                <a:gd name="T65" fmla="*/ 17 h 25"/>
                <a:gd name="T66" fmla="*/ 24 w 26"/>
                <a:gd name="T67" fmla="*/ 15 h 25"/>
                <a:gd name="T68" fmla="*/ 26 w 26"/>
                <a:gd name="T69" fmla="*/ 11 h 25"/>
                <a:gd name="T70" fmla="*/ 26 w 26"/>
                <a:gd name="T71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" h="25">
                  <a:moveTo>
                    <a:pt x="26" y="11"/>
                  </a:moveTo>
                  <a:lnTo>
                    <a:pt x="26" y="11"/>
                  </a:lnTo>
                  <a:lnTo>
                    <a:pt x="24" y="11"/>
                  </a:lnTo>
                  <a:lnTo>
                    <a:pt x="20" y="9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8" y="5"/>
                  </a:lnTo>
                  <a:lnTo>
                    <a:pt x="6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6" y="7"/>
                  </a:lnTo>
                  <a:lnTo>
                    <a:pt x="4" y="9"/>
                  </a:lnTo>
                  <a:lnTo>
                    <a:pt x="4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4" y="15"/>
                  </a:lnTo>
                  <a:lnTo>
                    <a:pt x="4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0" y="21"/>
                  </a:lnTo>
                  <a:lnTo>
                    <a:pt x="10" y="23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6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1"/>
                  </a:lnTo>
                  <a:lnTo>
                    <a:pt x="20" y="21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11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81" name="Freeform 137">
              <a:extLst>
                <a:ext uri="{FF2B5EF4-FFF2-40B4-BE49-F238E27FC236}">
                  <a16:creationId xmlns:a16="http://schemas.microsoft.com/office/drawing/2014/main" id="{615C48B0-766B-3B47-81A7-B0AC58976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9595" y="3413774"/>
              <a:ext cx="153302" cy="222229"/>
            </a:xfrm>
            <a:custGeom>
              <a:avLst/>
              <a:gdLst>
                <a:gd name="T0" fmla="*/ 115 w 129"/>
                <a:gd name="T1" fmla="*/ 140 h 187"/>
                <a:gd name="T2" fmla="*/ 117 w 129"/>
                <a:gd name="T3" fmla="*/ 138 h 187"/>
                <a:gd name="T4" fmla="*/ 121 w 129"/>
                <a:gd name="T5" fmla="*/ 29 h 187"/>
                <a:gd name="T6" fmla="*/ 117 w 129"/>
                <a:gd name="T7" fmla="*/ 27 h 187"/>
                <a:gd name="T8" fmla="*/ 107 w 129"/>
                <a:gd name="T9" fmla="*/ 25 h 187"/>
                <a:gd name="T10" fmla="*/ 96 w 129"/>
                <a:gd name="T11" fmla="*/ 33 h 187"/>
                <a:gd name="T12" fmla="*/ 86 w 129"/>
                <a:gd name="T13" fmla="*/ 37 h 187"/>
                <a:gd name="T14" fmla="*/ 76 w 129"/>
                <a:gd name="T15" fmla="*/ 35 h 187"/>
                <a:gd name="T16" fmla="*/ 66 w 129"/>
                <a:gd name="T17" fmla="*/ 33 h 187"/>
                <a:gd name="T18" fmla="*/ 53 w 129"/>
                <a:gd name="T19" fmla="*/ 23 h 187"/>
                <a:gd name="T20" fmla="*/ 43 w 129"/>
                <a:gd name="T21" fmla="*/ 19 h 187"/>
                <a:gd name="T22" fmla="*/ 35 w 129"/>
                <a:gd name="T23" fmla="*/ 19 h 187"/>
                <a:gd name="T24" fmla="*/ 31 w 129"/>
                <a:gd name="T25" fmla="*/ 11 h 187"/>
                <a:gd name="T26" fmla="*/ 31 w 129"/>
                <a:gd name="T27" fmla="*/ 4 h 187"/>
                <a:gd name="T28" fmla="*/ 25 w 129"/>
                <a:gd name="T29" fmla="*/ 2 h 187"/>
                <a:gd name="T30" fmla="*/ 22 w 129"/>
                <a:gd name="T31" fmla="*/ 0 h 187"/>
                <a:gd name="T32" fmla="*/ 12 w 129"/>
                <a:gd name="T33" fmla="*/ 13 h 187"/>
                <a:gd name="T34" fmla="*/ 4 w 129"/>
                <a:gd name="T35" fmla="*/ 29 h 187"/>
                <a:gd name="T36" fmla="*/ 6 w 129"/>
                <a:gd name="T37" fmla="*/ 33 h 187"/>
                <a:gd name="T38" fmla="*/ 8 w 129"/>
                <a:gd name="T39" fmla="*/ 39 h 187"/>
                <a:gd name="T40" fmla="*/ 12 w 129"/>
                <a:gd name="T41" fmla="*/ 48 h 187"/>
                <a:gd name="T42" fmla="*/ 16 w 129"/>
                <a:gd name="T43" fmla="*/ 54 h 187"/>
                <a:gd name="T44" fmla="*/ 16 w 129"/>
                <a:gd name="T45" fmla="*/ 56 h 187"/>
                <a:gd name="T46" fmla="*/ 18 w 129"/>
                <a:gd name="T47" fmla="*/ 68 h 187"/>
                <a:gd name="T48" fmla="*/ 16 w 129"/>
                <a:gd name="T49" fmla="*/ 72 h 187"/>
                <a:gd name="T50" fmla="*/ 14 w 129"/>
                <a:gd name="T51" fmla="*/ 78 h 187"/>
                <a:gd name="T52" fmla="*/ 12 w 129"/>
                <a:gd name="T53" fmla="*/ 78 h 187"/>
                <a:gd name="T54" fmla="*/ 8 w 129"/>
                <a:gd name="T55" fmla="*/ 85 h 187"/>
                <a:gd name="T56" fmla="*/ 4 w 129"/>
                <a:gd name="T57" fmla="*/ 93 h 187"/>
                <a:gd name="T58" fmla="*/ 2 w 129"/>
                <a:gd name="T59" fmla="*/ 101 h 187"/>
                <a:gd name="T60" fmla="*/ 2 w 129"/>
                <a:gd name="T61" fmla="*/ 120 h 187"/>
                <a:gd name="T62" fmla="*/ 12 w 129"/>
                <a:gd name="T63" fmla="*/ 126 h 187"/>
                <a:gd name="T64" fmla="*/ 25 w 129"/>
                <a:gd name="T65" fmla="*/ 134 h 187"/>
                <a:gd name="T66" fmla="*/ 39 w 129"/>
                <a:gd name="T67" fmla="*/ 142 h 187"/>
                <a:gd name="T68" fmla="*/ 53 w 129"/>
                <a:gd name="T69" fmla="*/ 152 h 187"/>
                <a:gd name="T70" fmla="*/ 62 w 129"/>
                <a:gd name="T71" fmla="*/ 157 h 187"/>
                <a:gd name="T72" fmla="*/ 62 w 129"/>
                <a:gd name="T73" fmla="*/ 163 h 187"/>
                <a:gd name="T74" fmla="*/ 62 w 129"/>
                <a:gd name="T75" fmla="*/ 165 h 187"/>
                <a:gd name="T76" fmla="*/ 64 w 129"/>
                <a:gd name="T77" fmla="*/ 169 h 187"/>
                <a:gd name="T78" fmla="*/ 74 w 129"/>
                <a:gd name="T79" fmla="*/ 177 h 187"/>
                <a:gd name="T80" fmla="*/ 84 w 129"/>
                <a:gd name="T81" fmla="*/ 185 h 187"/>
                <a:gd name="T82" fmla="*/ 88 w 129"/>
                <a:gd name="T83" fmla="*/ 185 h 187"/>
                <a:gd name="T84" fmla="*/ 94 w 129"/>
                <a:gd name="T85" fmla="*/ 177 h 187"/>
                <a:gd name="T86" fmla="*/ 94 w 129"/>
                <a:gd name="T87" fmla="*/ 173 h 187"/>
                <a:gd name="T88" fmla="*/ 98 w 129"/>
                <a:gd name="T89" fmla="*/ 165 h 187"/>
                <a:gd name="T90" fmla="*/ 103 w 129"/>
                <a:gd name="T91" fmla="*/ 157 h 187"/>
                <a:gd name="T92" fmla="*/ 107 w 129"/>
                <a:gd name="T93" fmla="*/ 148 h 187"/>
                <a:gd name="T94" fmla="*/ 115 w 129"/>
                <a:gd name="T95" fmla="*/ 142 h 187"/>
                <a:gd name="T96" fmla="*/ 115 w 129"/>
                <a:gd name="T97" fmla="*/ 138 h 187"/>
                <a:gd name="T98" fmla="*/ 117 w 129"/>
                <a:gd name="T99" fmla="*/ 138 h 187"/>
                <a:gd name="T100" fmla="*/ 125 w 129"/>
                <a:gd name="T101" fmla="*/ 132 h 187"/>
                <a:gd name="T102" fmla="*/ 119 w 129"/>
                <a:gd name="T103" fmla="*/ 124 h 187"/>
                <a:gd name="T104" fmla="*/ 115 w 129"/>
                <a:gd name="T105" fmla="*/ 107 h 187"/>
                <a:gd name="T106" fmla="*/ 115 w 129"/>
                <a:gd name="T107" fmla="*/ 52 h 187"/>
                <a:gd name="T108" fmla="*/ 121 w 129"/>
                <a:gd name="T109" fmla="*/ 41 h 187"/>
                <a:gd name="T110" fmla="*/ 127 w 129"/>
                <a:gd name="T111" fmla="*/ 29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9" h="187">
                  <a:moveTo>
                    <a:pt x="117" y="138"/>
                  </a:moveTo>
                  <a:lnTo>
                    <a:pt x="115" y="140"/>
                  </a:lnTo>
                  <a:lnTo>
                    <a:pt x="115" y="140"/>
                  </a:lnTo>
                  <a:lnTo>
                    <a:pt x="115" y="140"/>
                  </a:lnTo>
                  <a:lnTo>
                    <a:pt x="117" y="140"/>
                  </a:lnTo>
                  <a:lnTo>
                    <a:pt x="117" y="140"/>
                  </a:lnTo>
                  <a:lnTo>
                    <a:pt x="117" y="140"/>
                  </a:lnTo>
                  <a:lnTo>
                    <a:pt x="117" y="138"/>
                  </a:lnTo>
                  <a:lnTo>
                    <a:pt x="117" y="138"/>
                  </a:lnTo>
                  <a:close/>
                  <a:moveTo>
                    <a:pt x="127" y="29"/>
                  </a:moveTo>
                  <a:lnTo>
                    <a:pt x="123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17" y="29"/>
                  </a:lnTo>
                  <a:lnTo>
                    <a:pt x="117" y="27"/>
                  </a:lnTo>
                  <a:lnTo>
                    <a:pt x="115" y="27"/>
                  </a:lnTo>
                  <a:lnTo>
                    <a:pt x="113" y="25"/>
                  </a:lnTo>
                  <a:lnTo>
                    <a:pt x="111" y="23"/>
                  </a:lnTo>
                  <a:lnTo>
                    <a:pt x="107" y="25"/>
                  </a:lnTo>
                  <a:lnTo>
                    <a:pt x="105" y="27"/>
                  </a:lnTo>
                  <a:lnTo>
                    <a:pt x="98" y="29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94" y="35"/>
                  </a:lnTo>
                  <a:lnTo>
                    <a:pt x="92" y="37"/>
                  </a:lnTo>
                  <a:lnTo>
                    <a:pt x="90" y="37"/>
                  </a:lnTo>
                  <a:lnTo>
                    <a:pt x="86" y="37"/>
                  </a:lnTo>
                  <a:lnTo>
                    <a:pt x="84" y="37"/>
                  </a:lnTo>
                  <a:lnTo>
                    <a:pt x="82" y="37"/>
                  </a:lnTo>
                  <a:lnTo>
                    <a:pt x="78" y="35"/>
                  </a:lnTo>
                  <a:lnTo>
                    <a:pt x="76" y="35"/>
                  </a:lnTo>
                  <a:lnTo>
                    <a:pt x="74" y="35"/>
                  </a:lnTo>
                  <a:lnTo>
                    <a:pt x="70" y="35"/>
                  </a:lnTo>
                  <a:lnTo>
                    <a:pt x="68" y="33"/>
                  </a:lnTo>
                  <a:lnTo>
                    <a:pt x="66" y="33"/>
                  </a:lnTo>
                  <a:lnTo>
                    <a:pt x="64" y="31"/>
                  </a:lnTo>
                  <a:lnTo>
                    <a:pt x="59" y="27"/>
                  </a:lnTo>
                  <a:lnTo>
                    <a:pt x="57" y="25"/>
                  </a:lnTo>
                  <a:lnTo>
                    <a:pt x="53" y="23"/>
                  </a:lnTo>
                  <a:lnTo>
                    <a:pt x="49" y="21"/>
                  </a:lnTo>
                  <a:lnTo>
                    <a:pt x="47" y="21"/>
                  </a:lnTo>
                  <a:lnTo>
                    <a:pt x="47" y="19"/>
                  </a:lnTo>
                  <a:lnTo>
                    <a:pt x="43" y="19"/>
                  </a:lnTo>
                  <a:lnTo>
                    <a:pt x="39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4"/>
                  </a:lnTo>
                  <a:lnTo>
                    <a:pt x="16" y="6"/>
                  </a:lnTo>
                  <a:lnTo>
                    <a:pt x="12" y="13"/>
                  </a:lnTo>
                  <a:lnTo>
                    <a:pt x="8" y="17"/>
                  </a:lnTo>
                  <a:lnTo>
                    <a:pt x="4" y="21"/>
                  </a:lnTo>
                  <a:lnTo>
                    <a:pt x="2" y="23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6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10" y="35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2" y="48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8" y="64"/>
                  </a:lnTo>
                  <a:lnTo>
                    <a:pt x="18" y="66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4" y="76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0" y="80"/>
                  </a:lnTo>
                  <a:lnTo>
                    <a:pt x="10" y="83"/>
                  </a:lnTo>
                  <a:lnTo>
                    <a:pt x="8" y="85"/>
                  </a:lnTo>
                  <a:lnTo>
                    <a:pt x="6" y="89"/>
                  </a:lnTo>
                  <a:lnTo>
                    <a:pt x="6" y="89"/>
                  </a:lnTo>
                  <a:lnTo>
                    <a:pt x="4" y="91"/>
                  </a:lnTo>
                  <a:lnTo>
                    <a:pt x="4" y="93"/>
                  </a:lnTo>
                  <a:lnTo>
                    <a:pt x="4" y="95"/>
                  </a:lnTo>
                  <a:lnTo>
                    <a:pt x="2" y="95"/>
                  </a:lnTo>
                  <a:lnTo>
                    <a:pt x="2" y="97"/>
                  </a:lnTo>
                  <a:lnTo>
                    <a:pt x="2" y="101"/>
                  </a:lnTo>
                  <a:lnTo>
                    <a:pt x="2" y="109"/>
                  </a:lnTo>
                  <a:lnTo>
                    <a:pt x="0" y="115"/>
                  </a:lnTo>
                  <a:lnTo>
                    <a:pt x="0" y="120"/>
                  </a:lnTo>
                  <a:lnTo>
                    <a:pt x="2" y="120"/>
                  </a:lnTo>
                  <a:lnTo>
                    <a:pt x="4" y="120"/>
                  </a:lnTo>
                  <a:lnTo>
                    <a:pt x="4" y="122"/>
                  </a:lnTo>
                  <a:lnTo>
                    <a:pt x="8" y="124"/>
                  </a:lnTo>
                  <a:lnTo>
                    <a:pt x="12" y="126"/>
                  </a:lnTo>
                  <a:lnTo>
                    <a:pt x="14" y="128"/>
                  </a:lnTo>
                  <a:lnTo>
                    <a:pt x="18" y="130"/>
                  </a:lnTo>
                  <a:lnTo>
                    <a:pt x="22" y="132"/>
                  </a:lnTo>
                  <a:lnTo>
                    <a:pt x="25" y="134"/>
                  </a:lnTo>
                  <a:lnTo>
                    <a:pt x="29" y="136"/>
                  </a:lnTo>
                  <a:lnTo>
                    <a:pt x="33" y="138"/>
                  </a:lnTo>
                  <a:lnTo>
                    <a:pt x="35" y="140"/>
                  </a:lnTo>
                  <a:lnTo>
                    <a:pt x="39" y="142"/>
                  </a:lnTo>
                  <a:lnTo>
                    <a:pt x="43" y="144"/>
                  </a:lnTo>
                  <a:lnTo>
                    <a:pt x="45" y="146"/>
                  </a:lnTo>
                  <a:lnTo>
                    <a:pt x="49" y="150"/>
                  </a:lnTo>
                  <a:lnTo>
                    <a:pt x="53" y="152"/>
                  </a:lnTo>
                  <a:lnTo>
                    <a:pt x="55" y="154"/>
                  </a:lnTo>
                  <a:lnTo>
                    <a:pt x="59" y="157"/>
                  </a:lnTo>
                  <a:lnTo>
                    <a:pt x="62" y="157"/>
                  </a:lnTo>
                  <a:lnTo>
                    <a:pt x="62" y="157"/>
                  </a:lnTo>
                  <a:lnTo>
                    <a:pt x="62" y="159"/>
                  </a:lnTo>
                  <a:lnTo>
                    <a:pt x="62" y="161"/>
                  </a:lnTo>
                  <a:lnTo>
                    <a:pt x="62" y="163"/>
                  </a:lnTo>
                  <a:lnTo>
                    <a:pt x="62" y="163"/>
                  </a:lnTo>
                  <a:lnTo>
                    <a:pt x="59" y="165"/>
                  </a:lnTo>
                  <a:lnTo>
                    <a:pt x="59" y="165"/>
                  </a:lnTo>
                  <a:lnTo>
                    <a:pt x="62" y="165"/>
                  </a:lnTo>
                  <a:lnTo>
                    <a:pt x="62" y="165"/>
                  </a:lnTo>
                  <a:lnTo>
                    <a:pt x="62" y="167"/>
                  </a:lnTo>
                  <a:lnTo>
                    <a:pt x="62" y="167"/>
                  </a:lnTo>
                  <a:lnTo>
                    <a:pt x="64" y="167"/>
                  </a:lnTo>
                  <a:lnTo>
                    <a:pt x="64" y="169"/>
                  </a:lnTo>
                  <a:lnTo>
                    <a:pt x="66" y="169"/>
                  </a:lnTo>
                  <a:lnTo>
                    <a:pt x="68" y="171"/>
                  </a:lnTo>
                  <a:lnTo>
                    <a:pt x="72" y="175"/>
                  </a:lnTo>
                  <a:lnTo>
                    <a:pt x="74" y="177"/>
                  </a:lnTo>
                  <a:lnTo>
                    <a:pt x="78" y="179"/>
                  </a:lnTo>
                  <a:lnTo>
                    <a:pt x="80" y="181"/>
                  </a:lnTo>
                  <a:lnTo>
                    <a:pt x="82" y="183"/>
                  </a:lnTo>
                  <a:lnTo>
                    <a:pt x="84" y="185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90" y="183"/>
                  </a:lnTo>
                  <a:lnTo>
                    <a:pt x="92" y="177"/>
                  </a:lnTo>
                  <a:lnTo>
                    <a:pt x="94" y="177"/>
                  </a:lnTo>
                  <a:lnTo>
                    <a:pt x="94" y="175"/>
                  </a:lnTo>
                  <a:lnTo>
                    <a:pt x="94" y="175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6" y="171"/>
                  </a:lnTo>
                  <a:lnTo>
                    <a:pt x="96" y="167"/>
                  </a:lnTo>
                  <a:lnTo>
                    <a:pt x="98" y="167"/>
                  </a:lnTo>
                  <a:lnTo>
                    <a:pt x="98" y="165"/>
                  </a:lnTo>
                  <a:lnTo>
                    <a:pt x="98" y="163"/>
                  </a:lnTo>
                  <a:lnTo>
                    <a:pt x="101" y="161"/>
                  </a:lnTo>
                  <a:lnTo>
                    <a:pt x="101" y="159"/>
                  </a:lnTo>
                  <a:lnTo>
                    <a:pt x="103" y="157"/>
                  </a:lnTo>
                  <a:lnTo>
                    <a:pt x="103" y="152"/>
                  </a:lnTo>
                  <a:lnTo>
                    <a:pt x="103" y="150"/>
                  </a:lnTo>
                  <a:lnTo>
                    <a:pt x="105" y="148"/>
                  </a:lnTo>
                  <a:lnTo>
                    <a:pt x="107" y="148"/>
                  </a:lnTo>
                  <a:lnTo>
                    <a:pt x="109" y="148"/>
                  </a:lnTo>
                  <a:lnTo>
                    <a:pt x="113" y="144"/>
                  </a:lnTo>
                  <a:lnTo>
                    <a:pt x="113" y="144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40"/>
                  </a:lnTo>
                  <a:lnTo>
                    <a:pt x="113" y="138"/>
                  </a:lnTo>
                  <a:lnTo>
                    <a:pt x="115" y="138"/>
                  </a:lnTo>
                  <a:lnTo>
                    <a:pt x="115" y="138"/>
                  </a:lnTo>
                  <a:lnTo>
                    <a:pt x="115" y="138"/>
                  </a:lnTo>
                  <a:lnTo>
                    <a:pt x="115" y="136"/>
                  </a:lnTo>
                  <a:lnTo>
                    <a:pt x="117" y="138"/>
                  </a:lnTo>
                  <a:lnTo>
                    <a:pt x="117" y="138"/>
                  </a:lnTo>
                  <a:lnTo>
                    <a:pt x="119" y="136"/>
                  </a:lnTo>
                  <a:lnTo>
                    <a:pt x="121" y="136"/>
                  </a:lnTo>
                  <a:lnTo>
                    <a:pt x="125" y="132"/>
                  </a:lnTo>
                  <a:lnTo>
                    <a:pt x="125" y="130"/>
                  </a:lnTo>
                  <a:lnTo>
                    <a:pt x="123" y="130"/>
                  </a:lnTo>
                  <a:lnTo>
                    <a:pt x="123" y="128"/>
                  </a:lnTo>
                  <a:lnTo>
                    <a:pt x="119" y="124"/>
                  </a:lnTo>
                  <a:lnTo>
                    <a:pt x="117" y="120"/>
                  </a:lnTo>
                  <a:lnTo>
                    <a:pt x="115" y="117"/>
                  </a:lnTo>
                  <a:lnTo>
                    <a:pt x="115" y="115"/>
                  </a:lnTo>
                  <a:lnTo>
                    <a:pt x="115" y="107"/>
                  </a:lnTo>
                  <a:lnTo>
                    <a:pt x="115" y="91"/>
                  </a:lnTo>
                  <a:lnTo>
                    <a:pt x="115" y="76"/>
                  </a:lnTo>
                  <a:lnTo>
                    <a:pt x="115" y="60"/>
                  </a:lnTo>
                  <a:lnTo>
                    <a:pt x="115" y="52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7" y="46"/>
                  </a:lnTo>
                  <a:lnTo>
                    <a:pt x="121" y="41"/>
                  </a:lnTo>
                  <a:lnTo>
                    <a:pt x="125" y="35"/>
                  </a:lnTo>
                  <a:lnTo>
                    <a:pt x="127" y="31"/>
                  </a:lnTo>
                  <a:lnTo>
                    <a:pt x="129" y="29"/>
                  </a:lnTo>
                  <a:lnTo>
                    <a:pt x="127" y="2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4F8E967D-3F07-104F-937A-F882A5F4A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8851" y="2463063"/>
              <a:ext cx="2377" cy="3565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0 h 3"/>
                <a:gd name="T4" fmla="*/ 0 w 2"/>
                <a:gd name="T5" fmla="*/ 0 h 3"/>
                <a:gd name="T6" fmla="*/ 0 w 2"/>
                <a:gd name="T7" fmla="*/ 0 h 3"/>
                <a:gd name="T8" fmla="*/ 0 w 2"/>
                <a:gd name="T9" fmla="*/ 0 h 3"/>
                <a:gd name="T10" fmla="*/ 2 w 2"/>
                <a:gd name="T11" fmla="*/ 0 h 3"/>
                <a:gd name="T12" fmla="*/ 2 w 2"/>
                <a:gd name="T13" fmla="*/ 3 h 3"/>
                <a:gd name="T14" fmla="*/ 2 w 2"/>
                <a:gd name="T15" fmla="*/ 0 h 3"/>
                <a:gd name="T16" fmla="*/ 2 w 2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83" name="Freeform 142">
              <a:extLst>
                <a:ext uri="{FF2B5EF4-FFF2-40B4-BE49-F238E27FC236}">
                  <a16:creationId xmlns:a16="http://schemas.microsoft.com/office/drawing/2014/main" id="{C71A290F-0EC7-AF4E-84F5-E4D1440660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1984" y="3299688"/>
              <a:ext cx="120027" cy="139041"/>
            </a:xfrm>
            <a:custGeom>
              <a:avLst/>
              <a:gdLst>
                <a:gd name="T0" fmla="*/ 86 w 101"/>
                <a:gd name="T1" fmla="*/ 102 h 117"/>
                <a:gd name="T2" fmla="*/ 97 w 101"/>
                <a:gd name="T3" fmla="*/ 33 h 117"/>
                <a:gd name="T4" fmla="*/ 97 w 101"/>
                <a:gd name="T5" fmla="*/ 26 h 117"/>
                <a:gd name="T6" fmla="*/ 97 w 101"/>
                <a:gd name="T7" fmla="*/ 24 h 117"/>
                <a:gd name="T8" fmla="*/ 93 w 101"/>
                <a:gd name="T9" fmla="*/ 20 h 117"/>
                <a:gd name="T10" fmla="*/ 88 w 101"/>
                <a:gd name="T11" fmla="*/ 16 h 117"/>
                <a:gd name="T12" fmla="*/ 78 w 101"/>
                <a:gd name="T13" fmla="*/ 16 h 117"/>
                <a:gd name="T14" fmla="*/ 70 w 101"/>
                <a:gd name="T15" fmla="*/ 20 h 117"/>
                <a:gd name="T16" fmla="*/ 64 w 101"/>
                <a:gd name="T17" fmla="*/ 16 h 117"/>
                <a:gd name="T18" fmla="*/ 58 w 101"/>
                <a:gd name="T19" fmla="*/ 10 h 117"/>
                <a:gd name="T20" fmla="*/ 51 w 101"/>
                <a:gd name="T21" fmla="*/ 6 h 117"/>
                <a:gd name="T22" fmla="*/ 45 w 101"/>
                <a:gd name="T23" fmla="*/ 8 h 117"/>
                <a:gd name="T24" fmla="*/ 41 w 101"/>
                <a:gd name="T25" fmla="*/ 10 h 117"/>
                <a:gd name="T26" fmla="*/ 41 w 101"/>
                <a:gd name="T27" fmla="*/ 6 h 117"/>
                <a:gd name="T28" fmla="*/ 39 w 101"/>
                <a:gd name="T29" fmla="*/ 0 h 117"/>
                <a:gd name="T30" fmla="*/ 37 w 101"/>
                <a:gd name="T31" fmla="*/ 4 h 117"/>
                <a:gd name="T32" fmla="*/ 33 w 101"/>
                <a:gd name="T33" fmla="*/ 2 h 117"/>
                <a:gd name="T34" fmla="*/ 31 w 101"/>
                <a:gd name="T35" fmla="*/ 8 h 117"/>
                <a:gd name="T36" fmla="*/ 27 w 101"/>
                <a:gd name="T37" fmla="*/ 8 h 117"/>
                <a:gd name="T38" fmla="*/ 27 w 101"/>
                <a:gd name="T39" fmla="*/ 10 h 117"/>
                <a:gd name="T40" fmla="*/ 21 w 101"/>
                <a:gd name="T41" fmla="*/ 8 h 117"/>
                <a:gd name="T42" fmla="*/ 17 w 101"/>
                <a:gd name="T43" fmla="*/ 6 h 117"/>
                <a:gd name="T44" fmla="*/ 12 w 101"/>
                <a:gd name="T45" fmla="*/ 10 h 117"/>
                <a:gd name="T46" fmla="*/ 8 w 101"/>
                <a:gd name="T47" fmla="*/ 16 h 117"/>
                <a:gd name="T48" fmla="*/ 12 w 101"/>
                <a:gd name="T49" fmla="*/ 24 h 117"/>
                <a:gd name="T50" fmla="*/ 14 w 101"/>
                <a:gd name="T51" fmla="*/ 30 h 117"/>
                <a:gd name="T52" fmla="*/ 12 w 101"/>
                <a:gd name="T53" fmla="*/ 37 h 117"/>
                <a:gd name="T54" fmla="*/ 17 w 101"/>
                <a:gd name="T55" fmla="*/ 43 h 117"/>
                <a:gd name="T56" fmla="*/ 12 w 101"/>
                <a:gd name="T57" fmla="*/ 41 h 117"/>
                <a:gd name="T58" fmla="*/ 6 w 101"/>
                <a:gd name="T59" fmla="*/ 43 h 117"/>
                <a:gd name="T60" fmla="*/ 10 w 101"/>
                <a:gd name="T61" fmla="*/ 47 h 117"/>
                <a:gd name="T62" fmla="*/ 8 w 101"/>
                <a:gd name="T63" fmla="*/ 53 h 117"/>
                <a:gd name="T64" fmla="*/ 4 w 101"/>
                <a:gd name="T65" fmla="*/ 57 h 117"/>
                <a:gd name="T66" fmla="*/ 4 w 101"/>
                <a:gd name="T67" fmla="*/ 61 h 117"/>
                <a:gd name="T68" fmla="*/ 6 w 101"/>
                <a:gd name="T69" fmla="*/ 72 h 117"/>
                <a:gd name="T70" fmla="*/ 2 w 101"/>
                <a:gd name="T71" fmla="*/ 78 h 117"/>
                <a:gd name="T72" fmla="*/ 8 w 101"/>
                <a:gd name="T73" fmla="*/ 82 h 117"/>
                <a:gd name="T74" fmla="*/ 12 w 101"/>
                <a:gd name="T75" fmla="*/ 84 h 117"/>
                <a:gd name="T76" fmla="*/ 17 w 101"/>
                <a:gd name="T77" fmla="*/ 88 h 117"/>
                <a:gd name="T78" fmla="*/ 21 w 101"/>
                <a:gd name="T79" fmla="*/ 94 h 117"/>
                <a:gd name="T80" fmla="*/ 19 w 101"/>
                <a:gd name="T81" fmla="*/ 100 h 117"/>
                <a:gd name="T82" fmla="*/ 17 w 101"/>
                <a:gd name="T83" fmla="*/ 107 h 117"/>
                <a:gd name="T84" fmla="*/ 21 w 101"/>
                <a:gd name="T85" fmla="*/ 117 h 117"/>
                <a:gd name="T86" fmla="*/ 33 w 101"/>
                <a:gd name="T87" fmla="*/ 111 h 117"/>
                <a:gd name="T88" fmla="*/ 58 w 101"/>
                <a:gd name="T89" fmla="*/ 102 h 117"/>
                <a:gd name="T90" fmla="*/ 58 w 101"/>
                <a:gd name="T91" fmla="*/ 102 h 117"/>
                <a:gd name="T92" fmla="*/ 74 w 101"/>
                <a:gd name="T93" fmla="*/ 100 h 117"/>
                <a:gd name="T94" fmla="*/ 74 w 101"/>
                <a:gd name="T95" fmla="*/ 100 h 117"/>
                <a:gd name="T96" fmla="*/ 88 w 101"/>
                <a:gd name="T97" fmla="*/ 98 h 117"/>
                <a:gd name="T98" fmla="*/ 90 w 101"/>
                <a:gd name="T99" fmla="*/ 102 h 117"/>
                <a:gd name="T100" fmla="*/ 95 w 101"/>
                <a:gd name="T101" fmla="*/ 102 h 117"/>
                <a:gd name="T102" fmla="*/ 95 w 101"/>
                <a:gd name="T103" fmla="*/ 94 h 117"/>
                <a:gd name="T104" fmla="*/ 90 w 101"/>
                <a:gd name="T105" fmla="*/ 90 h 117"/>
                <a:gd name="T106" fmla="*/ 88 w 101"/>
                <a:gd name="T107" fmla="*/ 78 h 117"/>
                <a:gd name="T108" fmla="*/ 88 w 101"/>
                <a:gd name="T109" fmla="*/ 70 h 117"/>
                <a:gd name="T110" fmla="*/ 93 w 101"/>
                <a:gd name="T111" fmla="*/ 59 h 117"/>
                <a:gd name="T112" fmla="*/ 95 w 101"/>
                <a:gd name="T113" fmla="*/ 51 h 117"/>
                <a:gd name="T114" fmla="*/ 99 w 101"/>
                <a:gd name="T115" fmla="*/ 4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1" h="117">
                  <a:moveTo>
                    <a:pt x="86" y="102"/>
                  </a:moveTo>
                  <a:lnTo>
                    <a:pt x="90" y="105"/>
                  </a:lnTo>
                  <a:lnTo>
                    <a:pt x="90" y="102"/>
                  </a:lnTo>
                  <a:lnTo>
                    <a:pt x="88" y="102"/>
                  </a:lnTo>
                  <a:lnTo>
                    <a:pt x="86" y="102"/>
                  </a:lnTo>
                  <a:close/>
                  <a:moveTo>
                    <a:pt x="99" y="41"/>
                  </a:moveTo>
                  <a:lnTo>
                    <a:pt x="99" y="37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7" y="33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5" y="24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2" y="14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68" y="20"/>
                  </a:lnTo>
                  <a:lnTo>
                    <a:pt x="68" y="18"/>
                  </a:lnTo>
                  <a:lnTo>
                    <a:pt x="66" y="18"/>
                  </a:lnTo>
                  <a:lnTo>
                    <a:pt x="64" y="18"/>
                  </a:lnTo>
                  <a:lnTo>
                    <a:pt x="64" y="16"/>
                  </a:lnTo>
                  <a:lnTo>
                    <a:pt x="62" y="16"/>
                  </a:lnTo>
                  <a:lnTo>
                    <a:pt x="60" y="14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8"/>
                  </a:lnTo>
                  <a:lnTo>
                    <a:pt x="53" y="8"/>
                  </a:lnTo>
                  <a:lnTo>
                    <a:pt x="51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6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1" y="8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9" y="2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3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5" y="10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8" y="22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7" y="39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0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5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51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5"/>
                  </a:lnTo>
                  <a:lnTo>
                    <a:pt x="8" y="57"/>
                  </a:lnTo>
                  <a:lnTo>
                    <a:pt x="6" y="59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61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4" y="74"/>
                  </a:lnTo>
                  <a:lnTo>
                    <a:pt x="0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4" y="78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6" y="82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82"/>
                  </a:lnTo>
                  <a:lnTo>
                    <a:pt x="12" y="84"/>
                  </a:lnTo>
                  <a:lnTo>
                    <a:pt x="12" y="86"/>
                  </a:lnTo>
                  <a:lnTo>
                    <a:pt x="14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7" y="88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6"/>
                  </a:lnTo>
                  <a:lnTo>
                    <a:pt x="21" y="96"/>
                  </a:lnTo>
                  <a:lnTo>
                    <a:pt x="21" y="98"/>
                  </a:lnTo>
                  <a:lnTo>
                    <a:pt x="19" y="100"/>
                  </a:lnTo>
                  <a:lnTo>
                    <a:pt x="19" y="102"/>
                  </a:lnTo>
                  <a:lnTo>
                    <a:pt x="19" y="102"/>
                  </a:lnTo>
                  <a:lnTo>
                    <a:pt x="17" y="105"/>
                  </a:lnTo>
                  <a:lnTo>
                    <a:pt x="17" y="105"/>
                  </a:lnTo>
                  <a:lnTo>
                    <a:pt x="17" y="107"/>
                  </a:lnTo>
                  <a:lnTo>
                    <a:pt x="17" y="109"/>
                  </a:lnTo>
                  <a:lnTo>
                    <a:pt x="17" y="113"/>
                  </a:lnTo>
                  <a:lnTo>
                    <a:pt x="17" y="117"/>
                  </a:lnTo>
                  <a:lnTo>
                    <a:pt x="19" y="117"/>
                  </a:lnTo>
                  <a:lnTo>
                    <a:pt x="21" y="117"/>
                  </a:lnTo>
                  <a:lnTo>
                    <a:pt x="23" y="115"/>
                  </a:lnTo>
                  <a:lnTo>
                    <a:pt x="25" y="113"/>
                  </a:lnTo>
                  <a:lnTo>
                    <a:pt x="27" y="113"/>
                  </a:lnTo>
                  <a:lnTo>
                    <a:pt x="29" y="111"/>
                  </a:lnTo>
                  <a:lnTo>
                    <a:pt x="33" y="111"/>
                  </a:lnTo>
                  <a:lnTo>
                    <a:pt x="41" y="107"/>
                  </a:lnTo>
                  <a:lnTo>
                    <a:pt x="43" y="105"/>
                  </a:lnTo>
                  <a:lnTo>
                    <a:pt x="49" y="105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58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4" y="102"/>
                  </a:lnTo>
                  <a:lnTo>
                    <a:pt x="74" y="100"/>
                  </a:lnTo>
                  <a:lnTo>
                    <a:pt x="74" y="100"/>
                  </a:lnTo>
                  <a:lnTo>
                    <a:pt x="74" y="100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70" y="100"/>
                  </a:lnTo>
                  <a:lnTo>
                    <a:pt x="74" y="100"/>
                  </a:lnTo>
                  <a:lnTo>
                    <a:pt x="76" y="100"/>
                  </a:lnTo>
                  <a:lnTo>
                    <a:pt x="78" y="100"/>
                  </a:lnTo>
                  <a:lnTo>
                    <a:pt x="86" y="102"/>
                  </a:lnTo>
                  <a:lnTo>
                    <a:pt x="86" y="102"/>
                  </a:lnTo>
                  <a:lnTo>
                    <a:pt x="88" y="98"/>
                  </a:lnTo>
                  <a:lnTo>
                    <a:pt x="88" y="98"/>
                  </a:lnTo>
                  <a:lnTo>
                    <a:pt x="88" y="98"/>
                  </a:lnTo>
                  <a:lnTo>
                    <a:pt x="88" y="102"/>
                  </a:lnTo>
                  <a:lnTo>
                    <a:pt x="90" y="102"/>
                  </a:lnTo>
                  <a:lnTo>
                    <a:pt x="90" y="102"/>
                  </a:lnTo>
                  <a:lnTo>
                    <a:pt x="90" y="102"/>
                  </a:lnTo>
                  <a:lnTo>
                    <a:pt x="93" y="102"/>
                  </a:lnTo>
                  <a:lnTo>
                    <a:pt x="93" y="102"/>
                  </a:lnTo>
                  <a:lnTo>
                    <a:pt x="95" y="102"/>
                  </a:lnTo>
                  <a:lnTo>
                    <a:pt x="95" y="102"/>
                  </a:lnTo>
                  <a:lnTo>
                    <a:pt x="95" y="100"/>
                  </a:lnTo>
                  <a:lnTo>
                    <a:pt x="95" y="98"/>
                  </a:lnTo>
                  <a:lnTo>
                    <a:pt x="95" y="98"/>
                  </a:lnTo>
                  <a:lnTo>
                    <a:pt x="95" y="98"/>
                  </a:lnTo>
                  <a:lnTo>
                    <a:pt x="95" y="94"/>
                  </a:lnTo>
                  <a:lnTo>
                    <a:pt x="95" y="94"/>
                  </a:lnTo>
                  <a:lnTo>
                    <a:pt x="93" y="94"/>
                  </a:lnTo>
                  <a:lnTo>
                    <a:pt x="93" y="92"/>
                  </a:lnTo>
                  <a:lnTo>
                    <a:pt x="90" y="92"/>
                  </a:lnTo>
                  <a:lnTo>
                    <a:pt x="90" y="90"/>
                  </a:lnTo>
                  <a:lnTo>
                    <a:pt x="90" y="88"/>
                  </a:lnTo>
                  <a:lnTo>
                    <a:pt x="90" y="86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78"/>
                  </a:lnTo>
                  <a:lnTo>
                    <a:pt x="88" y="76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2"/>
                  </a:lnTo>
                  <a:lnTo>
                    <a:pt x="88" y="70"/>
                  </a:lnTo>
                  <a:lnTo>
                    <a:pt x="90" y="68"/>
                  </a:lnTo>
                  <a:lnTo>
                    <a:pt x="90" y="65"/>
                  </a:lnTo>
                  <a:lnTo>
                    <a:pt x="93" y="65"/>
                  </a:lnTo>
                  <a:lnTo>
                    <a:pt x="93" y="63"/>
                  </a:lnTo>
                  <a:lnTo>
                    <a:pt x="93" y="59"/>
                  </a:lnTo>
                  <a:lnTo>
                    <a:pt x="93" y="55"/>
                  </a:lnTo>
                  <a:lnTo>
                    <a:pt x="95" y="55"/>
                  </a:lnTo>
                  <a:lnTo>
                    <a:pt x="95" y="53"/>
                  </a:lnTo>
                  <a:lnTo>
                    <a:pt x="95" y="53"/>
                  </a:lnTo>
                  <a:lnTo>
                    <a:pt x="95" y="51"/>
                  </a:lnTo>
                  <a:lnTo>
                    <a:pt x="97" y="49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101" y="47"/>
                  </a:lnTo>
                  <a:lnTo>
                    <a:pt x="99" y="41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84" name="Freeform 143">
              <a:extLst>
                <a:ext uri="{FF2B5EF4-FFF2-40B4-BE49-F238E27FC236}">
                  <a16:creationId xmlns:a16="http://schemas.microsoft.com/office/drawing/2014/main" id="{4AE7A7F0-D65E-BA48-880E-DE3709E95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5023" y="2510599"/>
              <a:ext cx="206779" cy="222229"/>
            </a:xfrm>
            <a:custGeom>
              <a:avLst/>
              <a:gdLst>
                <a:gd name="T0" fmla="*/ 129 w 174"/>
                <a:gd name="T1" fmla="*/ 158 h 187"/>
                <a:gd name="T2" fmla="*/ 115 w 174"/>
                <a:gd name="T3" fmla="*/ 162 h 187"/>
                <a:gd name="T4" fmla="*/ 98 w 174"/>
                <a:gd name="T5" fmla="*/ 160 h 187"/>
                <a:gd name="T6" fmla="*/ 88 w 174"/>
                <a:gd name="T7" fmla="*/ 160 h 187"/>
                <a:gd name="T8" fmla="*/ 90 w 174"/>
                <a:gd name="T9" fmla="*/ 170 h 187"/>
                <a:gd name="T10" fmla="*/ 106 w 174"/>
                <a:gd name="T11" fmla="*/ 178 h 187"/>
                <a:gd name="T12" fmla="*/ 123 w 174"/>
                <a:gd name="T13" fmla="*/ 187 h 187"/>
                <a:gd name="T14" fmla="*/ 127 w 174"/>
                <a:gd name="T15" fmla="*/ 178 h 187"/>
                <a:gd name="T16" fmla="*/ 127 w 174"/>
                <a:gd name="T17" fmla="*/ 168 h 187"/>
                <a:gd name="T18" fmla="*/ 22 w 174"/>
                <a:gd name="T19" fmla="*/ 141 h 187"/>
                <a:gd name="T20" fmla="*/ 104 w 174"/>
                <a:gd name="T21" fmla="*/ 115 h 187"/>
                <a:gd name="T22" fmla="*/ 22 w 174"/>
                <a:gd name="T23" fmla="*/ 109 h 187"/>
                <a:gd name="T24" fmla="*/ 41 w 174"/>
                <a:gd name="T25" fmla="*/ 109 h 187"/>
                <a:gd name="T26" fmla="*/ 33 w 174"/>
                <a:gd name="T27" fmla="*/ 106 h 187"/>
                <a:gd name="T28" fmla="*/ 20 w 174"/>
                <a:gd name="T29" fmla="*/ 113 h 187"/>
                <a:gd name="T30" fmla="*/ 24 w 174"/>
                <a:gd name="T31" fmla="*/ 127 h 187"/>
                <a:gd name="T32" fmla="*/ 24 w 174"/>
                <a:gd name="T33" fmla="*/ 131 h 187"/>
                <a:gd name="T34" fmla="*/ 28 w 174"/>
                <a:gd name="T35" fmla="*/ 146 h 187"/>
                <a:gd name="T36" fmla="*/ 39 w 174"/>
                <a:gd name="T37" fmla="*/ 141 h 187"/>
                <a:gd name="T38" fmla="*/ 45 w 174"/>
                <a:gd name="T39" fmla="*/ 121 h 187"/>
                <a:gd name="T40" fmla="*/ 49 w 174"/>
                <a:gd name="T41" fmla="*/ 78 h 187"/>
                <a:gd name="T42" fmla="*/ 172 w 174"/>
                <a:gd name="T43" fmla="*/ 121 h 187"/>
                <a:gd name="T44" fmla="*/ 137 w 174"/>
                <a:gd name="T45" fmla="*/ 96 h 187"/>
                <a:gd name="T46" fmla="*/ 111 w 174"/>
                <a:gd name="T47" fmla="*/ 82 h 187"/>
                <a:gd name="T48" fmla="*/ 84 w 174"/>
                <a:gd name="T49" fmla="*/ 53 h 187"/>
                <a:gd name="T50" fmla="*/ 84 w 174"/>
                <a:gd name="T51" fmla="*/ 37 h 187"/>
                <a:gd name="T52" fmla="*/ 86 w 174"/>
                <a:gd name="T53" fmla="*/ 28 h 187"/>
                <a:gd name="T54" fmla="*/ 102 w 174"/>
                <a:gd name="T55" fmla="*/ 24 h 187"/>
                <a:gd name="T56" fmla="*/ 100 w 174"/>
                <a:gd name="T57" fmla="*/ 20 h 187"/>
                <a:gd name="T58" fmla="*/ 100 w 174"/>
                <a:gd name="T59" fmla="*/ 16 h 187"/>
                <a:gd name="T60" fmla="*/ 100 w 174"/>
                <a:gd name="T61" fmla="*/ 10 h 187"/>
                <a:gd name="T62" fmla="*/ 82 w 174"/>
                <a:gd name="T63" fmla="*/ 6 h 187"/>
                <a:gd name="T64" fmla="*/ 74 w 174"/>
                <a:gd name="T65" fmla="*/ 2 h 187"/>
                <a:gd name="T66" fmla="*/ 61 w 174"/>
                <a:gd name="T67" fmla="*/ 4 h 187"/>
                <a:gd name="T68" fmla="*/ 55 w 174"/>
                <a:gd name="T69" fmla="*/ 8 h 187"/>
                <a:gd name="T70" fmla="*/ 49 w 174"/>
                <a:gd name="T71" fmla="*/ 12 h 187"/>
                <a:gd name="T72" fmla="*/ 43 w 174"/>
                <a:gd name="T73" fmla="*/ 14 h 187"/>
                <a:gd name="T74" fmla="*/ 37 w 174"/>
                <a:gd name="T75" fmla="*/ 14 h 187"/>
                <a:gd name="T76" fmla="*/ 33 w 174"/>
                <a:gd name="T77" fmla="*/ 20 h 187"/>
                <a:gd name="T78" fmla="*/ 26 w 174"/>
                <a:gd name="T79" fmla="*/ 10 h 187"/>
                <a:gd name="T80" fmla="*/ 20 w 174"/>
                <a:gd name="T81" fmla="*/ 18 h 187"/>
                <a:gd name="T82" fmla="*/ 4 w 174"/>
                <a:gd name="T83" fmla="*/ 20 h 187"/>
                <a:gd name="T84" fmla="*/ 8 w 174"/>
                <a:gd name="T85" fmla="*/ 30 h 187"/>
                <a:gd name="T86" fmla="*/ 0 w 174"/>
                <a:gd name="T87" fmla="*/ 37 h 187"/>
                <a:gd name="T88" fmla="*/ 4 w 174"/>
                <a:gd name="T89" fmla="*/ 43 h 187"/>
                <a:gd name="T90" fmla="*/ 10 w 174"/>
                <a:gd name="T91" fmla="*/ 53 h 187"/>
                <a:gd name="T92" fmla="*/ 12 w 174"/>
                <a:gd name="T93" fmla="*/ 59 h 187"/>
                <a:gd name="T94" fmla="*/ 39 w 174"/>
                <a:gd name="T95" fmla="*/ 51 h 187"/>
                <a:gd name="T96" fmla="*/ 55 w 174"/>
                <a:gd name="T97" fmla="*/ 74 h 187"/>
                <a:gd name="T98" fmla="*/ 65 w 174"/>
                <a:gd name="T99" fmla="*/ 84 h 187"/>
                <a:gd name="T100" fmla="*/ 80 w 174"/>
                <a:gd name="T101" fmla="*/ 94 h 187"/>
                <a:gd name="T102" fmla="*/ 102 w 174"/>
                <a:gd name="T103" fmla="*/ 104 h 187"/>
                <a:gd name="T104" fmla="*/ 115 w 174"/>
                <a:gd name="T105" fmla="*/ 115 h 187"/>
                <a:gd name="T106" fmla="*/ 123 w 174"/>
                <a:gd name="T107" fmla="*/ 121 h 187"/>
                <a:gd name="T108" fmla="*/ 137 w 174"/>
                <a:gd name="T109" fmla="*/ 137 h 187"/>
                <a:gd name="T110" fmla="*/ 135 w 174"/>
                <a:gd name="T111" fmla="*/ 158 h 187"/>
                <a:gd name="T112" fmla="*/ 148 w 174"/>
                <a:gd name="T113" fmla="*/ 154 h 187"/>
                <a:gd name="T114" fmla="*/ 150 w 174"/>
                <a:gd name="T115" fmla="*/ 133 h 187"/>
                <a:gd name="T116" fmla="*/ 156 w 174"/>
                <a:gd name="T117" fmla="*/ 119 h 187"/>
                <a:gd name="T118" fmla="*/ 174 w 174"/>
                <a:gd name="T119" fmla="*/ 12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4" h="187">
                  <a:moveTo>
                    <a:pt x="78" y="185"/>
                  </a:moveTo>
                  <a:lnTo>
                    <a:pt x="78" y="185"/>
                  </a:lnTo>
                  <a:lnTo>
                    <a:pt x="78" y="185"/>
                  </a:lnTo>
                  <a:lnTo>
                    <a:pt x="78" y="185"/>
                  </a:lnTo>
                  <a:lnTo>
                    <a:pt x="78" y="187"/>
                  </a:lnTo>
                  <a:lnTo>
                    <a:pt x="78" y="187"/>
                  </a:lnTo>
                  <a:lnTo>
                    <a:pt x="78" y="185"/>
                  </a:lnTo>
                  <a:lnTo>
                    <a:pt x="78" y="185"/>
                  </a:lnTo>
                  <a:close/>
                  <a:moveTo>
                    <a:pt x="131" y="158"/>
                  </a:moveTo>
                  <a:lnTo>
                    <a:pt x="129" y="158"/>
                  </a:lnTo>
                  <a:lnTo>
                    <a:pt x="127" y="158"/>
                  </a:lnTo>
                  <a:lnTo>
                    <a:pt x="127" y="158"/>
                  </a:lnTo>
                  <a:lnTo>
                    <a:pt x="125" y="160"/>
                  </a:lnTo>
                  <a:lnTo>
                    <a:pt x="125" y="160"/>
                  </a:lnTo>
                  <a:lnTo>
                    <a:pt x="123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19" y="160"/>
                  </a:lnTo>
                  <a:lnTo>
                    <a:pt x="117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3" y="162"/>
                  </a:lnTo>
                  <a:lnTo>
                    <a:pt x="109" y="162"/>
                  </a:lnTo>
                  <a:lnTo>
                    <a:pt x="106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2" y="162"/>
                  </a:lnTo>
                  <a:lnTo>
                    <a:pt x="100" y="160"/>
                  </a:lnTo>
                  <a:lnTo>
                    <a:pt x="100" y="160"/>
                  </a:lnTo>
                  <a:lnTo>
                    <a:pt x="98" y="160"/>
                  </a:lnTo>
                  <a:lnTo>
                    <a:pt x="98" y="160"/>
                  </a:lnTo>
                  <a:lnTo>
                    <a:pt x="98" y="160"/>
                  </a:lnTo>
                  <a:lnTo>
                    <a:pt x="96" y="160"/>
                  </a:lnTo>
                  <a:lnTo>
                    <a:pt x="94" y="160"/>
                  </a:lnTo>
                  <a:lnTo>
                    <a:pt x="94" y="162"/>
                  </a:lnTo>
                  <a:lnTo>
                    <a:pt x="92" y="162"/>
                  </a:lnTo>
                  <a:lnTo>
                    <a:pt x="92" y="162"/>
                  </a:lnTo>
                  <a:lnTo>
                    <a:pt x="90" y="162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6" y="162"/>
                  </a:lnTo>
                  <a:lnTo>
                    <a:pt x="86" y="162"/>
                  </a:lnTo>
                  <a:lnTo>
                    <a:pt x="86" y="164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6" y="168"/>
                  </a:lnTo>
                  <a:lnTo>
                    <a:pt x="88" y="170"/>
                  </a:lnTo>
                  <a:lnTo>
                    <a:pt x="88" y="170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2" y="170"/>
                  </a:lnTo>
                  <a:lnTo>
                    <a:pt x="94" y="172"/>
                  </a:lnTo>
                  <a:lnTo>
                    <a:pt x="96" y="172"/>
                  </a:lnTo>
                  <a:lnTo>
                    <a:pt x="96" y="172"/>
                  </a:lnTo>
                  <a:lnTo>
                    <a:pt x="96" y="174"/>
                  </a:lnTo>
                  <a:lnTo>
                    <a:pt x="98" y="174"/>
                  </a:lnTo>
                  <a:lnTo>
                    <a:pt x="102" y="176"/>
                  </a:lnTo>
                  <a:lnTo>
                    <a:pt x="104" y="178"/>
                  </a:lnTo>
                  <a:lnTo>
                    <a:pt x="106" y="178"/>
                  </a:lnTo>
                  <a:lnTo>
                    <a:pt x="109" y="178"/>
                  </a:lnTo>
                  <a:lnTo>
                    <a:pt x="111" y="178"/>
                  </a:lnTo>
                  <a:lnTo>
                    <a:pt x="113" y="180"/>
                  </a:lnTo>
                  <a:lnTo>
                    <a:pt x="115" y="183"/>
                  </a:lnTo>
                  <a:lnTo>
                    <a:pt x="117" y="185"/>
                  </a:lnTo>
                  <a:lnTo>
                    <a:pt x="117" y="185"/>
                  </a:lnTo>
                  <a:lnTo>
                    <a:pt x="117" y="185"/>
                  </a:lnTo>
                  <a:lnTo>
                    <a:pt x="121" y="187"/>
                  </a:lnTo>
                  <a:lnTo>
                    <a:pt x="121" y="187"/>
                  </a:lnTo>
                  <a:lnTo>
                    <a:pt x="123" y="187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5" y="183"/>
                  </a:lnTo>
                  <a:lnTo>
                    <a:pt x="127" y="183"/>
                  </a:lnTo>
                  <a:lnTo>
                    <a:pt x="127" y="180"/>
                  </a:lnTo>
                  <a:lnTo>
                    <a:pt x="127" y="180"/>
                  </a:lnTo>
                  <a:lnTo>
                    <a:pt x="127" y="178"/>
                  </a:lnTo>
                  <a:lnTo>
                    <a:pt x="127" y="178"/>
                  </a:lnTo>
                  <a:lnTo>
                    <a:pt x="125" y="176"/>
                  </a:lnTo>
                  <a:lnTo>
                    <a:pt x="127" y="176"/>
                  </a:lnTo>
                  <a:lnTo>
                    <a:pt x="127" y="176"/>
                  </a:lnTo>
                  <a:lnTo>
                    <a:pt x="125" y="176"/>
                  </a:lnTo>
                  <a:lnTo>
                    <a:pt x="125" y="174"/>
                  </a:lnTo>
                  <a:lnTo>
                    <a:pt x="125" y="174"/>
                  </a:lnTo>
                  <a:lnTo>
                    <a:pt x="125" y="172"/>
                  </a:lnTo>
                  <a:lnTo>
                    <a:pt x="125" y="172"/>
                  </a:lnTo>
                  <a:lnTo>
                    <a:pt x="125" y="170"/>
                  </a:lnTo>
                  <a:lnTo>
                    <a:pt x="127" y="168"/>
                  </a:lnTo>
                  <a:lnTo>
                    <a:pt x="127" y="168"/>
                  </a:lnTo>
                  <a:lnTo>
                    <a:pt x="127" y="166"/>
                  </a:lnTo>
                  <a:lnTo>
                    <a:pt x="131" y="162"/>
                  </a:lnTo>
                  <a:lnTo>
                    <a:pt x="131" y="160"/>
                  </a:lnTo>
                  <a:lnTo>
                    <a:pt x="131" y="158"/>
                  </a:lnTo>
                  <a:lnTo>
                    <a:pt x="133" y="158"/>
                  </a:lnTo>
                  <a:lnTo>
                    <a:pt x="131" y="158"/>
                  </a:lnTo>
                  <a:lnTo>
                    <a:pt x="131" y="158"/>
                  </a:lnTo>
                  <a:close/>
                  <a:moveTo>
                    <a:pt x="22" y="141"/>
                  </a:moveTo>
                  <a:lnTo>
                    <a:pt x="22" y="141"/>
                  </a:lnTo>
                  <a:lnTo>
                    <a:pt x="22" y="143"/>
                  </a:lnTo>
                  <a:lnTo>
                    <a:pt x="24" y="146"/>
                  </a:lnTo>
                  <a:lnTo>
                    <a:pt x="24" y="143"/>
                  </a:lnTo>
                  <a:lnTo>
                    <a:pt x="24" y="141"/>
                  </a:lnTo>
                  <a:lnTo>
                    <a:pt x="22" y="141"/>
                  </a:lnTo>
                  <a:close/>
                  <a:moveTo>
                    <a:pt x="106" y="115"/>
                  </a:moveTo>
                  <a:lnTo>
                    <a:pt x="106" y="115"/>
                  </a:lnTo>
                  <a:lnTo>
                    <a:pt x="106" y="115"/>
                  </a:lnTo>
                  <a:lnTo>
                    <a:pt x="106" y="113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6" y="115"/>
                  </a:lnTo>
                  <a:lnTo>
                    <a:pt x="106" y="115"/>
                  </a:lnTo>
                  <a:close/>
                  <a:moveTo>
                    <a:pt x="22" y="109"/>
                  </a:moveTo>
                  <a:lnTo>
                    <a:pt x="22" y="109"/>
                  </a:lnTo>
                  <a:lnTo>
                    <a:pt x="24" y="106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2" y="109"/>
                  </a:lnTo>
                  <a:lnTo>
                    <a:pt x="22" y="109"/>
                  </a:lnTo>
                  <a:lnTo>
                    <a:pt x="22" y="109"/>
                  </a:lnTo>
                  <a:lnTo>
                    <a:pt x="22" y="109"/>
                  </a:lnTo>
                  <a:close/>
                  <a:moveTo>
                    <a:pt x="43" y="113"/>
                  </a:moveTo>
                  <a:lnTo>
                    <a:pt x="43" y="111"/>
                  </a:lnTo>
                  <a:lnTo>
                    <a:pt x="41" y="111"/>
                  </a:lnTo>
                  <a:lnTo>
                    <a:pt x="41" y="111"/>
                  </a:lnTo>
                  <a:lnTo>
                    <a:pt x="43" y="109"/>
                  </a:lnTo>
                  <a:lnTo>
                    <a:pt x="43" y="109"/>
                  </a:lnTo>
                  <a:lnTo>
                    <a:pt x="43" y="109"/>
                  </a:lnTo>
                  <a:lnTo>
                    <a:pt x="41" y="109"/>
                  </a:lnTo>
                  <a:lnTo>
                    <a:pt x="41" y="109"/>
                  </a:lnTo>
                  <a:lnTo>
                    <a:pt x="41" y="106"/>
                  </a:lnTo>
                  <a:lnTo>
                    <a:pt x="41" y="106"/>
                  </a:lnTo>
                  <a:lnTo>
                    <a:pt x="39" y="106"/>
                  </a:lnTo>
                  <a:lnTo>
                    <a:pt x="37" y="104"/>
                  </a:lnTo>
                  <a:lnTo>
                    <a:pt x="37" y="104"/>
                  </a:lnTo>
                  <a:lnTo>
                    <a:pt x="37" y="104"/>
                  </a:lnTo>
                  <a:lnTo>
                    <a:pt x="35" y="106"/>
                  </a:lnTo>
                  <a:lnTo>
                    <a:pt x="35" y="106"/>
                  </a:lnTo>
                  <a:lnTo>
                    <a:pt x="33" y="106"/>
                  </a:lnTo>
                  <a:lnTo>
                    <a:pt x="30" y="111"/>
                  </a:lnTo>
                  <a:lnTo>
                    <a:pt x="28" y="111"/>
                  </a:lnTo>
                  <a:lnTo>
                    <a:pt x="26" y="113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0" y="111"/>
                  </a:lnTo>
                  <a:lnTo>
                    <a:pt x="20" y="113"/>
                  </a:lnTo>
                  <a:lnTo>
                    <a:pt x="20" y="115"/>
                  </a:lnTo>
                  <a:lnTo>
                    <a:pt x="22" y="117"/>
                  </a:lnTo>
                  <a:lnTo>
                    <a:pt x="22" y="117"/>
                  </a:lnTo>
                  <a:lnTo>
                    <a:pt x="24" y="119"/>
                  </a:lnTo>
                  <a:lnTo>
                    <a:pt x="24" y="119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5"/>
                  </a:lnTo>
                  <a:lnTo>
                    <a:pt x="24" y="125"/>
                  </a:lnTo>
                  <a:lnTo>
                    <a:pt x="24" y="127"/>
                  </a:lnTo>
                  <a:lnTo>
                    <a:pt x="24" y="127"/>
                  </a:lnTo>
                  <a:lnTo>
                    <a:pt x="24" y="127"/>
                  </a:lnTo>
                  <a:lnTo>
                    <a:pt x="26" y="127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33"/>
                  </a:lnTo>
                  <a:lnTo>
                    <a:pt x="24" y="135"/>
                  </a:lnTo>
                  <a:lnTo>
                    <a:pt x="24" y="135"/>
                  </a:lnTo>
                  <a:lnTo>
                    <a:pt x="24" y="139"/>
                  </a:lnTo>
                  <a:lnTo>
                    <a:pt x="24" y="139"/>
                  </a:lnTo>
                  <a:lnTo>
                    <a:pt x="24" y="141"/>
                  </a:lnTo>
                  <a:lnTo>
                    <a:pt x="26" y="143"/>
                  </a:lnTo>
                  <a:lnTo>
                    <a:pt x="26" y="146"/>
                  </a:lnTo>
                  <a:lnTo>
                    <a:pt x="28" y="146"/>
                  </a:lnTo>
                  <a:lnTo>
                    <a:pt x="28" y="146"/>
                  </a:lnTo>
                  <a:lnTo>
                    <a:pt x="30" y="146"/>
                  </a:lnTo>
                  <a:lnTo>
                    <a:pt x="30" y="146"/>
                  </a:lnTo>
                  <a:lnTo>
                    <a:pt x="33" y="146"/>
                  </a:lnTo>
                  <a:lnTo>
                    <a:pt x="33" y="143"/>
                  </a:lnTo>
                  <a:lnTo>
                    <a:pt x="35" y="139"/>
                  </a:lnTo>
                  <a:lnTo>
                    <a:pt x="35" y="139"/>
                  </a:lnTo>
                  <a:lnTo>
                    <a:pt x="35" y="139"/>
                  </a:lnTo>
                  <a:lnTo>
                    <a:pt x="37" y="139"/>
                  </a:lnTo>
                  <a:lnTo>
                    <a:pt x="37" y="139"/>
                  </a:lnTo>
                  <a:lnTo>
                    <a:pt x="39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39"/>
                  </a:lnTo>
                  <a:lnTo>
                    <a:pt x="43" y="137"/>
                  </a:lnTo>
                  <a:lnTo>
                    <a:pt x="43" y="127"/>
                  </a:lnTo>
                  <a:lnTo>
                    <a:pt x="43" y="127"/>
                  </a:lnTo>
                  <a:lnTo>
                    <a:pt x="43" y="125"/>
                  </a:lnTo>
                  <a:lnTo>
                    <a:pt x="43" y="125"/>
                  </a:lnTo>
                  <a:lnTo>
                    <a:pt x="43" y="123"/>
                  </a:lnTo>
                  <a:lnTo>
                    <a:pt x="45" y="121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7"/>
                  </a:lnTo>
                  <a:lnTo>
                    <a:pt x="43" y="113"/>
                  </a:lnTo>
                  <a:close/>
                  <a:moveTo>
                    <a:pt x="55" y="76"/>
                  </a:moveTo>
                  <a:lnTo>
                    <a:pt x="53" y="76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1" y="76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51" y="78"/>
                  </a:lnTo>
                  <a:lnTo>
                    <a:pt x="53" y="78"/>
                  </a:lnTo>
                  <a:lnTo>
                    <a:pt x="55" y="78"/>
                  </a:lnTo>
                  <a:lnTo>
                    <a:pt x="53" y="78"/>
                  </a:lnTo>
                  <a:lnTo>
                    <a:pt x="55" y="78"/>
                  </a:lnTo>
                  <a:lnTo>
                    <a:pt x="55" y="76"/>
                  </a:lnTo>
                  <a:close/>
                  <a:moveTo>
                    <a:pt x="174" y="123"/>
                  </a:moveTo>
                  <a:lnTo>
                    <a:pt x="172" y="121"/>
                  </a:lnTo>
                  <a:lnTo>
                    <a:pt x="168" y="117"/>
                  </a:lnTo>
                  <a:lnTo>
                    <a:pt x="166" y="115"/>
                  </a:lnTo>
                  <a:lnTo>
                    <a:pt x="160" y="113"/>
                  </a:lnTo>
                  <a:lnTo>
                    <a:pt x="156" y="109"/>
                  </a:lnTo>
                  <a:lnTo>
                    <a:pt x="154" y="109"/>
                  </a:lnTo>
                  <a:lnTo>
                    <a:pt x="145" y="104"/>
                  </a:lnTo>
                  <a:lnTo>
                    <a:pt x="137" y="100"/>
                  </a:lnTo>
                  <a:lnTo>
                    <a:pt x="135" y="100"/>
                  </a:lnTo>
                  <a:lnTo>
                    <a:pt x="135" y="98"/>
                  </a:lnTo>
                  <a:lnTo>
                    <a:pt x="137" y="96"/>
                  </a:lnTo>
                  <a:lnTo>
                    <a:pt x="139" y="96"/>
                  </a:lnTo>
                  <a:lnTo>
                    <a:pt x="139" y="94"/>
                  </a:lnTo>
                  <a:lnTo>
                    <a:pt x="139" y="92"/>
                  </a:lnTo>
                  <a:lnTo>
                    <a:pt x="137" y="92"/>
                  </a:lnTo>
                  <a:lnTo>
                    <a:pt x="135" y="92"/>
                  </a:lnTo>
                  <a:lnTo>
                    <a:pt x="127" y="92"/>
                  </a:lnTo>
                  <a:lnTo>
                    <a:pt x="125" y="92"/>
                  </a:lnTo>
                  <a:lnTo>
                    <a:pt x="121" y="90"/>
                  </a:lnTo>
                  <a:lnTo>
                    <a:pt x="115" y="86"/>
                  </a:lnTo>
                  <a:lnTo>
                    <a:pt x="111" y="82"/>
                  </a:lnTo>
                  <a:lnTo>
                    <a:pt x="106" y="80"/>
                  </a:lnTo>
                  <a:lnTo>
                    <a:pt x="106" y="76"/>
                  </a:lnTo>
                  <a:lnTo>
                    <a:pt x="104" y="69"/>
                  </a:lnTo>
                  <a:lnTo>
                    <a:pt x="102" y="67"/>
                  </a:lnTo>
                  <a:lnTo>
                    <a:pt x="100" y="63"/>
                  </a:lnTo>
                  <a:lnTo>
                    <a:pt x="100" y="63"/>
                  </a:lnTo>
                  <a:lnTo>
                    <a:pt x="96" y="61"/>
                  </a:lnTo>
                  <a:lnTo>
                    <a:pt x="90" y="57"/>
                  </a:lnTo>
                  <a:lnTo>
                    <a:pt x="88" y="55"/>
                  </a:lnTo>
                  <a:lnTo>
                    <a:pt x="84" y="53"/>
                  </a:lnTo>
                  <a:lnTo>
                    <a:pt x="84" y="51"/>
                  </a:lnTo>
                  <a:lnTo>
                    <a:pt x="82" y="49"/>
                  </a:lnTo>
                  <a:lnTo>
                    <a:pt x="82" y="43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4" y="41"/>
                  </a:lnTo>
                  <a:lnTo>
                    <a:pt x="84" y="41"/>
                  </a:lnTo>
                  <a:lnTo>
                    <a:pt x="84" y="39"/>
                  </a:lnTo>
                  <a:lnTo>
                    <a:pt x="84" y="39"/>
                  </a:lnTo>
                  <a:lnTo>
                    <a:pt x="84" y="37"/>
                  </a:lnTo>
                  <a:lnTo>
                    <a:pt x="82" y="32"/>
                  </a:lnTo>
                  <a:lnTo>
                    <a:pt x="80" y="32"/>
                  </a:lnTo>
                  <a:lnTo>
                    <a:pt x="82" y="30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4" y="26"/>
                  </a:lnTo>
                  <a:lnTo>
                    <a:pt x="86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6" y="28"/>
                  </a:lnTo>
                  <a:lnTo>
                    <a:pt x="88" y="26"/>
                  </a:lnTo>
                  <a:lnTo>
                    <a:pt x="90" y="26"/>
                  </a:lnTo>
                  <a:lnTo>
                    <a:pt x="92" y="24"/>
                  </a:lnTo>
                  <a:lnTo>
                    <a:pt x="94" y="24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8" y="24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2" y="24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4" y="26"/>
                  </a:lnTo>
                  <a:lnTo>
                    <a:pt x="104" y="26"/>
                  </a:lnTo>
                  <a:lnTo>
                    <a:pt x="104" y="24"/>
                  </a:lnTo>
                  <a:lnTo>
                    <a:pt x="102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2" y="10"/>
                  </a:lnTo>
                  <a:lnTo>
                    <a:pt x="98" y="8"/>
                  </a:lnTo>
                  <a:lnTo>
                    <a:pt x="96" y="8"/>
                  </a:lnTo>
                  <a:lnTo>
                    <a:pt x="9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4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6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61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7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5" y="12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2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5" y="16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2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4" y="12"/>
                  </a:lnTo>
                  <a:lnTo>
                    <a:pt x="22" y="12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0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8" y="28"/>
                  </a:lnTo>
                  <a:lnTo>
                    <a:pt x="8" y="30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4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7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2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5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4" y="49"/>
                  </a:lnTo>
                  <a:lnTo>
                    <a:pt x="4" y="51"/>
                  </a:lnTo>
                  <a:lnTo>
                    <a:pt x="6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4" y="59"/>
                  </a:lnTo>
                  <a:lnTo>
                    <a:pt x="18" y="57"/>
                  </a:lnTo>
                  <a:lnTo>
                    <a:pt x="20" y="57"/>
                  </a:lnTo>
                  <a:lnTo>
                    <a:pt x="22" y="53"/>
                  </a:lnTo>
                  <a:lnTo>
                    <a:pt x="26" y="49"/>
                  </a:lnTo>
                  <a:lnTo>
                    <a:pt x="30" y="49"/>
                  </a:lnTo>
                  <a:lnTo>
                    <a:pt x="33" y="49"/>
                  </a:lnTo>
                  <a:lnTo>
                    <a:pt x="37" y="49"/>
                  </a:lnTo>
                  <a:lnTo>
                    <a:pt x="39" y="51"/>
                  </a:lnTo>
                  <a:lnTo>
                    <a:pt x="45" y="53"/>
                  </a:lnTo>
                  <a:lnTo>
                    <a:pt x="49" y="55"/>
                  </a:lnTo>
                  <a:lnTo>
                    <a:pt x="51" y="57"/>
                  </a:lnTo>
                  <a:lnTo>
                    <a:pt x="51" y="59"/>
                  </a:lnTo>
                  <a:lnTo>
                    <a:pt x="53" y="63"/>
                  </a:lnTo>
                  <a:lnTo>
                    <a:pt x="55" y="67"/>
                  </a:lnTo>
                  <a:lnTo>
                    <a:pt x="55" y="69"/>
                  </a:lnTo>
                  <a:lnTo>
                    <a:pt x="55" y="71"/>
                  </a:lnTo>
                  <a:lnTo>
                    <a:pt x="55" y="71"/>
                  </a:lnTo>
                  <a:lnTo>
                    <a:pt x="55" y="74"/>
                  </a:lnTo>
                  <a:lnTo>
                    <a:pt x="57" y="74"/>
                  </a:lnTo>
                  <a:lnTo>
                    <a:pt x="57" y="74"/>
                  </a:lnTo>
                  <a:lnTo>
                    <a:pt x="59" y="74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78"/>
                  </a:lnTo>
                  <a:lnTo>
                    <a:pt x="65" y="82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3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70" y="84"/>
                  </a:lnTo>
                  <a:lnTo>
                    <a:pt x="72" y="86"/>
                  </a:lnTo>
                  <a:lnTo>
                    <a:pt x="76" y="90"/>
                  </a:lnTo>
                  <a:lnTo>
                    <a:pt x="78" y="92"/>
                  </a:lnTo>
                  <a:lnTo>
                    <a:pt x="80" y="94"/>
                  </a:lnTo>
                  <a:lnTo>
                    <a:pt x="86" y="100"/>
                  </a:lnTo>
                  <a:lnTo>
                    <a:pt x="90" y="102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4" y="104"/>
                  </a:lnTo>
                  <a:lnTo>
                    <a:pt x="94" y="104"/>
                  </a:lnTo>
                  <a:lnTo>
                    <a:pt x="96" y="104"/>
                  </a:lnTo>
                  <a:lnTo>
                    <a:pt x="98" y="104"/>
                  </a:lnTo>
                  <a:lnTo>
                    <a:pt x="100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104" y="106"/>
                  </a:lnTo>
                  <a:lnTo>
                    <a:pt x="109" y="111"/>
                  </a:lnTo>
                  <a:lnTo>
                    <a:pt x="109" y="113"/>
                  </a:lnTo>
                  <a:lnTo>
                    <a:pt x="109" y="113"/>
                  </a:lnTo>
                  <a:lnTo>
                    <a:pt x="109" y="113"/>
                  </a:lnTo>
                  <a:lnTo>
                    <a:pt x="111" y="113"/>
                  </a:lnTo>
                  <a:lnTo>
                    <a:pt x="113" y="113"/>
                  </a:lnTo>
                  <a:lnTo>
                    <a:pt x="115" y="113"/>
                  </a:lnTo>
                  <a:lnTo>
                    <a:pt x="115" y="115"/>
                  </a:lnTo>
                  <a:lnTo>
                    <a:pt x="113" y="117"/>
                  </a:lnTo>
                  <a:lnTo>
                    <a:pt x="113" y="117"/>
                  </a:lnTo>
                  <a:lnTo>
                    <a:pt x="115" y="115"/>
                  </a:lnTo>
                  <a:lnTo>
                    <a:pt x="115" y="117"/>
                  </a:lnTo>
                  <a:lnTo>
                    <a:pt x="117" y="115"/>
                  </a:lnTo>
                  <a:lnTo>
                    <a:pt x="119" y="115"/>
                  </a:lnTo>
                  <a:lnTo>
                    <a:pt x="121" y="115"/>
                  </a:lnTo>
                  <a:lnTo>
                    <a:pt x="121" y="117"/>
                  </a:lnTo>
                  <a:lnTo>
                    <a:pt x="121" y="119"/>
                  </a:lnTo>
                  <a:lnTo>
                    <a:pt x="123" y="121"/>
                  </a:lnTo>
                  <a:lnTo>
                    <a:pt x="121" y="121"/>
                  </a:lnTo>
                  <a:lnTo>
                    <a:pt x="121" y="123"/>
                  </a:lnTo>
                  <a:lnTo>
                    <a:pt x="121" y="123"/>
                  </a:lnTo>
                  <a:lnTo>
                    <a:pt x="127" y="125"/>
                  </a:lnTo>
                  <a:lnTo>
                    <a:pt x="129" y="127"/>
                  </a:lnTo>
                  <a:lnTo>
                    <a:pt x="131" y="127"/>
                  </a:lnTo>
                  <a:lnTo>
                    <a:pt x="133" y="125"/>
                  </a:lnTo>
                  <a:lnTo>
                    <a:pt x="133" y="127"/>
                  </a:lnTo>
                  <a:lnTo>
                    <a:pt x="135" y="133"/>
                  </a:lnTo>
                  <a:lnTo>
                    <a:pt x="137" y="137"/>
                  </a:lnTo>
                  <a:lnTo>
                    <a:pt x="139" y="141"/>
                  </a:lnTo>
                  <a:lnTo>
                    <a:pt x="139" y="143"/>
                  </a:lnTo>
                  <a:lnTo>
                    <a:pt x="141" y="146"/>
                  </a:lnTo>
                  <a:lnTo>
                    <a:pt x="141" y="148"/>
                  </a:lnTo>
                  <a:lnTo>
                    <a:pt x="139" y="150"/>
                  </a:lnTo>
                  <a:lnTo>
                    <a:pt x="137" y="150"/>
                  </a:lnTo>
                  <a:lnTo>
                    <a:pt x="137" y="150"/>
                  </a:lnTo>
                  <a:lnTo>
                    <a:pt x="135" y="152"/>
                  </a:lnTo>
                  <a:lnTo>
                    <a:pt x="137" y="154"/>
                  </a:lnTo>
                  <a:lnTo>
                    <a:pt x="135" y="158"/>
                  </a:lnTo>
                  <a:lnTo>
                    <a:pt x="133" y="158"/>
                  </a:lnTo>
                  <a:lnTo>
                    <a:pt x="133" y="160"/>
                  </a:lnTo>
                  <a:lnTo>
                    <a:pt x="133" y="162"/>
                  </a:lnTo>
                  <a:lnTo>
                    <a:pt x="133" y="164"/>
                  </a:lnTo>
                  <a:lnTo>
                    <a:pt x="139" y="164"/>
                  </a:lnTo>
                  <a:lnTo>
                    <a:pt x="139" y="162"/>
                  </a:lnTo>
                  <a:lnTo>
                    <a:pt x="139" y="162"/>
                  </a:lnTo>
                  <a:lnTo>
                    <a:pt x="141" y="158"/>
                  </a:lnTo>
                  <a:lnTo>
                    <a:pt x="145" y="156"/>
                  </a:lnTo>
                  <a:lnTo>
                    <a:pt x="148" y="154"/>
                  </a:lnTo>
                  <a:lnTo>
                    <a:pt x="145" y="150"/>
                  </a:lnTo>
                  <a:lnTo>
                    <a:pt x="148" y="148"/>
                  </a:lnTo>
                  <a:lnTo>
                    <a:pt x="150" y="146"/>
                  </a:lnTo>
                  <a:lnTo>
                    <a:pt x="152" y="146"/>
                  </a:lnTo>
                  <a:lnTo>
                    <a:pt x="154" y="146"/>
                  </a:lnTo>
                  <a:lnTo>
                    <a:pt x="156" y="143"/>
                  </a:lnTo>
                  <a:lnTo>
                    <a:pt x="154" y="141"/>
                  </a:lnTo>
                  <a:lnTo>
                    <a:pt x="154" y="137"/>
                  </a:lnTo>
                  <a:lnTo>
                    <a:pt x="152" y="135"/>
                  </a:lnTo>
                  <a:lnTo>
                    <a:pt x="150" y="133"/>
                  </a:lnTo>
                  <a:lnTo>
                    <a:pt x="145" y="133"/>
                  </a:lnTo>
                  <a:lnTo>
                    <a:pt x="145" y="131"/>
                  </a:lnTo>
                  <a:lnTo>
                    <a:pt x="145" y="129"/>
                  </a:lnTo>
                  <a:lnTo>
                    <a:pt x="148" y="125"/>
                  </a:lnTo>
                  <a:lnTo>
                    <a:pt x="150" y="121"/>
                  </a:lnTo>
                  <a:lnTo>
                    <a:pt x="152" y="119"/>
                  </a:lnTo>
                  <a:lnTo>
                    <a:pt x="152" y="119"/>
                  </a:lnTo>
                  <a:lnTo>
                    <a:pt x="156" y="119"/>
                  </a:lnTo>
                  <a:lnTo>
                    <a:pt x="156" y="119"/>
                  </a:lnTo>
                  <a:lnTo>
                    <a:pt x="156" y="119"/>
                  </a:lnTo>
                  <a:lnTo>
                    <a:pt x="156" y="121"/>
                  </a:lnTo>
                  <a:lnTo>
                    <a:pt x="158" y="121"/>
                  </a:lnTo>
                  <a:lnTo>
                    <a:pt x="160" y="121"/>
                  </a:lnTo>
                  <a:lnTo>
                    <a:pt x="166" y="123"/>
                  </a:lnTo>
                  <a:lnTo>
                    <a:pt x="168" y="127"/>
                  </a:lnTo>
                  <a:lnTo>
                    <a:pt x="170" y="129"/>
                  </a:lnTo>
                  <a:lnTo>
                    <a:pt x="172" y="129"/>
                  </a:lnTo>
                  <a:lnTo>
                    <a:pt x="172" y="127"/>
                  </a:lnTo>
                  <a:lnTo>
                    <a:pt x="174" y="125"/>
                  </a:lnTo>
                  <a:lnTo>
                    <a:pt x="174" y="125"/>
                  </a:lnTo>
                  <a:lnTo>
                    <a:pt x="174" y="123"/>
                  </a:lnTo>
                  <a:close/>
                  <a:moveTo>
                    <a:pt x="84" y="57"/>
                  </a:moveTo>
                  <a:lnTo>
                    <a:pt x="84" y="57"/>
                  </a:lnTo>
                  <a:lnTo>
                    <a:pt x="84" y="57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4" y="57"/>
                  </a:lnTo>
                  <a:lnTo>
                    <a:pt x="84" y="5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85" name="Freeform 145">
              <a:extLst>
                <a:ext uri="{FF2B5EF4-FFF2-40B4-BE49-F238E27FC236}">
                  <a16:creationId xmlns:a16="http://schemas.microsoft.com/office/drawing/2014/main" id="{C9672F2F-7EFB-CE43-BAA8-F4415B7FB5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388" y="2356109"/>
              <a:ext cx="7130" cy="7130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6 w 6"/>
                <a:gd name="T5" fmla="*/ 0 h 6"/>
                <a:gd name="T6" fmla="*/ 4 w 6"/>
                <a:gd name="T7" fmla="*/ 0 h 6"/>
                <a:gd name="T8" fmla="*/ 2 w 6"/>
                <a:gd name="T9" fmla="*/ 2 h 6"/>
                <a:gd name="T10" fmla="*/ 2 w 6"/>
                <a:gd name="T11" fmla="*/ 2 h 6"/>
                <a:gd name="T12" fmla="*/ 0 w 6"/>
                <a:gd name="T13" fmla="*/ 4 h 6"/>
                <a:gd name="T14" fmla="*/ 0 w 6"/>
                <a:gd name="T15" fmla="*/ 4 h 6"/>
                <a:gd name="T16" fmla="*/ 0 w 6"/>
                <a:gd name="T17" fmla="*/ 6 h 6"/>
                <a:gd name="T18" fmla="*/ 2 w 6"/>
                <a:gd name="T19" fmla="*/ 4 h 6"/>
                <a:gd name="T20" fmla="*/ 2 w 6"/>
                <a:gd name="T21" fmla="*/ 6 h 6"/>
                <a:gd name="T22" fmla="*/ 6 w 6"/>
                <a:gd name="T23" fmla="*/ 4 h 6"/>
                <a:gd name="T24" fmla="*/ 6 w 6"/>
                <a:gd name="T25" fmla="*/ 2 h 6"/>
                <a:gd name="T26" fmla="*/ 6 w 6"/>
                <a:gd name="T27" fmla="*/ 2 h 6"/>
                <a:gd name="T28" fmla="*/ 6 w 6"/>
                <a:gd name="T2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86" name="Freeform 146">
              <a:extLst>
                <a:ext uri="{FF2B5EF4-FFF2-40B4-BE49-F238E27FC236}">
                  <a16:creationId xmlns:a16="http://schemas.microsoft.com/office/drawing/2014/main" id="{8936BA17-C348-454A-B893-7019D79C7E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940" y="2337094"/>
              <a:ext cx="74868" cy="79622"/>
            </a:xfrm>
            <a:custGeom>
              <a:avLst/>
              <a:gdLst>
                <a:gd name="T0" fmla="*/ 10 w 63"/>
                <a:gd name="T1" fmla="*/ 22 h 67"/>
                <a:gd name="T2" fmla="*/ 10 w 63"/>
                <a:gd name="T3" fmla="*/ 24 h 67"/>
                <a:gd name="T4" fmla="*/ 61 w 63"/>
                <a:gd name="T5" fmla="*/ 30 h 67"/>
                <a:gd name="T6" fmla="*/ 61 w 63"/>
                <a:gd name="T7" fmla="*/ 24 h 67"/>
                <a:gd name="T8" fmla="*/ 63 w 63"/>
                <a:gd name="T9" fmla="*/ 22 h 67"/>
                <a:gd name="T10" fmla="*/ 59 w 63"/>
                <a:gd name="T11" fmla="*/ 22 h 67"/>
                <a:gd name="T12" fmla="*/ 57 w 63"/>
                <a:gd name="T13" fmla="*/ 20 h 67"/>
                <a:gd name="T14" fmla="*/ 53 w 63"/>
                <a:gd name="T15" fmla="*/ 18 h 67"/>
                <a:gd name="T16" fmla="*/ 51 w 63"/>
                <a:gd name="T17" fmla="*/ 16 h 67"/>
                <a:gd name="T18" fmla="*/ 47 w 63"/>
                <a:gd name="T19" fmla="*/ 20 h 67"/>
                <a:gd name="T20" fmla="*/ 43 w 63"/>
                <a:gd name="T21" fmla="*/ 20 h 67"/>
                <a:gd name="T22" fmla="*/ 37 w 63"/>
                <a:gd name="T23" fmla="*/ 16 h 67"/>
                <a:gd name="T24" fmla="*/ 43 w 63"/>
                <a:gd name="T25" fmla="*/ 12 h 67"/>
                <a:gd name="T26" fmla="*/ 41 w 63"/>
                <a:gd name="T27" fmla="*/ 10 h 67"/>
                <a:gd name="T28" fmla="*/ 45 w 63"/>
                <a:gd name="T29" fmla="*/ 10 h 67"/>
                <a:gd name="T30" fmla="*/ 49 w 63"/>
                <a:gd name="T31" fmla="*/ 6 h 67"/>
                <a:gd name="T32" fmla="*/ 55 w 63"/>
                <a:gd name="T33" fmla="*/ 2 h 67"/>
                <a:gd name="T34" fmla="*/ 49 w 63"/>
                <a:gd name="T35" fmla="*/ 0 h 67"/>
                <a:gd name="T36" fmla="*/ 47 w 63"/>
                <a:gd name="T37" fmla="*/ 2 h 67"/>
                <a:gd name="T38" fmla="*/ 45 w 63"/>
                <a:gd name="T39" fmla="*/ 4 h 67"/>
                <a:gd name="T40" fmla="*/ 45 w 63"/>
                <a:gd name="T41" fmla="*/ 2 h 67"/>
                <a:gd name="T42" fmla="*/ 43 w 63"/>
                <a:gd name="T43" fmla="*/ 2 h 67"/>
                <a:gd name="T44" fmla="*/ 37 w 63"/>
                <a:gd name="T45" fmla="*/ 4 h 67"/>
                <a:gd name="T46" fmla="*/ 32 w 63"/>
                <a:gd name="T47" fmla="*/ 8 h 67"/>
                <a:gd name="T48" fmla="*/ 28 w 63"/>
                <a:gd name="T49" fmla="*/ 10 h 67"/>
                <a:gd name="T50" fmla="*/ 35 w 63"/>
                <a:gd name="T51" fmla="*/ 14 h 67"/>
                <a:gd name="T52" fmla="*/ 30 w 63"/>
                <a:gd name="T53" fmla="*/ 18 h 67"/>
                <a:gd name="T54" fmla="*/ 24 w 63"/>
                <a:gd name="T55" fmla="*/ 18 h 67"/>
                <a:gd name="T56" fmla="*/ 14 w 63"/>
                <a:gd name="T57" fmla="*/ 18 h 67"/>
                <a:gd name="T58" fmla="*/ 10 w 63"/>
                <a:gd name="T59" fmla="*/ 18 h 67"/>
                <a:gd name="T60" fmla="*/ 12 w 63"/>
                <a:gd name="T61" fmla="*/ 20 h 67"/>
                <a:gd name="T62" fmla="*/ 14 w 63"/>
                <a:gd name="T63" fmla="*/ 24 h 67"/>
                <a:gd name="T64" fmla="*/ 12 w 63"/>
                <a:gd name="T65" fmla="*/ 26 h 67"/>
                <a:gd name="T66" fmla="*/ 12 w 63"/>
                <a:gd name="T67" fmla="*/ 30 h 67"/>
                <a:gd name="T68" fmla="*/ 8 w 63"/>
                <a:gd name="T69" fmla="*/ 32 h 67"/>
                <a:gd name="T70" fmla="*/ 12 w 63"/>
                <a:gd name="T71" fmla="*/ 32 h 67"/>
                <a:gd name="T72" fmla="*/ 14 w 63"/>
                <a:gd name="T73" fmla="*/ 34 h 67"/>
                <a:gd name="T74" fmla="*/ 16 w 63"/>
                <a:gd name="T75" fmla="*/ 37 h 67"/>
                <a:gd name="T76" fmla="*/ 22 w 63"/>
                <a:gd name="T77" fmla="*/ 37 h 67"/>
                <a:gd name="T78" fmla="*/ 16 w 63"/>
                <a:gd name="T79" fmla="*/ 41 h 67"/>
                <a:gd name="T80" fmla="*/ 10 w 63"/>
                <a:gd name="T81" fmla="*/ 47 h 67"/>
                <a:gd name="T82" fmla="*/ 14 w 63"/>
                <a:gd name="T83" fmla="*/ 47 h 67"/>
                <a:gd name="T84" fmla="*/ 22 w 63"/>
                <a:gd name="T85" fmla="*/ 45 h 67"/>
                <a:gd name="T86" fmla="*/ 12 w 63"/>
                <a:gd name="T87" fmla="*/ 47 h 67"/>
                <a:gd name="T88" fmla="*/ 8 w 63"/>
                <a:gd name="T89" fmla="*/ 51 h 67"/>
                <a:gd name="T90" fmla="*/ 6 w 63"/>
                <a:gd name="T91" fmla="*/ 53 h 67"/>
                <a:gd name="T92" fmla="*/ 2 w 63"/>
                <a:gd name="T93" fmla="*/ 55 h 67"/>
                <a:gd name="T94" fmla="*/ 6 w 63"/>
                <a:gd name="T95" fmla="*/ 57 h 67"/>
                <a:gd name="T96" fmla="*/ 2 w 63"/>
                <a:gd name="T97" fmla="*/ 61 h 67"/>
                <a:gd name="T98" fmla="*/ 8 w 63"/>
                <a:gd name="T99" fmla="*/ 61 h 67"/>
                <a:gd name="T100" fmla="*/ 6 w 63"/>
                <a:gd name="T101" fmla="*/ 63 h 67"/>
                <a:gd name="T102" fmla="*/ 10 w 63"/>
                <a:gd name="T103" fmla="*/ 65 h 67"/>
                <a:gd name="T104" fmla="*/ 14 w 63"/>
                <a:gd name="T105" fmla="*/ 65 h 67"/>
                <a:gd name="T106" fmla="*/ 24 w 63"/>
                <a:gd name="T107" fmla="*/ 63 h 67"/>
                <a:gd name="T108" fmla="*/ 28 w 63"/>
                <a:gd name="T109" fmla="*/ 59 h 67"/>
                <a:gd name="T110" fmla="*/ 30 w 63"/>
                <a:gd name="T111" fmla="*/ 59 h 67"/>
                <a:gd name="T112" fmla="*/ 37 w 63"/>
                <a:gd name="T113" fmla="*/ 59 h 67"/>
                <a:gd name="T114" fmla="*/ 41 w 63"/>
                <a:gd name="T115" fmla="*/ 55 h 67"/>
                <a:gd name="T116" fmla="*/ 49 w 63"/>
                <a:gd name="T117" fmla="*/ 53 h 67"/>
                <a:gd name="T118" fmla="*/ 53 w 63"/>
                <a:gd name="T119" fmla="*/ 53 h 67"/>
                <a:gd name="T120" fmla="*/ 57 w 63"/>
                <a:gd name="T121" fmla="*/ 51 h 67"/>
                <a:gd name="T122" fmla="*/ 61 w 63"/>
                <a:gd name="T123" fmla="*/ 43 h 67"/>
                <a:gd name="T124" fmla="*/ 61 w 63"/>
                <a:gd name="T125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" h="67">
                  <a:moveTo>
                    <a:pt x="10" y="24"/>
                  </a:moveTo>
                  <a:lnTo>
                    <a:pt x="10" y="24"/>
                  </a:lnTo>
                  <a:lnTo>
                    <a:pt x="10" y="24"/>
                  </a:lnTo>
                  <a:lnTo>
                    <a:pt x="12" y="22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6" y="22"/>
                  </a:lnTo>
                  <a:lnTo>
                    <a:pt x="10" y="22"/>
                  </a:lnTo>
                  <a:lnTo>
                    <a:pt x="10" y="24"/>
                  </a:lnTo>
                  <a:close/>
                  <a:moveTo>
                    <a:pt x="61" y="34"/>
                  </a:moveTo>
                  <a:lnTo>
                    <a:pt x="61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1" y="28"/>
                  </a:lnTo>
                  <a:lnTo>
                    <a:pt x="61" y="26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9" y="24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59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5" y="20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5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39" y="18"/>
                  </a:lnTo>
                  <a:lnTo>
                    <a:pt x="37" y="16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6"/>
                  </a:lnTo>
                  <a:lnTo>
                    <a:pt x="49" y="6"/>
                  </a:lnTo>
                  <a:lnTo>
                    <a:pt x="49" y="4"/>
                  </a:lnTo>
                  <a:lnTo>
                    <a:pt x="51" y="4"/>
                  </a:lnTo>
                  <a:lnTo>
                    <a:pt x="51" y="2"/>
                  </a:lnTo>
                  <a:lnTo>
                    <a:pt x="53" y="2"/>
                  </a:lnTo>
                  <a:lnTo>
                    <a:pt x="55" y="2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7" y="4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10"/>
                  </a:lnTo>
                  <a:lnTo>
                    <a:pt x="32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5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20" y="34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0" y="37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3"/>
                  </a:lnTo>
                  <a:lnTo>
                    <a:pt x="14" y="43"/>
                  </a:lnTo>
                  <a:lnTo>
                    <a:pt x="10" y="47"/>
                  </a:lnTo>
                  <a:lnTo>
                    <a:pt x="8" y="47"/>
                  </a:lnTo>
                  <a:lnTo>
                    <a:pt x="10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6" y="47"/>
                  </a:lnTo>
                  <a:lnTo>
                    <a:pt x="18" y="47"/>
                  </a:lnTo>
                  <a:lnTo>
                    <a:pt x="20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4" y="45"/>
                  </a:lnTo>
                  <a:lnTo>
                    <a:pt x="20" y="47"/>
                  </a:lnTo>
                  <a:lnTo>
                    <a:pt x="16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3"/>
                  </a:lnTo>
                  <a:lnTo>
                    <a:pt x="10" y="53"/>
                  </a:lnTo>
                  <a:lnTo>
                    <a:pt x="8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2" y="53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6" y="55"/>
                  </a:lnTo>
                  <a:lnTo>
                    <a:pt x="6" y="57"/>
                  </a:lnTo>
                  <a:lnTo>
                    <a:pt x="4" y="57"/>
                  </a:lnTo>
                  <a:lnTo>
                    <a:pt x="2" y="57"/>
                  </a:lnTo>
                  <a:lnTo>
                    <a:pt x="0" y="59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4" y="61"/>
                  </a:lnTo>
                  <a:lnTo>
                    <a:pt x="12" y="59"/>
                  </a:lnTo>
                  <a:lnTo>
                    <a:pt x="10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0" y="65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4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0" y="61"/>
                  </a:lnTo>
                  <a:lnTo>
                    <a:pt x="32" y="61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7" y="59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41" y="57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5" y="55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9" y="53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51" y="53"/>
                  </a:lnTo>
                  <a:lnTo>
                    <a:pt x="53" y="53"/>
                  </a:lnTo>
                  <a:lnTo>
                    <a:pt x="53" y="55"/>
                  </a:lnTo>
                  <a:lnTo>
                    <a:pt x="55" y="53"/>
                  </a:lnTo>
                  <a:lnTo>
                    <a:pt x="57" y="53"/>
                  </a:lnTo>
                  <a:lnTo>
                    <a:pt x="55" y="51"/>
                  </a:lnTo>
                  <a:lnTo>
                    <a:pt x="57" y="51"/>
                  </a:lnTo>
                  <a:lnTo>
                    <a:pt x="57" y="51"/>
                  </a:lnTo>
                  <a:lnTo>
                    <a:pt x="59" y="47"/>
                  </a:lnTo>
                  <a:lnTo>
                    <a:pt x="59" y="45"/>
                  </a:lnTo>
                  <a:lnTo>
                    <a:pt x="61" y="45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3" y="41"/>
                  </a:lnTo>
                  <a:lnTo>
                    <a:pt x="63" y="39"/>
                  </a:lnTo>
                  <a:lnTo>
                    <a:pt x="63" y="37"/>
                  </a:lnTo>
                  <a:lnTo>
                    <a:pt x="61" y="3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87" name="Freeform 147">
              <a:extLst>
                <a:ext uri="{FF2B5EF4-FFF2-40B4-BE49-F238E27FC236}">
                  <a16:creationId xmlns:a16="http://schemas.microsoft.com/office/drawing/2014/main" id="{CC2BE0A8-D8F4-9A43-870D-959ACA7B4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333" y="2717378"/>
              <a:ext cx="185389" cy="184200"/>
            </a:xfrm>
            <a:custGeom>
              <a:avLst/>
              <a:gdLst>
                <a:gd name="T0" fmla="*/ 154 w 156"/>
                <a:gd name="T1" fmla="*/ 134 h 155"/>
                <a:gd name="T2" fmla="*/ 152 w 156"/>
                <a:gd name="T3" fmla="*/ 130 h 155"/>
                <a:gd name="T4" fmla="*/ 148 w 156"/>
                <a:gd name="T5" fmla="*/ 128 h 155"/>
                <a:gd name="T6" fmla="*/ 146 w 156"/>
                <a:gd name="T7" fmla="*/ 117 h 155"/>
                <a:gd name="T8" fmla="*/ 140 w 156"/>
                <a:gd name="T9" fmla="*/ 111 h 155"/>
                <a:gd name="T10" fmla="*/ 138 w 156"/>
                <a:gd name="T11" fmla="*/ 99 h 155"/>
                <a:gd name="T12" fmla="*/ 134 w 156"/>
                <a:gd name="T13" fmla="*/ 91 h 155"/>
                <a:gd name="T14" fmla="*/ 124 w 156"/>
                <a:gd name="T15" fmla="*/ 87 h 155"/>
                <a:gd name="T16" fmla="*/ 113 w 156"/>
                <a:gd name="T17" fmla="*/ 83 h 155"/>
                <a:gd name="T18" fmla="*/ 113 w 156"/>
                <a:gd name="T19" fmla="*/ 78 h 155"/>
                <a:gd name="T20" fmla="*/ 109 w 156"/>
                <a:gd name="T21" fmla="*/ 72 h 155"/>
                <a:gd name="T22" fmla="*/ 107 w 156"/>
                <a:gd name="T23" fmla="*/ 70 h 155"/>
                <a:gd name="T24" fmla="*/ 101 w 156"/>
                <a:gd name="T25" fmla="*/ 64 h 155"/>
                <a:gd name="T26" fmla="*/ 101 w 156"/>
                <a:gd name="T27" fmla="*/ 60 h 155"/>
                <a:gd name="T28" fmla="*/ 101 w 156"/>
                <a:gd name="T29" fmla="*/ 54 h 155"/>
                <a:gd name="T30" fmla="*/ 103 w 156"/>
                <a:gd name="T31" fmla="*/ 52 h 155"/>
                <a:gd name="T32" fmla="*/ 105 w 156"/>
                <a:gd name="T33" fmla="*/ 43 h 155"/>
                <a:gd name="T34" fmla="*/ 109 w 156"/>
                <a:gd name="T35" fmla="*/ 39 h 155"/>
                <a:gd name="T36" fmla="*/ 105 w 156"/>
                <a:gd name="T37" fmla="*/ 35 h 155"/>
                <a:gd name="T38" fmla="*/ 109 w 156"/>
                <a:gd name="T39" fmla="*/ 31 h 155"/>
                <a:gd name="T40" fmla="*/ 105 w 156"/>
                <a:gd name="T41" fmla="*/ 29 h 155"/>
                <a:gd name="T42" fmla="*/ 99 w 156"/>
                <a:gd name="T43" fmla="*/ 27 h 155"/>
                <a:gd name="T44" fmla="*/ 95 w 156"/>
                <a:gd name="T45" fmla="*/ 25 h 155"/>
                <a:gd name="T46" fmla="*/ 91 w 156"/>
                <a:gd name="T47" fmla="*/ 19 h 155"/>
                <a:gd name="T48" fmla="*/ 89 w 156"/>
                <a:gd name="T49" fmla="*/ 15 h 155"/>
                <a:gd name="T50" fmla="*/ 87 w 156"/>
                <a:gd name="T51" fmla="*/ 13 h 155"/>
                <a:gd name="T52" fmla="*/ 85 w 156"/>
                <a:gd name="T53" fmla="*/ 4 h 155"/>
                <a:gd name="T54" fmla="*/ 80 w 156"/>
                <a:gd name="T55" fmla="*/ 4 h 155"/>
                <a:gd name="T56" fmla="*/ 76 w 156"/>
                <a:gd name="T57" fmla="*/ 9 h 155"/>
                <a:gd name="T58" fmla="*/ 74 w 156"/>
                <a:gd name="T59" fmla="*/ 4 h 155"/>
                <a:gd name="T60" fmla="*/ 72 w 156"/>
                <a:gd name="T61" fmla="*/ 2 h 155"/>
                <a:gd name="T62" fmla="*/ 66 w 156"/>
                <a:gd name="T63" fmla="*/ 2 h 155"/>
                <a:gd name="T64" fmla="*/ 60 w 156"/>
                <a:gd name="T65" fmla="*/ 0 h 155"/>
                <a:gd name="T66" fmla="*/ 54 w 156"/>
                <a:gd name="T67" fmla="*/ 0 h 155"/>
                <a:gd name="T68" fmla="*/ 50 w 156"/>
                <a:gd name="T69" fmla="*/ 4 h 155"/>
                <a:gd name="T70" fmla="*/ 46 w 156"/>
                <a:gd name="T71" fmla="*/ 9 h 155"/>
                <a:gd name="T72" fmla="*/ 37 w 156"/>
                <a:gd name="T73" fmla="*/ 15 h 155"/>
                <a:gd name="T74" fmla="*/ 33 w 156"/>
                <a:gd name="T75" fmla="*/ 21 h 155"/>
                <a:gd name="T76" fmla="*/ 35 w 156"/>
                <a:gd name="T77" fmla="*/ 29 h 155"/>
                <a:gd name="T78" fmla="*/ 33 w 156"/>
                <a:gd name="T79" fmla="*/ 37 h 155"/>
                <a:gd name="T80" fmla="*/ 33 w 156"/>
                <a:gd name="T81" fmla="*/ 50 h 155"/>
                <a:gd name="T82" fmla="*/ 27 w 156"/>
                <a:gd name="T83" fmla="*/ 58 h 155"/>
                <a:gd name="T84" fmla="*/ 11 w 156"/>
                <a:gd name="T85" fmla="*/ 68 h 155"/>
                <a:gd name="T86" fmla="*/ 0 w 156"/>
                <a:gd name="T87" fmla="*/ 78 h 155"/>
                <a:gd name="T88" fmla="*/ 5 w 156"/>
                <a:gd name="T89" fmla="*/ 91 h 155"/>
                <a:gd name="T90" fmla="*/ 9 w 156"/>
                <a:gd name="T91" fmla="*/ 95 h 155"/>
                <a:gd name="T92" fmla="*/ 21 w 156"/>
                <a:gd name="T93" fmla="*/ 99 h 155"/>
                <a:gd name="T94" fmla="*/ 37 w 156"/>
                <a:gd name="T95" fmla="*/ 107 h 155"/>
                <a:gd name="T96" fmla="*/ 54 w 156"/>
                <a:gd name="T97" fmla="*/ 117 h 155"/>
                <a:gd name="T98" fmla="*/ 72 w 156"/>
                <a:gd name="T99" fmla="*/ 130 h 155"/>
                <a:gd name="T100" fmla="*/ 93 w 156"/>
                <a:gd name="T101" fmla="*/ 146 h 155"/>
                <a:gd name="T102" fmla="*/ 111 w 156"/>
                <a:gd name="T103" fmla="*/ 152 h 155"/>
                <a:gd name="T104" fmla="*/ 130 w 156"/>
                <a:gd name="T105" fmla="*/ 150 h 155"/>
                <a:gd name="T106" fmla="*/ 134 w 156"/>
                <a:gd name="T107" fmla="*/ 140 h 155"/>
                <a:gd name="T108" fmla="*/ 136 w 156"/>
                <a:gd name="T109" fmla="*/ 136 h 155"/>
                <a:gd name="T110" fmla="*/ 142 w 156"/>
                <a:gd name="T111" fmla="*/ 134 h 155"/>
                <a:gd name="T112" fmla="*/ 148 w 156"/>
                <a:gd name="T113" fmla="*/ 136 h 155"/>
                <a:gd name="T114" fmla="*/ 156 w 156"/>
                <a:gd name="T115" fmla="*/ 13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6" h="155">
                  <a:moveTo>
                    <a:pt x="156" y="136"/>
                  </a:moveTo>
                  <a:lnTo>
                    <a:pt x="154" y="136"/>
                  </a:lnTo>
                  <a:lnTo>
                    <a:pt x="154" y="134"/>
                  </a:lnTo>
                  <a:lnTo>
                    <a:pt x="154" y="134"/>
                  </a:lnTo>
                  <a:lnTo>
                    <a:pt x="154" y="134"/>
                  </a:lnTo>
                  <a:lnTo>
                    <a:pt x="154" y="132"/>
                  </a:lnTo>
                  <a:lnTo>
                    <a:pt x="152" y="132"/>
                  </a:lnTo>
                  <a:lnTo>
                    <a:pt x="152" y="130"/>
                  </a:lnTo>
                  <a:lnTo>
                    <a:pt x="150" y="130"/>
                  </a:lnTo>
                  <a:lnTo>
                    <a:pt x="150" y="130"/>
                  </a:lnTo>
                  <a:lnTo>
                    <a:pt x="150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6" y="124"/>
                  </a:lnTo>
                  <a:lnTo>
                    <a:pt x="146" y="122"/>
                  </a:lnTo>
                  <a:lnTo>
                    <a:pt x="146" y="117"/>
                  </a:lnTo>
                  <a:lnTo>
                    <a:pt x="144" y="117"/>
                  </a:lnTo>
                  <a:lnTo>
                    <a:pt x="142" y="117"/>
                  </a:lnTo>
                  <a:lnTo>
                    <a:pt x="140" y="115"/>
                  </a:lnTo>
                  <a:lnTo>
                    <a:pt x="140" y="111"/>
                  </a:lnTo>
                  <a:lnTo>
                    <a:pt x="142" y="107"/>
                  </a:lnTo>
                  <a:lnTo>
                    <a:pt x="142" y="103"/>
                  </a:lnTo>
                  <a:lnTo>
                    <a:pt x="140" y="101"/>
                  </a:lnTo>
                  <a:lnTo>
                    <a:pt x="138" y="99"/>
                  </a:lnTo>
                  <a:lnTo>
                    <a:pt x="136" y="97"/>
                  </a:lnTo>
                  <a:lnTo>
                    <a:pt x="134" y="93"/>
                  </a:lnTo>
                  <a:lnTo>
                    <a:pt x="134" y="93"/>
                  </a:lnTo>
                  <a:lnTo>
                    <a:pt x="134" y="91"/>
                  </a:lnTo>
                  <a:lnTo>
                    <a:pt x="132" y="91"/>
                  </a:lnTo>
                  <a:lnTo>
                    <a:pt x="130" y="91"/>
                  </a:lnTo>
                  <a:lnTo>
                    <a:pt x="128" y="89"/>
                  </a:lnTo>
                  <a:lnTo>
                    <a:pt x="124" y="87"/>
                  </a:lnTo>
                  <a:lnTo>
                    <a:pt x="119" y="85"/>
                  </a:lnTo>
                  <a:lnTo>
                    <a:pt x="117" y="83"/>
                  </a:lnTo>
                  <a:lnTo>
                    <a:pt x="115" y="83"/>
                  </a:lnTo>
                  <a:lnTo>
                    <a:pt x="113" y="83"/>
                  </a:lnTo>
                  <a:lnTo>
                    <a:pt x="113" y="83"/>
                  </a:lnTo>
                  <a:lnTo>
                    <a:pt x="113" y="80"/>
                  </a:lnTo>
                  <a:lnTo>
                    <a:pt x="113" y="80"/>
                  </a:lnTo>
                  <a:lnTo>
                    <a:pt x="113" y="78"/>
                  </a:lnTo>
                  <a:lnTo>
                    <a:pt x="113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9" y="72"/>
                  </a:lnTo>
                  <a:lnTo>
                    <a:pt x="109" y="72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7" y="70"/>
                  </a:lnTo>
                  <a:lnTo>
                    <a:pt x="107" y="70"/>
                  </a:lnTo>
                  <a:lnTo>
                    <a:pt x="105" y="70"/>
                  </a:lnTo>
                  <a:lnTo>
                    <a:pt x="105" y="68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1" y="62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58"/>
                  </a:lnTo>
                  <a:lnTo>
                    <a:pt x="99" y="56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3" y="52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3" y="48"/>
                  </a:lnTo>
                  <a:lnTo>
                    <a:pt x="105" y="43"/>
                  </a:lnTo>
                  <a:lnTo>
                    <a:pt x="107" y="43"/>
                  </a:lnTo>
                  <a:lnTo>
                    <a:pt x="109" y="41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07" y="37"/>
                  </a:lnTo>
                  <a:lnTo>
                    <a:pt x="105" y="35"/>
                  </a:lnTo>
                  <a:lnTo>
                    <a:pt x="105" y="35"/>
                  </a:lnTo>
                  <a:lnTo>
                    <a:pt x="105" y="33"/>
                  </a:lnTo>
                  <a:lnTo>
                    <a:pt x="107" y="31"/>
                  </a:lnTo>
                  <a:lnTo>
                    <a:pt x="109" y="31"/>
                  </a:lnTo>
                  <a:lnTo>
                    <a:pt x="109" y="31"/>
                  </a:lnTo>
                  <a:lnTo>
                    <a:pt x="109" y="31"/>
                  </a:lnTo>
                  <a:lnTo>
                    <a:pt x="107" y="29"/>
                  </a:lnTo>
                  <a:lnTo>
                    <a:pt x="105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89" y="15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7" y="13"/>
                  </a:lnTo>
                  <a:lnTo>
                    <a:pt x="87" y="11"/>
                  </a:lnTo>
                  <a:lnTo>
                    <a:pt x="85" y="6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8" y="6"/>
                  </a:lnTo>
                  <a:lnTo>
                    <a:pt x="76" y="6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4" y="4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6" y="9"/>
                  </a:lnTo>
                  <a:lnTo>
                    <a:pt x="44" y="11"/>
                  </a:lnTo>
                  <a:lnTo>
                    <a:pt x="41" y="13"/>
                  </a:lnTo>
                  <a:lnTo>
                    <a:pt x="39" y="15"/>
                  </a:lnTo>
                  <a:lnTo>
                    <a:pt x="37" y="15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9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5" y="29"/>
                  </a:lnTo>
                  <a:lnTo>
                    <a:pt x="35" y="31"/>
                  </a:lnTo>
                  <a:lnTo>
                    <a:pt x="35" y="33"/>
                  </a:lnTo>
                  <a:lnTo>
                    <a:pt x="35" y="35"/>
                  </a:lnTo>
                  <a:lnTo>
                    <a:pt x="33" y="37"/>
                  </a:lnTo>
                  <a:lnTo>
                    <a:pt x="33" y="39"/>
                  </a:lnTo>
                  <a:lnTo>
                    <a:pt x="33" y="43"/>
                  </a:lnTo>
                  <a:lnTo>
                    <a:pt x="33" y="48"/>
                  </a:lnTo>
                  <a:lnTo>
                    <a:pt x="33" y="50"/>
                  </a:lnTo>
                  <a:lnTo>
                    <a:pt x="33" y="52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27" y="58"/>
                  </a:lnTo>
                  <a:lnTo>
                    <a:pt x="23" y="60"/>
                  </a:lnTo>
                  <a:lnTo>
                    <a:pt x="19" y="62"/>
                  </a:lnTo>
                  <a:lnTo>
                    <a:pt x="15" y="64"/>
                  </a:lnTo>
                  <a:lnTo>
                    <a:pt x="11" y="68"/>
                  </a:lnTo>
                  <a:lnTo>
                    <a:pt x="7" y="70"/>
                  </a:lnTo>
                  <a:lnTo>
                    <a:pt x="5" y="72"/>
                  </a:lnTo>
                  <a:lnTo>
                    <a:pt x="0" y="74"/>
                  </a:lnTo>
                  <a:lnTo>
                    <a:pt x="0" y="78"/>
                  </a:lnTo>
                  <a:lnTo>
                    <a:pt x="2" y="83"/>
                  </a:lnTo>
                  <a:lnTo>
                    <a:pt x="5" y="87"/>
                  </a:lnTo>
                  <a:lnTo>
                    <a:pt x="5" y="91"/>
                  </a:lnTo>
                  <a:lnTo>
                    <a:pt x="5" y="91"/>
                  </a:lnTo>
                  <a:lnTo>
                    <a:pt x="5" y="95"/>
                  </a:lnTo>
                  <a:lnTo>
                    <a:pt x="7" y="93"/>
                  </a:lnTo>
                  <a:lnTo>
                    <a:pt x="9" y="93"/>
                  </a:lnTo>
                  <a:lnTo>
                    <a:pt x="9" y="95"/>
                  </a:lnTo>
                  <a:lnTo>
                    <a:pt x="7" y="97"/>
                  </a:lnTo>
                  <a:lnTo>
                    <a:pt x="11" y="99"/>
                  </a:lnTo>
                  <a:lnTo>
                    <a:pt x="17" y="99"/>
                  </a:lnTo>
                  <a:lnTo>
                    <a:pt x="21" y="99"/>
                  </a:lnTo>
                  <a:lnTo>
                    <a:pt x="27" y="101"/>
                  </a:lnTo>
                  <a:lnTo>
                    <a:pt x="29" y="101"/>
                  </a:lnTo>
                  <a:lnTo>
                    <a:pt x="33" y="105"/>
                  </a:lnTo>
                  <a:lnTo>
                    <a:pt x="37" y="107"/>
                  </a:lnTo>
                  <a:lnTo>
                    <a:pt x="41" y="109"/>
                  </a:lnTo>
                  <a:lnTo>
                    <a:pt x="46" y="111"/>
                  </a:lnTo>
                  <a:lnTo>
                    <a:pt x="50" y="113"/>
                  </a:lnTo>
                  <a:lnTo>
                    <a:pt x="54" y="117"/>
                  </a:lnTo>
                  <a:lnTo>
                    <a:pt x="58" y="120"/>
                  </a:lnTo>
                  <a:lnTo>
                    <a:pt x="62" y="124"/>
                  </a:lnTo>
                  <a:lnTo>
                    <a:pt x="68" y="128"/>
                  </a:lnTo>
                  <a:lnTo>
                    <a:pt x="72" y="130"/>
                  </a:lnTo>
                  <a:lnTo>
                    <a:pt x="76" y="134"/>
                  </a:lnTo>
                  <a:lnTo>
                    <a:pt x="83" y="140"/>
                  </a:lnTo>
                  <a:lnTo>
                    <a:pt x="89" y="144"/>
                  </a:lnTo>
                  <a:lnTo>
                    <a:pt x="93" y="146"/>
                  </a:lnTo>
                  <a:lnTo>
                    <a:pt x="99" y="150"/>
                  </a:lnTo>
                  <a:lnTo>
                    <a:pt x="99" y="150"/>
                  </a:lnTo>
                  <a:lnTo>
                    <a:pt x="103" y="152"/>
                  </a:lnTo>
                  <a:lnTo>
                    <a:pt x="111" y="152"/>
                  </a:lnTo>
                  <a:lnTo>
                    <a:pt x="117" y="152"/>
                  </a:lnTo>
                  <a:lnTo>
                    <a:pt x="124" y="155"/>
                  </a:lnTo>
                  <a:lnTo>
                    <a:pt x="128" y="152"/>
                  </a:lnTo>
                  <a:lnTo>
                    <a:pt x="130" y="150"/>
                  </a:lnTo>
                  <a:lnTo>
                    <a:pt x="130" y="148"/>
                  </a:lnTo>
                  <a:lnTo>
                    <a:pt x="132" y="144"/>
                  </a:lnTo>
                  <a:lnTo>
                    <a:pt x="132" y="142"/>
                  </a:lnTo>
                  <a:lnTo>
                    <a:pt x="134" y="140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6"/>
                  </a:lnTo>
                  <a:lnTo>
                    <a:pt x="136" y="136"/>
                  </a:lnTo>
                  <a:lnTo>
                    <a:pt x="138" y="134"/>
                  </a:lnTo>
                  <a:lnTo>
                    <a:pt x="140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4" y="134"/>
                  </a:lnTo>
                  <a:lnTo>
                    <a:pt x="148" y="136"/>
                  </a:lnTo>
                  <a:lnTo>
                    <a:pt x="148" y="136"/>
                  </a:lnTo>
                  <a:lnTo>
                    <a:pt x="148" y="136"/>
                  </a:lnTo>
                  <a:lnTo>
                    <a:pt x="150" y="136"/>
                  </a:lnTo>
                  <a:lnTo>
                    <a:pt x="154" y="138"/>
                  </a:lnTo>
                  <a:lnTo>
                    <a:pt x="154" y="138"/>
                  </a:lnTo>
                  <a:lnTo>
                    <a:pt x="156" y="138"/>
                  </a:lnTo>
                  <a:lnTo>
                    <a:pt x="156" y="13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88" name="Freeform 148">
              <a:extLst>
                <a:ext uri="{FF2B5EF4-FFF2-40B4-BE49-F238E27FC236}">
                  <a16:creationId xmlns:a16="http://schemas.microsoft.com/office/drawing/2014/main" id="{36E72323-466A-CF4A-895F-9F6758737D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8143" y="2663901"/>
              <a:ext cx="386226" cy="322053"/>
            </a:xfrm>
            <a:custGeom>
              <a:avLst/>
              <a:gdLst>
                <a:gd name="T0" fmla="*/ 199 w 325"/>
                <a:gd name="T1" fmla="*/ 243 h 271"/>
                <a:gd name="T2" fmla="*/ 212 w 325"/>
                <a:gd name="T3" fmla="*/ 241 h 271"/>
                <a:gd name="T4" fmla="*/ 322 w 325"/>
                <a:gd name="T5" fmla="*/ 232 h 271"/>
                <a:gd name="T6" fmla="*/ 314 w 325"/>
                <a:gd name="T7" fmla="*/ 218 h 271"/>
                <a:gd name="T8" fmla="*/ 300 w 325"/>
                <a:gd name="T9" fmla="*/ 208 h 271"/>
                <a:gd name="T10" fmla="*/ 279 w 325"/>
                <a:gd name="T11" fmla="*/ 183 h 271"/>
                <a:gd name="T12" fmla="*/ 283 w 325"/>
                <a:gd name="T13" fmla="*/ 156 h 271"/>
                <a:gd name="T14" fmla="*/ 271 w 325"/>
                <a:gd name="T15" fmla="*/ 134 h 271"/>
                <a:gd name="T16" fmla="*/ 269 w 325"/>
                <a:gd name="T17" fmla="*/ 115 h 271"/>
                <a:gd name="T18" fmla="*/ 267 w 325"/>
                <a:gd name="T19" fmla="*/ 101 h 271"/>
                <a:gd name="T20" fmla="*/ 269 w 325"/>
                <a:gd name="T21" fmla="*/ 95 h 271"/>
                <a:gd name="T22" fmla="*/ 269 w 325"/>
                <a:gd name="T23" fmla="*/ 84 h 271"/>
                <a:gd name="T24" fmla="*/ 269 w 325"/>
                <a:gd name="T25" fmla="*/ 76 h 271"/>
                <a:gd name="T26" fmla="*/ 265 w 325"/>
                <a:gd name="T27" fmla="*/ 60 h 271"/>
                <a:gd name="T28" fmla="*/ 238 w 325"/>
                <a:gd name="T29" fmla="*/ 47 h 271"/>
                <a:gd name="T30" fmla="*/ 224 w 325"/>
                <a:gd name="T31" fmla="*/ 39 h 271"/>
                <a:gd name="T32" fmla="*/ 205 w 325"/>
                <a:gd name="T33" fmla="*/ 35 h 271"/>
                <a:gd name="T34" fmla="*/ 195 w 325"/>
                <a:gd name="T35" fmla="*/ 29 h 271"/>
                <a:gd name="T36" fmla="*/ 185 w 325"/>
                <a:gd name="T37" fmla="*/ 33 h 271"/>
                <a:gd name="T38" fmla="*/ 164 w 325"/>
                <a:gd name="T39" fmla="*/ 43 h 271"/>
                <a:gd name="T40" fmla="*/ 156 w 325"/>
                <a:gd name="T41" fmla="*/ 56 h 271"/>
                <a:gd name="T42" fmla="*/ 123 w 325"/>
                <a:gd name="T43" fmla="*/ 60 h 271"/>
                <a:gd name="T44" fmla="*/ 86 w 325"/>
                <a:gd name="T45" fmla="*/ 43 h 271"/>
                <a:gd name="T46" fmla="*/ 74 w 325"/>
                <a:gd name="T47" fmla="*/ 25 h 271"/>
                <a:gd name="T48" fmla="*/ 60 w 325"/>
                <a:gd name="T49" fmla="*/ 19 h 271"/>
                <a:gd name="T50" fmla="*/ 62 w 325"/>
                <a:gd name="T51" fmla="*/ 12 h 271"/>
                <a:gd name="T52" fmla="*/ 56 w 325"/>
                <a:gd name="T53" fmla="*/ 2 h 271"/>
                <a:gd name="T54" fmla="*/ 39 w 325"/>
                <a:gd name="T55" fmla="*/ 17 h 271"/>
                <a:gd name="T56" fmla="*/ 19 w 325"/>
                <a:gd name="T57" fmla="*/ 12 h 271"/>
                <a:gd name="T58" fmla="*/ 6 w 325"/>
                <a:gd name="T59" fmla="*/ 0 h 271"/>
                <a:gd name="T60" fmla="*/ 0 w 325"/>
                <a:gd name="T61" fmla="*/ 8 h 271"/>
                <a:gd name="T62" fmla="*/ 4 w 325"/>
                <a:gd name="T63" fmla="*/ 17 h 271"/>
                <a:gd name="T64" fmla="*/ 8 w 325"/>
                <a:gd name="T65" fmla="*/ 27 h 271"/>
                <a:gd name="T66" fmla="*/ 8 w 325"/>
                <a:gd name="T67" fmla="*/ 35 h 271"/>
                <a:gd name="T68" fmla="*/ 12 w 325"/>
                <a:gd name="T69" fmla="*/ 45 h 271"/>
                <a:gd name="T70" fmla="*/ 19 w 325"/>
                <a:gd name="T71" fmla="*/ 58 h 271"/>
                <a:gd name="T72" fmla="*/ 25 w 325"/>
                <a:gd name="T73" fmla="*/ 64 h 271"/>
                <a:gd name="T74" fmla="*/ 37 w 325"/>
                <a:gd name="T75" fmla="*/ 74 h 271"/>
                <a:gd name="T76" fmla="*/ 41 w 325"/>
                <a:gd name="T77" fmla="*/ 84 h 271"/>
                <a:gd name="T78" fmla="*/ 35 w 325"/>
                <a:gd name="T79" fmla="*/ 97 h 271"/>
                <a:gd name="T80" fmla="*/ 33 w 325"/>
                <a:gd name="T81" fmla="*/ 109 h 271"/>
                <a:gd name="T82" fmla="*/ 41 w 325"/>
                <a:gd name="T83" fmla="*/ 117 h 271"/>
                <a:gd name="T84" fmla="*/ 49 w 325"/>
                <a:gd name="T85" fmla="*/ 128 h 271"/>
                <a:gd name="T86" fmla="*/ 70 w 325"/>
                <a:gd name="T87" fmla="*/ 144 h 271"/>
                <a:gd name="T88" fmla="*/ 78 w 325"/>
                <a:gd name="T89" fmla="*/ 169 h 271"/>
                <a:gd name="T90" fmla="*/ 86 w 325"/>
                <a:gd name="T91" fmla="*/ 179 h 271"/>
                <a:gd name="T92" fmla="*/ 95 w 325"/>
                <a:gd name="T93" fmla="*/ 177 h 271"/>
                <a:gd name="T94" fmla="*/ 97 w 325"/>
                <a:gd name="T95" fmla="*/ 175 h 271"/>
                <a:gd name="T96" fmla="*/ 115 w 325"/>
                <a:gd name="T97" fmla="*/ 183 h 271"/>
                <a:gd name="T98" fmla="*/ 125 w 325"/>
                <a:gd name="T99" fmla="*/ 202 h 271"/>
                <a:gd name="T100" fmla="*/ 142 w 325"/>
                <a:gd name="T101" fmla="*/ 220 h 271"/>
                <a:gd name="T102" fmla="*/ 171 w 325"/>
                <a:gd name="T103" fmla="*/ 237 h 271"/>
                <a:gd name="T104" fmla="*/ 197 w 325"/>
                <a:gd name="T105" fmla="*/ 241 h 271"/>
                <a:gd name="T106" fmla="*/ 222 w 325"/>
                <a:gd name="T107" fmla="*/ 234 h 271"/>
                <a:gd name="T108" fmla="*/ 234 w 325"/>
                <a:gd name="T109" fmla="*/ 259 h 271"/>
                <a:gd name="T110" fmla="*/ 265 w 325"/>
                <a:gd name="T111" fmla="*/ 265 h 271"/>
                <a:gd name="T112" fmla="*/ 288 w 325"/>
                <a:gd name="T113" fmla="*/ 267 h 271"/>
                <a:gd name="T114" fmla="*/ 302 w 325"/>
                <a:gd name="T115" fmla="*/ 259 h 271"/>
                <a:gd name="T116" fmla="*/ 310 w 325"/>
                <a:gd name="T117" fmla="*/ 249 h 271"/>
                <a:gd name="T118" fmla="*/ 325 w 325"/>
                <a:gd name="T119" fmla="*/ 243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5" h="271">
                  <a:moveTo>
                    <a:pt x="212" y="237"/>
                  </a:moveTo>
                  <a:lnTo>
                    <a:pt x="210" y="239"/>
                  </a:lnTo>
                  <a:lnTo>
                    <a:pt x="208" y="237"/>
                  </a:lnTo>
                  <a:lnTo>
                    <a:pt x="208" y="239"/>
                  </a:lnTo>
                  <a:lnTo>
                    <a:pt x="208" y="239"/>
                  </a:lnTo>
                  <a:lnTo>
                    <a:pt x="208" y="241"/>
                  </a:lnTo>
                  <a:lnTo>
                    <a:pt x="203" y="243"/>
                  </a:lnTo>
                  <a:lnTo>
                    <a:pt x="201" y="243"/>
                  </a:lnTo>
                  <a:lnTo>
                    <a:pt x="199" y="243"/>
                  </a:lnTo>
                  <a:lnTo>
                    <a:pt x="199" y="243"/>
                  </a:lnTo>
                  <a:lnTo>
                    <a:pt x="201" y="245"/>
                  </a:lnTo>
                  <a:lnTo>
                    <a:pt x="201" y="245"/>
                  </a:lnTo>
                  <a:lnTo>
                    <a:pt x="201" y="245"/>
                  </a:lnTo>
                  <a:lnTo>
                    <a:pt x="203" y="243"/>
                  </a:lnTo>
                  <a:lnTo>
                    <a:pt x="205" y="243"/>
                  </a:lnTo>
                  <a:lnTo>
                    <a:pt x="208" y="243"/>
                  </a:lnTo>
                  <a:lnTo>
                    <a:pt x="210" y="241"/>
                  </a:lnTo>
                  <a:lnTo>
                    <a:pt x="210" y="241"/>
                  </a:lnTo>
                  <a:lnTo>
                    <a:pt x="210" y="243"/>
                  </a:lnTo>
                  <a:lnTo>
                    <a:pt x="212" y="241"/>
                  </a:lnTo>
                  <a:lnTo>
                    <a:pt x="214" y="239"/>
                  </a:lnTo>
                  <a:lnTo>
                    <a:pt x="216" y="237"/>
                  </a:lnTo>
                  <a:lnTo>
                    <a:pt x="214" y="237"/>
                  </a:lnTo>
                  <a:lnTo>
                    <a:pt x="212" y="237"/>
                  </a:lnTo>
                  <a:close/>
                  <a:moveTo>
                    <a:pt x="325" y="234"/>
                  </a:moveTo>
                  <a:lnTo>
                    <a:pt x="325" y="234"/>
                  </a:lnTo>
                  <a:lnTo>
                    <a:pt x="325" y="234"/>
                  </a:lnTo>
                  <a:lnTo>
                    <a:pt x="325" y="232"/>
                  </a:lnTo>
                  <a:lnTo>
                    <a:pt x="322" y="232"/>
                  </a:lnTo>
                  <a:lnTo>
                    <a:pt x="322" y="232"/>
                  </a:lnTo>
                  <a:lnTo>
                    <a:pt x="318" y="232"/>
                  </a:lnTo>
                  <a:lnTo>
                    <a:pt x="316" y="232"/>
                  </a:lnTo>
                  <a:lnTo>
                    <a:pt x="316" y="232"/>
                  </a:lnTo>
                  <a:lnTo>
                    <a:pt x="316" y="232"/>
                  </a:lnTo>
                  <a:lnTo>
                    <a:pt x="316" y="230"/>
                  </a:lnTo>
                  <a:lnTo>
                    <a:pt x="316" y="230"/>
                  </a:lnTo>
                  <a:lnTo>
                    <a:pt x="316" y="228"/>
                  </a:lnTo>
                  <a:lnTo>
                    <a:pt x="316" y="228"/>
                  </a:lnTo>
                  <a:lnTo>
                    <a:pt x="314" y="222"/>
                  </a:lnTo>
                  <a:lnTo>
                    <a:pt x="314" y="218"/>
                  </a:lnTo>
                  <a:lnTo>
                    <a:pt x="314" y="214"/>
                  </a:lnTo>
                  <a:lnTo>
                    <a:pt x="314" y="214"/>
                  </a:lnTo>
                  <a:lnTo>
                    <a:pt x="314" y="214"/>
                  </a:lnTo>
                  <a:lnTo>
                    <a:pt x="312" y="214"/>
                  </a:lnTo>
                  <a:lnTo>
                    <a:pt x="310" y="214"/>
                  </a:lnTo>
                  <a:lnTo>
                    <a:pt x="308" y="212"/>
                  </a:lnTo>
                  <a:lnTo>
                    <a:pt x="308" y="210"/>
                  </a:lnTo>
                  <a:lnTo>
                    <a:pt x="304" y="210"/>
                  </a:lnTo>
                  <a:lnTo>
                    <a:pt x="302" y="210"/>
                  </a:lnTo>
                  <a:lnTo>
                    <a:pt x="300" y="208"/>
                  </a:lnTo>
                  <a:lnTo>
                    <a:pt x="298" y="206"/>
                  </a:lnTo>
                  <a:lnTo>
                    <a:pt x="296" y="204"/>
                  </a:lnTo>
                  <a:lnTo>
                    <a:pt x="294" y="202"/>
                  </a:lnTo>
                  <a:lnTo>
                    <a:pt x="292" y="200"/>
                  </a:lnTo>
                  <a:lnTo>
                    <a:pt x="290" y="195"/>
                  </a:lnTo>
                  <a:lnTo>
                    <a:pt x="290" y="193"/>
                  </a:lnTo>
                  <a:lnTo>
                    <a:pt x="290" y="193"/>
                  </a:lnTo>
                  <a:lnTo>
                    <a:pt x="286" y="189"/>
                  </a:lnTo>
                  <a:lnTo>
                    <a:pt x="283" y="187"/>
                  </a:lnTo>
                  <a:lnTo>
                    <a:pt x="279" y="183"/>
                  </a:lnTo>
                  <a:lnTo>
                    <a:pt x="281" y="183"/>
                  </a:lnTo>
                  <a:lnTo>
                    <a:pt x="283" y="179"/>
                  </a:lnTo>
                  <a:lnTo>
                    <a:pt x="286" y="175"/>
                  </a:lnTo>
                  <a:lnTo>
                    <a:pt x="290" y="171"/>
                  </a:lnTo>
                  <a:lnTo>
                    <a:pt x="292" y="167"/>
                  </a:lnTo>
                  <a:lnTo>
                    <a:pt x="292" y="165"/>
                  </a:lnTo>
                  <a:lnTo>
                    <a:pt x="292" y="162"/>
                  </a:lnTo>
                  <a:lnTo>
                    <a:pt x="290" y="158"/>
                  </a:lnTo>
                  <a:lnTo>
                    <a:pt x="290" y="156"/>
                  </a:lnTo>
                  <a:lnTo>
                    <a:pt x="283" y="156"/>
                  </a:lnTo>
                  <a:lnTo>
                    <a:pt x="279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5" y="150"/>
                  </a:lnTo>
                  <a:lnTo>
                    <a:pt x="275" y="150"/>
                  </a:lnTo>
                  <a:lnTo>
                    <a:pt x="273" y="146"/>
                  </a:lnTo>
                  <a:lnTo>
                    <a:pt x="273" y="146"/>
                  </a:lnTo>
                  <a:lnTo>
                    <a:pt x="273" y="142"/>
                  </a:lnTo>
                  <a:lnTo>
                    <a:pt x="273" y="140"/>
                  </a:lnTo>
                  <a:lnTo>
                    <a:pt x="271" y="134"/>
                  </a:lnTo>
                  <a:lnTo>
                    <a:pt x="269" y="130"/>
                  </a:lnTo>
                  <a:lnTo>
                    <a:pt x="267" y="128"/>
                  </a:lnTo>
                  <a:lnTo>
                    <a:pt x="267" y="125"/>
                  </a:lnTo>
                  <a:lnTo>
                    <a:pt x="267" y="123"/>
                  </a:lnTo>
                  <a:lnTo>
                    <a:pt x="269" y="121"/>
                  </a:lnTo>
                  <a:lnTo>
                    <a:pt x="269" y="119"/>
                  </a:lnTo>
                  <a:lnTo>
                    <a:pt x="271" y="117"/>
                  </a:lnTo>
                  <a:lnTo>
                    <a:pt x="271" y="117"/>
                  </a:lnTo>
                  <a:lnTo>
                    <a:pt x="271" y="117"/>
                  </a:lnTo>
                  <a:lnTo>
                    <a:pt x="269" y="115"/>
                  </a:lnTo>
                  <a:lnTo>
                    <a:pt x="267" y="115"/>
                  </a:lnTo>
                  <a:lnTo>
                    <a:pt x="265" y="115"/>
                  </a:lnTo>
                  <a:lnTo>
                    <a:pt x="265" y="115"/>
                  </a:lnTo>
                  <a:lnTo>
                    <a:pt x="265" y="113"/>
                  </a:lnTo>
                  <a:lnTo>
                    <a:pt x="265" y="111"/>
                  </a:lnTo>
                  <a:lnTo>
                    <a:pt x="263" y="107"/>
                  </a:lnTo>
                  <a:lnTo>
                    <a:pt x="265" y="105"/>
                  </a:lnTo>
                  <a:lnTo>
                    <a:pt x="265" y="103"/>
                  </a:lnTo>
                  <a:lnTo>
                    <a:pt x="269" y="103"/>
                  </a:lnTo>
                  <a:lnTo>
                    <a:pt x="267" y="101"/>
                  </a:lnTo>
                  <a:lnTo>
                    <a:pt x="267" y="99"/>
                  </a:lnTo>
                  <a:lnTo>
                    <a:pt x="265" y="99"/>
                  </a:lnTo>
                  <a:lnTo>
                    <a:pt x="265" y="99"/>
                  </a:lnTo>
                  <a:lnTo>
                    <a:pt x="265" y="99"/>
                  </a:lnTo>
                  <a:lnTo>
                    <a:pt x="267" y="99"/>
                  </a:lnTo>
                  <a:lnTo>
                    <a:pt x="267" y="97"/>
                  </a:lnTo>
                  <a:lnTo>
                    <a:pt x="267" y="97"/>
                  </a:lnTo>
                  <a:lnTo>
                    <a:pt x="269" y="97"/>
                  </a:lnTo>
                  <a:lnTo>
                    <a:pt x="269" y="95"/>
                  </a:lnTo>
                  <a:lnTo>
                    <a:pt x="269" y="95"/>
                  </a:lnTo>
                  <a:lnTo>
                    <a:pt x="269" y="93"/>
                  </a:lnTo>
                  <a:lnTo>
                    <a:pt x="269" y="93"/>
                  </a:lnTo>
                  <a:lnTo>
                    <a:pt x="269" y="91"/>
                  </a:lnTo>
                  <a:lnTo>
                    <a:pt x="269" y="91"/>
                  </a:lnTo>
                  <a:lnTo>
                    <a:pt x="269" y="88"/>
                  </a:lnTo>
                  <a:lnTo>
                    <a:pt x="271" y="88"/>
                  </a:lnTo>
                  <a:lnTo>
                    <a:pt x="269" y="86"/>
                  </a:lnTo>
                  <a:lnTo>
                    <a:pt x="269" y="86"/>
                  </a:lnTo>
                  <a:lnTo>
                    <a:pt x="269" y="84"/>
                  </a:lnTo>
                  <a:lnTo>
                    <a:pt x="269" y="84"/>
                  </a:lnTo>
                  <a:lnTo>
                    <a:pt x="269" y="84"/>
                  </a:lnTo>
                  <a:lnTo>
                    <a:pt x="269" y="82"/>
                  </a:lnTo>
                  <a:lnTo>
                    <a:pt x="271" y="82"/>
                  </a:lnTo>
                  <a:lnTo>
                    <a:pt x="271" y="80"/>
                  </a:lnTo>
                  <a:lnTo>
                    <a:pt x="271" y="80"/>
                  </a:lnTo>
                  <a:lnTo>
                    <a:pt x="271" y="80"/>
                  </a:lnTo>
                  <a:lnTo>
                    <a:pt x="271" y="78"/>
                  </a:lnTo>
                  <a:lnTo>
                    <a:pt x="269" y="78"/>
                  </a:lnTo>
                  <a:lnTo>
                    <a:pt x="269" y="76"/>
                  </a:lnTo>
                  <a:lnTo>
                    <a:pt x="269" y="76"/>
                  </a:lnTo>
                  <a:lnTo>
                    <a:pt x="269" y="74"/>
                  </a:lnTo>
                  <a:lnTo>
                    <a:pt x="269" y="72"/>
                  </a:lnTo>
                  <a:lnTo>
                    <a:pt x="267" y="72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68"/>
                  </a:lnTo>
                  <a:lnTo>
                    <a:pt x="267" y="66"/>
                  </a:lnTo>
                  <a:lnTo>
                    <a:pt x="267" y="64"/>
                  </a:lnTo>
                  <a:lnTo>
                    <a:pt x="265" y="60"/>
                  </a:lnTo>
                  <a:lnTo>
                    <a:pt x="265" y="60"/>
                  </a:lnTo>
                  <a:lnTo>
                    <a:pt x="259" y="60"/>
                  </a:lnTo>
                  <a:lnTo>
                    <a:pt x="253" y="60"/>
                  </a:lnTo>
                  <a:lnTo>
                    <a:pt x="253" y="60"/>
                  </a:lnTo>
                  <a:lnTo>
                    <a:pt x="251" y="56"/>
                  </a:lnTo>
                  <a:lnTo>
                    <a:pt x="249" y="54"/>
                  </a:lnTo>
                  <a:lnTo>
                    <a:pt x="247" y="51"/>
                  </a:lnTo>
                  <a:lnTo>
                    <a:pt x="242" y="49"/>
                  </a:lnTo>
                  <a:lnTo>
                    <a:pt x="240" y="49"/>
                  </a:lnTo>
                  <a:lnTo>
                    <a:pt x="238" y="47"/>
                  </a:lnTo>
                  <a:lnTo>
                    <a:pt x="236" y="45"/>
                  </a:lnTo>
                  <a:lnTo>
                    <a:pt x="236" y="43"/>
                  </a:lnTo>
                  <a:lnTo>
                    <a:pt x="234" y="43"/>
                  </a:lnTo>
                  <a:lnTo>
                    <a:pt x="234" y="43"/>
                  </a:lnTo>
                  <a:lnTo>
                    <a:pt x="234" y="43"/>
                  </a:lnTo>
                  <a:lnTo>
                    <a:pt x="234" y="43"/>
                  </a:lnTo>
                  <a:lnTo>
                    <a:pt x="228" y="39"/>
                  </a:lnTo>
                  <a:lnTo>
                    <a:pt x="226" y="39"/>
                  </a:lnTo>
                  <a:lnTo>
                    <a:pt x="224" y="39"/>
                  </a:lnTo>
                  <a:lnTo>
                    <a:pt x="224" y="39"/>
                  </a:lnTo>
                  <a:lnTo>
                    <a:pt x="222" y="39"/>
                  </a:lnTo>
                  <a:lnTo>
                    <a:pt x="222" y="41"/>
                  </a:lnTo>
                  <a:lnTo>
                    <a:pt x="220" y="41"/>
                  </a:lnTo>
                  <a:lnTo>
                    <a:pt x="220" y="39"/>
                  </a:lnTo>
                  <a:lnTo>
                    <a:pt x="218" y="39"/>
                  </a:lnTo>
                  <a:lnTo>
                    <a:pt x="216" y="37"/>
                  </a:lnTo>
                  <a:lnTo>
                    <a:pt x="214" y="37"/>
                  </a:lnTo>
                  <a:lnTo>
                    <a:pt x="212" y="37"/>
                  </a:lnTo>
                  <a:lnTo>
                    <a:pt x="210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3" y="35"/>
                  </a:lnTo>
                  <a:lnTo>
                    <a:pt x="203" y="33"/>
                  </a:lnTo>
                  <a:lnTo>
                    <a:pt x="203" y="33"/>
                  </a:lnTo>
                  <a:lnTo>
                    <a:pt x="203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5" y="29"/>
                  </a:lnTo>
                  <a:lnTo>
                    <a:pt x="193" y="29"/>
                  </a:lnTo>
                  <a:lnTo>
                    <a:pt x="193" y="29"/>
                  </a:lnTo>
                  <a:lnTo>
                    <a:pt x="191" y="29"/>
                  </a:lnTo>
                  <a:lnTo>
                    <a:pt x="189" y="29"/>
                  </a:lnTo>
                  <a:lnTo>
                    <a:pt x="187" y="29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7" y="33"/>
                  </a:lnTo>
                  <a:lnTo>
                    <a:pt x="187" y="33"/>
                  </a:lnTo>
                  <a:lnTo>
                    <a:pt x="185" y="33"/>
                  </a:lnTo>
                  <a:lnTo>
                    <a:pt x="183" y="33"/>
                  </a:lnTo>
                  <a:lnTo>
                    <a:pt x="181" y="31"/>
                  </a:lnTo>
                  <a:lnTo>
                    <a:pt x="177" y="31"/>
                  </a:lnTo>
                  <a:lnTo>
                    <a:pt x="173" y="33"/>
                  </a:lnTo>
                  <a:lnTo>
                    <a:pt x="171" y="33"/>
                  </a:lnTo>
                  <a:lnTo>
                    <a:pt x="169" y="35"/>
                  </a:lnTo>
                  <a:lnTo>
                    <a:pt x="166" y="37"/>
                  </a:lnTo>
                  <a:lnTo>
                    <a:pt x="166" y="39"/>
                  </a:lnTo>
                  <a:lnTo>
                    <a:pt x="166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2" y="43"/>
                  </a:lnTo>
                  <a:lnTo>
                    <a:pt x="162" y="45"/>
                  </a:lnTo>
                  <a:lnTo>
                    <a:pt x="160" y="45"/>
                  </a:lnTo>
                  <a:lnTo>
                    <a:pt x="158" y="45"/>
                  </a:lnTo>
                  <a:lnTo>
                    <a:pt x="154" y="45"/>
                  </a:lnTo>
                  <a:lnTo>
                    <a:pt x="154" y="49"/>
                  </a:lnTo>
                  <a:lnTo>
                    <a:pt x="156" y="54"/>
                  </a:lnTo>
                  <a:lnTo>
                    <a:pt x="156" y="54"/>
                  </a:lnTo>
                  <a:lnTo>
                    <a:pt x="156" y="56"/>
                  </a:lnTo>
                  <a:lnTo>
                    <a:pt x="156" y="56"/>
                  </a:lnTo>
                  <a:lnTo>
                    <a:pt x="154" y="56"/>
                  </a:lnTo>
                  <a:lnTo>
                    <a:pt x="152" y="56"/>
                  </a:lnTo>
                  <a:lnTo>
                    <a:pt x="152" y="56"/>
                  </a:lnTo>
                  <a:lnTo>
                    <a:pt x="154" y="54"/>
                  </a:lnTo>
                  <a:lnTo>
                    <a:pt x="154" y="54"/>
                  </a:lnTo>
                  <a:lnTo>
                    <a:pt x="152" y="54"/>
                  </a:lnTo>
                  <a:lnTo>
                    <a:pt x="146" y="56"/>
                  </a:lnTo>
                  <a:lnTo>
                    <a:pt x="130" y="60"/>
                  </a:lnTo>
                  <a:lnTo>
                    <a:pt x="123" y="60"/>
                  </a:lnTo>
                  <a:lnTo>
                    <a:pt x="113" y="58"/>
                  </a:lnTo>
                  <a:lnTo>
                    <a:pt x="109" y="56"/>
                  </a:lnTo>
                  <a:lnTo>
                    <a:pt x="103" y="51"/>
                  </a:lnTo>
                  <a:lnTo>
                    <a:pt x="101" y="49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5" y="43"/>
                  </a:lnTo>
                  <a:lnTo>
                    <a:pt x="90" y="43"/>
                  </a:lnTo>
                  <a:lnTo>
                    <a:pt x="86" y="43"/>
                  </a:lnTo>
                  <a:lnTo>
                    <a:pt x="84" y="43"/>
                  </a:lnTo>
                  <a:lnTo>
                    <a:pt x="80" y="41"/>
                  </a:lnTo>
                  <a:lnTo>
                    <a:pt x="80" y="39"/>
                  </a:lnTo>
                  <a:lnTo>
                    <a:pt x="78" y="37"/>
                  </a:lnTo>
                  <a:lnTo>
                    <a:pt x="78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68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4" y="8"/>
                  </a:lnTo>
                  <a:lnTo>
                    <a:pt x="64" y="6"/>
                  </a:lnTo>
                  <a:lnTo>
                    <a:pt x="60" y="4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1" y="4"/>
                  </a:lnTo>
                  <a:lnTo>
                    <a:pt x="51" y="6"/>
                  </a:lnTo>
                  <a:lnTo>
                    <a:pt x="49" y="6"/>
                  </a:lnTo>
                  <a:lnTo>
                    <a:pt x="47" y="8"/>
                  </a:lnTo>
                  <a:lnTo>
                    <a:pt x="45" y="10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39" y="17"/>
                  </a:lnTo>
                  <a:lnTo>
                    <a:pt x="37" y="17"/>
                  </a:lnTo>
                  <a:lnTo>
                    <a:pt x="35" y="17"/>
                  </a:lnTo>
                  <a:lnTo>
                    <a:pt x="33" y="17"/>
                  </a:lnTo>
                  <a:lnTo>
                    <a:pt x="31" y="17"/>
                  </a:lnTo>
                  <a:lnTo>
                    <a:pt x="29" y="17"/>
                  </a:lnTo>
                  <a:lnTo>
                    <a:pt x="23" y="17"/>
                  </a:lnTo>
                  <a:lnTo>
                    <a:pt x="23" y="14"/>
                  </a:lnTo>
                  <a:lnTo>
                    <a:pt x="21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8"/>
                  </a:lnTo>
                  <a:lnTo>
                    <a:pt x="15" y="8"/>
                  </a:lnTo>
                  <a:lnTo>
                    <a:pt x="15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4" y="17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6" y="23"/>
                  </a:lnTo>
                  <a:lnTo>
                    <a:pt x="6" y="25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3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10" y="39"/>
                  </a:lnTo>
                  <a:lnTo>
                    <a:pt x="12" y="39"/>
                  </a:lnTo>
                  <a:lnTo>
                    <a:pt x="10" y="39"/>
                  </a:lnTo>
                  <a:lnTo>
                    <a:pt x="10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5"/>
                  </a:lnTo>
                  <a:lnTo>
                    <a:pt x="15" y="45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5" y="47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51"/>
                  </a:lnTo>
                  <a:lnTo>
                    <a:pt x="19" y="56"/>
                  </a:lnTo>
                  <a:lnTo>
                    <a:pt x="19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9" y="70"/>
                  </a:lnTo>
                  <a:lnTo>
                    <a:pt x="29" y="70"/>
                  </a:lnTo>
                  <a:lnTo>
                    <a:pt x="31" y="72"/>
                  </a:lnTo>
                  <a:lnTo>
                    <a:pt x="31" y="72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7" y="74"/>
                  </a:lnTo>
                  <a:lnTo>
                    <a:pt x="39" y="74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39" y="76"/>
                  </a:lnTo>
                  <a:lnTo>
                    <a:pt x="37" y="78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9" y="82"/>
                  </a:lnTo>
                  <a:lnTo>
                    <a:pt x="41" y="84"/>
                  </a:lnTo>
                  <a:lnTo>
                    <a:pt x="41" y="84"/>
                  </a:lnTo>
                  <a:lnTo>
                    <a:pt x="41" y="84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39" y="88"/>
                  </a:lnTo>
                  <a:lnTo>
                    <a:pt x="37" y="88"/>
                  </a:lnTo>
                  <a:lnTo>
                    <a:pt x="35" y="93"/>
                  </a:lnTo>
                  <a:lnTo>
                    <a:pt x="35" y="95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3" y="97"/>
                  </a:lnTo>
                  <a:lnTo>
                    <a:pt x="33" y="97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1" y="101"/>
                  </a:lnTo>
                  <a:lnTo>
                    <a:pt x="33" y="103"/>
                  </a:lnTo>
                  <a:lnTo>
                    <a:pt x="33" y="105"/>
                  </a:lnTo>
                  <a:lnTo>
                    <a:pt x="33" y="105"/>
                  </a:lnTo>
                  <a:lnTo>
                    <a:pt x="33" y="107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39" y="115"/>
                  </a:lnTo>
                  <a:lnTo>
                    <a:pt x="39" y="115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3" y="119"/>
                  </a:lnTo>
                  <a:lnTo>
                    <a:pt x="45" y="121"/>
                  </a:lnTo>
                  <a:lnTo>
                    <a:pt x="45" y="123"/>
                  </a:lnTo>
                  <a:lnTo>
                    <a:pt x="45" y="125"/>
                  </a:lnTo>
                  <a:lnTo>
                    <a:pt x="45" y="125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7" y="128"/>
                  </a:lnTo>
                  <a:lnTo>
                    <a:pt x="49" y="128"/>
                  </a:lnTo>
                  <a:lnTo>
                    <a:pt x="51" y="130"/>
                  </a:lnTo>
                  <a:lnTo>
                    <a:pt x="56" y="132"/>
                  </a:lnTo>
                  <a:lnTo>
                    <a:pt x="60" y="134"/>
                  </a:lnTo>
                  <a:lnTo>
                    <a:pt x="62" y="136"/>
                  </a:lnTo>
                  <a:lnTo>
                    <a:pt x="64" y="136"/>
                  </a:lnTo>
                  <a:lnTo>
                    <a:pt x="66" y="136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68" y="142"/>
                  </a:lnTo>
                  <a:lnTo>
                    <a:pt x="70" y="144"/>
                  </a:lnTo>
                  <a:lnTo>
                    <a:pt x="72" y="146"/>
                  </a:lnTo>
                  <a:lnTo>
                    <a:pt x="74" y="148"/>
                  </a:lnTo>
                  <a:lnTo>
                    <a:pt x="74" y="152"/>
                  </a:lnTo>
                  <a:lnTo>
                    <a:pt x="72" y="156"/>
                  </a:lnTo>
                  <a:lnTo>
                    <a:pt x="72" y="160"/>
                  </a:lnTo>
                  <a:lnTo>
                    <a:pt x="74" y="162"/>
                  </a:lnTo>
                  <a:lnTo>
                    <a:pt x="76" y="162"/>
                  </a:lnTo>
                  <a:lnTo>
                    <a:pt x="78" y="162"/>
                  </a:lnTo>
                  <a:lnTo>
                    <a:pt x="78" y="167"/>
                  </a:lnTo>
                  <a:lnTo>
                    <a:pt x="78" y="169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2" y="173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4" y="175"/>
                  </a:lnTo>
                  <a:lnTo>
                    <a:pt x="84" y="177"/>
                  </a:lnTo>
                  <a:lnTo>
                    <a:pt x="86" y="177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6" y="181"/>
                  </a:lnTo>
                  <a:lnTo>
                    <a:pt x="88" y="181"/>
                  </a:lnTo>
                  <a:lnTo>
                    <a:pt x="88" y="183"/>
                  </a:lnTo>
                  <a:lnTo>
                    <a:pt x="88" y="181"/>
                  </a:lnTo>
                  <a:lnTo>
                    <a:pt x="90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5" y="179"/>
                  </a:lnTo>
                  <a:lnTo>
                    <a:pt x="95" y="177"/>
                  </a:lnTo>
                  <a:lnTo>
                    <a:pt x="93" y="175"/>
                  </a:lnTo>
                  <a:lnTo>
                    <a:pt x="95" y="175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7" y="173"/>
                  </a:lnTo>
                  <a:lnTo>
                    <a:pt x="99" y="173"/>
                  </a:lnTo>
                  <a:lnTo>
                    <a:pt x="99" y="175"/>
                  </a:lnTo>
                  <a:lnTo>
                    <a:pt x="99" y="175"/>
                  </a:lnTo>
                  <a:lnTo>
                    <a:pt x="97" y="175"/>
                  </a:lnTo>
                  <a:lnTo>
                    <a:pt x="97" y="175"/>
                  </a:lnTo>
                  <a:lnTo>
                    <a:pt x="95" y="175"/>
                  </a:lnTo>
                  <a:lnTo>
                    <a:pt x="95" y="175"/>
                  </a:lnTo>
                  <a:lnTo>
                    <a:pt x="97" y="175"/>
                  </a:lnTo>
                  <a:lnTo>
                    <a:pt x="103" y="179"/>
                  </a:lnTo>
                  <a:lnTo>
                    <a:pt x="105" y="181"/>
                  </a:lnTo>
                  <a:lnTo>
                    <a:pt x="111" y="177"/>
                  </a:lnTo>
                  <a:lnTo>
                    <a:pt x="111" y="177"/>
                  </a:lnTo>
                  <a:lnTo>
                    <a:pt x="113" y="181"/>
                  </a:lnTo>
                  <a:lnTo>
                    <a:pt x="113" y="183"/>
                  </a:lnTo>
                  <a:lnTo>
                    <a:pt x="115" y="183"/>
                  </a:lnTo>
                  <a:lnTo>
                    <a:pt x="117" y="187"/>
                  </a:lnTo>
                  <a:lnTo>
                    <a:pt x="121" y="189"/>
                  </a:lnTo>
                  <a:lnTo>
                    <a:pt x="123" y="191"/>
                  </a:lnTo>
                  <a:lnTo>
                    <a:pt x="123" y="193"/>
                  </a:lnTo>
                  <a:lnTo>
                    <a:pt x="123" y="195"/>
                  </a:lnTo>
                  <a:lnTo>
                    <a:pt x="123" y="197"/>
                  </a:lnTo>
                  <a:lnTo>
                    <a:pt x="125" y="197"/>
                  </a:lnTo>
                  <a:lnTo>
                    <a:pt x="127" y="200"/>
                  </a:lnTo>
                  <a:lnTo>
                    <a:pt x="127" y="200"/>
                  </a:lnTo>
                  <a:lnTo>
                    <a:pt x="125" y="202"/>
                  </a:lnTo>
                  <a:lnTo>
                    <a:pt x="127" y="202"/>
                  </a:lnTo>
                  <a:lnTo>
                    <a:pt x="130" y="204"/>
                  </a:lnTo>
                  <a:lnTo>
                    <a:pt x="130" y="206"/>
                  </a:lnTo>
                  <a:lnTo>
                    <a:pt x="132" y="208"/>
                  </a:lnTo>
                  <a:lnTo>
                    <a:pt x="132" y="210"/>
                  </a:lnTo>
                  <a:lnTo>
                    <a:pt x="134" y="214"/>
                  </a:lnTo>
                  <a:lnTo>
                    <a:pt x="134" y="216"/>
                  </a:lnTo>
                  <a:lnTo>
                    <a:pt x="138" y="220"/>
                  </a:lnTo>
                  <a:lnTo>
                    <a:pt x="140" y="220"/>
                  </a:lnTo>
                  <a:lnTo>
                    <a:pt x="142" y="220"/>
                  </a:lnTo>
                  <a:lnTo>
                    <a:pt x="144" y="220"/>
                  </a:lnTo>
                  <a:lnTo>
                    <a:pt x="146" y="222"/>
                  </a:lnTo>
                  <a:lnTo>
                    <a:pt x="150" y="224"/>
                  </a:lnTo>
                  <a:lnTo>
                    <a:pt x="154" y="224"/>
                  </a:lnTo>
                  <a:lnTo>
                    <a:pt x="156" y="228"/>
                  </a:lnTo>
                  <a:lnTo>
                    <a:pt x="156" y="228"/>
                  </a:lnTo>
                  <a:lnTo>
                    <a:pt x="158" y="230"/>
                  </a:lnTo>
                  <a:lnTo>
                    <a:pt x="162" y="234"/>
                  </a:lnTo>
                  <a:lnTo>
                    <a:pt x="169" y="237"/>
                  </a:lnTo>
                  <a:lnTo>
                    <a:pt x="171" y="237"/>
                  </a:lnTo>
                  <a:lnTo>
                    <a:pt x="173" y="239"/>
                  </a:lnTo>
                  <a:lnTo>
                    <a:pt x="175" y="241"/>
                  </a:lnTo>
                  <a:lnTo>
                    <a:pt x="177" y="243"/>
                  </a:lnTo>
                  <a:lnTo>
                    <a:pt x="181" y="241"/>
                  </a:lnTo>
                  <a:lnTo>
                    <a:pt x="183" y="243"/>
                  </a:lnTo>
                  <a:lnTo>
                    <a:pt x="189" y="245"/>
                  </a:lnTo>
                  <a:lnTo>
                    <a:pt x="191" y="245"/>
                  </a:lnTo>
                  <a:lnTo>
                    <a:pt x="191" y="245"/>
                  </a:lnTo>
                  <a:lnTo>
                    <a:pt x="193" y="245"/>
                  </a:lnTo>
                  <a:lnTo>
                    <a:pt x="197" y="241"/>
                  </a:lnTo>
                  <a:lnTo>
                    <a:pt x="199" y="241"/>
                  </a:lnTo>
                  <a:lnTo>
                    <a:pt x="201" y="241"/>
                  </a:lnTo>
                  <a:lnTo>
                    <a:pt x="203" y="239"/>
                  </a:lnTo>
                  <a:lnTo>
                    <a:pt x="203" y="239"/>
                  </a:lnTo>
                  <a:lnTo>
                    <a:pt x="205" y="237"/>
                  </a:lnTo>
                  <a:lnTo>
                    <a:pt x="210" y="237"/>
                  </a:lnTo>
                  <a:lnTo>
                    <a:pt x="212" y="234"/>
                  </a:lnTo>
                  <a:lnTo>
                    <a:pt x="214" y="232"/>
                  </a:lnTo>
                  <a:lnTo>
                    <a:pt x="216" y="232"/>
                  </a:lnTo>
                  <a:lnTo>
                    <a:pt x="222" y="234"/>
                  </a:lnTo>
                  <a:lnTo>
                    <a:pt x="224" y="234"/>
                  </a:lnTo>
                  <a:lnTo>
                    <a:pt x="224" y="237"/>
                  </a:lnTo>
                  <a:lnTo>
                    <a:pt x="226" y="239"/>
                  </a:lnTo>
                  <a:lnTo>
                    <a:pt x="228" y="241"/>
                  </a:lnTo>
                  <a:lnTo>
                    <a:pt x="228" y="243"/>
                  </a:lnTo>
                  <a:lnTo>
                    <a:pt x="228" y="249"/>
                  </a:lnTo>
                  <a:lnTo>
                    <a:pt x="230" y="251"/>
                  </a:lnTo>
                  <a:lnTo>
                    <a:pt x="232" y="255"/>
                  </a:lnTo>
                  <a:lnTo>
                    <a:pt x="232" y="257"/>
                  </a:lnTo>
                  <a:lnTo>
                    <a:pt x="234" y="259"/>
                  </a:lnTo>
                  <a:lnTo>
                    <a:pt x="240" y="259"/>
                  </a:lnTo>
                  <a:lnTo>
                    <a:pt x="240" y="261"/>
                  </a:lnTo>
                  <a:lnTo>
                    <a:pt x="242" y="261"/>
                  </a:lnTo>
                  <a:lnTo>
                    <a:pt x="244" y="261"/>
                  </a:lnTo>
                  <a:lnTo>
                    <a:pt x="249" y="263"/>
                  </a:lnTo>
                  <a:lnTo>
                    <a:pt x="249" y="263"/>
                  </a:lnTo>
                  <a:lnTo>
                    <a:pt x="253" y="263"/>
                  </a:lnTo>
                  <a:lnTo>
                    <a:pt x="257" y="263"/>
                  </a:lnTo>
                  <a:lnTo>
                    <a:pt x="261" y="265"/>
                  </a:lnTo>
                  <a:lnTo>
                    <a:pt x="265" y="265"/>
                  </a:lnTo>
                  <a:lnTo>
                    <a:pt x="267" y="265"/>
                  </a:lnTo>
                  <a:lnTo>
                    <a:pt x="271" y="265"/>
                  </a:lnTo>
                  <a:lnTo>
                    <a:pt x="273" y="265"/>
                  </a:lnTo>
                  <a:lnTo>
                    <a:pt x="275" y="267"/>
                  </a:lnTo>
                  <a:lnTo>
                    <a:pt x="277" y="265"/>
                  </a:lnTo>
                  <a:lnTo>
                    <a:pt x="283" y="267"/>
                  </a:lnTo>
                  <a:lnTo>
                    <a:pt x="283" y="265"/>
                  </a:lnTo>
                  <a:lnTo>
                    <a:pt x="286" y="265"/>
                  </a:lnTo>
                  <a:lnTo>
                    <a:pt x="286" y="267"/>
                  </a:lnTo>
                  <a:lnTo>
                    <a:pt x="288" y="267"/>
                  </a:lnTo>
                  <a:lnTo>
                    <a:pt x="294" y="269"/>
                  </a:lnTo>
                  <a:lnTo>
                    <a:pt x="296" y="271"/>
                  </a:lnTo>
                  <a:lnTo>
                    <a:pt x="300" y="271"/>
                  </a:lnTo>
                  <a:lnTo>
                    <a:pt x="300" y="269"/>
                  </a:lnTo>
                  <a:lnTo>
                    <a:pt x="300" y="269"/>
                  </a:lnTo>
                  <a:lnTo>
                    <a:pt x="302" y="269"/>
                  </a:lnTo>
                  <a:lnTo>
                    <a:pt x="302" y="267"/>
                  </a:lnTo>
                  <a:lnTo>
                    <a:pt x="302" y="263"/>
                  </a:lnTo>
                  <a:lnTo>
                    <a:pt x="302" y="261"/>
                  </a:lnTo>
                  <a:lnTo>
                    <a:pt x="302" y="259"/>
                  </a:lnTo>
                  <a:lnTo>
                    <a:pt x="302" y="259"/>
                  </a:lnTo>
                  <a:lnTo>
                    <a:pt x="302" y="257"/>
                  </a:lnTo>
                  <a:lnTo>
                    <a:pt x="304" y="257"/>
                  </a:lnTo>
                  <a:lnTo>
                    <a:pt x="304" y="255"/>
                  </a:lnTo>
                  <a:lnTo>
                    <a:pt x="304" y="251"/>
                  </a:lnTo>
                  <a:lnTo>
                    <a:pt x="304" y="251"/>
                  </a:lnTo>
                  <a:lnTo>
                    <a:pt x="304" y="251"/>
                  </a:lnTo>
                  <a:lnTo>
                    <a:pt x="308" y="249"/>
                  </a:lnTo>
                  <a:lnTo>
                    <a:pt x="308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10" y="247"/>
                  </a:lnTo>
                  <a:lnTo>
                    <a:pt x="310" y="245"/>
                  </a:lnTo>
                  <a:lnTo>
                    <a:pt x="312" y="245"/>
                  </a:lnTo>
                  <a:lnTo>
                    <a:pt x="312" y="245"/>
                  </a:lnTo>
                  <a:lnTo>
                    <a:pt x="316" y="245"/>
                  </a:lnTo>
                  <a:lnTo>
                    <a:pt x="316" y="243"/>
                  </a:lnTo>
                  <a:lnTo>
                    <a:pt x="318" y="243"/>
                  </a:lnTo>
                  <a:lnTo>
                    <a:pt x="322" y="243"/>
                  </a:lnTo>
                  <a:lnTo>
                    <a:pt x="325" y="243"/>
                  </a:lnTo>
                  <a:lnTo>
                    <a:pt x="325" y="243"/>
                  </a:lnTo>
                  <a:lnTo>
                    <a:pt x="325" y="239"/>
                  </a:lnTo>
                  <a:lnTo>
                    <a:pt x="325" y="239"/>
                  </a:lnTo>
                  <a:lnTo>
                    <a:pt x="325" y="239"/>
                  </a:lnTo>
                  <a:lnTo>
                    <a:pt x="325" y="237"/>
                  </a:lnTo>
                  <a:lnTo>
                    <a:pt x="325" y="23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89" name="Freeform 151">
              <a:extLst>
                <a:ext uri="{FF2B5EF4-FFF2-40B4-BE49-F238E27FC236}">
                  <a16:creationId xmlns:a16="http://schemas.microsoft.com/office/drawing/2014/main" id="{E7D4131E-1C7D-C941-A2D2-EE97DB5B4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2943" y="2113678"/>
              <a:ext cx="159244" cy="61796"/>
            </a:xfrm>
            <a:custGeom>
              <a:avLst/>
              <a:gdLst>
                <a:gd name="T0" fmla="*/ 131 w 134"/>
                <a:gd name="T1" fmla="*/ 17 h 52"/>
                <a:gd name="T2" fmla="*/ 125 w 134"/>
                <a:gd name="T3" fmla="*/ 13 h 52"/>
                <a:gd name="T4" fmla="*/ 121 w 134"/>
                <a:gd name="T5" fmla="*/ 11 h 52"/>
                <a:gd name="T6" fmla="*/ 119 w 134"/>
                <a:gd name="T7" fmla="*/ 9 h 52"/>
                <a:gd name="T8" fmla="*/ 125 w 134"/>
                <a:gd name="T9" fmla="*/ 2 h 52"/>
                <a:gd name="T10" fmla="*/ 111 w 134"/>
                <a:gd name="T11" fmla="*/ 5 h 52"/>
                <a:gd name="T12" fmla="*/ 103 w 134"/>
                <a:gd name="T13" fmla="*/ 0 h 52"/>
                <a:gd name="T14" fmla="*/ 95 w 134"/>
                <a:gd name="T15" fmla="*/ 7 h 52"/>
                <a:gd name="T16" fmla="*/ 86 w 134"/>
                <a:gd name="T17" fmla="*/ 9 h 52"/>
                <a:gd name="T18" fmla="*/ 78 w 134"/>
                <a:gd name="T19" fmla="*/ 7 h 52"/>
                <a:gd name="T20" fmla="*/ 78 w 134"/>
                <a:gd name="T21" fmla="*/ 13 h 52"/>
                <a:gd name="T22" fmla="*/ 70 w 134"/>
                <a:gd name="T23" fmla="*/ 7 h 52"/>
                <a:gd name="T24" fmla="*/ 64 w 134"/>
                <a:gd name="T25" fmla="*/ 13 h 52"/>
                <a:gd name="T26" fmla="*/ 56 w 134"/>
                <a:gd name="T27" fmla="*/ 7 h 52"/>
                <a:gd name="T28" fmla="*/ 49 w 134"/>
                <a:gd name="T29" fmla="*/ 17 h 52"/>
                <a:gd name="T30" fmla="*/ 43 w 134"/>
                <a:gd name="T31" fmla="*/ 19 h 52"/>
                <a:gd name="T32" fmla="*/ 39 w 134"/>
                <a:gd name="T33" fmla="*/ 17 h 52"/>
                <a:gd name="T34" fmla="*/ 37 w 134"/>
                <a:gd name="T35" fmla="*/ 15 h 52"/>
                <a:gd name="T36" fmla="*/ 39 w 134"/>
                <a:gd name="T37" fmla="*/ 13 h 52"/>
                <a:gd name="T38" fmla="*/ 41 w 134"/>
                <a:gd name="T39" fmla="*/ 9 h 52"/>
                <a:gd name="T40" fmla="*/ 29 w 134"/>
                <a:gd name="T41" fmla="*/ 2 h 52"/>
                <a:gd name="T42" fmla="*/ 25 w 134"/>
                <a:gd name="T43" fmla="*/ 5 h 52"/>
                <a:gd name="T44" fmla="*/ 23 w 134"/>
                <a:gd name="T45" fmla="*/ 5 h 52"/>
                <a:gd name="T46" fmla="*/ 27 w 134"/>
                <a:gd name="T47" fmla="*/ 11 h 52"/>
                <a:gd name="T48" fmla="*/ 25 w 134"/>
                <a:gd name="T49" fmla="*/ 9 h 52"/>
                <a:gd name="T50" fmla="*/ 21 w 134"/>
                <a:gd name="T51" fmla="*/ 9 h 52"/>
                <a:gd name="T52" fmla="*/ 14 w 134"/>
                <a:gd name="T53" fmla="*/ 7 h 52"/>
                <a:gd name="T54" fmla="*/ 12 w 134"/>
                <a:gd name="T55" fmla="*/ 9 h 52"/>
                <a:gd name="T56" fmla="*/ 10 w 134"/>
                <a:gd name="T57" fmla="*/ 13 h 52"/>
                <a:gd name="T58" fmla="*/ 6 w 134"/>
                <a:gd name="T59" fmla="*/ 13 h 52"/>
                <a:gd name="T60" fmla="*/ 6 w 134"/>
                <a:gd name="T61" fmla="*/ 17 h 52"/>
                <a:gd name="T62" fmla="*/ 6 w 134"/>
                <a:gd name="T63" fmla="*/ 19 h 52"/>
                <a:gd name="T64" fmla="*/ 27 w 134"/>
                <a:gd name="T65" fmla="*/ 17 h 52"/>
                <a:gd name="T66" fmla="*/ 23 w 134"/>
                <a:gd name="T67" fmla="*/ 21 h 52"/>
                <a:gd name="T68" fmla="*/ 31 w 134"/>
                <a:gd name="T69" fmla="*/ 25 h 52"/>
                <a:gd name="T70" fmla="*/ 19 w 134"/>
                <a:gd name="T71" fmla="*/ 25 h 52"/>
                <a:gd name="T72" fmla="*/ 8 w 134"/>
                <a:gd name="T73" fmla="*/ 27 h 52"/>
                <a:gd name="T74" fmla="*/ 4 w 134"/>
                <a:gd name="T75" fmla="*/ 29 h 52"/>
                <a:gd name="T76" fmla="*/ 25 w 134"/>
                <a:gd name="T77" fmla="*/ 29 h 52"/>
                <a:gd name="T78" fmla="*/ 31 w 134"/>
                <a:gd name="T79" fmla="*/ 31 h 52"/>
                <a:gd name="T80" fmla="*/ 27 w 134"/>
                <a:gd name="T81" fmla="*/ 35 h 52"/>
                <a:gd name="T82" fmla="*/ 33 w 134"/>
                <a:gd name="T83" fmla="*/ 35 h 52"/>
                <a:gd name="T84" fmla="*/ 25 w 134"/>
                <a:gd name="T85" fmla="*/ 40 h 52"/>
                <a:gd name="T86" fmla="*/ 17 w 134"/>
                <a:gd name="T87" fmla="*/ 42 h 52"/>
                <a:gd name="T88" fmla="*/ 31 w 134"/>
                <a:gd name="T89" fmla="*/ 44 h 52"/>
                <a:gd name="T90" fmla="*/ 37 w 134"/>
                <a:gd name="T91" fmla="*/ 44 h 52"/>
                <a:gd name="T92" fmla="*/ 43 w 134"/>
                <a:gd name="T93" fmla="*/ 46 h 52"/>
                <a:gd name="T94" fmla="*/ 47 w 134"/>
                <a:gd name="T95" fmla="*/ 48 h 52"/>
                <a:gd name="T96" fmla="*/ 70 w 134"/>
                <a:gd name="T97" fmla="*/ 50 h 52"/>
                <a:gd name="T98" fmla="*/ 74 w 134"/>
                <a:gd name="T99" fmla="*/ 48 h 52"/>
                <a:gd name="T100" fmla="*/ 90 w 134"/>
                <a:gd name="T101" fmla="*/ 44 h 52"/>
                <a:gd name="T102" fmla="*/ 113 w 134"/>
                <a:gd name="T103" fmla="*/ 35 h 52"/>
                <a:gd name="T104" fmla="*/ 121 w 134"/>
                <a:gd name="T105" fmla="*/ 31 h 52"/>
                <a:gd name="T106" fmla="*/ 129 w 134"/>
                <a:gd name="T107" fmla="*/ 27 h 52"/>
                <a:gd name="T108" fmla="*/ 134 w 134"/>
                <a:gd name="T109" fmla="*/ 23 h 52"/>
                <a:gd name="T110" fmla="*/ 131 w 134"/>
                <a:gd name="T111" fmla="*/ 2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4" h="52">
                  <a:moveTo>
                    <a:pt x="131" y="19"/>
                  </a:moveTo>
                  <a:lnTo>
                    <a:pt x="131" y="19"/>
                  </a:lnTo>
                  <a:lnTo>
                    <a:pt x="134" y="19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1" y="17"/>
                  </a:lnTo>
                  <a:lnTo>
                    <a:pt x="131" y="15"/>
                  </a:lnTo>
                  <a:lnTo>
                    <a:pt x="129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23" y="15"/>
                  </a:lnTo>
                  <a:lnTo>
                    <a:pt x="125" y="15"/>
                  </a:lnTo>
                  <a:lnTo>
                    <a:pt x="125" y="15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1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9" y="7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3" y="5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19" y="2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09" y="2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103" y="0"/>
                  </a:lnTo>
                  <a:lnTo>
                    <a:pt x="101" y="2"/>
                  </a:lnTo>
                  <a:lnTo>
                    <a:pt x="103" y="5"/>
                  </a:lnTo>
                  <a:lnTo>
                    <a:pt x="101" y="5"/>
                  </a:lnTo>
                  <a:lnTo>
                    <a:pt x="101" y="7"/>
                  </a:lnTo>
                  <a:lnTo>
                    <a:pt x="99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0" y="7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0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1"/>
                  </a:lnTo>
                  <a:lnTo>
                    <a:pt x="76" y="9"/>
                  </a:lnTo>
                  <a:lnTo>
                    <a:pt x="74" y="9"/>
                  </a:lnTo>
                  <a:lnTo>
                    <a:pt x="74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0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6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0" y="11"/>
                  </a:lnTo>
                  <a:lnTo>
                    <a:pt x="58" y="11"/>
                  </a:lnTo>
                  <a:lnTo>
                    <a:pt x="58" y="9"/>
                  </a:lnTo>
                  <a:lnTo>
                    <a:pt x="56" y="9"/>
                  </a:lnTo>
                  <a:lnTo>
                    <a:pt x="56" y="7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11"/>
                  </a:lnTo>
                  <a:lnTo>
                    <a:pt x="53" y="13"/>
                  </a:lnTo>
                  <a:lnTo>
                    <a:pt x="51" y="13"/>
                  </a:lnTo>
                  <a:lnTo>
                    <a:pt x="51" y="15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49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5" y="15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39" y="19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9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5" y="13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39" y="11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37" y="7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3" y="5"/>
                  </a:lnTo>
                  <a:lnTo>
                    <a:pt x="31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1" y="5"/>
                  </a:lnTo>
                  <a:lnTo>
                    <a:pt x="23" y="5"/>
                  </a:lnTo>
                  <a:lnTo>
                    <a:pt x="25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5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5" y="7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19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7" y="9"/>
                  </a:lnTo>
                  <a:lnTo>
                    <a:pt x="14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11"/>
                  </a:lnTo>
                  <a:lnTo>
                    <a:pt x="14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2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4" y="13"/>
                  </a:lnTo>
                  <a:lnTo>
                    <a:pt x="14" y="15"/>
                  </a:lnTo>
                  <a:lnTo>
                    <a:pt x="12" y="15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8" y="17"/>
                  </a:lnTo>
                  <a:lnTo>
                    <a:pt x="6" y="17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2" y="1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17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8" y="19"/>
                  </a:lnTo>
                  <a:lnTo>
                    <a:pt x="10" y="17"/>
                  </a:lnTo>
                  <a:lnTo>
                    <a:pt x="17" y="17"/>
                  </a:lnTo>
                  <a:lnTo>
                    <a:pt x="21" y="15"/>
                  </a:lnTo>
                  <a:lnTo>
                    <a:pt x="21" y="17"/>
                  </a:lnTo>
                  <a:lnTo>
                    <a:pt x="23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3" y="19"/>
                  </a:lnTo>
                  <a:lnTo>
                    <a:pt x="31" y="19"/>
                  </a:lnTo>
                  <a:lnTo>
                    <a:pt x="29" y="19"/>
                  </a:lnTo>
                  <a:lnTo>
                    <a:pt x="27" y="21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25" y="25"/>
                  </a:lnTo>
                  <a:lnTo>
                    <a:pt x="23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9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7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3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29" y="35"/>
                  </a:lnTo>
                  <a:lnTo>
                    <a:pt x="29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3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9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3" y="42"/>
                  </a:lnTo>
                  <a:lnTo>
                    <a:pt x="35" y="42"/>
                  </a:lnTo>
                  <a:lnTo>
                    <a:pt x="35" y="42"/>
                  </a:lnTo>
                  <a:lnTo>
                    <a:pt x="35" y="42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3" y="46"/>
                  </a:lnTo>
                  <a:lnTo>
                    <a:pt x="43" y="44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3" y="48"/>
                  </a:lnTo>
                  <a:lnTo>
                    <a:pt x="45" y="48"/>
                  </a:lnTo>
                  <a:lnTo>
                    <a:pt x="47" y="48"/>
                  </a:lnTo>
                  <a:lnTo>
                    <a:pt x="49" y="50"/>
                  </a:lnTo>
                  <a:lnTo>
                    <a:pt x="53" y="50"/>
                  </a:lnTo>
                  <a:lnTo>
                    <a:pt x="56" y="50"/>
                  </a:lnTo>
                  <a:lnTo>
                    <a:pt x="64" y="52"/>
                  </a:lnTo>
                  <a:lnTo>
                    <a:pt x="68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2" y="50"/>
                  </a:lnTo>
                  <a:lnTo>
                    <a:pt x="74" y="50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4" y="46"/>
                  </a:lnTo>
                  <a:lnTo>
                    <a:pt x="76" y="46"/>
                  </a:lnTo>
                  <a:lnTo>
                    <a:pt x="78" y="46"/>
                  </a:lnTo>
                  <a:lnTo>
                    <a:pt x="84" y="44"/>
                  </a:lnTo>
                  <a:lnTo>
                    <a:pt x="86" y="44"/>
                  </a:lnTo>
                  <a:lnTo>
                    <a:pt x="88" y="44"/>
                  </a:lnTo>
                  <a:lnTo>
                    <a:pt x="90" y="44"/>
                  </a:lnTo>
                  <a:lnTo>
                    <a:pt x="92" y="44"/>
                  </a:lnTo>
                  <a:lnTo>
                    <a:pt x="97" y="42"/>
                  </a:lnTo>
                  <a:lnTo>
                    <a:pt x="99" y="40"/>
                  </a:lnTo>
                  <a:lnTo>
                    <a:pt x="103" y="37"/>
                  </a:lnTo>
                  <a:lnTo>
                    <a:pt x="107" y="37"/>
                  </a:lnTo>
                  <a:lnTo>
                    <a:pt x="109" y="37"/>
                  </a:lnTo>
                  <a:lnTo>
                    <a:pt x="113" y="37"/>
                  </a:lnTo>
                  <a:lnTo>
                    <a:pt x="113" y="35"/>
                  </a:lnTo>
                  <a:lnTo>
                    <a:pt x="115" y="35"/>
                  </a:lnTo>
                  <a:lnTo>
                    <a:pt x="117" y="35"/>
                  </a:lnTo>
                  <a:lnTo>
                    <a:pt x="119" y="33"/>
                  </a:lnTo>
                  <a:lnTo>
                    <a:pt x="119" y="33"/>
                  </a:lnTo>
                  <a:lnTo>
                    <a:pt x="121" y="33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5" y="29"/>
                  </a:lnTo>
                  <a:lnTo>
                    <a:pt x="127" y="29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1" y="1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90" name="Freeform 152">
              <a:extLst>
                <a:ext uri="{FF2B5EF4-FFF2-40B4-BE49-F238E27FC236}">
                  <a16:creationId xmlns:a16="http://schemas.microsoft.com/office/drawing/2014/main" id="{A023623E-C52C-B54F-B6D4-9F7080D3C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455" y="2478513"/>
              <a:ext cx="115274" cy="58231"/>
            </a:xfrm>
            <a:custGeom>
              <a:avLst/>
              <a:gdLst>
                <a:gd name="T0" fmla="*/ 97 w 97"/>
                <a:gd name="T1" fmla="*/ 8 h 49"/>
                <a:gd name="T2" fmla="*/ 95 w 97"/>
                <a:gd name="T3" fmla="*/ 8 h 49"/>
                <a:gd name="T4" fmla="*/ 91 w 97"/>
                <a:gd name="T5" fmla="*/ 6 h 49"/>
                <a:gd name="T6" fmla="*/ 88 w 97"/>
                <a:gd name="T7" fmla="*/ 4 h 49"/>
                <a:gd name="T8" fmla="*/ 86 w 97"/>
                <a:gd name="T9" fmla="*/ 2 h 49"/>
                <a:gd name="T10" fmla="*/ 80 w 97"/>
                <a:gd name="T11" fmla="*/ 4 h 49"/>
                <a:gd name="T12" fmla="*/ 78 w 97"/>
                <a:gd name="T13" fmla="*/ 2 h 49"/>
                <a:gd name="T14" fmla="*/ 76 w 97"/>
                <a:gd name="T15" fmla="*/ 0 h 49"/>
                <a:gd name="T16" fmla="*/ 68 w 97"/>
                <a:gd name="T17" fmla="*/ 0 h 49"/>
                <a:gd name="T18" fmla="*/ 60 w 97"/>
                <a:gd name="T19" fmla="*/ 4 h 49"/>
                <a:gd name="T20" fmla="*/ 54 w 97"/>
                <a:gd name="T21" fmla="*/ 6 h 49"/>
                <a:gd name="T22" fmla="*/ 49 w 97"/>
                <a:gd name="T23" fmla="*/ 6 h 49"/>
                <a:gd name="T24" fmla="*/ 39 w 97"/>
                <a:gd name="T25" fmla="*/ 10 h 49"/>
                <a:gd name="T26" fmla="*/ 39 w 97"/>
                <a:gd name="T27" fmla="*/ 12 h 49"/>
                <a:gd name="T28" fmla="*/ 27 w 97"/>
                <a:gd name="T29" fmla="*/ 14 h 49"/>
                <a:gd name="T30" fmla="*/ 19 w 97"/>
                <a:gd name="T31" fmla="*/ 10 h 49"/>
                <a:gd name="T32" fmla="*/ 15 w 97"/>
                <a:gd name="T33" fmla="*/ 10 h 49"/>
                <a:gd name="T34" fmla="*/ 15 w 97"/>
                <a:gd name="T35" fmla="*/ 12 h 49"/>
                <a:gd name="T36" fmla="*/ 13 w 97"/>
                <a:gd name="T37" fmla="*/ 14 h 49"/>
                <a:gd name="T38" fmla="*/ 10 w 97"/>
                <a:gd name="T39" fmla="*/ 14 h 49"/>
                <a:gd name="T40" fmla="*/ 6 w 97"/>
                <a:gd name="T41" fmla="*/ 14 h 49"/>
                <a:gd name="T42" fmla="*/ 8 w 97"/>
                <a:gd name="T43" fmla="*/ 16 h 49"/>
                <a:gd name="T44" fmla="*/ 8 w 97"/>
                <a:gd name="T45" fmla="*/ 20 h 49"/>
                <a:gd name="T46" fmla="*/ 6 w 97"/>
                <a:gd name="T47" fmla="*/ 22 h 49"/>
                <a:gd name="T48" fmla="*/ 6 w 97"/>
                <a:gd name="T49" fmla="*/ 24 h 49"/>
                <a:gd name="T50" fmla="*/ 6 w 97"/>
                <a:gd name="T51" fmla="*/ 27 h 49"/>
                <a:gd name="T52" fmla="*/ 2 w 97"/>
                <a:gd name="T53" fmla="*/ 29 h 49"/>
                <a:gd name="T54" fmla="*/ 4 w 97"/>
                <a:gd name="T55" fmla="*/ 31 h 49"/>
                <a:gd name="T56" fmla="*/ 4 w 97"/>
                <a:gd name="T57" fmla="*/ 35 h 49"/>
                <a:gd name="T58" fmla="*/ 8 w 97"/>
                <a:gd name="T59" fmla="*/ 37 h 49"/>
                <a:gd name="T60" fmla="*/ 15 w 97"/>
                <a:gd name="T61" fmla="*/ 43 h 49"/>
                <a:gd name="T62" fmla="*/ 21 w 97"/>
                <a:gd name="T63" fmla="*/ 47 h 49"/>
                <a:gd name="T64" fmla="*/ 25 w 97"/>
                <a:gd name="T65" fmla="*/ 49 h 49"/>
                <a:gd name="T66" fmla="*/ 33 w 97"/>
                <a:gd name="T67" fmla="*/ 49 h 49"/>
                <a:gd name="T68" fmla="*/ 37 w 97"/>
                <a:gd name="T69" fmla="*/ 49 h 49"/>
                <a:gd name="T70" fmla="*/ 41 w 97"/>
                <a:gd name="T71" fmla="*/ 47 h 49"/>
                <a:gd name="T72" fmla="*/ 43 w 97"/>
                <a:gd name="T73" fmla="*/ 45 h 49"/>
                <a:gd name="T74" fmla="*/ 45 w 97"/>
                <a:gd name="T75" fmla="*/ 45 h 49"/>
                <a:gd name="T76" fmla="*/ 49 w 97"/>
                <a:gd name="T77" fmla="*/ 45 h 49"/>
                <a:gd name="T78" fmla="*/ 54 w 97"/>
                <a:gd name="T79" fmla="*/ 43 h 49"/>
                <a:gd name="T80" fmla="*/ 60 w 97"/>
                <a:gd name="T81" fmla="*/ 43 h 49"/>
                <a:gd name="T82" fmla="*/ 66 w 97"/>
                <a:gd name="T83" fmla="*/ 43 h 49"/>
                <a:gd name="T84" fmla="*/ 68 w 97"/>
                <a:gd name="T85" fmla="*/ 41 h 49"/>
                <a:gd name="T86" fmla="*/ 74 w 97"/>
                <a:gd name="T87" fmla="*/ 41 h 49"/>
                <a:gd name="T88" fmla="*/ 76 w 97"/>
                <a:gd name="T89" fmla="*/ 39 h 49"/>
                <a:gd name="T90" fmla="*/ 76 w 97"/>
                <a:gd name="T91" fmla="*/ 35 h 49"/>
                <a:gd name="T92" fmla="*/ 78 w 97"/>
                <a:gd name="T93" fmla="*/ 33 h 49"/>
                <a:gd name="T94" fmla="*/ 80 w 97"/>
                <a:gd name="T95" fmla="*/ 27 h 49"/>
                <a:gd name="T96" fmla="*/ 82 w 97"/>
                <a:gd name="T97" fmla="*/ 22 h 49"/>
                <a:gd name="T98" fmla="*/ 84 w 97"/>
                <a:gd name="T99" fmla="*/ 18 h 49"/>
                <a:gd name="T100" fmla="*/ 88 w 97"/>
                <a:gd name="T101" fmla="*/ 14 h 49"/>
                <a:gd name="T102" fmla="*/ 93 w 97"/>
                <a:gd name="T103" fmla="*/ 14 h 49"/>
                <a:gd name="T104" fmla="*/ 97 w 97"/>
                <a:gd name="T105" fmla="*/ 1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7" h="49">
                  <a:moveTo>
                    <a:pt x="97" y="10"/>
                  </a:moveTo>
                  <a:lnTo>
                    <a:pt x="97" y="10"/>
                  </a:lnTo>
                  <a:lnTo>
                    <a:pt x="97" y="10"/>
                  </a:lnTo>
                  <a:lnTo>
                    <a:pt x="97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3" y="6"/>
                  </a:lnTo>
                  <a:lnTo>
                    <a:pt x="91" y="6"/>
                  </a:lnTo>
                  <a:lnTo>
                    <a:pt x="88" y="6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0" y="4"/>
                  </a:lnTo>
                  <a:lnTo>
                    <a:pt x="58" y="6"/>
                  </a:lnTo>
                  <a:lnTo>
                    <a:pt x="56" y="6"/>
                  </a:lnTo>
                  <a:lnTo>
                    <a:pt x="54" y="8"/>
                  </a:lnTo>
                  <a:lnTo>
                    <a:pt x="54" y="6"/>
                  </a:lnTo>
                  <a:lnTo>
                    <a:pt x="52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7" y="8"/>
                  </a:lnTo>
                  <a:lnTo>
                    <a:pt x="45" y="8"/>
                  </a:lnTo>
                  <a:lnTo>
                    <a:pt x="41" y="8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7" y="14"/>
                  </a:lnTo>
                  <a:lnTo>
                    <a:pt x="35" y="14"/>
                  </a:lnTo>
                  <a:lnTo>
                    <a:pt x="29" y="14"/>
                  </a:lnTo>
                  <a:lnTo>
                    <a:pt x="27" y="14"/>
                  </a:lnTo>
                  <a:lnTo>
                    <a:pt x="25" y="14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19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3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9"/>
                  </a:lnTo>
                  <a:lnTo>
                    <a:pt x="4" y="27"/>
                  </a:lnTo>
                  <a:lnTo>
                    <a:pt x="2" y="29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6" y="35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0" y="39"/>
                  </a:lnTo>
                  <a:lnTo>
                    <a:pt x="13" y="39"/>
                  </a:lnTo>
                  <a:lnTo>
                    <a:pt x="13" y="41"/>
                  </a:lnTo>
                  <a:lnTo>
                    <a:pt x="15" y="43"/>
                  </a:lnTo>
                  <a:lnTo>
                    <a:pt x="17" y="43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21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5" y="49"/>
                  </a:lnTo>
                  <a:lnTo>
                    <a:pt x="27" y="49"/>
                  </a:lnTo>
                  <a:lnTo>
                    <a:pt x="29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7" y="49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3" y="47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4" y="43"/>
                  </a:lnTo>
                  <a:lnTo>
                    <a:pt x="56" y="43"/>
                  </a:lnTo>
                  <a:lnTo>
                    <a:pt x="56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2" y="43"/>
                  </a:lnTo>
                  <a:lnTo>
                    <a:pt x="62" y="43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70" y="41"/>
                  </a:lnTo>
                  <a:lnTo>
                    <a:pt x="72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6" y="39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8" y="35"/>
                  </a:lnTo>
                  <a:lnTo>
                    <a:pt x="78" y="33"/>
                  </a:lnTo>
                  <a:lnTo>
                    <a:pt x="78" y="33"/>
                  </a:lnTo>
                  <a:lnTo>
                    <a:pt x="78" y="31"/>
                  </a:lnTo>
                  <a:lnTo>
                    <a:pt x="80" y="31"/>
                  </a:lnTo>
                  <a:lnTo>
                    <a:pt x="80" y="29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4" y="22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18"/>
                  </a:lnTo>
                  <a:lnTo>
                    <a:pt x="86" y="18"/>
                  </a:lnTo>
                  <a:lnTo>
                    <a:pt x="86" y="16"/>
                  </a:lnTo>
                  <a:lnTo>
                    <a:pt x="88" y="16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3" y="14"/>
                  </a:lnTo>
                  <a:lnTo>
                    <a:pt x="93" y="14"/>
                  </a:lnTo>
                  <a:lnTo>
                    <a:pt x="93" y="14"/>
                  </a:lnTo>
                  <a:lnTo>
                    <a:pt x="95" y="14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7" y="1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91" name="Freeform 158">
              <a:extLst>
                <a:ext uri="{FF2B5EF4-FFF2-40B4-BE49-F238E27FC236}">
                  <a16:creationId xmlns:a16="http://schemas.microsoft.com/office/drawing/2014/main" id="{4D752C7F-61E6-F740-8451-33FAAAC24A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059" y="3258095"/>
              <a:ext cx="55854" cy="36840"/>
            </a:xfrm>
            <a:custGeom>
              <a:avLst/>
              <a:gdLst>
                <a:gd name="T0" fmla="*/ 10 w 47"/>
                <a:gd name="T1" fmla="*/ 26 h 31"/>
                <a:gd name="T2" fmla="*/ 10 w 47"/>
                <a:gd name="T3" fmla="*/ 28 h 31"/>
                <a:gd name="T4" fmla="*/ 12 w 47"/>
                <a:gd name="T5" fmla="*/ 26 h 31"/>
                <a:gd name="T6" fmla="*/ 8 w 47"/>
                <a:gd name="T7" fmla="*/ 26 h 31"/>
                <a:gd name="T8" fmla="*/ 6 w 47"/>
                <a:gd name="T9" fmla="*/ 28 h 31"/>
                <a:gd name="T10" fmla="*/ 6 w 47"/>
                <a:gd name="T11" fmla="*/ 28 h 31"/>
                <a:gd name="T12" fmla="*/ 8 w 47"/>
                <a:gd name="T13" fmla="*/ 28 h 31"/>
                <a:gd name="T14" fmla="*/ 14 w 47"/>
                <a:gd name="T15" fmla="*/ 24 h 31"/>
                <a:gd name="T16" fmla="*/ 14 w 47"/>
                <a:gd name="T17" fmla="*/ 26 h 31"/>
                <a:gd name="T18" fmla="*/ 14 w 47"/>
                <a:gd name="T19" fmla="*/ 26 h 31"/>
                <a:gd name="T20" fmla="*/ 16 w 47"/>
                <a:gd name="T21" fmla="*/ 24 h 31"/>
                <a:gd name="T22" fmla="*/ 10 w 47"/>
                <a:gd name="T23" fmla="*/ 20 h 31"/>
                <a:gd name="T24" fmla="*/ 10 w 47"/>
                <a:gd name="T25" fmla="*/ 22 h 31"/>
                <a:gd name="T26" fmla="*/ 10 w 47"/>
                <a:gd name="T27" fmla="*/ 18 h 31"/>
                <a:gd name="T28" fmla="*/ 16 w 47"/>
                <a:gd name="T29" fmla="*/ 20 h 31"/>
                <a:gd name="T30" fmla="*/ 18 w 47"/>
                <a:gd name="T31" fmla="*/ 20 h 31"/>
                <a:gd name="T32" fmla="*/ 10 w 47"/>
                <a:gd name="T33" fmla="*/ 14 h 31"/>
                <a:gd name="T34" fmla="*/ 8 w 47"/>
                <a:gd name="T35" fmla="*/ 16 h 31"/>
                <a:gd name="T36" fmla="*/ 10 w 47"/>
                <a:gd name="T37" fmla="*/ 14 h 31"/>
                <a:gd name="T38" fmla="*/ 41 w 47"/>
                <a:gd name="T39" fmla="*/ 0 h 31"/>
                <a:gd name="T40" fmla="*/ 27 w 47"/>
                <a:gd name="T41" fmla="*/ 0 h 31"/>
                <a:gd name="T42" fmla="*/ 18 w 47"/>
                <a:gd name="T43" fmla="*/ 4 h 31"/>
                <a:gd name="T44" fmla="*/ 6 w 47"/>
                <a:gd name="T45" fmla="*/ 4 h 31"/>
                <a:gd name="T46" fmla="*/ 2 w 47"/>
                <a:gd name="T47" fmla="*/ 6 h 31"/>
                <a:gd name="T48" fmla="*/ 4 w 47"/>
                <a:gd name="T49" fmla="*/ 8 h 31"/>
                <a:gd name="T50" fmla="*/ 6 w 47"/>
                <a:gd name="T51" fmla="*/ 8 h 31"/>
                <a:gd name="T52" fmla="*/ 6 w 47"/>
                <a:gd name="T53" fmla="*/ 12 h 31"/>
                <a:gd name="T54" fmla="*/ 12 w 47"/>
                <a:gd name="T55" fmla="*/ 12 h 31"/>
                <a:gd name="T56" fmla="*/ 12 w 47"/>
                <a:gd name="T57" fmla="*/ 16 h 31"/>
                <a:gd name="T58" fmla="*/ 20 w 47"/>
                <a:gd name="T59" fmla="*/ 12 h 31"/>
                <a:gd name="T60" fmla="*/ 24 w 47"/>
                <a:gd name="T61" fmla="*/ 12 h 31"/>
                <a:gd name="T62" fmla="*/ 24 w 47"/>
                <a:gd name="T63" fmla="*/ 14 h 31"/>
                <a:gd name="T64" fmla="*/ 18 w 47"/>
                <a:gd name="T65" fmla="*/ 14 h 31"/>
                <a:gd name="T66" fmla="*/ 20 w 47"/>
                <a:gd name="T67" fmla="*/ 18 h 31"/>
                <a:gd name="T68" fmla="*/ 22 w 47"/>
                <a:gd name="T69" fmla="*/ 18 h 31"/>
                <a:gd name="T70" fmla="*/ 24 w 47"/>
                <a:gd name="T71" fmla="*/ 20 h 31"/>
                <a:gd name="T72" fmla="*/ 18 w 47"/>
                <a:gd name="T73" fmla="*/ 22 h 31"/>
                <a:gd name="T74" fmla="*/ 20 w 47"/>
                <a:gd name="T75" fmla="*/ 22 h 31"/>
                <a:gd name="T76" fmla="*/ 20 w 47"/>
                <a:gd name="T77" fmla="*/ 24 h 31"/>
                <a:gd name="T78" fmla="*/ 22 w 47"/>
                <a:gd name="T79" fmla="*/ 26 h 31"/>
                <a:gd name="T80" fmla="*/ 22 w 47"/>
                <a:gd name="T81" fmla="*/ 31 h 31"/>
                <a:gd name="T82" fmla="*/ 24 w 47"/>
                <a:gd name="T83" fmla="*/ 31 h 31"/>
                <a:gd name="T84" fmla="*/ 27 w 47"/>
                <a:gd name="T85" fmla="*/ 28 h 31"/>
                <a:gd name="T86" fmla="*/ 31 w 47"/>
                <a:gd name="T87" fmla="*/ 20 h 31"/>
                <a:gd name="T88" fmla="*/ 37 w 47"/>
                <a:gd name="T89" fmla="*/ 18 h 31"/>
                <a:gd name="T90" fmla="*/ 43 w 47"/>
                <a:gd name="T91" fmla="*/ 18 h 31"/>
                <a:gd name="T92" fmla="*/ 47 w 47"/>
                <a:gd name="T93" fmla="*/ 12 h 31"/>
                <a:gd name="T94" fmla="*/ 45 w 47"/>
                <a:gd name="T95" fmla="*/ 10 h 31"/>
                <a:gd name="T96" fmla="*/ 43 w 47"/>
                <a:gd name="T97" fmla="*/ 8 h 31"/>
                <a:gd name="T98" fmla="*/ 47 w 47"/>
                <a:gd name="T99" fmla="*/ 8 h 31"/>
                <a:gd name="T100" fmla="*/ 47 w 47"/>
                <a:gd name="T101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" h="31">
                  <a:moveTo>
                    <a:pt x="12" y="26"/>
                  </a:moveTo>
                  <a:lnTo>
                    <a:pt x="10" y="26"/>
                  </a:lnTo>
                  <a:lnTo>
                    <a:pt x="10" y="26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6"/>
                  </a:lnTo>
                  <a:lnTo>
                    <a:pt x="12" y="26"/>
                  </a:lnTo>
                  <a:close/>
                  <a:moveTo>
                    <a:pt x="8" y="26"/>
                  </a:moveTo>
                  <a:lnTo>
                    <a:pt x="8" y="26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6"/>
                  </a:lnTo>
                  <a:lnTo>
                    <a:pt x="8" y="26"/>
                  </a:lnTo>
                  <a:close/>
                  <a:moveTo>
                    <a:pt x="14" y="24"/>
                  </a:moveTo>
                  <a:lnTo>
                    <a:pt x="14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4" y="24"/>
                  </a:lnTo>
                  <a:close/>
                  <a:moveTo>
                    <a:pt x="10" y="18"/>
                  </a:moveTo>
                  <a:lnTo>
                    <a:pt x="10" y="20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2" y="20"/>
                  </a:lnTo>
                  <a:lnTo>
                    <a:pt x="10" y="18"/>
                  </a:lnTo>
                  <a:close/>
                  <a:moveTo>
                    <a:pt x="18" y="18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8"/>
                  </a:lnTo>
                  <a:lnTo>
                    <a:pt x="18" y="18"/>
                  </a:lnTo>
                  <a:close/>
                  <a:moveTo>
                    <a:pt x="10" y="14"/>
                  </a:moveTo>
                  <a:lnTo>
                    <a:pt x="8" y="14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0" y="14"/>
                  </a:lnTo>
                  <a:close/>
                  <a:moveTo>
                    <a:pt x="47" y="2"/>
                  </a:moveTo>
                  <a:lnTo>
                    <a:pt x="47" y="0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8" y="14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20" y="12"/>
                  </a:lnTo>
                  <a:lnTo>
                    <a:pt x="22" y="1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18" y="20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7" y="31"/>
                  </a:lnTo>
                  <a:lnTo>
                    <a:pt x="27" y="28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0"/>
                  </a:lnTo>
                  <a:lnTo>
                    <a:pt x="33" y="20"/>
                  </a:lnTo>
                  <a:lnTo>
                    <a:pt x="35" y="20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1" y="18"/>
                  </a:lnTo>
                  <a:lnTo>
                    <a:pt x="43" y="18"/>
                  </a:lnTo>
                  <a:lnTo>
                    <a:pt x="47" y="16"/>
                  </a:lnTo>
                  <a:lnTo>
                    <a:pt x="47" y="14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7" y="8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92" name="Freeform 159">
              <a:extLst>
                <a:ext uri="{FF2B5EF4-FFF2-40B4-BE49-F238E27FC236}">
                  <a16:creationId xmlns:a16="http://schemas.microsoft.com/office/drawing/2014/main" id="{E4B82EC8-BAD3-294B-8F86-EE54D0F3A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9580" y="3258095"/>
              <a:ext cx="142607" cy="118839"/>
            </a:xfrm>
            <a:custGeom>
              <a:avLst/>
              <a:gdLst>
                <a:gd name="T0" fmla="*/ 115 w 120"/>
                <a:gd name="T1" fmla="*/ 68 h 100"/>
                <a:gd name="T2" fmla="*/ 115 w 120"/>
                <a:gd name="T3" fmla="*/ 61 h 100"/>
                <a:gd name="T4" fmla="*/ 111 w 120"/>
                <a:gd name="T5" fmla="*/ 55 h 100"/>
                <a:gd name="T6" fmla="*/ 115 w 120"/>
                <a:gd name="T7" fmla="*/ 45 h 100"/>
                <a:gd name="T8" fmla="*/ 109 w 120"/>
                <a:gd name="T9" fmla="*/ 37 h 100"/>
                <a:gd name="T10" fmla="*/ 107 w 120"/>
                <a:gd name="T11" fmla="*/ 31 h 100"/>
                <a:gd name="T12" fmla="*/ 103 w 120"/>
                <a:gd name="T13" fmla="*/ 28 h 100"/>
                <a:gd name="T14" fmla="*/ 109 w 120"/>
                <a:gd name="T15" fmla="*/ 24 h 100"/>
                <a:gd name="T16" fmla="*/ 103 w 120"/>
                <a:gd name="T17" fmla="*/ 18 h 100"/>
                <a:gd name="T18" fmla="*/ 101 w 120"/>
                <a:gd name="T19" fmla="*/ 10 h 100"/>
                <a:gd name="T20" fmla="*/ 95 w 120"/>
                <a:gd name="T21" fmla="*/ 4 h 100"/>
                <a:gd name="T22" fmla="*/ 93 w 120"/>
                <a:gd name="T23" fmla="*/ 6 h 100"/>
                <a:gd name="T24" fmla="*/ 87 w 120"/>
                <a:gd name="T25" fmla="*/ 12 h 100"/>
                <a:gd name="T26" fmla="*/ 76 w 120"/>
                <a:gd name="T27" fmla="*/ 8 h 100"/>
                <a:gd name="T28" fmla="*/ 72 w 120"/>
                <a:gd name="T29" fmla="*/ 14 h 100"/>
                <a:gd name="T30" fmla="*/ 68 w 120"/>
                <a:gd name="T31" fmla="*/ 8 h 100"/>
                <a:gd name="T32" fmla="*/ 62 w 120"/>
                <a:gd name="T33" fmla="*/ 12 h 100"/>
                <a:gd name="T34" fmla="*/ 60 w 120"/>
                <a:gd name="T35" fmla="*/ 6 h 100"/>
                <a:gd name="T36" fmla="*/ 50 w 120"/>
                <a:gd name="T37" fmla="*/ 4 h 100"/>
                <a:gd name="T38" fmla="*/ 42 w 120"/>
                <a:gd name="T39" fmla="*/ 4 h 100"/>
                <a:gd name="T40" fmla="*/ 35 w 120"/>
                <a:gd name="T41" fmla="*/ 4 h 100"/>
                <a:gd name="T42" fmla="*/ 33 w 120"/>
                <a:gd name="T43" fmla="*/ 0 h 100"/>
                <a:gd name="T44" fmla="*/ 23 w 120"/>
                <a:gd name="T45" fmla="*/ 2 h 100"/>
                <a:gd name="T46" fmla="*/ 21 w 120"/>
                <a:gd name="T47" fmla="*/ 8 h 100"/>
                <a:gd name="T48" fmla="*/ 21 w 120"/>
                <a:gd name="T49" fmla="*/ 10 h 100"/>
                <a:gd name="T50" fmla="*/ 17 w 120"/>
                <a:gd name="T51" fmla="*/ 18 h 100"/>
                <a:gd name="T52" fmla="*/ 7 w 120"/>
                <a:gd name="T53" fmla="*/ 22 h 100"/>
                <a:gd name="T54" fmla="*/ 3 w 120"/>
                <a:gd name="T55" fmla="*/ 35 h 100"/>
                <a:gd name="T56" fmla="*/ 7 w 120"/>
                <a:gd name="T57" fmla="*/ 33 h 100"/>
                <a:gd name="T58" fmla="*/ 9 w 120"/>
                <a:gd name="T59" fmla="*/ 39 h 100"/>
                <a:gd name="T60" fmla="*/ 17 w 120"/>
                <a:gd name="T61" fmla="*/ 47 h 100"/>
                <a:gd name="T62" fmla="*/ 23 w 120"/>
                <a:gd name="T63" fmla="*/ 51 h 100"/>
                <a:gd name="T64" fmla="*/ 27 w 120"/>
                <a:gd name="T65" fmla="*/ 59 h 100"/>
                <a:gd name="T66" fmla="*/ 29 w 120"/>
                <a:gd name="T67" fmla="*/ 65 h 100"/>
                <a:gd name="T68" fmla="*/ 33 w 120"/>
                <a:gd name="T69" fmla="*/ 61 h 100"/>
                <a:gd name="T70" fmla="*/ 39 w 120"/>
                <a:gd name="T71" fmla="*/ 55 h 100"/>
                <a:gd name="T72" fmla="*/ 46 w 120"/>
                <a:gd name="T73" fmla="*/ 49 h 100"/>
                <a:gd name="T74" fmla="*/ 62 w 120"/>
                <a:gd name="T75" fmla="*/ 49 h 100"/>
                <a:gd name="T76" fmla="*/ 68 w 120"/>
                <a:gd name="T77" fmla="*/ 57 h 100"/>
                <a:gd name="T78" fmla="*/ 70 w 120"/>
                <a:gd name="T79" fmla="*/ 65 h 100"/>
                <a:gd name="T80" fmla="*/ 72 w 120"/>
                <a:gd name="T81" fmla="*/ 72 h 100"/>
                <a:gd name="T82" fmla="*/ 70 w 120"/>
                <a:gd name="T83" fmla="*/ 80 h 100"/>
                <a:gd name="T84" fmla="*/ 76 w 120"/>
                <a:gd name="T85" fmla="*/ 76 h 100"/>
                <a:gd name="T86" fmla="*/ 81 w 120"/>
                <a:gd name="T87" fmla="*/ 76 h 100"/>
                <a:gd name="T88" fmla="*/ 87 w 120"/>
                <a:gd name="T89" fmla="*/ 78 h 100"/>
                <a:gd name="T90" fmla="*/ 89 w 120"/>
                <a:gd name="T91" fmla="*/ 78 h 100"/>
                <a:gd name="T92" fmla="*/ 91 w 120"/>
                <a:gd name="T93" fmla="*/ 84 h 100"/>
                <a:gd name="T94" fmla="*/ 91 w 120"/>
                <a:gd name="T95" fmla="*/ 90 h 100"/>
                <a:gd name="T96" fmla="*/ 91 w 120"/>
                <a:gd name="T97" fmla="*/ 96 h 100"/>
                <a:gd name="T98" fmla="*/ 95 w 120"/>
                <a:gd name="T99" fmla="*/ 98 h 100"/>
                <a:gd name="T100" fmla="*/ 99 w 120"/>
                <a:gd name="T101" fmla="*/ 98 h 100"/>
                <a:gd name="T102" fmla="*/ 103 w 120"/>
                <a:gd name="T103" fmla="*/ 92 h 100"/>
                <a:gd name="T104" fmla="*/ 105 w 120"/>
                <a:gd name="T105" fmla="*/ 92 h 100"/>
                <a:gd name="T106" fmla="*/ 111 w 120"/>
                <a:gd name="T107" fmla="*/ 90 h 100"/>
                <a:gd name="T108" fmla="*/ 113 w 120"/>
                <a:gd name="T109" fmla="*/ 82 h 100"/>
                <a:gd name="T110" fmla="*/ 109 w 120"/>
                <a:gd name="T111" fmla="*/ 78 h 100"/>
                <a:gd name="T112" fmla="*/ 115 w 120"/>
                <a:gd name="T113" fmla="*/ 76 h 100"/>
                <a:gd name="T114" fmla="*/ 120 w 120"/>
                <a:gd name="T115" fmla="*/ 7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0" h="100">
                  <a:moveTo>
                    <a:pt x="120" y="76"/>
                  </a:moveTo>
                  <a:lnTo>
                    <a:pt x="120" y="74"/>
                  </a:lnTo>
                  <a:lnTo>
                    <a:pt x="117" y="72"/>
                  </a:lnTo>
                  <a:lnTo>
                    <a:pt x="115" y="72"/>
                  </a:lnTo>
                  <a:lnTo>
                    <a:pt x="115" y="70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7" y="63"/>
                  </a:lnTo>
                  <a:lnTo>
                    <a:pt x="115" y="63"/>
                  </a:lnTo>
                  <a:lnTo>
                    <a:pt x="115" y="61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3" y="59"/>
                  </a:lnTo>
                  <a:lnTo>
                    <a:pt x="113" y="59"/>
                  </a:lnTo>
                  <a:lnTo>
                    <a:pt x="111" y="57"/>
                  </a:lnTo>
                  <a:lnTo>
                    <a:pt x="111" y="55"/>
                  </a:lnTo>
                  <a:lnTo>
                    <a:pt x="111" y="51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3" y="47"/>
                  </a:lnTo>
                  <a:lnTo>
                    <a:pt x="113" y="47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1" y="41"/>
                  </a:lnTo>
                  <a:lnTo>
                    <a:pt x="109" y="39"/>
                  </a:lnTo>
                  <a:lnTo>
                    <a:pt x="109" y="37"/>
                  </a:lnTo>
                  <a:lnTo>
                    <a:pt x="109" y="35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9" y="31"/>
                  </a:lnTo>
                  <a:lnTo>
                    <a:pt x="109" y="31"/>
                  </a:lnTo>
                  <a:lnTo>
                    <a:pt x="107" y="31"/>
                  </a:lnTo>
                  <a:lnTo>
                    <a:pt x="107" y="28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3" y="31"/>
                  </a:lnTo>
                  <a:lnTo>
                    <a:pt x="103" y="28"/>
                  </a:lnTo>
                  <a:lnTo>
                    <a:pt x="105" y="26"/>
                  </a:lnTo>
                  <a:lnTo>
                    <a:pt x="107" y="26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9" y="22"/>
                  </a:lnTo>
                  <a:lnTo>
                    <a:pt x="107" y="22"/>
                  </a:lnTo>
                  <a:lnTo>
                    <a:pt x="105" y="22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1" y="18"/>
                  </a:lnTo>
                  <a:lnTo>
                    <a:pt x="101" y="16"/>
                  </a:lnTo>
                  <a:lnTo>
                    <a:pt x="101" y="14"/>
                  </a:lnTo>
                  <a:lnTo>
                    <a:pt x="101" y="10"/>
                  </a:lnTo>
                  <a:lnTo>
                    <a:pt x="99" y="8"/>
                  </a:lnTo>
                  <a:lnTo>
                    <a:pt x="99" y="6"/>
                  </a:lnTo>
                  <a:lnTo>
                    <a:pt x="99" y="4"/>
                  </a:lnTo>
                  <a:lnTo>
                    <a:pt x="97" y="4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1" y="8"/>
                  </a:lnTo>
                  <a:lnTo>
                    <a:pt x="89" y="8"/>
                  </a:lnTo>
                  <a:lnTo>
                    <a:pt x="89" y="10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3" y="10"/>
                  </a:lnTo>
                  <a:lnTo>
                    <a:pt x="81" y="8"/>
                  </a:lnTo>
                  <a:lnTo>
                    <a:pt x="78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4" y="10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64" y="10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0" y="10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60" y="8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39" y="4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3" y="4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2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3" y="16"/>
                  </a:lnTo>
                  <a:lnTo>
                    <a:pt x="19" y="18"/>
                  </a:lnTo>
                  <a:lnTo>
                    <a:pt x="17" y="18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1" y="20"/>
                  </a:lnTo>
                  <a:lnTo>
                    <a:pt x="9" y="20"/>
                  </a:lnTo>
                  <a:lnTo>
                    <a:pt x="7" y="20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3" y="28"/>
                  </a:lnTo>
                  <a:lnTo>
                    <a:pt x="3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7" y="33"/>
                  </a:lnTo>
                  <a:lnTo>
                    <a:pt x="7" y="35"/>
                  </a:lnTo>
                  <a:lnTo>
                    <a:pt x="7" y="37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7"/>
                  </a:lnTo>
                  <a:lnTo>
                    <a:pt x="9" y="39"/>
                  </a:lnTo>
                  <a:lnTo>
                    <a:pt x="11" y="45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7" y="45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9" y="49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3" y="51"/>
                  </a:lnTo>
                  <a:lnTo>
                    <a:pt x="23" y="53"/>
                  </a:lnTo>
                  <a:lnTo>
                    <a:pt x="23" y="55"/>
                  </a:lnTo>
                  <a:lnTo>
                    <a:pt x="23" y="57"/>
                  </a:lnTo>
                  <a:lnTo>
                    <a:pt x="25" y="57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7" y="61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3"/>
                  </a:lnTo>
                  <a:lnTo>
                    <a:pt x="33" y="61"/>
                  </a:lnTo>
                  <a:lnTo>
                    <a:pt x="35" y="61"/>
                  </a:lnTo>
                  <a:lnTo>
                    <a:pt x="37" y="59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42" y="53"/>
                  </a:lnTo>
                  <a:lnTo>
                    <a:pt x="42" y="53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6" y="49"/>
                  </a:lnTo>
                  <a:lnTo>
                    <a:pt x="48" y="51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4" y="49"/>
                  </a:lnTo>
                  <a:lnTo>
                    <a:pt x="58" y="49"/>
                  </a:lnTo>
                  <a:lnTo>
                    <a:pt x="62" y="49"/>
                  </a:lnTo>
                  <a:lnTo>
                    <a:pt x="62" y="49"/>
                  </a:lnTo>
                  <a:lnTo>
                    <a:pt x="64" y="49"/>
                  </a:lnTo>
                  <a:lnTo>
                    <a:pt x="64" y="51"/>
                  </a:lnTo>
                  <a:lnTo>
                    <a:pt x="66" y="53"/>
                  </a:lnTo>
                  <a:lnTo>
                    <a:pt x="66" y="55"/>
                  </a:lnTo>
                  <a:lnTo>
                    <a:pt x="68" y="57"/>
                  </a:lnTo>
                  <a:lnTo>
                    <a:pt x="70" y="59"/>
                  </a:lnTo>
                  <a:lnTo>
                    <a:pt x="70" y="61"/>
                  </a:lnTo>
                  <a:lnTo>
                    <a:pt x="70" y="61"/>
                  </a:lnTo>
                  <a:lnTo>
                    <a:pt x="70" y="61"/>
                  </a:lnTo>
                  <a:lnTo>
                    <a:pt x="70" y="63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2" y="65"/>
                  </a:lnTo>
                  <a:lnTo>
                    <a:pt x="72" y="68"/>
                  </a:lnTo>
                  <a:lnTo>
                    <a:pt x="72" y="70"/>
                  </a:lnTo>
                  <a:lnTo>
                    <a:pt x="72" y="72"/>
                  </a:lnTo>
                  <a:lnTo>
                    <a:pt x="74" y="72"/>
                  </a:lnTo>
                  <a:lnTo>
                    <a:pt x="74" y="74"/>
                  </a:lnTo>
                  <a:lnTo>
                    <a:pt x="72" y="76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81" y="76"/>
                  </a:lnTo>
                  <a:lnTo>
                    <a:pt x="81" y="76"/>
                  </a:lnTo>
                  <a:lnTo>
                    <a:pt x="81" y="78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7" y="78"/>
                  </a:lnTo>
                  <a:lnTo>
                    <a:pt x="87" y="78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7" y="78"/>
                  </a:lnTo>
                  <a:lnTo>
                    <a:pt x="89" y="78"/>
                  </a:lnTo>
                  <a:lnTo>
                    <a:pt x="89" y="78"/>
                  </a:lnTo>
                  <a:lnTo>
                    <a:pt x="89" y="80"/>
                  </a:lnTo>
                  <a:lnTo>
                    <a:pt x="89" y="80"/>
                  </a:lnTo>
                  <a:lnTo>
                    <a:pt x="89" y="82"/>
                  </a:lnTo>
                  <a:lnTo>
                    <a:pt x="91" y="82"/>
                  </a:lnTo>
                  <a:lnTo>
                    <a:pt x="91" y="84"/>
                  </a:lnTo>
                  <a:lnTo>
                    <a:pt x="91" y="84"/>
                  </a:lnTo>
                  <a:lnTo>
                    <a:pt x="91" y="84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91" y="90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4"/>
                  </a:lnTo>
                  <a:lnTo>
                    <a:pt x="91" y="96"/>
                  </a:lnTo>
                  <a:lnTo>
                    <a:pt x="91" y="96"/>
                  </a:lnTo>
                  <a:lnTo>
                    <a:pt x="91" y="96"/>
                  </a:lnTo>
                  <a:lnTo>
                    <a:pt x="91" y="96"/>
                  </a:lnTo>
                  <a:lnTo>
                    <a:pt x="93" y="96"/>
                  </a:lnTo>
                  <a:lnTo>
                    <a:pt x="93" y="96"/>
                  </a:lnTo>
                  <a:lnTo>
                    <a:pt x="95" y="98"/>
                  </a:lnTo>
                  <a:lnTo>
                    <a:pt x="95" y="98"/>
                  </a:lnTo>
                  <a:lnTo>
                    <a:pt x="95" y="98"/>
                  </a:lnTo>
                  <a:lnTo>
                    <a:pt x="95" y="100"/>
                  </a:lnTo>
                  <a:lnTo>
                    <a:pt x="97" y="100"/>
                  </a:lnTo>
                  <a:lnTo>
                    <a:pt x="99" y="98"/>
                  </a:lnTo>
                  <a:lnTo>
                    <a:pt x="99" y="98"/>
                  </a:lnTo>
                  <a:lnTo>
                    <a:pt x="99" y="98"/>
                  </a:lnTo>
                  <a:lnTo>
                    <a:pt x="99" y="98"/>
                  </a:lnTo>
                  <a:lnTo>
                    <a:pt x="99" y="98"/>
                  </a:lnTo>
                  <a:lnTo>
                    <a:pt x="101" y="96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103" y="92"/>
                  </a:lnTo>
                  <a:lnTo>
                    <a:pt x="103" y="92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5" y="90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5" y="94"/>
                  </a:lnTo>
                  <a:lnTo>
                    <a:pt x="107" y="92"/>
                  </a:lnTo>
                  <a:lnTo>
                    <a:pt x="107" y="92"/>
                  </a:lnTo>
                  <a:lnTo>
                    <a:pt x="109" y="94"/>
                  </a:lnTo>
                  <a:lnTo>
                    <a:pt x="111" y="92"/>
                  </a:lnTo>
                  <a:lnTo>
                    <a:pt x="111" y="90"/>
                  </a:lnTo>
                  <a:lnTo>
                    <a:pt x="111" y="88"/>
                  </a:lnTo>
                  <a:lnTo>
                    <a:pt x="111" y="88"/>
                  </a:lnTo>
                  <a:lnTo>
                    <a:pt x="113" y="86"/>
                  </a:lnTo>
                  <a:lnTo>
                    <a:pt x="113" y="84"/>
                  </a:lnTo>
                  <a:lnTo>
                    <a:pt x="113" y="84"/>
                  </a:lnTo>
                  <a:lnTo>
                    <a:pt x="113" y="82"/>
                  </a:lnTo>
                  <a:lnTo>
                    <a:pt x="113" y="82"/>
                  </a:lnTo>
                  <a:lnTo>
                    <a:pt x="113" y="82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09" y="80"/>
                  </a:lnTo>
                  <a:lnTo>
                    <a:pt x="109" y="78"/>
                  </a:lnTo>
                  <a:lnTo>
                    <a:pt x="109" y="78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13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7" y="76"/>
                  </a:lnTo>
                  <a:lnTo>
                    <a:pt x="117" y="78"/>
                  </a:lnTo>
                  <a:lnTo>
                    <a:pt x="117" y="78"/>
                  </a:lnTo>
                  <a:lnTo>
                    <a:pt x="120" y="78"/>
                  </a:lnTo>
                  <a:lnTo>
                    <a:pt x="120" y="78"/>
                  </a:lnTo>
                  <a:lnTo>
                    <a:pt x="120" y="7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93" name="Freeform 160">
              <a:extLst>
                <a:ext uri="{FF2B5EF4-FFF2-40B4-BE49-F238E27FC236}">
                  <a16:creationId xmlns:a16="http://schemas.microsoft.com/office/drawing/2014/main" id="{8B5740E8-CC09-1944-8711-A55712D6C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0532" y="2458310"/>
              <a:ext cx="2377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2 w 2"/>
                <a:gd name="T5" fmla="*/ 2 w 2"/>
                <a:gd name="T6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94" name="Freeform 165">
              <a:extLst>
                <a:ext uri="{FF2B5EF4-FFF2-40B4-BE49-F238E27FC236}">
                  <a16:creationId xmlns:a16="http://schemas.microsoft.com/office/drawing/2014/main" id="{4713FD60-525A-E349-A929-568E63DD3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4382" y="2624684"/>
              <a:ext cx="155679" cy="147360"/>
            </a:xfrm>
            <a:custGeom>
              <a:avLst/>
              <a:gdLst>
                <a:gd name="T0" fmla="*/ 80 w 131"/>
                <a:gd name="T1" fmla="*/ 115 h 124"/>
                <a:gd name="T2" fmla="*/ 70 w 131"/>
                <a:gd name="T3" fmla="*/ 111 h 124"/>
                <a:gd name="T4" fmla="*/ 61 w 131"/>
                <a:gd name="T5" fmla="*/ 117 h 124"/>
                <a:gd name="T6" fmla="*/ 96 w 131"/>
                <a:gd name="T7" fmla="*/ 121 h 124"/>
                <a:gd name="T8" fmla="*/ 115 w 131"/>
                <a:gd name="T9" fmla="*/ 111 h 124"/>
                <a:gd name="T10" fmla="*/ 53 w 131"/>
                <a:gd name="T11" fmla="*/ 99 h 124"/>
                <a:gd name="T12" fmla="*/ 125 w 131"/>
                <a:gd name="T13" fmla="*/ 105 h 124"/>
                <a:gd name="T14" fmla="*/ 90 w 131"/>
                <a:gd name="T15" fmla="*/ 97 h 124"/>
                <a:gd name="T16" fmla="*/ 125 w 131"/>
                <a:gd name="T17" fmla="*/ 93 h 124"/>
                <a:gd name="T18" fmla="*/ 88 w 131"/>
                <a:gd name="T19" fmla="*/ 91 h 124"/>
                <a:gd name="T20" fmla="*/ 117 w 131"/>
                <a:gd name="T21" fmla="*/ 89 h 124"/>
                <a:gd name="T22" fmla="*/ 78 w 131"/>
                <a:gd name="T23" fmla="*/ 84 h 124"/>
                <a:gd name="T24" fmla="*/ 113 w 131"/>
                <a:gd name="T25" fmla="*/ 87 h 124"/>
                <a:gd name="T26" fmla="*/ 88 w 131"/>
                <a:gd name="T27" fmla="*/ 87 h 124"/>
                <a:gd name="T28" fmla="*/ 74 w 131"/>
                <a:gd name="T29" fmla="*/ 76 h 124"/>
                <a:gd name="T30" fmla="*/ 88 w 131"/>
                <a:gd name="T31" fmla="*/ 78 h 124"/>
                <a:gd name="T32" fmla="*/ 82 w 131"/>
                <a:gd name="T33" fmla="*/ 74 h 124"/>
                <a:gd name="T34" fmla="*/ 70 w 131"/>
                <a:gd name="T35" fmla="*/ 76 h 124"/>
                <a:gd name="T36" fmla="*/ 113 w 131"/>
                <a:gd name="T37" fmla="*/ 72 h 124"/>
                <a:gd name="T38" fmla="*/ 80 w 131"/>
                <a:gd name="T39" fmla="*/ 68 h 124"/>
                <a:gd name="T40" fmla="*/ 57 w 131"/>
                <a:gd name="T41" fmla="*/ 68 h 124"/>
                <a:gd name="T42" fmla="*/ 12 w 131"/>
                <a:gd name="T43" fmla="*/ 60 h 124"/>
                <a:gd name="T44" fmla="*/ 16 w 131"/>
                <a:gd name="T45" fmla="*/ 64 h 124"/>
                <a:gd name="T46" fmla="*/ 92 w 131"/>
                <a:gd name="T47" fmla="*/ 58 h 124"/>
                <a:gd name="T48" fmla="*/ 16 w 131"/>
                <a:gd name="T49" fmla="*/ 52 h 124"/>
                <a:gd name="T50" fmla="*/ 72 w 131"/>
                <a:gd name="T51" fmla="*/ 50 h 124"/>
                <a:gd name="T52" fmla="*/ 49 w 131"/>
                <a:gd name="T53" fmla="*/ 52 h 124"/>
                <a:gd name="T54" fmla="*/ 65 w 131"/>
                <a:gd name="T55" fmla="*/ 60 h 124"/>
                <a:gd name="T56" fmla="*/ 74 w 131"/>
                <a:gd name="T57" fmla="*/ 64 h 124"/>
                <a:gd name="T58" fmla="*/ 57 w 131"/>
                <a:gd name="T59" fmla="*/ 52 h 124"/>
                <a:gd name="T60" fmla="*/ 96 w 131"/>
                <a:gd name="T61" fmla="*/ 41 h 124"/>
                <a:gd name="T62" fmla="*/ 102 w 131"/>
                <a:gd name="T63" fmla="*/ 47 h 124"/>
                <a:gd name="T64" fmla="*/ 2 w 131"/>
                <a:gd name="T65" fmla="*/ 35 h 124"/>
                <a:gd name="T66" fmla="*/ 82 w 131"/>
                <a:gd name="T67" fmla="*/ 33 h 124"/>
                <a:gd name="T68" fmla="*/ 80 w 131"/>
                <a:gd name="T69" fmla="*/ 31 h 124"/>
                <a:gd name="T70" fmla="*/ 86 w 131"/>
                <a:gd name="T71" fmla="*/ 25 h 124"/>
                <a:gd name="T72" fmla="*/ 65 w 131"/>
                <a:gd name="T73" fmla="*/ 72 h 124"/>
                <a:gd name="T74" fmla="*/ 47 w 131"/>
                <a:gd name="T75" fmla="*/ 52 h 124"/>
                <a:gd name="T76" fmla="*/ 51 w 131"/>
                <a:gd name="T77" fmla="*/ 43 h 124"/>
                <a:gd name="T78" fmla="*/ 43 w 131"/>
                <a:gd name="T79" fmla="*/ 25 h 124"/>
                <a:gd name="T80" fmla="*/ 59 w 131"/>
                <a:gd name="T81" fmla="*/ 31 h 124"/>
                <a:gd name="T82" fmla="*/ 61 w 131"/>
                <a:gd name="T83" fmla="*/ 25 h 124"/>
                <a:gd name="T84" fmla="*/ 61 w 131"/>
                <a:gd name="T85" fmla="*/ 17 h 124"/>
                <a:gd name="T86" fmla="*/ 94 w 131"/>
                <a:gd name="T87" fmla="*/ 19 h 124"/>
                <a:gd name="T88" fmla="*/ 100 w 131"/>
                <a:gd name="T89" fmla="*/ 4 h 124"/>
                <a:gd name="T90" fmla="*/ 94 w 131"/>
                <a:gd name="T91" fmla="*/ 6 h 124"/>
                <a:gd name="T92" fmla="*/ 72 w 131"/>
                <a:gd name="T93" fmla="*/ 4 h 124"/>
                <a:gd name="T94" fmla="*/ 53 w 131"/>
                <a:gd name="T95" fmla="*/ 6 h 124"/>
                <a:gd name="T96" fmla="*/ 35 w 131"/>
                <a:gd name="T97" fmla="*/ 10 h 124"/>
                <a:gd name="T98" fmla="*/ 18 w 131"/>
                <a:gd name="T99" fmla="*/ 21 h 124"/>
                <a:gd name="T100" fmla="*/ 10 w 131"/>
                <a:gd name="T101" fmla="*/ 31 h 124"/>
                <a:gd name="T102" fmla="*/ 6 w 131"/>
                <a:gd name="T103" fmla="*/ 35 h 124"/>
                <a:gd name="T104" fmla="*/ 22 w 131"/>
                <a:gd name="T105" fmla="*/ 47 h 124"/>
                <a:gd name="T106" fmla="*/ 24 w 131"/>
                <a:gd name="T107" fmla="*/ 58 h 124"/>
                <a:gd name="T108" fmla="*/ 47 w 131"/>
                <a:gd name="T109" fmla="*/ 62 h 124"/>
                <a:gd name="T110" fmla="*/ 47 w 131"/>
                <a:gd name="T111" fmla="*/ 66 h 124"/>
                <a:gd name="T112" fmla="*/ 24 w 131"/>
                <a:gd name="T113" fmla="*/ 70 h 124"/>
                <a:gd name="T114" fmla="*/ 37 w 131"/>
                <a:gd name="T115" fmla="*/ 84 h 124"/>
                <a:gd name="T116" fmla="*/ 53 w 131"/>
                <a:gd name="T117" fmla="*/ 95 h 124"/>
                <a:gd name="T118" fmla="*/ 53 w 131"/>
                <a:gd name="T119" fmla="*/ 76 h 124"/>
                <a:gd name="T120" fmla="*/ 53 w 131"/>
                <a:gd name="T121" fmla="*/ 7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1" h="124">
                  <a:moveTo>
                    <a:pt x="100" y="119"/>
                  </a:moveTo>
                  <a:lnTo>
                    <a:pt x="98" y="119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4" y="119"/>
                  </a:lnTo>
                  <a:lnTo>
                    <a:pt x="94" y="119"/>
                  </a:lnTo>
                  <a:lnTo>
                    <a:pt x="94" y="117"/>
                  </a:lnTo>
                  <a:lnTo>
                    <a:pt x="94" y="115"/>
                  </a:lnTo>
                  <a:lnTo>
                    <a:pt x="92" y="117"/>
                  </a:lnTo>
                  <a:lnTo>
                    <a:pt x="90" y="117"/>
                  </a:lnTo>
                  <a:lnTo>
                    <a:pt x="88" y="115"/>
                  </a:lnTo>
                  <a:lnTo>
                    <a:pt x="84" y="115"/>
                  </a:lnTo>
                  <a:lnTo>
                    <a:pt x="84" y="115"/>
                  </a:lnTo>
                  <a:lnTo>
                    <a:pt x="80" y="115"/>
                  </a:lnTo>
                  <a:lnTo>
                    <a:pt x="78" y="115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3"/>
                  </a:lnTo>
                  <a:lnTo>
                    <a:pt x="72" y="113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2" y="113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67" y="113"/>
                  </a:lnTo>
                  <a:lnTo>
                    <a:pt x="67" y="113"/>
                  </a:lnTo>
                  <a:lnTo>
                    <a:pt x="67" y="113"/>
                  </a:lnTo>
                  <a:lnTo>
                    <a:pt x="65" y="113"/>
                  </a:lnTo>
                  <a:lnTo>
                    <a:pt x="65" y="113"/>
                  </a:lnTo>
                  <a:lnTo>
                    <a:pt x="63" y="111"/>
                  </a:lnTo>
                  <a:lnTo>
                    <a:pt x="63" y="111"/>
                  </a:lnTo>
                  <a:lnTo>
                    <a:pt x="63" y="111"/>
                  </a:lnTo>
                  <a:lnTo>
                    <a:pt x="63" y="113"/>
                  </a:lnTo>
                  <a:lnTo>
                    <a:pt x="63" y="113"/>
                  </a:lnTo>
                  <a:lnTo>
                    <a:pt x="61" y="113"/>
                  </a:lnTo>
                  <a:lnTo>
                    <a:pt x="61" y="111"/>
                  </a:lnTo>
                  <a:lnTo>
                    <a:pt x="61" y="113"/>
                  </a:lnTo>
                  <a:lnTo>
                    <a:pt x="61" y="115"/>
                  </a:lnTo>
                  <a:lnTo>
                    <a:pt x="61" y="117"/>
                  </a:lnTo>
                  <a:lnTo>
                    <a:pt x="61" y="117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5" y="117"/>
                  </a:lnTo>
                  <a:lnTo>
                    <a:pt x="67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80" y="121"/>
                  </a:lnTo>
                  <a:lnTo>
                    <a:pt x="80" y="121"/>
                  </a:lnTo>
                  <a:lnTo>
                    <a:pt x="80" y="121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6" y="124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0" y="121"/>
                  </a:lnTo>
                  <a:lnTo>
                    <a:pt x="100" y="121"/>
                  </a:lnTo>
                  <a:lnTo>
                    <a:pt x="102" y="121"/>
                  </a:lnTo>
                  <a:lnTo>
                    <a:pt x="102" y="121"/>
                  </a:lnTo>
                  <a:lnTo>
                    <a:pt x="102" y="119"/>
                  </a:lnTo>
                  <a:lnTo>
                    <a:pt x="102" y="117"/>
                  </a:lnTo>
                  <a:lnTo>
                    <a:pt x="104" y="117"/>
                  </a:lnTo>
                  <a:lnTo>
                    <a:pt x="102" y="117"/>
                  </a:lnTo>
                  <a:lnTo>
                    <a:pt x="100" y="119"/>
                  </a:lnTo>
                  <a:close/>
                  <a:moveTo>
                    <a:pt x="117" y="111"/>
                  </a:moveTo>
                  <a:lnTo>
                    <a:pt x="117" y="109"/>
                  </a:lnTo>
                  <a:lnTo>
                    <a:pt x="117" y="107"/>
                  </a:lnTo>
                  <a:lnTo>
                    <a:pt x="115" y="107"/>
                  </a:lnTo>
                  <a:lnTo>
                    <a:pt x="117" y="109"/>
                  </a:lnTo>
                  <a:lnTo>
                    <a:pt x="115" y="111"/>
                  </a:lnTo>
                  <a:lnTo>
                    <a:pt x="115" y="113"/>
                  </a:lnTo>
                  <a:lnTo>
                    <a:pt x="115" y="113"/>
                  </a:lnTo>
                  <a:lnTo>
                    <a:pt x="117" y="115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7" y="111"/>
                  </a:lnTo>
                  <a:close/>
                  <a:moveTo>
                    <a:pt x="51" y="97"/>
                  </a:moveTo>
                  <a:lnTo>
                    <a:pt x="51" y="97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101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3" y="99"/>
                  </a:lnTo>
                  <a:lnTo>
                    <a:pt x="51" y="97"/>
                  </a:lnTo>
                  <a:lnTo>
                    <a:pt x="51" y="97"/>
                  </a:lnTo>
                  <a:close/>
                  <a:moveTo>
                    <a:pt x="131" y="97"/>
                  </a:moveTo>
                  <a:lnTo>
                    <a:pt x="131" y="97"/>
                  </a:lnTo>
                  <a:lnTo>
                    <a:pt x="131" y="97"/>
                  </a:lnTo>
                  <a:lnTo>
                    <a:pt x="127" y="97"/>
                  </a:lnTo>
                  <a:lnTo>
                    <a:pt x="125" y="99"/>
                  </a:lnTo>
                  <a:lnTo>
                    <a:pt x="125" y="101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5" y="103"/>
                  </a:lnTo>
                  <a:lnTo>
                    <a:pt x="125" y="105"/>
                  </a:lnTo>
                  <a:lnTo>
                    <a:pt x="125" y="105"/>
                  </a:lnTo>
                  <a:lnTo>
                    <a:pt x="125" y="105"/>
                  </a:lnTo>
                  <a:lnTo>
                    <a:pt x="125" y="105"/>
                  </a:lnTo>
                  <a:lnTo>
                    <a:pt x="127" y="103"/>
                  </a:lnTo>
                  <a:lnTo>
                    <a:pt x="129" y="103"/>
                  </a:lnTo>
                  <a:lnTo>
                    <a:pt x="129" y="101"/>
                  </a:lnTo>
                  <a:lnTo>
                    <a:pt x="131" y="101"/>
                  </a:lnTo>
                  <a:lnTo>
                    <a:pt x="131" y="97"/>
                  </a:lnTo>
                  <a:close/>
                  <a:moveTo>
                    <a:pt x="90" y="97"/>
                  </a:moveTo>
                  <a:lnTo>
                    <a:pt x="90" y="97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90" y="97"/>
                  </a:lnTo>
                  <a:close/>
                  <a:moveTo>
                    <a:pt x="102" y="93"/>
                  </a:moveTo>
                  <a:lnTo>
                    <a:pt x="102" y="93"/>
                  </a:lnTo>
                  <a:lnTo>
                    <a:pt x="102" y="93"/>
                  </a:lnTo>
                  <a:lnTo>
                    <a:pt x="102" y="93"/>
                  </a:lnTo>
                  <a:lnTo>
                    <a:pt x="102" y="93"/>
                  </a:lnTo>
                  <a:lnTo>
                    <a:pt x="102" y="95"/>
                  </a:lnTo>
                  <a:lnTo>
                    <a:pt x="102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2" y="93"/>
                  </a:lnTo>
                  <a:close/>
                  <a:moveTo>
                    <a:pt x="125" y="95"/>
                  </a:moveTo>
                  <a:lnTo>
                    <a:pt x="125" y="93"/>
                  </a:lnTo>
                  <a:lnTo>
                    <a:pt x="125" y="93"/>
                  </a:lnTo>
                  <a:lnTo>
                    <a:pt x="125" y="93"/>
                  </a:lnTo>
                  <a:lnTo>
                    <a:pt x="125" y="93"/>
                  </a:lnTo>
                  <a:lnTo>
                    <a:pt x="125" y="93"/>
                  </a:lnTo>
                  <a:lnTo>
                    <a:pt x="125" y="93"/>
                  </a:lnTo>
                  <a:lnTo>
                    <a:pt x="125" y="93"/>
                  </a:lnTo>
                  <a:lnTo>
                    <a:pt x="125" y="95"/>
                  </a:lnTo>
                  <a:close/>
                  <a:moveTo>
                    <a:pt x="76" y="91"/>
                  </a:moveTo>
                  <a:lnTo>
                    <a:pt x="76" y="91"/>
                  </a:lnTo>
                  <a:lnTo>
                    <a:pt x="74" y="91"/>
                  </a:lnTo>
                  <a:lnTo>
                    <a:pt x="74" y="91"/>
                  </a:lnTo>
                  <a:lnTo>
                    <a:pt x="74" y="91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2" y="93"/>
                  </a:lnTo>
                  <a:lnTo>
                    <a:pt x="76" y="91"/>
                  </a:lnTo>
                  <a:lnTo>
                    <a:pt x="76" y="91"/>
                  </a:lnTo>
                  <a:close/>
                  <a:moveTo>
                    <a:pt x="88" y="91"/>
                  </a:moveTo>
                  <a:lnTo>
                    <a:pt x="88" y="91"/>
                  </a:lnTo>
                  <a:lnTo>
                    <a:pt x="88" y="91"/>
                  </a:lnTo>
                  <a:lnTo>
                    <a:pt x="86" y="89"/>
                  </a:lnTo>
                  <a:lnTo>
                    <a:pt x="86" y="91"/>
                  </a:lnTo>
                  <a:lnTo>
                    <a:pt x="86" y="91"/>
                  </a:lnTo>
                  <a:lnTo>
                    <a:pt x="88" y="91"/>
                  </a:lnTo>
                  <a:close/>
                  <a:moveTo>
                    <a:pt x="115" y="87"/>
                  </a:moveTo>
                  <a:lnTo>
                    <a:pt x="113" y="89"/>
                  </a:lnTo>
                  <a:lnTo>
                    <a:pt x="111" y="89"/>
                  </a:lnTo>
                  <a:lnTo>
                    <a:pt x="111" y="91"/>
                  </a:lnTo>
                  <a:lnTo>
                    <a:pt x="111" y="91"/>
                  </a:lnTo>
                  <a:lnTo>
                    <a:pt x="113" y="89"/>
                  </a:lnTo>
                  <a:lnTo>
                    <a:pt x="115" y="89"/>
                  </a:lnTo>
                  <a:lnTo>
                    <a:pt x="115" y="89"/>
                  </a:lnTo>
                  <a:lnTo>
                    <a:pt x="117" y="89"/>
                  </a:lnTo>
                  <a:lnTo>
                    <a:pt x="117" y="87"/>
                  </a:lnTo>
                  <a:lnTo>
                    <a:pt x="115" y="87"/>
                  </a:lnTo>
                  <a:close/>
                  <a:moveTo>
                    <a:pt x="94" y="89"/>
                  </a:moveTo>
                  <a:lnTo>
                    <a:pt x="96" y="87"/>
                  </a:lnTo>
                  <a:lnTo>
                    <a:pt x="98" y="87"/>
                  </a:lnTo>
                  <a:lnTo>
                    <a:pt x="96" y="87"/>
                  </a:lnTo>
                  <a:lnTo>
                    <a:pt x="96" y="87"/>
                  </a:lnTo>
                  <a:lnTo>
                    <a:pt x="94" y="89"/>
                  </a:lnTo>
                  <a:lnTo>
                    <a:pt x="94" y="89"/>
                  </a:lnTo>
                  <a:lnTo>
                    <a:pt x="94" y="89"/>
                  </a:lnTo>
                  <a:lnTo>
                    <a:pt x="94" y="89"/>
                  </a:lnTo>
                  <a:lnTo>
                    <a:pt x="94" y="89"/>
                  </a:lnTo>
                  <a:lnTo>
                    <a:pt x="94" y="89"/>
                  </a:lnTo>
                  <a:close/>
                  <a:moveTo>
                    <a:pt x="78" y="84"/>
                  </a:moveTo>
                  <a:lnTo>
                    <a:pt x="78" y="84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8" y="84"/>
                  </a:lnTo>
                  <a:lnTo>
                    <a:pt x="78" y="84"/>
                  </a:lnTo>
                  <a:close/>
                  <a:moveTo>
                    <a:pt x="113" y="87"/>
                  </a:moveTo>
                  <a:lnTo>
                    <a:pt x="113" y="87"/>
                  </a:lnTo>
                  <a:lnTo>
                    <a:pt x="113" y="84"/>
                  </a:lnTo>
                  <a:lnTo>
                    <a:pt x="113" y="84"/>
                  </a:lnTo>
                  <a:lnTo>
                    <a:pt x="111" y="84"/>
                  </a:lnTo>
                  <a:lnTo>
                    <a:pt x="111" y="84"/>
                  </a:lnTo>
                  <a:lnTo>
                    <a:pt x="111" y="84"/>
                  </a:lnTo>
                  <a:lnTo>
                    <a:pt x="111" y="87"/>
                  </a:lnTo>
                  <a:lnTo>
                    <a:pt x="113" y="87"/>
                  </a:lnTo>
                  <a:close/>
                  <a:moveTo>
                    <a:pt x="84" y="84"/>
                  </a:moveTo>
                  <a:lnTo>
                    <a:pt x="86" y="84"/>
                  </a:lnTo>
                  <a:lnTo>
                    <a:pt x="86" y="84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4" y="8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close/>
                  <a:moveTo>
                    <a:pt x="90" y="84"/>
                  </a:move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88" y="84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90" y="87"/>
                  </a:lnTo>
                  <a:lnTo>
                    <a:pt x="90" y="84"/>
                  </a:lnTo>
                  <a:close/>
                  <a:moveTo>
                    <a:pt x="74" y="82"/>
                  </a:moveTo>
                  <a:lnTo>
                    <a:pt x="74" y="82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74" y="80"/>
                  </a:lnTo>
                  <a:lnTo>
                    <a:pt x="74" y="82"/>
                  </a:lnTo>
                  <a:close/>
                  <a:moveTo>
                    <a:pt x="72" y="80"/>
                  </a:moveTo>
                  <a:lnTo>
                    <a:pt x="74" y="78"/>
                  </a:lnTo>
                  <a:lnTo>
                    <a:pt x="74" y="78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2" y="76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80"/>
                  </a:lnTo>
                  <a:close/>
                  <a:moveTo>
                    <a:pt x="80" y="76"/>
                  </a:moveTo>
                  <a:lnTo>
                    <a:pt x="80" y="78"/>
                  </a:lnTo>
                  <a:lnTo>
                    <a:pt x="80" y="78"/>
                  </a:lnTo>
                  <a:lnTo>
                    <a:pt x="80" y="78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close/>
                  <a:moveTo>
                    <a:pt x="86" y="76"/>
                  </a:moveTo>
                  <a:lnTo>
                    <a:pt x="86" y="78"/>
                  </a:lnTo>
                  <a:lnTo>
                    <a:pt x="88" y="78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6" y="76"/>
                  </a:lnTo>
                  <a:lnTo>
                    <a:pt x="86" y="76"/>
                  </a:lnTo>
                  <a:close/>
                  <a:moveTo>
                    <a:pt x="100" y="74"/>
                  </a:moveTo>
                  <a:lnTo>
                    <a:pt x="102" y="72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98" y="74"/>
                  </a:lnTo>
                  <a:lnTo>
                    <a:pt x="96" y="74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100" y="74"/>
                  </a:lnTo>
                  <a:lnTo>
                    <a:pt x="100" y="74"/>
                  </a:lnTo>
                  <a:close/>
                  <a:moveTo>
                    <a:pt x="82" y="74"/>
                  </a:moveTo>
                  <a:lnTo>
                    <a:pt x="84" y="74"/>
                  </a:lnTo>
                  <a:lnTo>
                    <a:pt x="84" y="76"/>
                  </a:lnTo>
                  <a:lnTo>
                    <a:pt x="86" y="74"/>
                  </a:lnTo>
                  <a:lnTo>
                    <a:pt x="84" y="74"/>
                  </a:lnTo>
                  <a:lnTo>
                    <a:pt x="82" y="72"/>
                  </a:lnTo>
                  <a:lnTo>
                    <a:pt x="82" y="72"/>
                  </a:lnTo>
                  <a:lnTo>
                    <a:pt x="82" y="72"/>
                  </a:lnTo>
                  <a:lnTo>
                    <a:pt x="82" y="74"/>
                  </a:lnTo>
                  <a:lnTo>
                    <a:pt x="82" y="74"/>
                  </a:lnTo>
                  <a:close/>
                  <a:moveTo>
                    <a:pt x="72" y="74"/>
                  </a:move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74"/>
                  </a:lnTo>
                  <a:lnTo>
                    <a:pt x="70" y="76"/>
                  </a:lnTo>
                  <a:lnTo>
                    <a:pt x="72" y="74"/>
                  </a:lnTo>
                  <a:close/>
                  <a:moveTo>
                    <a:pt x="113" y="72"/>
                  </a:moveTo>
                  <a:lnTo>
                    <a:pt x="113" y="70"/>
                  </a:lnTo>
                  <a:lnTo>
                    <a:pt x="111" y="70"/>
                  </a:lnTo>
                  <a:lnTo>
                    <a:pt x="111" y="70"/>
                  </a:lnTo>
                  <a:lnTo>
                    <a:pt x="109" y="70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6" y="72"/>
                  </a:lnTo>
                  <a:lnTo>
                    <a:pt x="109" y="72"/>
                  </a:lnTo>
                  <a:lnTo>
                    <a:pt x="109" y="74"/>
                  </a:lnTo>
                  <a:lnTo>
                    <a:pt x="111" y="72"/>
                  </a:lnTo>
                  <a:lnTo>
                    <a:pt x="113" y="72"/>
                  </a:lnTo>
                  <a:close/>
                  <a:moveTo>
                    <a:pt x="18" y="70"/>
                  </a:moveTo>
                  <a:lnTo>
                    <a:pt x="16" y="70"/>
                  </a:lnTo>
                  <a:lnTo>
                    <a:pt x="16" y="68"/>
                  </a:lnTo>
                  <a:lnTo>
                    <a:pt x="14" y="70"/>
                  </a:lnTo>
                  <a:lnTo>
                    <a:pt x="16" y="70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8" y="70"/>
                  </a:lnTo>
                  <a:lnTo>
                    <a:pt x="18" y="70"/>
                  </a:lnTo>
                  <a:close/>
                  <a:moveTo>
                    <a:pt x="82" y="70"/>
                  </a:moveTo>
                  <a:lnTo>
                    <a:pt x="80" y="70"/>
                  </a:lnTo>
                  <a:lnTo>
                    <a:pt x="80" y="70"/>
                  </a:lnTo>
                  <a:lnTo>
                    <a:pt x="80" y="68"/>
                  </a:lnTo>
                  <a:lnTo>
                    <a:pt x="78" y="68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8" y="68"/>
                  </a:lnTo>
                  <a:lnTo>
                    <a:pt x="78" y="70"/>
                  </a:lnTo>
                  <a:lnTo>
                    <a:pt x="80" y="70"/>
                  </a:lnTo>
                  <a:lnTo>
                    <a:pt x="80" y="72"/>
                  </a:lnTo>
                  <a:lnTo>
                    <a:pt x="82" y="70"/>
                  </a:lnTo>
                  <a:close/>
                  <a:moveTo>
                    <a:pt x="57" y="66"/>
                  </a:moveTo>
                  <a:lnTo>
                    <a:pt x="57" y="66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9" y="66"/>
                  </a:lnTo>
                  <a:lnTo>
                    <a:pt x="57" y="66"/>
                  </a:lnTo>
                  <a:close/>
                  <a:moveTo>
                    <a:pt x="16" y="64"/>
                  </a:moveTo>
                  <a:lnTo>
                    <a:pt x="18" y="64"/>
                  </a:lnTo>
                  <a:lnTo>
                    <a:pt x="16" y="62"/>
                  </a:lnTo>
                  <a:lnTo>
                    <a:pt x="14" y="62"/>
                  </a:lnTo>
                  <a:lnTo>
                    <a:pt x="14" y="60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0" y="62"/>
                  </a:lnTo>
                  <a:lnTo>
                    <a:pt x="10" y="64"/>
                  </a:lnTo>
                  <a:lnTo>
                    <a:pt x="12" y="64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6" y="66"/>
                  </a:lnTo>
                  <a:lnTo>
                    <a:pt x="16" y="64"/>
                  </a:lnTo>
                  <a:close/>
                  <a:moveTo>
                    <a:pt x="16" y="58"/>
                  </a:move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close/>
                  <a:moveTo>
                    <a:pt x="96" y="56"/>
                  </a:moveTo>
                  <a:lnTo>
                    <a:pt x="96" y="56"/>
                  </a:lnTo>
                  <a:lnTo>
                    <a:pt x="92" y="56"/>
                  </a:lnTo>
                  <a:lnTo>
                    <a:pt x="92" y="58"/>
                  </a:lnTo>
                  <a:lnTo>
                    <a:pt x="94" y="60"/>
                  </a:lnTo>
                  <a:lnTo>
                    <a:pt x="96" y="60"/>
                  </a:lnTo>
                  <a:lnTo>
                    <a:pt x="94" y="62"/>
                  </a:lnTo>
                  <a:lnTo>
                    <a:pt x="94" y="62"/>
                  </a:lnTo>
                  <a:lnTo>
                    <a:pt x="94" y="62"/>
                  </a:lnTo>
                  <a:lnTo>
                    <a:pt x="96" y="64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8" y="62"/>
                  </a:lnTo>
                  <a:lnTo>
                    <a:pt x="98" y="62"/>
                  </a:lnTo>
                  <a:lnTo>
                    <a:pt x="98" y="58"/>
                  </a:lnTo>
                  <a:lnTo>
                    <a:pt x="98" y="58"/>
                  </a:lnTo>
                  <a:lnTo>
                    <a:pt x="98" y="56"/>
                  </a:lnTo>
                  <a:lnTo>
                    <a:pt x="96" y="56"/>
                  </a:lnTo>
                  <a:close/>
                  <a:moveTo>
                    <a:pt x="16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close/>
                  <a:moveTo>
                    <a:pt x="74" y="50"/>
                  </a:moveTo>
                  <a:lnTo>
                    <a:pt x="74" y="50"/>
                  </a:lnTo>
                  <a:lnTo>
                    <a:pt x="72" y="47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6" y="52"/>
                  </a:lnTo>
                  <a:lnTo>
                    <a:pt x="74" y="50"/>
                  </a:lnTo>
                  <a:close/>
                  <a:moveTo>
                    <a:pt x="57" y="52"/>
                  </a:moveTo>
                  <a:lnTo>
                    <a:pt x="55" y="50"/>
                  </a:lnTo>
                  <a:lnTo>
                    <a:pt x="55" y="47"/>
                  </a:lnTo>
                  <a:lnTo>
                    <a:pt x="53" y="47"/>
                  </a:lnTo>
                  <a:lnTo>
                    <a:pt x="51" y="47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51" y="50"/>
                  </a:lnTo>
                  <a:lnTo>
                    <a:pt x="53" y="52"/>
                  </a:lnTo>
                  <a:lnTo>
                    <a:pt x="53" y="52"/>
                  </a:lnTo>
                  <a:lnTo>
                    <a:pt x="55" y="54"/>
                  </a:lnTo>
                  <a:lnTo>
                    <a:pt x="57" y="54"/>
                  </a:lnTo>
                  <a:lnTo>
                    <a:pt x="57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8"/>
                  </a:lnTo>
                  <a:lnTo>
                    <a:pt x="61" y="60"/>
                  </a:lnTo>
                  <a:lnTo>
                    <a:pt x="63" y="60"/>
                  </a:lnTo>
                  <a:lnTo>
                    <a:pt x="65" y="60"/>
                  </a:lnTo>
                  <a:lnTo>
                    <a:pt x="65" y="60"/>
                  </a:lnTo>
                  <a:lnTo>
                    <a:pt x="65" y="60"/>
                  </a:lnTo>
                  <a:lnTo>
                    <a:pt x="67" y="60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4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4" y="66"/>
                  </a:lnTo>
                  <a:lnTo>
                    <a:pt x="74" y="68"/>
                  </a:lnTo>
                  <a:lnTo>
                    <a:pt x="74" y="66"/>
                  </a:lnTo>
                  <a:lnTo>
                    <a:pt x="74" y="66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0" y="62"/>
                  </a:lnTo>
                  <a:lnTo>
                    <a:pt x="70" y="60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3" y="54"/>
                  </a:lnTo>
                  <a:lnTo>
                    <a:pt x="61" y="52"/>
                  </a:lnTo>
                  <a:lnTo>
                    <a:pt x="59" y="52"/>
                  </a:lnTo>
                  <a:lnTo>
                    <a:pt x="57" y="52"/>
                  </a:lnTo>
                  <a:lnTo>
                    <a:pt x="57" y="52"/>
                  </a:lnTo>
                  <a:close/>
                  <a:moveTo>
                    <a:pt x="61" y="47"/>
                  </a:moveTo>
                  <a:lnTo>
                    <a:pt x="61" y="45"/>
                  </a:lnTo>
                  <a:lnTo>
                    <a:pt x="59" y="43"/>
                  </a:lnTo>
                  <a:lnTo>
                    <a:pt x="59" y="45"/>
                  </a:lnTo>
                  <a:lnTo>
                    <a:pt x="61" y="47"/>
                  </a:lnTo>
                  <a:close/>
                  <a:moveTo>
                    <a:pt x="63" y="43"/>
                  </a:moveTo>
                  <a:lnTo>
                    <a:pt x="63" y="43"/>
                  </a:lnTo>
                  <a:lnTo>
                    <a:pt x="61" y="45"/>
                  </a:lnTo>
                  <a:lnTo>
                    <a:pt x="63" y="45"/>
                  </a:lnTo>
                  <a:lnTo>
                    <a:pt x="63" y="43"/>
                  </a:lnTo>
                  <a:lnTo>
                    <a:pt x="63" y="43"/>
                  </a:lnTo>
                  <a:close/>
                  <a:moveTo>
                    <a:pt x="100" y="41"/>
                  </a:moveTo>
                  <a:lnTo>
                    <a:pt x="100" y="41"/>
                  </a:lnTo>
                  <a:lnTo>
                    <a:pt x="96" y="41"/>
                  </a:lnTo>
                  <a:lnTo>
                    <a:pt x="96" y="41"/>
                  </a:lnTo>
                  <a:lnTo>
                    <a:pt x="96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2" y="43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8" y="43"/>
                  </a:lnTo>
                  <a:lnTo>
                    <a:pt x="98" y="45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100" y="47"/>
                  </a:lnTo>
                  <a:lnTo>
                    <a:pt x="102" y="50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0" y="43"/>
                  </a:lnTo>
                  <a:lnTo>
                    <a:pt x="100" y="41"/>
                  </a:lnTo>
                  <a:close/>
                  <a:moveTo>
                    <a:pt x="6" y="39"/>
                  </a:moveTo>
                  <a:lnTo>
                    <a:pt x="4" y="39"/>
                  </a:lnTo>
                  <a:lnTo>
                    <a:pt x="4" y="39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7"/>
                  </a:lnTo>
                  <a:lnTo>
                    <a:pt x="2" y="39"/>
                  </a:lnTo>
                  <a:lnTo>
                    <a:pt x="4" y="41"/>
                  </a:lnTo>
                  <a:lnTo>
                    <a:pt x="6" y="41"/>
                  </a:lnTo>
                  <a:lnTo>
                    <a:pt x="6" y="39"/>
                  </a:lnTo>
                  <a:lnTo>
                    <a:pt x="6" y="39"/>
                  </a:lnTo>
                  <a:close/>
                  <a:moveTo>
                    <a:pt x="82" y="33"/>
                  </a:moveTo>
                  <a:lnTo>
                    <a:pt x="82" y="31"/>
                  </a:lnTo>
                  <a:lnTo>
                    <a:pt x="82" y="31"/>
                  </a:lnTo>
                  <a:lnTo>
                    <a:pt x="82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4" y="29"/>
                  </a:lnTo>
                  <a:lnTo>
                    <a:pt x="84" y="31"/>
                  </a:lnTo>
                  <a:lnTo>
                    <a:pt x="82" y="31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3"/>
                  </a:lnTo>
                  <a:close/>
                  <a:moveTo>
                    <a:pt x="86" y="29"/>
                  </a:moveTo>
                  <a:lnTo>
                    <a:pt x="84" y="31"/>
                  </a:lnTo>
                  <a:lnTo>
                    <a:pt x="84" y="31"/>
                  </a:lnTo>
                  <a:lnTo>
                    <a:pt x="86" y="31"/>
                  </a:lnTo>
                  <a:lnTo>
                    <a:pt x="86" y="29"/>
                  </a:lnTo>
                  <a:close/>
                  <a:moveTo>
                    <a:pt x="88" y="23"/>
                  </a:moveTo>
                  <a:lnTo>
                    <a:pt x="88" y="23"/>
                  </a:lnTo>
                  <a:lnTo>
                    <a:pt x="88" y="23"/>
                  </a:lnTo>
                  <a:lnTo>
                    <a:pt x="86" y="21"/>
                  </a:lnTo>
                  <a:lnTo>
                    <a:pt x="86" y="23"/>
                  </a:lnTo>
                  <a:lnTo>
                    <a:pt x="86" y="25"/>
                  </a:lnTo>
                  <a:lnTo>
                    <a:pt x="88" y="23"/>
                  </a:lnTo>
                  <a:close/>
                  <a:moveTo>
                    <a:pt x="74" y="19"/>
                  </a:moveTo>
                  <a:lnTo>
                    <a:pt x="74" y="17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4" y="19"/>
                  </a:lnTo>
                  <a:lnTo>
                    <a:pt x="76" y="19"/>
                  </a:lnTo>
                  <a:lnTo>
                    <a:pt x="74" y="19"/>
                  </a:lnTo>
                  <a:close/>
                  <a:moveTo>
                    <a:pt x="63" y="70"/>
                  </a:moveTo>
                  <a:lnTo>
                    <a:pt x="65" y="72"/>
                  </a:lnTo>
                  <a:lnTo>
                    <a:pt x="65" y="72"/>
                  </a:lnTo>
                  <a:lnTo>
                    <a:pt x="67" y="72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5" y="68"/>
                  </a:lnTo>
                  <a:lnTo>
                    <a:pt x="65" y="64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3" y="60"/>
                  </a:lnTo>
                  <a:lnTo>
                    <a:pt x="61" y="60"/>
                  </a:lnTo>
                  <a:lnTo>
                    <a:pt x="59" y="58"/>
                  </a:lnTo>
                  <a:lnTo>
                    <a:pt x="55" y="58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1" y="54"/>
                  </a:lnTo>
                  <a:lnTo>
                    <a:pt x="47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5" y="50"/>
                  </a:lnTo>
                  <a:lnTo>
                    <a:pt x="47" y="50"/>
                  </a:lnTo>
                  <a:lnTo>
                    <a:pt x="49" y="50"/>
                  </a:lnTo>
                  <a:lnTo>
                    <a:pt x="51" y="47"/>
                  </a:lnTo>
                  <a:lnTo>
                    <a:pt x="49" y="47"/>
                  </a:lnTo>
                  <a:lnTo>
                    <a:pt x="49" y="45"/>
                  </a:lnTo>
                  <a:lnTo>
                    <a:pt x="47" y="45"/>
                  </a:lnTo>
                  <a:lnTo>
                    <a:pt x="47" y="43"/>
                  </a:lnTo>
                  <a:lnTo>
                    <a:pt x="49" y="43"/>
                  </a:lnTo>
                  <a:lnTo>
                    <a:pt x="49" y="41"/>
                  </a:lnTo>
                  <a:lnTo>
                    <a:pt x="51" y="43"/>
                  </a:lnTo>
                  <a:lnTo>
                    <a:pt x="53" y="43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3" y="45"/>
                  </a:lnTo>
                  <a:lnTo>
                    <a:pt x="55" y="45"/>
                  </a:lnTo>
                  <a:lnTo>
                    <a:pt x="53" y="43"/>
                  </a:lnTo>
                  <a:lnTo>
                    <a:pt x="53" y="41"/>
                  </a:lnTo>
                  <a:lnTo>
                    <a:pt x="51" y="39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47" y="33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43" y="27"/>
                  </a:lnTo>
                  <a:lnTo>
                    <a:pt x="43" y="25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3"/>
                  </a:lnTo>
                  <a:lnTo>
                    <a:pt x="47" y="25"/>
                  </a:lnTo>
                  <a:lnTo>
                    <a:pt x="51" y="25"/>
                  </a:lnTo>
                  <a:lnTo>
                    <a:pt x="53" y="27"/>
                  </a:lnTo>
                  <a:lnTo>
                    <a:pt x="53" y="29"/>
                  </a:lnTo>
                  <a:lnTo>
                    <a:pt x="55" y="29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9" y="27"/>
                  </a:lnTo>
                  <a:lnTo>
                    <a:pt x="61" y="31"/>
                  </a:lnTo>
                  <a:lnTo>
                    <a:pt x="63" y="31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59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3" y="25"/>
                  </a:lnTo>
                  <a:lnTo>
                    <a:pt x="65" y="27"/>
                  </a:lnTo>
                  <a:lnTo>
                    <a:pt x="67" y="27"/>
                  </a:lnTo>
                  <a:lnTo>
                    <a:pt x="70" y="29"/>
                  </a:lnTo>
                  <a:lnTo>
                    <a:pt x="67" y="27"/>
                  </a:lnTo>
                  <a:lnTo>
                    <a:pt x="67" y="25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1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7"/>
                  </a:lnTo>
                  <a:lnTo>
                    <a:pt x="61" y="17"/>
                  </a:lnTo>
                  <a:lnTo>
                    <a:pt x="63" y="19"/>
                  </a:lnTo>
                  <a:lnTo>
                    <a:pt x="67" y="17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4" y="15"/>
                  </a:lnTo>
                  <a:lnTo>
                    <a:pt x="76" y="15"/>
                  </a:lnTo>
                  <a:lnTo>
                    <a:pt x="78" y="15"/>
                  </a:lnTo>
                  <a:lnTo>
                    <a:pt x="80" y="13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6" y="15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6" y="15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6" y="8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4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98" y="2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6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2"/>
                  </a:lnTo>
                  <a:lnTo>
                    <a:pt x="94" y="2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2" y="6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59" y="6"/>
                  </a:lnTo>
                  <a:lnTo>
                    <a:pt x="57" y="6"/>
                  </a:lnTo>
                  <a:lnTo>
                    <a:pt x="55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1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7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1" y="10"/>
                  </a:lnTo>
                  <a:lnTo>
                    <a:pt x="39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5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0" y="15"/>
                  </a:lnTo>
                  <a:lnTo>
                    <a:pt x="28" y="15"/>
                  </a:lnTo>
                  <a:lnTo>
                    <a:pt x="26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2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7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29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0" y="31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0" y="41"/>
                  </a:lnTo>
                  <a:lnTo>
                    <a:pt x="12" y="43"/>
                  </a:lnTo>
                  <a:lnTo>
                    <a:pt x="14" y="45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8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2"/>
                  </a:lnTo>
                  <a:lnTo>
                    <a:pt x="18" y="52"/>
                  </a:lnTo>
                  <a:lnTo>
                    <a:pt x="20" y="54"/>
                  </a:lnTo>
                  <a:lnTo>
                    <a:pt x="20" y="58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4" y="60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8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8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3" y="60"/>
                  </a:lnTo>
                  <a:lnTo>
                    <a:pt x="35" y="60"/>
                  </a:lnTo>
                  <a:lnTo>
                    <a:pt x="39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58"/>
                  </a:lnTo>
                  <a:lnTo>
                    <a:pt x="45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1" y="64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3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5" y="64"/>
                  </a:lnTo>
                  <a:lnTo>
                    <a:pt x="39" y="64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3" y="62"/>
                  </a:lnTo>
                  <a:lnTo>
                    <a:pt x="30" y="64"/>
                  </a:lnTo>
                  <a:lnTo>
                    <a:pt x="28" y="64"/>
                  </a:lnTo>
                  <a:lnTo>
                    <a:pt x="26" y="62"/>
                  </a:lnTo>
                  <a:lnTo>
                    <a:pt x="26" y="64"/>
                  </a:lnTo>
                  <a:lnTo>
                    <a:pt x="2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6" y="72"/>
                  </a:lnTo>
                  <a:lnTo>
                    <a:pt x="26" y="74"/>
                  </a:lnTo>
                  <a:lnTo>
                    <a:pt x="28" y="74"/>
                  </a:lnTo>
                  <a:lnTo>
                    <a:pt x="30" y="78"/>
                  </a:lnTo>
                  <a:lnTo>
                    <a:pt x="30" y="80"/>
                  </a:lnTo>
                  <a:lnTo>
                    <a:pt x="30" y="82"/>
                  </a:lnTo>
                  <a:lnTo>
                    <a:pt x="30" y="84"/>
                  </a:lnTo>
                  <a:lnTo>
                    <a:pt x="33" y="89"/>
                  </a:lnTo>
                  <a:lnTo>
                    <a:pt x="35" y="91"/>
                  </a:lnTo>
                  <a:lnTo>
                    <a:pt x="35" y="89"/>
                  </a:lnTo>
                  <a:lnTo>
                    <a:pt x="35" y="87"/>
                  </a:lnTo>
                  <a:lnTo>
                    <a:pt x="37" y="84"/>
                  </a:lnTo>
                  <a:lnTo>
                    <a:pt x="37" y="84"/>
                  </a:lnTo>
                  <a:lnTo>
                    <a:pt x="37" y="84"/>
                  </a:lnTo>
                  <a:lnTo>
                    <a:pt x="39" y="87"/>
                  </a:lnTo>
                  <a:lnTo>
                    <a:pt x="39" y="87"/>
                  </a:lnTo>
                  <a:lnTo>
                    <a:pt x="41" y="87"/>
                  </a:lnTo>
                  <a:lnTo>
                    <a:pt x="43" y="91"/>
                  </a:lnTo>
                  <a:lnTo>
                    <a:pt x="43" y="93"/>
                  </a:lnTo>
                  <a:lnTo>
                    <a:pt x="43" y="95"/>
                  </a:lnTo>
                  <a:lnTo>
                    <a:pt x="43" y="95"/>
                  </a:lnTo>
                  <a:lnTo>
                    <a:pt x="45" y="95"/>
                  </a:lnTo>
                  <a:lnTo>
                    <a:pt x="45" y="93"/>
                  </a:lnTo>
                  <a:lnTo>
                    <a:pt x="45" y="89"/>
                  </a:lnTo>
                  <a:lnTo>
                    <a:pt x="47" y="89"/>
                  </a:lnTo>
                  <a:lnTo>
                    <a:pt x="49" y="89"/>
                  </a:lnTo>
                  <a:lnTo>
                    <a:pt x="49" y="91"/>
                  </a:lnTo>
                  <a:lnTo>
                    <a:pt x="51" y="95"/>
                  </a:lnTo>
                  <a:lnTo>
                    <a:pt x="53" y="95"/>
                  </a:lnTo>
                  <a:lnTo>
                    <a:pt x="53" y="95"/>
                  </a:lnTo>
                  <a:lnTo>
                    <a:pt x="55" y="95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1" y="84"/>
                  </a:lnTo>
                  <a:lnTo>
                    <a:pt x="49" y="80"/>
                  </a:lnTo>
                  <a:lnTo>
                    <a:pt x="47" y="78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9" y="76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53" y="76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5" y="78"/>
                  </a:lnTo>
                  <a:lnTo>
                    <a:pt x="55" y="78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7" y="74"/>
                  </a:lnTo>
                  <a:lnTo>
                    <a:pt x="57" y="74"/>
                  </a:lnTo>
                  <a:lnTo>
                    <a:pt x="55" y="74"/>
                  </a:lnTo>
                  <a:lnTo>
                    <a:pt x="53" y="74"/>
                  </a:lnTo>
                  <a:lnTo>
                    <a:pt x="53" y="72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3" y="68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61" y="68"/>
                  </a:lnTo>
                  <a:lnTo>
                    <a:pt x="63" y="70"/>
                  </a:lnTo>
                  <a:close/>
                  <a:moveTo>
                    <a:pt x="63" y="29"/>
                  </a:moveTo>
                  <a:lnTo>
                    <a:pt x="63" y="29"/>
                  </a:lnTo>
                  <a:lnTo>
                    <a:pt x="63" y="31"/>
                  </a:lnTo>
                  <a:lnTo>
                    <a:pt x="63" y="2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95" name="Freeform 167">
              <a:extLst>
                <a:ext uri="{FF2B5EF4-FFF2-40B4-BE49-F238E27FC236}">
                  <a16:creationId xmlns:a16="http://schemas.microsoft.com/office/drawing/2014/main" id="{8B978F3D-A019-7346-AC0D-0A57E3D02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6562" y="3288993"/>
              <a:ext cx="83187" cy="142607"/>
            </a:xfrm>
            <a:custGeom>
              <a:avLst/>
              <a:gdLst>
                <a:gd name="T0" fmla="*/ 68 w 70"/>
                <a:gd name="T1" fmla="*/ 93 h 120"/>
                <a:gd name="T2" fmla="*/ 66 w 70"/>
                <a:gd name="T3" fmla="*/ 89 h 120"/>
                <a:gd name="T4" fmla="*/ 64 w 70"/>
                <a:gd name="T5" fmla="*/ 85 h 120"/>
                <a:gd name="T6" fmla="*/ 60 w 70"/>
                <a:gd name="T7" fmla="*/ 81 h 120"/>
                <a:gd name="T8" fmla="*/ 62 w 70"/>
                <a:gd name="T9" fmla="*/ 77 h 120"/>
                <a:gd name="T10" fmla="*/ 62 w 70"/>
                <a:gd name="T11" fmla="*/ 70 h 120"/>
                <a:gd name="T12" fmla="*/ 60 w 70"/>
                <a:gd name="T13" fmla="*/ 68 h 120"/>
                <a:gd name="T14" fmla="*/ 62 w 70"/>
                <a:gd name="T15" fmla="*/ 56 h 120"/>
                <a:gd name="T16" fmla="*/ 62 w 70"/>
                <a:gd name="T17" fmla="*/ 50 h 120"/>
                <a:gd name="T18" fmla="*/ 58 w 70"/>
                <a:gd name="T19" fmla="*/ 46 h 120"/>
                <a:gd name="T20" fmla="*/ 60 w 70"/>
                <a:gd name="T21" fmla="*/ 42 h 120"/>
                <a:gd name="T22" fmla="*/ 60 w 70"/>
                <a:gd name="T23" fmla="*/ 33 h 120"/>
                <a:gd name="T24" fmla="*/ 58 w 70"/>
                <a:gd name="T25" fmla="*/ 33 h 120"/>
                <a:gd name="T26" fmla="*/ 56 w 70"/>
                <a:gd name="T27" fmla="*/ 31 h 120"/>
                <a:gd name="T28" fmla="*/ 58 w 70"/>
                <a:gd name="T29" fmla="*/ 29 h 120"/>
                <a:gd name="T30" fmla="*/ 58 w 70"/>
                <a:gd name="T31" fmla="*/ 29 h 120"/>
                <a:gd name="T32" fmla="*/ 58 w 70"/>
                <a:gd name="T33" fmla="*/ 25 h 120"/>
                <a:gd name="T34" fmla="*/ 58 w 70"/>
                <a:gd name="T35" fmla="*/ 17 h 120"/>
                <a:gd name="T36" fmla="*/ 54 w 70"/>
                <a:gd name="T37" fmla="*/ 13 h 120"/>
                <a:gd name="T38" fmla="*/ 52 w 70"/>
                <a:gd name="T39" fmla="*/ 9 h 120"/>
                <a:gd name="T40" fmla="*/ 52 w 70"/>
                <a:gd name="T41" fmla="*/ 2 h 120"/>
                <a:gd name="T42" fmla="*/ 48 w 70"/>
                <a:gd name="T43" fmla="*/ 2 h 120"/>
                <a:gd name="T44" fmla="*/ 46 w 70"/>
                <a:gd name="T45" fmla="*/ 5 h 120"/>
                <a:gd name="T46" fmla="*/ 41 w 70"/>
                <a:gd name="T47" fmla="*/ 5 h 120"/>
                <a:gd name="T48" fmla="*/ 37 w 70"/>
                <a:gd name="T49" fmla="*/ 5 h 120"/>
                <a:gd name="T50" fmla="*/ 27 w 70"/>
                <a:gd name="T51" fmla="*/ 5 h 120"/>
                <a:gd name="T52" fmla="*/ 13 w 70"/>
                <a:gd name="T53" fmla="*/ 5 h 120"/>
                <a:gd name="T54" fmla="*/ 7 w 70"/>
                <a:gd name="T55" fmla="*/ 5 h 120"/>
                <a:gd name="T56" fmla="*/ 7 w 70"/>
                <a:gd name="T57" fmla="*/ 15 h 120"/>
                <a:gd name="T58" fmla="*/ 7 w 70"/>
                <a:gd name="T59" fmla="*/ 17 h 120"/>
                <a:gd name="T60" fmla="*/ 7 w 70"/>
                <a:gd name="T61" fmla="*/ 21 h 120"/>
                <a:gd name="T62" fmla="*/ 9 w 70"/>
                <a:gd name="T63" fmla="*/ 29 h 120"/>
                <a:gd name="T64" fmla="*/ 9 w 70"/>
                <a:gd name="T65" fmla="*/ 35 h 120"/>
                <a:gd name="T66" fmla="*/ 9 w 70"/>
                <a:gd name="T67" fmla="*/ 39 h 120"/>
                <a:gd name="T68" fmla="*/ 11 w 70"/>
                <a:gd name="T69" fmla="*/ 44 h 120"/>
                <a:gd name="T70" fmla="*/ 13 w 70"/>
                <a:gd name="T71" fmla="*/ 56 h 120"/>
                <a:gd name="T72" fmla="*/ 11 w 70"/>
                <a:gd name="T73" fmla="*/ 58 h 120"/>
                <a:gd name="T74" fmla="*/ 7 w 70"/>
                <a:gd name="T75" fmla="*/ 60 h 120"/>
                <a:gd name="T76" fmla="*/ 5 w 70"/>
                <a:gd name="T77" fmla="*/ 64 h 120"/>
                <a:gd name="T78" fmla="*/ 2 w 70"/>
                <a:gd name="T79" fmla="*/ 74 h 120"/>
                <a:gd name="T80" fmla="*/ 0 w 70"/>
                <a:gd name="T81" fmla="*/ 83 h 120"/>
                <a:gd name="T82" fmla="*/ 0 w 70"/>
                <a:gd name="T83" fmla="*/ 89 h 120"/>
                <a:gd name="T84" fmla="*/ 2 w 70"/>
                <a:gd name="T85" fmla="*/ 99 h 120"/>
                <a:gd name="T86" fmla="*/ 7 w 70"/>
                <a:gd name="T87" fmla="*/ 103 h 120"/>
                <a:gd name="T88" fmla="*/ 7 w 70"/>
                <a:gd name="T89" fmla="*/ 107 h 120"/>
                <a:gd name="T90" fmla="*/ 5 w 70"/>
                <a:gd name="T91" fmla="*/ 111 h 120"/>
                <a:gd name="T92" fmla="*/ 2 w 70"/>
                <a:gd name="T93" fmla="*/ 114 h 120"/>
                <a:gd name="T94" fmla="*/ 13 w 70"/>
                <a:gd name="T95" fmla="*/ 116 h 120"/>
                <a:gd name="T96" fmla="*/ 23 w 70"/>
                <a:gd name="T97" fmla="*/ 116 h 120"/>
                <a:gd name="T98" fmla="*/ 39 w 70"/>
                <a:gd name="T99" fmla="*/ 109 h 120"/>
                <a:gd name="T100" fmla="*/ 50 w 70"/>
                <a:gd name="T101" fmla="*/ 103 h 120"/>
                <a:gd name="T102" fmla="*/ 68 w 70"/>
                <a:gd name="T103" fmla="*/ 99 h 120"/>
                <a:gd name="T104" fmla="*/ 70 w 70"/>
                <a:gd name="T105" fmla="*/ 9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0" h="120">
                  <a:moveTo>
                    <a:pt x="70" y="93"/>
                  </a:moveTo>
                  <a:lnTo>
                    <a:pt x="70" y="93"/>
                  </a:lnTo>
                  <a:lnTo>
                    <a:pt x="70" y="93"/>
                  </a:lnTo>
                  <a:lnTo>
                    <a:pt x="68" y="93"/>
                  </a:lnTo>
                  <a:lnTo>
                    <a:pt x="68" y="91"/>
                  </a:lnTo>
                  <a:lnTo>
                    <a:pt x="68" y="91"/>
                  </a:lnTo>
                  <a:lnTo>
                    <a:pt x="66" y="91"/>
                  </a:lnTo>
                  <a:lnTo>
                    <a:pt x="66" y="89"/>
                  </a:lnTo>
                  <a:lnTo>
                    <a:pt x="64" y="87"/>
                  </a:lnTo>
                  <a:lnTo>
                    <a:pt x="64" y="87"/>
                  </a:lnTo>
                  <a:lnTo>
                    <a:pt x="64" y="87"/>
                  </a:lnTo>
                  <a:lnTo>
                    <a:pt x="64" y="85"/>
                  </a:lnTo>
                  <a:lnTo>
                    <a:pt x="62" y="85"/>
                  </a:lnTo>
                  <a:lnTo>
                    <a:pt x="62" y="83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4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2" y="64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4"/>
                  </a:lnTo>
                  <a:lnTo>
                    <a:pt x="64" y="54"/>
                  </a:lnTo>
                  <a:lnTo>
                    <a:pt x="64" y="52"/>
                  </a:lnTo>
                  <a:lnTo>
                    <a:pt x="62" y="50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2"/>
                  </a:lnTo>
                  <a:lnTo>
                    <a:pt x="60" y="39"/>
                  </a:lnTo>
                  <a:lnTo>
                    <a:pt x="60" y="37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0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3"/>
                  </a:lnTo>
                  <a:lnTo>
                    <a:pt x="58" y="19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7"/>
                  </a:lnTo>
                  <a:lnTo>
                    <a:pt x="52" y="5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39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5" y="5"/>
                  </a:lnTo>
                  <a:lnTo>
                    <a:pt x="33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3" y="5"/>
                  </a:lnTo>
                  <a:lnTo>
                    <a:pt x="17" y="5"/>
                  </a:lnTo>
                  <a:lnTo>
                    <a:pt x="13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9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9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9" y="25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9" y="29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3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7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42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6"/>
                  </a:lnTo>
                  <a:lnTo>
                    <a:pt x="11" y="50"/>
                  </a:lnTo>
                  <a:lnTo>
                    <a:pt x="13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7" y="60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4"/>
                  </a:lnTo>
                  <a:lnTo>
                    <a:pt x="5" y="64"/>
                  </a:lnTo>
                  <a:lnTo>
                    <a:pt x="5" y="68"/>
                  </a:lnTo>
                  <a:lnTo>
                    <a:pt x="5" y="72"/>
                  </a:lnTo>
                  <a:lnTo>
                    <a:pt x="5" y="74"/>
                  </a:lnTo>
                  <a:lnTo>
                    <a:pt x="2" y="74"/>
                  </a:lnTo>
                  <a:lnTo>
                    <a:pt x="2" y="77"/>
                  </a:lnTo>
                  <a:lnTo>
                    <a:pt x="0" y="79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5"/>
                  </a:lnTo>
                  <a:lnTo>
                    <a:pt x="0" y="87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2" y="95"/>
                  </a:lnTo>
                  <a:lnTo>
                    <a:pt x="2" y="97"/>
                  </a:lnTo>
                  <a:lnTo>
                    <a:pt x="2" y="99"/>
                  </a:lnTo>
                  <a:lnTo>
                    <a:pt x="2" y="101"/>
                  </a:lnTo>
                  <a:lnTo>
                    <a:pt x="5" y="101"/>
                  </a:lnTo>
                  <a:lnTo>
                    <a:pt x="5" y="103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5" y="111"/>
                  </a:lnTo>
                  <a:lnTo>
                    <a:pt x="5" y="111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4"/>
                  </a:lnTo>
                  <a:lnTo>
                    <a:pt x="2" y="114"/>
                  </a:lnTo>
                  <a:lnTo>
                    <a:pt x="5" y="114"/>
                  </a:lnTo>
                  <a:lnTo>
                    <a:pt x="9" y="114"/>
                  </a:lnTo>
                  <a:lnTo>
                    <a:pt x="13" y="116"/>
                  </a:lnTo>
                  <a:lnTo>
                    <a:pt x="15" y="118"/>
                  </a:lnTo>
                  <a:lnTo>
                    <a:pt x="19" y="118"/>
                  </a:lnTo>
                  <a:lnTo>
                    <a:pt x="19" y="120"/>
                  </a:lnTo>
                  <a:lnTo>
                    <a:pt x="23" y="116"/>
                  </a:lnTo>
                  <a:lnTo>
                    <a:pt x="25" y="116"/>
                  </a:lnTo>
                  <a:lnTo>
                    <a:pt x="27" y="114"/>
                  </a:lnTo>
                  <a:lnTo>
                    <a:pt x="35" y="111"/>
                  </a:lnTo>
                  <a:lnTo>
                    <a:pt x="39" y="109"/>
                  </a:lnTo>
                  <a:lnTo>
                    <a:pt x="41" y="109"/>
                  </a:lnTo>
                  <a:lnTo>
                    <a:pt x="44" y="107"/>
                  </a:lnTo>
                  <a:lnTo>
                    <a:pt x="46" y="105"/>
                  </a:lnTo>
                  <a:lnTo>
                    <a:pt x="50" y="103"/>
                  </a:lnTo>
                  <a:lnTo>
                    <a:pt x="56" y="101"/>
                  </a:lnTo>
                  <a:lnTo>
                    <a:pt x="62" y="101"/>
                  </a:lnTo>
                  <a:lnTo>
                    <a:pt x="64" y="101"/>
                  </a:lnTo>
                  <a:lnTo>
                    <a:pt x="68" y="99"/>
                  </a:lnTo>
                  <a:lnTo>
                    <a:pt x="68" y="97"/>
                  </a:lnTo>
                  <a:lnTo>
                    <a:pt x="68" y="97"/>
                  </a:lnTo>
                  <a:lnTo>
                    <a:pt x="70" y="95"/>
                  </a:lnTo>
                  <a:lnTo>
                    <a:pt x="70" y="95"/>
                  </a:lnTo>
                  <a:lnTo>
                    <a:pt x="70" y="9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96" name="Freeform 169">
              <a:extLst>
                <a:ext uri="{FF2B5EF4-FFF2-40B4-BE49-F238E27FC236}">
                  <a16:creationId xmlns:a16="http://schemas.microsoft.com/office/drawing/2014/main" id="{B86AD120-EC9C-2A4E-BC48-FC706802C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4956" y="2585467"/>
              <a:ext cx="122404" cy="54666"/>
            </a:xfrm>
            <a:custGeom>
              <a:avLst/>
              <a:gdLst>
                <a:gd name="T0" fmla="*/ 99 w 103"/>
                <a:gd name="T1" fmla="*/ 37 h 46"/>
                <a:gd name="T2" fmla="*/ 95 w 103"/>
                <a:gd name="T3" fmla="*/ 35 h 46"/>
                <a:gd name="T4" fmla="*/ 95 w 103"/>
                <a:gd name="T5" fmla="*/ 33 h 46"/>
                <a:gd name="T6" fmla="*/ 97 w 103"/>
                <a:gd name="T7" fmla="*/ 33 h 46"/>
                <a:gd name="T8" fmla="*/ 99 w 103"/>
                <a:gd name="T9" fmla="*/ 29 h 46"/>
                <a:gd name="T10" fmla="*/ 95 w 103"/>
                <a:gd name="T11" fmla="*/ 29 h 46"/>
                <a:gd name="T12" fmla="*/ 91 w 103"/>
                <a:gd name="T13" fmla="*/ 27 h 46"/>
                <a:gd name="T14" fmla="*/ 87 w 103"/>
                <a:gd name="T15" fmla="*/ 25 h 46"/>
                <a:gd name="T16" fmla="*/ 87 w 103"/>
                <a:gd name="T17" fmla="*/ 21 h 46"/>
                <a:gd name="T18" fmla="*/ 85 w 103"/>
                <a:gd name="T19" fmla="*/ 19 h 46"/>
                <a:gd name="T20" fmla="*/ 78 w 103"/>
                <a:gd name="T21" fmla="*/ 17 h 46"/>
                <a:gd name="T22" fmla="*/ 74 w 103"/>
                <a:gd name="T23" fmla="*/ 15 h 46"/>
                <a:gd name="T24" fmla="*/ 72 w 103"/>
                <a:gd name="T25" fmla="*/ 17 h 46"/>
                <a:gd name="T26" fmla="*/ 68 w 103"/>
                <a:gd name="T27" fmla="*/ 15 h 46"/>
                <a:gd name="T28" fmla="*/ 64 w 103"/>
                <a:gd name="T29" fmla="*/ 17 h 46"/>
                <a:gd name="T30" fmla="*/ 60 w 103"/>
                <a:gd name="T31" fmla="*/ 19 h 46"/>
                <a:gd name="T32" fmla="*/ 56 w 103"/>
                <a:gd name="T33" fmla="*/ 17 h 46"/>
                <a:gd name="T34" fmla="*/ 58 w 103"/>
                <a:gd name="T35" fmla="*/ 15 h 46"/>
                <a:gd name="T36" fmla="*/ 54 w 103"/>
                <a:gd name="T37" fmla="*/ 13 h 46"/>
                <a:gd name="T38" fmla="*/ 46 w 103"/>
                <a:gd name="T39" fmla="*/ 8 h 46"/>
                <a:gd name="T40" fmla="*/ 41 w 103"/>
                <a:gd name="T41" fmla="*/ 6 h 46"/>
                <a:gd name="T42" fmla="*/ 35 w 103"/>
                <a:gd name="T43" fmla="*/ 6 h 46"/>
                <a:gd name="T44" fmla="*/ 31 w 103"/>
                <a:gd name="T45" fmla="*/ 6 h 46"/>
                <a:gd name="T46" fmla="*/ 21 w 103"/>
                <a:gd name="T47" fmla="*/ 6 h 46"/>
                <a:gd name="T48" fmla="*/ 13 w 103"/>
                <a:gd name="T49" fmla="*/ 2 h 46"/>
                <a:gd name="T50" fmla="*/ 7 w 103"/>
                <a:gd name="T51" fmla="*/ 0 h 46"/>
                <a:gd name="T52" fmla="*/ 0 w 103"/>
                <a:gd name="T53" fmla="*/ 0 h 46"/>
                <a:gd name="T54" fmla="*/ 2 w 103"/>
                <a:gd name="T55" fmla="*/ 4 h 46"/>
                <a:gd name="T56" fmla="*/ 13 w 103"/>
                <a:gd name="T57" fmla="*/ 8 h 46"/>
                <a:gd name="T58" fmla="*/ 23 w 103"/>
                <a:gd name="T59" fmla="*/ 15 h 46"/>
                <a:gd name="T60" fmla="*/ 27 w 103"/>
                <a:gd name="T61" fmla="*/ 25 h 46"/>
                <a:gd name="T62" fmla="*/ 29 w 103"/>
                <a:gd name="T63" fmla="*/ 31 h 46"/>
                <a:gd name="T64" fmla="*/ 27 w 103"/>
                <a:gd name="T65" fmla="*/ 37 h 46"/>
                <a:gd name="T66" fmla="*/ 31 w 103"/>
                <a:gd name="T67" fmla="*/ 37 h 46"/>
                <a:gd name="T68" fmla="*/ 37 w 103"/>
                <a:gd name="T69" fmla="*/ 37 h 46"/>
                <a:gd name="T70" fmla="*/ 41 w 103"/>
                <a:gd name="T71" fmla="*/ 37 h 46"/>
                <a:gd name="T72" fmla="*/ 43 w 103"/>
                <a:gd name="T73" fmla="*/ 35 h 46"/>
                <a:gd name="T74" fmla="*/ 46 w 103"/>
                <a:gd name="T75" fmla="*/ 35 h 46"/>
                <a:gd name="T76" fmla="*/ 48 w 103"/>
                <a:gd name="T77" fmla="*/ 37 h 46"/>
                <a:gd name="T78" fmla="*/ 52 w 103"/>
                <a:gd name="T79" fmla="*/ 41 h 46"/>
                <a:gd name="T80" fmla="*/ 52 w 103"/>
                <a:gd name="T81" fmla="*/ 41 h 46"/>
                <a:gd name="T82" fmla="*/ 56 w 103"/>
                <a:gd name="T83" fmla="*/ 43 h 46"/>
                <a:gd name="T84" fmla="*/ 56 w 103"/>
                <a:gd name="T85" fmla="*/ 43 h 46"/>
                <a:gd name="T86" fmla="*/ 62 w 103"/>
                <a:gd name="T87" fmla="*/ 43 h 46"/>
                <a:gd name="T88" fmla="*/ 66 w 103"/>
                <a:gd name="T89" fmla="*/ 41 h 46"/>
                <a:gd name="T90" fmla="*/ 72 w 103"/>
                <a:gd name="T91" fmla="*/ 41 h 46"/>
                <a:gd name="T92" fmla="*/ 76 w 103"/>
                <a:gd name="T93" fmla="*/ 41 h 46"/>
                <a:gd name="T94" fmla="*/ 78 w 103"/>
                <a:gd name="T95" fmla="*/ 41 h 46"/>
                <a:gd name="T96" fmla="*/ 85 w 103"/>
                <a:gd name="T97" fmla="*/ 39 h 46"/>
                <a:gd name="T98" fmla="*/ 91 w 103"/>
                <a:gd name="T99" fmla="*/ 41 h 46"/>
                <a:gd name="T100" fmla="*/ 95 w 103"/>
                <a:gd name="T101" fmla="*/ 43 h 46"/>
                <a:gd name="T102" fmla="*/ 99 w 103"/>
                <a:gd name="T103" fmla="*/ 43 h 46"/>
                <a:gd name="T104" fmla="*/ 101 w 103"/>
                <a:gd name="T105" fmla="*/ 46 h 46"/>
                <a:gd name="T106" fmla="*/ 103 w 103"/>
                <a:gd name="T107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3" h="46">
                  <a:moveTo>
                    <a:pt x="103" y="39"/>
                  </a:moveTo>
                  <a:lnTo>
                    <a:pt x="101" y="39"/>
                  </a:lnTo>
                  <a:lnTo>
                    <a:pt x="99" y="37"/>
                  </a:lnTo>
                  <a:lnTo>
                    <a:pt x="97" y="37"/>
                  </a:lnTo>
                  <a:lnTo>
                    <a:pt x="97" y="35"/>
                  </a:lnTo>
                  <a:lnTo>
                    <a:pt x="95" y="35"/>
                  </a:lnTo>
                  <a:lnTo>
                    <a:pt x="95" y="35"/>
                  </a:lnTo>
                  <a:lnTo>
                    <a:pt x="95" y="35"/>
                  </a:lnTo>
                  <a:lnTo>
                    <a:pt x="95" y="33"/>
                  </a:lnTo>
                  <a:lnTo>
                    <a:pt x="95" y="33"/>
                  </a:lnTo>
                  <a:lnTo>
                    <a:pt x="97" y="33"/>
                  </a:lnTo>
                  <a:lnTo>
                    <a:pt x="97" y="33"/>
                  </a:lnTo>
                  <a:lnTo>
                    <a:pt x="97" y="31"/>
                  </a:lnTo>
                  <a:lnTo>
                    <a:pt x="99" y="31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93" y="27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89" y="27"/>
                  </a:lnTo>
                  <a:lnTo>
                    <a:pt x="87" y="25"/>
                  </a:lnTo>
                  <a:lnTo>
                    <a:pt x="87" y="25"/>
                  </a:lnTo>
                  <a:lnTo>
                    <a:pt x="87" y="23"/>
                  </a:lnTo>
                  <a:lnTo>
                    <a:pt x="87" y="21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0" y="19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6" y="17"/>
                  </a:lnTo>
                  <a:lnTo>
                    <a:pt x="74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7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6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0" y="17"/>
                  </a:lnTo>
                  <a:lnTo>
                    <a:pt x="60" y="19"/>
                  </a:lnTo>
                  <a:lnTo>
                    <a:pt x="58" y="19"/>
                  </a:lnTo>
                  <a:lnTo>
                    <a:pt x="58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0" y="13"/>
                  </a:lnTo>
                  <a:lnTo>
                    <a:pt x="46" y="11"/>
                  </a:lnTo>
                  <a:lnTo>
                    <a:pt x="46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1" y="6"/>
                  </a:lnTo>
                  <a:lnTo>
                    <a:pt x="39" y="8"/>
                  </a:lnTo>
                  <a:lnTo>
                    <a:pt x="37" y="8"/>
                  </a:lnTo>
                  <a:lnTo>
                    <a:pt x="35" y="6"/>
                  </a:lnTo>
                  <a:lnTo>
                    <a:pt x="33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23" y="6"/>
                  </a:lnTo>
                  <a:lnTo>
                    <a:pt x="21" y="6"/>
                  </a:lnTo>
                  <a:lnTo>
                    <a:pt x="19" y="4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7" y="8"/>
                  </a:lnTo>
                  <a:lnTo>
                    <a:pt x="9" y="8"/>
                  </a:lnTo>
                  <a:lnTo>
                    <a:pt x="13" y="8"/>
                  </a:lnTo>
                  <a:lnTo>
                    <a:pt x="17" y="11"/>
                  </a:lnTo>
                  <a:lnTo>
                    <a:pt x="17" y="13"/>
                  </a:lnTo>
                  <a:lnTo>
                    <a:pt x="23" y="15"/>
                  </a:lnTo>
                  <a:lnTo>
                    <a:pt x="23" y="17"/>
                  </a:lnTo>
                  <a:lnTo>
                    <a:pt x="25" y="21"/>
                  </a:lnTo>
                  <a:lnTo>
                    <a:pt x="27" y="25"/>
                  </a:lnTo>
                  <a:lnTo>
                    <a:pt x="29" y="29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5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9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1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7"/>
                  </a:lnTo>
                  <a:lnTo>
                    <a:pt x="48" y="37"/>
                  </a:lnTo>
                  <a:lnTo>
                    <a:pt x="50" y="39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4" y="43"/>
                  </a:lnTo>
                  <a:lnTo>
                    <a:pt x="56" y="43"/>
                  </a:lnTo>
                  <a:lnTo>
                    <a:pt x="56" y="43"/>
                  </a:lnTo>
                  <a:lnTo>
                    <a:pt x="56" y="43"/>
                  </a:lnTo>
                  <a:lnTo>
                    <a:pt x="56" y="43"/>
                  </a:lnTo>
                  <a:lnTo>
                    <a:pt x="56" y="43"/>
                  </a:lnTo>
                  <a:lnTo>
                    <a:pt x="58" y="43"/>
                  </a:lnTo>
                  <a:lnTo>
                    <a:pt x="60" y="43"/>
                  </a:lnTo>
                  <a:lnTo>
                    <a:pt x="62" y="43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6" y="41"/>
                  </a:lnTo>
                  <a:lnTo>
                    <a:pt x="68" y="41"/>
                  </a:lnTo>
                  <a:lnTo>
                    <a:pt x="72" y="43"/>
                  </a:lnTo>
                  <a:lnTo>
                    <a:pt x="72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5" y="39"/>
                  </a:lnTo>
                  <a:lnTo>
                    <a:pt x="89" y="39"/>
                  </a:lnTo>
                  <a:lnTo>
                    <a:pt x="89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3" y="43"/>
                  </a:lnTo>
                  <a:lnTo>
                    <a:pt x="95" y="43"/>
                  </a:lnTo>
                  <a:lnTo>
                    <a:pt x="95" y="43"/>
                  </a:lnTo>
                  <a:lnTo>
                    <a:pt x="97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3" y="43"/>
                  </a:lnTo>
                  <a:lnTo>
                    <a:pt x="103" y="43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3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97" name="Freeform 170">
              <a:extLst>
                <a:ext uri="{FF2B5EF4-FFF2-40B4-BE49-F238E27FC236}">
                  <a16:creationId xmlns:a16="http://schemas.microsoft.com/office/drawing/2014/main" id="{1682338F-E7CE-1342-A2EF-649821FA5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682" y="3233139"/>
              <a:ext cx="55854" cy="14261"/>
            </a:xfrm>
            <a:custGeom>
              <a:avLst/>
              <a:gdLst>
                <a:gd name="T0" fmla="*/ 45 w 47"/>
                <a:gd name="T1" fmla="*/ 4 h 12"/>
                <a:gd name="T2" fmla="*/ 43 w 47"/>
                <a:gd name="T3" fmla="*/ 4 h 12"/>
                <a:gd name="T4" fmla="*/ 41 w 47"/>
                <a:gd name="T5" fmla="*/ 6 h 12"/>
                <a:gd name="T6" fmla="*/ 37 w 47"/>
                <a:gd name="T7" fmla="*/ 4 h 12"/>
                <a:gd name="T8" fmla="*/ 35 w 47"/>
                <a:gd name="T9" fmla="*/ 2 h 12"/>
                <a:gd name="T10" fmla="*/ 31 w 47"/>
                <a:gd name="T11" fmla="*/ 0 h 12"/>
                <a:gd name="T12" fmla="*/ 26 w 47"/>
                <a:gd name="T13" fmla="*/ 0 h 12"/>
                <a:gd name="T14" fmla="*/ 22 w 47"/>
                <a:gd name="T15" fmla="*/ 0 h 12"/>
                <a:gd name="T16" fmla="*/ 18 w 47"/>
                <a:gd name="T17" fmla="*/ 4 h 12"/>
                <a:gd name="T18" fmla="*/ 8 w 47"/>
                <a:gd name="T19" fmla="*/ 4 h 12"/>
                <a:gd name="T20" fmla="*/ 4 w 47"/>
                <a:gd name="T21" fmla="*/ 6 h 12"/>
                <a:gd name="T22" fmla="*/ 8 w 47"/>
                <a:gd name="T23" fmla="*/ 8 h 12"/>
                <a:gd name="T24" fmla="*/ 16 w 47"/>
                <a:gd name="T25" fmla="*/ 6 h 12"/>
                <a:gd name="T26" fmla="*/ 22 w 47"/>
                <a:gd name="T27" fmla="*/ 6 h 12"/>
                <a:gd name="T28" fmla="*/ 22 w 47"/>
                <a:gd name="T29" fmla="*/ 6 h 12"/>
                <a:gd name="T30" fmla="*/ 16 w 47"/>
                <a:gd name="T31" fmla="*/ 6 h 12"/>
                <a:gd name="T32" fmla="*/ 10 w 47"/>
                <a:gd name="T33" fmla="*/ 8 h 12"/>
                <a:gd name="T34" fmla="*/ 10 w 47"/>
                <a:gd name="T35" fmla="*/ 8 h 12"/>
                <a:gd name="T36" fmla="*/ 6 w 47"/>
                <a:gd name="T37" fmla="*/ 10 h 12"/>
                <a:gd name="T38" fmla="*/ 4 w 47"/>
                <a:gd name="T39" fmla="*/ 8 h 12"/>
                <a:gd name="T40" fmla="*/ 2 w 47"/>
                <a:gd name="T41" fmla="*/ 6 h 12"/>
                <a:gd name="T42" fmla="*/ 0 w 47"/>
                <a:gd name="T43" fmla="*/ 8 h 12"/>
                <a:gd name="T44" fmla="*/ 0 w 47"/>
                <a:gd name="T45" fmla="*/ 12 h 12"/>
                <a:gd name="T46" fmla="*/ 2 w 47"/>
                <a:gd name="T47" fmla="*/ 12 h 12"/>
                <a:gd name="T48" fmla="*/ 10 w 47"/>
                <a:gd name="T49" fmla="*/ 12 h 12"/>
                <a:gd name="T50" fmla="*/ 16 w 47"/>
                <a:gd name="T51" fmla="*/ 12 h 12"/>
                <a:gd name="T52" fmla="*/ 16 w 47"/>
                <a:gd name="T53" fmla="*/ 8 h 12"/>
                <a:gd name="T54" fmla="*/ 20 w 47"/>
                <a:gd name="T55" fmla="*/ 8 h 12"/>
                <a:gd name="T56" fmla="*/ 24 w 47"/>
                <a:gd name="T57" fmla="*/ 6 h 12"/>
                <a:gd name="T58" fmla="*/ 26 w 47"/>
                <a:gd name="T59" fmla="*/ 4 h 12"/>
                <a:gd name="T60" fmla="*/ 29 w 47"/>
                <a:gd name="T61" fmla="*/ 4 h 12"/>
                <a:gd name="T62" fmla="*/ 31 w 47"/>
                <a:gd name="T63" fmla="*/ 6 h 12"/>
                <a:gd name="T64" fmla="*/ 33 w 47"/>
                <a:gd name="T65" fmla="*/ 6 h 12"/>
                <a:gd name="T66" fmla="*/ 39 w 47"/>
                <a:gd name="T67" fmla="*/ 10 h 12"/>
                <a:gd name="T68" fmla="*/ 45 w 47"/>
                <a:gd name="T69" fmla="*/ 8 h 12"/>
                <a:gd name="T70" fmla="*/ 47 w 4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" h="12">
                  <a:moveTo>
                    <a:pt x="47" y="6"/>
                  </a:moveTo>
                  <a:lnTo>
                    <a:pt x="45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39" y="4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3" y="2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6" y="8"/>
                  </a:lnTo>
                  <a:lnTo>
                    <a:pt x="8" y="8"/>
                  </a:lnTo>
                  <a:lnTo>
                    <a:pt x="10" y="6"/>
                  </a:lnTo>
                  <a:lnTo>
                    <a:pt x="16" y="6"/>
                  </a:lnTo>
                  <a:lnTo>
                    <a:pt x="20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10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20" y="8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5" y="8"/>
                  </a:lnTo>
                  <a:lnTo>
                    <a:pt x="39" y="10"/>
                  </a:lnTo>
                  <a:lnTo>
                    <a:pt x="41" y="10"/>
                  </a:lnTo>
                  <a:lnTo>
                    <a:pt x="45" y="8"/>
                  </a:lnTo>
                  <a:lnTo>
                    <a:pt x="47" y="8"/>
                  </a:lnTo>
                  <a:lnTo>
                    <a:pt x="47" y="6"/>
                  </a:lnTo>
                  <a:lnTo>
                    <a:pt x="47" y="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98" name="Freeform 171">
              <a:extLst>
                <a:ext uri="{FF2B5EF4-FFF2-40B4-BE49-F238E27FC236}">
                  <a16:creationId xmlns:a16="http://schemas.microsoft.com/office/drawing/2014/main" id="{C3030132-293E-054D-B040-18BEF9E88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5921" y="3482700"/>
              <a:ext cx="110520" cy="136665"/>
            </a:xfrm>
            <a:custGeom>
              <a:avLst/>
              <a:gdLst>
                <a:gd name="T0" fmla="*/ 93 w 93"/>
                <a:gd name="T1" fmla="*/ 53 h 115"/>
                <a:gd name="T2" fmla="*/ 87 w 93"/>
                <a:gd name="T3" fmla="*/ 49 h 115"/>
                <a:gd name="T4" fmla="*/ 85 w 93"/>
                <a:gd name="T5" fmla="*/ 41 h 115"/>
                <a:gd name="T6" fmla="*/ 87 w 93"/>
                <a:gd name="T7" fmla="*/ 33 h 115"/>
                <a:gd name="T8" fmla="*/ 91 w 93"/>
                <a:gd name="T9" fmla="*/ 31 h 115"/>
                <a:gd name="T10" fmla="*/ 91 w 93"/>
                <a:gd name="T11" fmla="*/ 25 h 115"/>
                <a:gd name="T12" fmla="*/ 87 w 93"/>
                <a:gd name="T13" fmla="*/ 18 h 115"/>
                <a:gd name="T14" fmla="*/ 74 w 93"/>
                <a:gd name="T15" fmla="*/ 20 h 115"/>
                <a:gd name="T16" fmla="*/ 72 w 93"/>
                <a:gd name="T17" fmla="*/ 16 h 115"/>
                <a:gd name="T18" fmla="*/ 74 w 93"/>
                <a:gd name="T19" fmla="*/ 4 h 115"/>
                <a:gd name="T20" fmla="*/ 66 w 93"/>
                <a:gd name="T21" fmla="*/ 2 h 115"/>
                <a:gd name="T22" fmla="*/ 56 w 93"/>
                <a:gd name="T23" fmla="*/ 2 h 115"/>
                <a:gd name="T24" fmla="*/ 44 w 93"/>
                <a:gd name="T25" fmla="*/ 2 h 115"/>
                <a:gd name="T26" fmla="*/ 41 w 93"/>
                <a:gd name="T27" fmla="*/ 14 h 115"/>
                <a:gd name="T28" fmla="*/ 35 w 93"/>
                <a:gd name="T29" fmla="*/ 25 h 115"/>
                <a:gd name="T30" fmla="*/ 21 w 93"/>
                <a:gd name="T31" fmla="*/ 25 h 115"/>
                <a:gd name="T32" fmla="*/ 17 w 93"/>
                <a:gd name="T33" fmla="*/ 25 h 115"/>
                <a:gd name="T34" fmla="*/ 15 w 93"/>
                <a:gd name="T35" fmla="*/ 25 h 115"/>
                <a:gd name="T36" fmla="*/ 15 w 93"/>
                <a:gd name="T37" fmla="*/ 33 h 115"/>
                <a:gd name="T38" fmla="*/ 11 w 93"/>
                <a:gd name="T39" fmla="*/ 33 h 115"/>
                <a:gd name="T40" fmla="*/ 19 w 93"/>
                <a:gd name="T41" fmla="*/ 39 h 115"/>
                <a:gd name="T42" fmla="*/ 13 w 93"/>
                <a:gd name="T43" fmla="*/ 41 h 115"/>
                <a:gd name="T44" fmla="*/ 11 w 93"/>
                <a:gd name="T45" fmla="*/ 37 h 115"/>
                <a:gd name="T46" fmla="*/ 7 w 93"/>
                <a:gd name="T47" fmla="*/ 53 h 115"/>
                <a:gd name="T48" fmla="*/ 2 w 93"/>
                <a:gd name="T49" fmla="*/ 55 h 115"/>
                <a:gd name="T50" fmla="*/ 2 w 93"/>
                <a:gd name="T51" fmla="*/ 62 h 115"/>
                <a:gd name="T52" fmla="*/ 9 w 93"/>
                <a:gd name="T53" fmla="*/ 68 h 115"/>
                <a:gd name="T54" fmla="*/ 11 w 93"/>
                <a:gd name="T55" fmla="*/ 72 h 115"/>
                <a:gd name="T56" fmla="*/ 11 w 93"/>
                <a:gd name="T57" fmla="*/ 74 h 115"/>
                <a:gd name="T58" fmla="*/ 7 w 93"/>
                <a:gd name="T59" fmla="*/ 72 h 115"/>
                <a:gd name="T60" fmla="*/ 13 w 93"/>
                <a:gd name="T61" fmla="*/ 78 h 115"/>
                <a:gd name="T62" fmla="*/ 11 w 93"/>
                <a:gd name="T63" fmla="*/ 80 h 115"/>
                <a:gd name="T64" fmla="*/ 15 w 93"/>
                <a:gd name="T65" fmla="*/ 86 h 115"/>
                <a:gd name="T66" fmla="*/ 21 w 93"/>
                <a:gd name="T67" fmla="*/ 90 h 115"/>
                <a:gd name="T68" fmla="*/ 17 w 93"/>
                <a:gd name="T69" fmla="*/ 90 h 115"/>
                <a:gd name="T70" fmla="*/ 35 w 93"/>
                <a:gd name="T71" fmla="*/ 109 h 115"/>
                <a:gd name="T72" fmla="*/ 41 w 93"/>
                <a:gd name="T73" fmla="*/ 111 h 115"/>
                <a:gd name="T74" fmla="*/ 48 w 93"/>
                <a:gd name="T75" fmla="*/ 111 h 115"/>
                <a:gd name="T76" fmla="*/ 50 w 93"/>
                <a:gd name="T77" fmla="*/ 109 h 115"/>
                <a:gd name="T78" fmla="*/ 52 w 93"/>
                <a:gd name="T79" fmla="*/ 105 h 115"/>
                <a:gd name="T80" fmla="*/ 48 w 93"/>
                <a:gd name="T81" fmla="*/ 99 h 115"/>
                <a:gd name="T82" fmla="*/ 48 w 93"/>
                <a:gd name="T83" fmla="*/ 96 h 115"/>
                <a:gd name="T84" fmla="*/ 46 w 93"/>
                <a:gd name="T85" fmla="*/ 86 h 115"/>
                <a:gd name="T86" fmla="*/ 52 w 93"/>
                <a:gd name="T87" fmla="*/ 86 h 115"/>
                <a:gd name="T88" fmla="*/ 60 w 93"/>
                <a:gd name="T89" fmla="*/ 84 h 115"/>
                <a:gd name="T90" fmla="*/ 60 w 93"/>
                <a:gd name="T91" fmla="*/ 80 h 115"/>
                <a:gd name="T92" fmla="*/ 64 w 93"/>
                <a:gd name="T93" fmla="*/ 78 h 115"/>
                <a:gd name="T94" fmla="*/ 72 w 93"/>
                <a:gd name="T95" fmla="*/ 86 h 115"/>
                <a:gd name="T96" fmla="*/ 80 w 93"/>
                <a:gd name="T97" fmla="*/ 82 h 115"/>
                <a:gd name="T98" fmla="*/ 83 w 93"/>
                <a:gd name="T99" fmla="*/ 88 h 115"/>
                <a:gd name="T100" fmla="*/ 89 w 93"/>
                <a:gd name="T101" fmla="*/ 86 h 115"/>
                <a:gd name="T102" fmla="*/ 89 w 93"/>
                <a:gd name="T103" fmla="*/ 82 h 115"/>
                <a:gd name="T104" fmla="*/ 93 w 93"/>
                <a:gd name="T105" fmla="*/ 74 h 115"/>
                <a:gd name="T106" fmla="*/ 93 w 93"/>
                <a:gd name="T107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3" h="115">
                  <a:moveTo>
                    <a:pt x="93" y="64"/>
                  </a:moveTo>
                  <a:lnTo>
                    <a:pt x="93" y="62"/>
                  </a:lnTo>
                  <a:lnTo>
                    <a:pt x="93" y="57"/>
                  </a:lnTo>
                  <a:lnTo>
                    <a:pt x="93" y="55"/>
                  </a:lnTo>
                  <a:lnTo>
                    <a:pt x="93" y="53"/>
                  </a:lnTo>
                  <a:lnTo>
                    <a:pt x="93" y="53"/>
                  </a:lnTo>
                  <a:lnTo>
                    <a:pt x="91" y="51"/>
                  </a:lnTo>
                  <a:lnTo>
                    <a:pt x="89" y="51"/>
                  </a:lnTo>
                  <a:lnTo>
                    <a:pt x="89" y="49"/>
                  </a:lnTo>
                  <a:lnTo>
                    <a:pt x="87" y="49"/>
                  </a:lnTo>
                  <a:lnTo>
                    <a:pt x="87" y="47"/>
                  </a:lnTo>
                  <a:lnTo>
                    <a:pt x="85" y="47"/>
                  </a:lnTo>
                  <a:lnTo>
                    <a:pt x="83" y="47"/>
                  </a:lnTo>
                  <a:lnTo>
                    <a:pt x="83" y="45"/>
                  </a:lnTo>
                  <a:lnTo>
                    <a:pt x="85" y="41"/>
                  </a:lnTo>
                  <a:lnTo>
                    <a:pt x="83" y="39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7" y="35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9" y="33"/>
                  </a:lnTo>
                  <a:lnTo>
                    <a:pt x="91" y="33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1" y="29"/>
                  </a:lnTo>
                  <a:lnTo>
                    <a:pt x="93" y="29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1" y="25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7" y="18"/>
                  </a:lnTo>
                  <a:lnTo>
                    <a:pt x="83" y="16"/>
                  </a:lnTo>
                  <a:lnTo>
                    <a:pt x="80" y="18"/>
                  </a:lnTo>
                  <a:lnTo>
                    <a:pt x="78" y="18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6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46" y="0"/>
                  </a:lnTo>
                  <a:lnTo>
                    <a:pt x="41" y="0"/>
                  </a:lnTo>
                  <a:lnTo>
                    <a:pt x="44" y="2"/>
                  </a:lnTo>
                  <a:lnTo>
                    <a:pt x="41" y="2"/>
                  </a:lnTo>
                  <a:lnTo>
                    <a:pt x="41" y="4"/>
                  </a:lnTo>
                  <a:lnTo>
                    <a:pt x="41" y="8"/>
                  </a:lnTo>
                  <a:lnTo>
                    <a:pt x="41" y="10"/>
                  </a:lnTo>
                  <a:lnTo>
                    <a:pt x="41" y="14"/>
                  </a:lnTo>
                  <a:lnTo>
                    <a:pt x="41" y="18"/>
                  </a:lnTo>
                  <a:lnTo>
                    <a:pt x="41" y="22"/>
                  </a:lnTo>
                  <a:lnTo>
                    <a:pt x="41" y="25"/>
                  </a:lnTo>
                  <a:lnTo>
                    <a:pt x="39" y="25"/>
                  </a:lnTo>
                  <a:lnTo>
                    <a:pt x="35" y="25"/>
                  </a:lnTo>
                  <a:lnTo>
                    <a:pt x="29" y="25"/>
                  </a:lnTo>
                  <a:lnTo>
                    <a:pt x="25" y="25"/>
                  </a:lnTo>
                  <a:lnTo>
                    <a:pt x="23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3" y="25"/>
                  </a:lnTo>
                  <a:lnTo>
                    <a:pt x="15" y="29"/>
                  </a:lnTo>
                  <a:lnTo>
                    <a:pt x="15" y="31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3" y="33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5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7" y="39"/>
                  </a:lnTo>
                  <a:lnTo>
                    <a:pt x="19" y="39"/>
                  </a:lnTo>
                  <a:lnTo>
                    <a:pt x="21" y="39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7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9" y="37"/>
                  </a:lnTo>
                  <a:lnTo>
                    <a:pt x="11" y="41"/>
                  </a:lnTo>
                  <a:lnTo>
                    <a:pt x="11" y="45"/>
                  </a:lnTo>
                  <a:lnTo>
                    <a:pt x="9" y="49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2" y="55"/>
                  </a:lnTo>
                  <a:lnTo>
                    <a:pt x="0" y="55"/>
                  </a:lnTo>
                  <a:lnTo>
                    <a:pt x="0" y="53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4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11" y="68"/>
                  </a:lnTo>
                  <a:lnTo>
                    <a:pt x="9" y="70"/>
                  </a:lnTo>
                  <a:lnTo>
                    <a:pt x="9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9" y="7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7" y="72"/>
                  </a:ln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1" y="76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80"/>
                  </a:lnTo>
                  <a:lnTo>
                    <a:pt x="11" y="78"/>
                  </a:lnTo>
                  <a:lnTo>
                    <a:pt x="9" y="78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3" y="82"/>
                  </a:lnTo>
                  <a:lnTo>
                    <a:pt x="13" y="84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5" y="88"/>
                  </a:lnTo>
                  <a:lnTo>
                    <a:pt x="17" y="88"/>
                  </a:lnTo>
                  <a:lnTo>
                    <a:pt x="19" y="88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17" y="90"/>
                  </a:lnTo>
                  <a:lnTo>
                    <a:pt x="21" y="94"/>
                  </a:lnTo>
                  <a:lnTo>
                    <a:pt x="27" y="99"/>
                  </a:lnTo>
                  <a:lnTo>
                    <a:pt x="29" y="103"/>
                  </a:lnTo>
                  <a:lnTo>
                    <a:pt x="31" y="105"/>
                  </a:lnTo>
                  <a:lnTo>
                    <a:pt x="35" y="109"/>
                  </a:lnTo>
                  <a:lnTo>
                    <a:pt x="35" y="111"/>
                  </a:lnTo>
                  <a:lnTo>
                    <a:pt x="37" y="113"/>
                  </a:lnTo>
                  <a:lnTo>
                    <a:pt x="39" y="115"/>
                  </a:lnTo>
                  <a:lnTo>
                    <a:pt x="39" y="113"/>
                  </a:lnTo>
                  <a:lnTo>
                    <a:pt x="41" y="111"/>
                  </a:lnTo>
                  <a:lnTo>
                    <a:pt x="41" y="111"/>
                  </a:lnTo>
                  <a:lnTo>
                    <a:pt x="46" y="107"/>
                  </a:lnTo>
                  <a:lnTo>
                    <a:pt x="46" y="109"/>
                  </a:lnTo>
                  <a:lnTo>
                    <a:pt x="48" y="111"/>
                  </a:lnTo>
                  <a:lnTo>
                    <a:pt x="48" y="111"/>
                  </a:lnTo>
                  <a:lnTo>
                    <a:pt x="50" y="111"/>
                  </a:lnTo>
                  <a:lnTo>
                    <a:pt x="50" y="111"/>
                  </a:lnTo>
                  <a:lnTo>
                    <a:pt x="52" y="111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5"/>
                  </a:lnTo>
                  <a:lnTo>
                    <a:pt x="52" y="105"/>
                  </a:lnTo>
                  <a:lnTo>
                    <a:pt x="52" y="103"/>
                  </a:lnTo>
                  <a:lnTo>
                    <a:pt x="50" y="103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48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6" y="92"/>
                  </a:lnTo>
                  <a:lnTo>
                    <a:pt x="46" y="90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4" y="86"/>
                  </a:lnTo>
                  <a:lnTo>
                    <a:pt x="54" y="88"/>
                  </a:lnTo>
                  <a:lnTo>
                    <a:pt x="60" y="86"/>
                  </a:lnTo>
                  <a:lnTo>
                    <a:pt x="60" y="84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2" y="76"/>
                  </a:lnTo>
                  <a:lnTo>
                    <a:pt x="64" y="76"/>
                  </a:lnTo>
                  <a:lnTo>
                    <a:pt x="64" y="78"/>
                  </a:lnTo>
                  <a:lnTo>
                    <a:pt x="66" y="78"/>
                  </a:lnTo>
                  <a:lnTo>
                    <a:pt x="66" y="80"/>
                  </a:lnTo>
                  <a:lnTo>
                    <a:pt x="68" y="82"/>
                  </a:lnTo>
                  <a:lnTo>
                    <a:pt x="68" y="86"/>
                  </a:lnTo>
                  <a:lnTo>
                    <a:pt x="72" y="86"/>
                  </a:lnTo>
                  <a:lnTo>
                    <a:pt x="74" y="88"/>
                  </a:lnTo>
                  <a:lnTo>
                    <a:pt x="76" y="86"/>
                  </a:lnTo>
                  <a:lnTo>
                    <a:pt x="78" y="84"/>
                  </a:lnTo>
                  <a:lnTo>
                    <a:pt x="80" y="84"/>
                  </a:lnTo>
                  <a:lnTo>
                    <a:pt x="80" y="82"/>
                  </a:lnTo>
                  <a:lnTo>
                    <a:pt x="83" y="82"/>
                  </a:lnTo>
                  <a:lnTo>
                    <a:pt x="83" y="84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8"/>
                  </a:lnTo>
                  <a:lnTo>
                    <a:pt x="83" y="88"/>
                  </a:lnTo>
                  <a:lnTo>
                    <a:pt x="85" y="88"/>
                  </a:lnTo>
                  <a:lnTo>
                    <a:pt x="87" y="88"/>
                  </a:lnTo>
                  <a:lnTo>
                    <a:pt x="87" y="88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9" y="82"/>
                  </a:lnTo>
                  <a:lnTo>
                    <a:pt x="89" y="82"/>
                  </a:lnTo>
                  <a:lnTo>
                    <a:pt x="89" y="80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3" y="74"/>
                  </a:lnTo>
                  <a:lnTo>
                    <a:pt x="93" y="74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0"/>
                  </a:lnTo>
                  <a:lnTo>
                    <a:pt x="93" y="66"/>
                  </a:lnTo>
                  <a:lnTo>
                    <a:pt x="93" y="6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99" name="Freeform 175">
              <a:extLst>
                <a:ext uri="{FF2B5EF4-FFF2-40B4-BE49-F238E27FC236}">
                  <a16:creationId xmlns:a16="http://schemas.microsoft.com/office/drawing/2014/main" id="{EC18A4F9-D1E2-6A4F-B3DB-0CE2506880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4179" y="2048316"/>
              <a:ext cx="171128" cy="197272"/>
            </a:xfrm>
            <a:custGeom>
              <a:avLst/>
              <a:gdLst>
                <a:gd name="T0" fmla="*/ 25 w 144"/>
                <a:gd name="T1" fmla="*/ 160 h 166"/>
                <a:gd name="T2" fmla="*/ 33 w 144"/>
                <a:gd name="T3" fmla="*/ 156 h 166"/>
                <a:gd name="T4" fmla="*/ 33 w 144"/>
                <a:gd name="T5" fmla="*/ 160 h 166"/>
                <a:gd name="T6" fmla="*/ 27 w 144"/>
                <a:gd name="T7" fmla="*/ 154 h 166"/>
                <a:gd name="T8" fmla="*/ 19 w 144"/>
                <a:gd name="T9" fmla="*/ 152 h 166"/>
                <a:gd name="T10" fmla="*/ 17 w 144"/>
                <a:gd name="T11" fmla="*/ 111 h 166"/>
                <a:gd name="T12" fmla="*/ 15 w 144"/>
                <a:gd name="T13" fmla="*/ 109 h 166"/>
                <a:gd name="T14" fmla="*/ 60 w 144"/>
                <a:gd name="T15" fmla="*/ 80 h 166"/>
                <a:gd name="T16" fmla="*/ 144 w 144"/>
                <a:gd name="T17" fmla="*/ 113 h 166"/>
                <a:gd name="T18" fmla="*/ 123 w 144"/>
                <a:gd name="T19" fmla="*/ 101 h 166"/>
                <a:gd name="T20" fmla="*/ 128 w 144"/>
                <a:gd name="T21" fmla="*/ 92 h 166"/>
                <a:gd name="T22" fmla="*/ 119 w 144"/>
                <a:gd name="T23" fmla="*/ 84 h 166"/>
                <a:gd name="T24" fmla="*/ 117 w 144"/>
                <a:gd name="T25" fmla="*/ 78 h 166"/>
                <a:gd name="T26" fmla="*/ 115 w 144"/>
                <a:gd name="T27" fmla="*/ 70 h 166"/>
                <a:gd name="T28" fmla="*/ 115 w 144"/>
                <a:gd name="T29" fmla="*/ 62 h 166"/>
                <a:gd name="T30" fmla="*/ 105 w 144"/>
                <a:gd name="T31" fmla="*/ 49 h 166"/>
                <a:gd name="T32" fmla="*/ 113 w 144"/>
                <a:gd name="T33" fmla="*/ 37 h 166"/>
                <a:gd name="T34" fmla="*/ 97 w 144"/>
                <a:gd name="T35" fmla="*/ 20 h 166"/>
                <a:gd name="T36" fmla="*/ 97 w 144"/>
                <a:gd name="T37" fmla="*/ 16 h 166"/>
                <a:gd name="T38" fmla="*/ 99 w 144"/>
                <a:gd name="T39" fmla="*/ 6 h 166"/>
                <a:gd name="T40" fmla="*/ 76 w 144"/>
                <a:gd name="T41" fmla="*/ 2 h 166"/>
                <a:gd name="T42" fmla="*/ 62 w 144"/>
                <a:gd name="T43" fmla="*/ 6 h 166"/>
                <a:gd name="T44" fmla="*/ 58 w 144"/>
                <a:gd name="T45" fmla="*/ 18 h 166"/>
                <a:gd name="T46" fmla="*/ 45 w 144"/>
                <a:gd name="T47" fmla="*/ 23 h 166"/>
                <a:gd name="T48" fmla="*/ 31 w 144"/>
                <a:gd name="T49" fmla="*/ 23 h 166"/>
                <a:gd name="T50" fmla="*/ 15 w 144"/>
                <a:gd name="T51" fmla="*/ 14 h 166"/>
                <a:gd name="T52" fmla="*/ 6 w 144"/>
                <a:gd name="T53" fmla="*/ 16 h 166"/>
                <a:gd name="T54" fmla="*/ 6 w 144"/>
                <a:gd name="T55" fmla="*/ 18 h 166"/>
                <a:gd name="T56" fmla="*/ 21 w 144"/>
                <a:gd name="T57" fmla="*/ 25 h 166"/>
                <a:gd name="T58" fmla="*/ 37 w 144"/>
                <a:gd name="T59" fmla="*/ 33 h 166"/>
                <a:gd name="T60" fmla="*/ 35 w 144"/>
                <a:gd name="T61" fmla="*/ 41 h 166"/>
                <a:gd name="T62" fmla="*/ 39 w 144"/>
                <a:gd name="T63" fmla="*/ 45 h 166"/>
                <a:gd name="T64" fmla="*/ 43 w 144"/>
                <a:gd name="T65" fmla="*/ 51 h 166"/>
                <a:gd name="T66" fmla="*/ 41 w 144"/>
                <a:gd name="T67" fmla="*/ 60 h 166"/>
                <a:gd name="T68" fmla="*/ 52 w 144"/>
                <a:gd name="T69" fmla="*/ 68 h 166"/>
                <a:gd name="T70" fmla="*/ 62 w 144"/>
                <a:gd name="T71" fmla="*/ 72 h 166"/>
                <a:gd name="T72" fmla="*/ 62 w 144"/>
                <a:gd name="T73" fmla="*/ 82 h 166"/>
                <a:gd name="T74" fmla="*/ 54 w 144"/>
                <a:gd name="T75" fmla="*/ 86 h 166"/>
                <a:gd name="T76" fmla="*/ 37 w 144"/>
                <a:gd name="T77" fmla="*/ 99 h 166"/>
                <a:gd name="T78" fmla="*/ 27 w 144"/>
                <a:gd name="T79" fmla="*/ 105 h 166"/>
                <a:gd name="T80" fmla="*/ 19 w 144"/>
                <a:gd name="T81" fmla="*/ 111 h 166"/>
                <a:gd name="T82" fmla="*/ 15 w 144"/>
                <a:gd name="T83" fmla="*/ 121 h 166"/>
                <a:gd name="T84" fmla="*/ 21 w 144"/>
                <a:gd name="T85" fmla="*/ 134 h 166"/>
                <a:gd name="T86" fmla="*/ 21 w 144"/>
                <a:gd name="T87" fmla="*/ 138 h 166"/>
                <a:gd name="T88" fmla="*/ 21 w 144"/>
                <a:gd name="T89" fmla="*/ 148 h 166"/>
                <a:gd name="T90" fmla="*/ 27 w 144"/>
                <a:gd name="T91" fmla="*/ 154 h 166"/>
                <a:gd name="T92" fmla="*/ 37 w 144"/>
                <a:gd name="T93" fmla="*/ 158 h 166"/>
                <a:gd name="T94" fmla="*/ 35 w 144"/>
                <a:gd name="T95" fmla="*/ 162 h 166"/>
                <a:gd name="T96" fmla="*/ 41 w 144"/>
                <a:gd name="T97" fmla="*/ 160 h 166"/>
                <a:gd name="T98" fmla="*/ 45 w 144"/>
                <a:gd name="T99" fmla="*/ 164 h 166"/>
                <a:gd name="T100" fmla="*/ 62 w 144"/>
                <a:gd name="T101" fmla="*/ 160 h 166"/>
                <a:gd name="T102" fmla="*/ 76 w 144"/>
                <a:gd name="T103" fmla="*/ 158 h 166"/>
                <a:gd name="T104" fmla="*/ 84 w 144"/>
                <a:gd name="T105" fmla="*/ 156 h 166"/>
                <a:gd name="T106" fmla="*/ 89 w 144"/>
                <a:gd name="T107" fmla="*/ 156 h 166"/>
                <a:gd name="T108" fmla="*/ 103 w 144"/>
                <a:gd name="T109" fmla="*/ 154 h 166"/>
                <a:gd name="T110" fmla="*/ 119 w 144"/>
                <a:gd name="T111" fmla="*/ 142 h 166"/>
                <a:gd name="T112" fmla="*/ 140 w 144"/>
                <a:gd name="T113" fmla="*/ 12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66">
                  <a:moveTo>
                    <a:pt x="23" y="160"/>
                  </a:moveTo>
                  <a:lnTo>
                    <a:pt x="23" y="160"/>
                  </a:lnTo>
                  <a:lnTo>
                    <a:pt x="23" y="160"/>
                  </a:lnTo>
                  <a:lnTo>
                    <a:pt x="23" y="160"/>
                  </a:lnTo>
                  <a:lnTo>
                    <a:pt x="25" y="160"/>
                  </a:lnTo>
                  <a:lnTo>
                    <a:pt x="25" y="160"/>
                  </a:lnTo>
                  <a:lnTo>
                    <a:pt x="25" y="160"/>
                  </a:lnTo>
                  <a:lnTo>
                    <a:pt x="23" y="160"/>
                  </a:lnTo>
                  <a:close/>
                  <a:moveTo>
                    <a:pt x="25" y="160"/>
                  </a:moveTo>
                  <a:lnTo>
                    <a:pt x="25" y="160"/>
                  </a:lnTo>
                  <a:lnTo>
                    <a:pt x="25" y="160"/>
                  </a:lnTo>
                  <a:lnTo>
                    <a:pt x="27" y="160"/>
                  </a:lnTo>
                  <a:lnTo>
                    <a:pt x="27" y="158"/>
                  </a:lnTo>
                  <a:lnTo>
                    <a:pt x="25" y="158"/>
                  </a:lnTo>
                  <a:lnTo>
                    <a:pt x="25" y="160"/>
                  </a:lnTo>
                  <a:close/>
                  <a:moveTo>
                    <a:pt x="33" y="158"/>
                  </a:moveTo>
                  <a:lnTo>
                    <a:pt x="33" y="156"/>
                  </a:lnTo>
                  <a:lnTo>
                    <a:pt x="33" y="156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29" y="158"/>
                  </a:lnTo>
                  <a:lnTo>
                    <a:pt x="29" y="158"/>
                  </a:lnTo>
                  <a:lnTo>
                    <a:pt x="31" y="158"/>
                  </a:lnTo>
                  <a:lnTo>
                    <a:pt x="31" y="158"/>
                  </a:lnTo>
                  <a:lnTo>
                    <a:pt x="31" y="158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58"/>
                  </a:lnTo>
                  <a:lnTo>
                    <a:pt x="33" y="158"/>
                  </a:lnTo>
                  <a:lnTo>
                    <a:pt x="33" y="158"/>
                  </a:lnTo>
                  <a:lnTo>
                    <a:pt x="33" y="158"/>
                  </a:lnTo>
                  <a:close/>
                  <a:moveTo>
                    <a:pt x="27" y="156"/>
                  </a:moveTo>
                  <a:lnTo>
                    <a:pt x="27" y="156"/>
                  </a:lnTo>
                  <a:lnTo>
                    <a:pt x="27" y="156"/>
                  </a:lnTo>
                  <a:lnTo>
                    <a:pt x="27" y="154"/>
                  </a:lnTo>
                  <a:lnTo>
                    <a:pt x="27" y="154"/>
                  </a:lnTo>
                  <a:lnTo>
                    <a:pt x="27" y="156"/>
                  </a:lnTo>
                  <a:lnTo>
                    <a:pt x="27" y="156"/>
                  </a:lnTo>
                  <a:lnTo>
                    <a:pt x="27" y="156"/>
                  </a:lnTo>
                  <a:lnTo>
                    <a:pt x="27" y="156"/>
                  </a:lnTo>
                  <a:lnTo>
                    <a:pt x="29" y="156"/>
                  </a:lnTo>
                  <a:lnTo>
                    <a:pt x="29" y="156"/>
                  </a:lnTo>
                  <a:lnTo>
                    <a:pt x="27" y="156"/>
                  </a:lnTo>
                  <a:close/>
                  <a:moveTo>
                    <a:pt x="19" y="152"/>
                  </a:moveTo>
                  <a:lnTo>
                    <a:pt x="19" y="152"/>
                  </a:lnTo>
                  <a:lnTo>
                    <a:pt x="19" y="152"/>
                  </a:lnTo>
                  <a:lnTo>
                    <a:pt x="19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21" y="154"/>
                  </a:lnTo>
                  <a:lnTo>
                    <a:pt x="21" y="154"/>
                  </a:lnTo>
                  <a:lnTo>
                    <a:pt x="19" y="152"/>
                  </a:lnTo>
                  <a:lnTo>
                    <a:pt x="19" y="152"/>
                  </a:lnTo>
                  <a:close/>
                  <a:moveTo>
                    <a:pt x="17" y="111"/>
                  </a:moveTo>
                  <a:lnTo>
                    <a:pt x="17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3" y="109"/>
                  </a:lnTo>
                  <a:lnTo>
                    <a:pt x="15" y="109"/>
                  </a:lnTo>
                  <a:lnTo>
                    <a:pt x="15" y="111"/>
                  </a:lnTo>
                  <a:lnTo>
                    <a:pt x="17" y="111"/>
                  </a:lnTo>
                  <a:close/>
                  <a:moveTo>
                    <a:pt x="58" y="80"/>
                  </a:moveTo>
                  <a:lnTo>
                    <a:pt x="58" y="80"/>
                  </a:lnTo>
                  <a:lnTo>
                    <a:pt x="60" y="80"/>
                  </a:lnTo>
                  <a:lnTo>
                    <a:pt x="58" y="80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6" y="80"/>
                  </a:lnTo>
                  <a:lnTo>
                    <a:pt x="58" y="80"/>
                  </a:lnTo>
                  <a:close/>
                  <a:moveTo>
                    <a:pt x="144" y="113"/>
                  </a:moveTo>
                  <a:lnTo>
                    <a:pt x="144" y="113"/>
                  </a:lnTo>
                  <a:lnTo>
                    <a:pt x="144" y="113"/>
                  </a:lnTo>
                  <a:lnTo>
                    <a:pt x="142" y="111"/>
                  </a:lnTo>
                  <a:lnTo>
                    <a:pt x="140" y="111"/>
                  </a:lnTo>
                  <a:lnTo>
                    <a:pt x="140" y="109"/>
                  </a:lnTo>
                  <a:lnTo>
                    <a:pt x="138" y="107"/>
                  </a:lnTo>
                  <a:lnTo>
                    <a:pt x="132" y="107"/>
                  </a:lnTo>
                  <a:lnTo>
                    <a:pt x="130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6" y="99"/>
                  </a:lnTo>
                  <a:lnTo>
                    <a:pt x="128" y="97"/>
                  </a:lnTo>
                  <a:lnTo>
                    <a:pt x="130" y="97"/>
                  </a:lnTo>
                  <a:lnTo>
                    <a:pt x="130" y="95"/>
                  </a:lnTo>
                  <a:lnTo>
                    <a:pt x="130" y="95"/>
                  </a:lnTo>
                  <a:lnTo>
                    <a:pt x="130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1" y="88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1" y="84"/>
                  </a:lnTo>
                  <a:lnTo>
                    <a:pt x="119" y="84"/>
                  </a:lnTo>
                  <a:lnTo>
                    <a:pt x="117" y="82"/>
                  </a:lnTo>
                  <a:lnTo>
                    <a:pt x="117" y="82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7" y="78"/>
                  </a:lnTo>
                  <a:lnTo>
                    <a:pt x="117" y="78"/>
                  </a:lnTo>
                  <a:lnTo>
                    <a:pt x="117" y="78"/>
                  </a:lnTo>
                  <a:lnTo>
                    <a:pt x="117" y="78"/>
                  </a:lnTo>
                  <a:lnTo>
                    <a:pt x="117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5" y="72"/>
                  </a:lnTo>
                  <a:lnTo>
                    <a:pt x="117" y="72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7" y="70"/>
                  </a:lnTo>
                  <a:lnTo>
                    <a:pt x="119" y="70"/>
                  </a:lnTo>
                  <a:lnTo>
                    <a:pt x="119" y="70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7" y="64"/>
                  </a:lnTo>
                  <a:lnTo>
                    <a:pt x="117" y="62"/>
                  </a:lnTo>
                  <a:lnTo>
                    <a:pt x="115" y="62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7"/>
                  </a:lnTo>
                  <a:lnTo>
                    <a:pt x="111" y="57"/>
                  </a:lnTo>
                  <a:lnTo>
                    <a:pt x="111" y="55"/>
                  </a:lnTo>
                  <a:lnTo>
                    <a:pt x="109" y="53"/>
                  </a:lnTo>
                  <a:lnTo>
                    <a:pt x="107" y="53"/>
                  </a:lnTo>
                  <a:lnTo>
                    <a:pt x="105" y="51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107" y="47"/>
                  </a:lnTo>
                  <a:lnTo>
                    <a:pt x="107" y="45"/>
                  </a:lnTo>
                  <a:lnTo>
                    <a:pt x="109" y="43"/>
                  </a:lnTo>
                  <a:lnTo>
                    <a:pt x="111" y="41"/>
                  </a:lnTo>
                  <a:lnTo>
                    <a:pt x="113" y="39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1" y="37"/>
                  </a:lnTo>
                  <a:lnTo>
                    <a:pt x="107" y="33"/>
                  </a:lnTo>
                  <a:lnTo>
                    <a:pt x="105" y="31"/>
                  </a:lnTo>
                  <a:lnTo>
                    <a:pt x="101" y="31"/>
                  </a:lnTo>
                  <a:lnTo>
                    <a:pt x="97" y="29"/>
                  </a:lnTo>
                  <a:lnTo>
                    <a:pt x="95" y="27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5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5" y="18"/>
                  </a:lnTo>
                  <a:lnTo>
                    <a:pt x="95" y="16"/>
                  </a:lnTo>
                  <a:lnTo>
                    <a:pt x="97" y="16"/>
                  </a:lnTo>
                  <a:lnTo>
                    <a:pt x="99" y="16"/>
                  </a:lnTo>
                  <a:lnTo>
                    <a:pt x="97" y="16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9" y="12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99" y="6"/>
                  </a:lnTo>
                  <a:lnTo>
                    <a:pt x="95" y="6"/>
                  </a:lnTo>
                  <a:lnTo>
                    <a:pt x="91" y="4"/>
                  </a:lnTo>
                  <a:lnTo>
                    <a:pt x="89" y="4"/>
                  </a:lnTo>
                  <a:lnTo>
                    <a:pt x="84" y="2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4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6" y="18"/>
                  </a:lnTo>
                  <a:lnTo>
                    <a:pt x="56" y="20"/>
                  </a:lnTo>
                  <a:lnTo>
                    <a:pt x="54" y="20"/>
                  </a:lnTo>
                  <a:lnTo>
                    <a:pt x="54" y="23"/>
                  </a:lnTo>
                  <a:lnTo>
                    <a:pt x="52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45" y="23"/>
                  </a:lnTo>
                  <a:lnTo>
                    <a:pt x="43" y="20"/>
                  </a:lnTo>
                  <a:lnTo>
                    <a:pt x="41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7" y="20"/>
                  </a:lnTo>
                  <a:lnTo>
                    <a:pt x="37" y="20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1" y="23"/>
                  </a:lnTo>
                  <a:lnTo>
                    <a:pt x="29" y="23"/>
                  </a:lnTo>
                  <a:lnTo>
                    <a:pt x="27" y="20"/>
                  </a:lnTo>
                  <a:lnTo>
                    <a:pt x="23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5" y="14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20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13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21" y="25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9" y="27"/>
                  </a:lnTo>
                  <a:lnTo>
                    <a:pt x="31" y="29"/>
                  </a:lnTo>
                  <a:lnTo>
                    <a:pt x="31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7"/>
                  </a:lnTo>
                  <a:lnTo>
                    <a:pt x="37" y="39"/>
                  </a:lnTo>
                  <a:lnTo>
                    <a:pt x="37" y="39"/>
                  </a:lnTo>
                  <a:lnTo>
                    <a:pt x="37" y="39"/>
                  </a:lnTo>
                  <a:lnTo>
                    <a:pt x="35" y="39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7" y="41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7"/>
                  </a:lnTo>
                  <a:lnTo>
                    <a:pt x="41" y="47"/>
                  </a:lnTo>
                  <a:lnTo>
                    <a:pt x="41" y="49"/>
                  </a:lnTo>
                  <a:lnTo>
                    <a:pt x="43" y="49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53"/>
                  </a:lnTo>
                  <a:lnTo>
                    <a:pt x="43" y="53"/>
                  </a:lnTo>
                  <a:lnTo>
                    <a:pt x="43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2"/>
                  </a:lnTo>
                  <a:lnTo>
                    <a:pt x="43" y="62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50" y="68"/>
                  </a:lnTo>
                  <a:lnTo>
                    <a:pt x="52" y="68"/>
                  </a:lnTo>
                  <a:lnTo>
                    <a:pt x="52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2" y="68"/>
                  </a:lnTo>
                  <a:lnTo>
                    <a:pt x="54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2" y="74"/>
                  </a:lnTo>
                  <a:lnTo>
                    <a:pt x="62" y="76"/>
                  </a:lnTo>
                  <a:lnTo>
                    <a:pt x="62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58" y="82"/>
                  </a:lnTo>
                  <a:lnTo>
                    <a:pt x="56" y="82"/>
                  </a:lnTo>
                  <a:lnTo>
                    <a:pt x="56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6"/>
                  </a:lnTo>
                  <a:lnTo>
                    <a:pt x="52" y="88"/>
                  </a:lnTo>
                  <a:lnTo>
                    <a:pt x="47" y="90"/>
                  </a:lnTo>
                  <a:lnTo>
                    <a:pt x="47" y="92"/>
                  </a:lnTo>
                  <a:lnTo>
                    <a:pt x="45" y="92"/>
                  </a:lnTo>
                  <a:lnTo>
                    <a:pt x="43" y="95"/>
                  </a:lnTo>
                  <a:lnTo>
                    <a:pt x="43" y="97"/>
                  </a:lnTo>
                  <a:lnTo>
                    <a:pt x="41" y="97"/>
                  </a:lnTo>
                  <a:lnTo>
                    <a:pt x="39" y="99"/>
                  </a:lnTo>
                  <a:lnTo>
                    <a:pt x="37" y="99"/>
                  </a:lnTo>
                  <a:lnTo>
                    <a:pt x="37" y="99"/>
                  </a:lnTo>
                  <a:lnTo>
                    <a:pt x="33" y="101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7" y="105"/>
                  </a:lnTo>
                  <a:lnTo>
                    <a:pt x="27" y="105"/>
                  </a:lnTo>
                  <a:lnTo>
                    <a:pt x="27" y="107"/>
                  </a:lnTo>
                  <a:lnTo>
                    <a:pt x="29" y="107"/>
                  </a:lnTo>
                  <a:lnTo>
                    <a:pt x="29" y="107"/>
                  </a:lnTo>
                  <a:lnTo>
                    <a:pt x="27" y="109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19" y="109"/>
                  </a:lnTo>
                  <a:lnTo>
                    <a:pt x="19" y="111"/>
                  </a:lnTo>
                  <a:lnTo>
                    <a:pt x="19" y="111"/>
                  </a:lnTo>
                  <a:lnTo>
                    <a:pt x="21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5" y="117"/>
                  </a:lnTo>
                  <a:lnTo>
                    <a:pt x="15" y="117"/>
                  </a:lnTo>
                  <a:lnTo>
                    <a:pt x="15" y="117"/>
                  </a:lnTo>
                  <a:lnTo>
                    <a:pt x="15" y="119"/>
                  </a:lnTo>
                  <a:lnTo>
                    <a:pt x="15" y="121"/>
                  </a:lnTo>
                  <a:lnTo>
                    <a:pt x="15" y="123"/>
                  </a:lnTo>
                  <a:lnTo>
                    <a:pt x="17" y="123"/>
                  </a:lnTo>
                  <a:lnTo>
                    <a:pt x="17" y="125"/>
                  </a:lnTo>
                  <a:lnTo>
                    <a:pt x="19" y="125"/>
                  </a:lnTo>
                  <a:lnTo>
                    <a:pt x="17" y="127"/>
                  </a:lnTo>
                  <a:lnTo>
                    <a:pt x="17" y="129"/>
                  </a:lnTo>
                  <a:lnTo>
                    <a:pt x="19" y="132"/>
                  </a:lnTo>
                  <a:lnTo>
                    <a:pt x="21" y="132"/>
                  </a:lnTo>
                  <a:lnTo>
                    <a:pt x="21" y="134"/>
                  </a:lnTo>
                  <a:lnTo>
                    <a:pt x="21" y="136"/>
                  </a:lnTo>
                  <a:lnTo>
                    <a:pt x="23" y="136"/>
                  </a:lnTo>
                  <a:lnTo>
                    <a:pt x="21" y="136"/>
                  </a:lnTo>
                  <a:lnTo>
                    <a:pt x="21" y="136"/>
                  </a:lnTo>
                  <a:lnTo>
                    <a:pt x="21" y="136"/>
                  </a:lnTo>
                  <a:lnTo>
                    <a:pt x="21" y="136"/>
                  </a:lnTo>
                  <a:lnTo>
                    <a:pt x="21" y="138"/>
                  </a:lnTo>
                  <a:lnTo>
                    <a:pt x="21" y="138"/>
                  </a:lnTo>
                  <a:lnTo>
                    <a:pt x="21" y="138"/>
                  </a:lnTo>
                  <a:lnTo>
                    <a:pt x="21" y="138"/>
                  </a:lnTo>
                  <a:lnTo>
                    <a:pt x="21" y="138"/>
                  </a:lnTo>
                  <a:lnTo>
                    <a:pt x="21" y="140"/>
                  </a:lnTo>
                  <a:lnTo>
                    <a:pt x="21" y="142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6"/>
                  </a:lnTo>
                  <a:lnTo>
                    <a:pt x="21" y="148"/>
                  </a:lnTo>
                  <a:lnTo>
                    <a:pt x="21" y="150"/>
                  </a:lnTo>
                  <a:lnTo>
                    <a:pt x="21" y="150"/>
                  </a:lnTo>
                  <a:lnTo>
                    <a:pt x="21" y="152"/>
                  </a:lnTo>
                  <a:lnTo>
                    <a:pt x="21" y="152"/>
                  </a:lnTo>
                  <a:lnTo>
                    <a:pt x="23" y="152"/>
                  </a:lnTo>
                  <a:lnTo>
                    <a:pt x="23" y="154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7" y="154"/>
                  </a:lnTo>
                  <a:lnTo>
                    <a:pt x="27" y="154"/>
                  </a:lnTo>
                  <a:lnTo>
                    <a:pt x="31" y="156"/>
                  </a:lnTo>
                  <a:lnTo>
                    <a:pt x="35" y="156"/>
                  </a:lnTo>
                  <a:lnTo>
                    <a:pt x="35" y="156"/>
                  </a:lnTo>
                  <a:lnTo>
                    <a:pt x="35" y="156"/>
                  </a:lnTo>
                  <a:lnTo>
                    <a:pt x="35" y="156"/>
                  </a:lnTo>
                  <a:lnTo>
                    <a:pt x="35" y="158"/>
                  </a:lnTo>
                  <a:lnTo>
                    <a:pt x="35" y="158"/>
                  </a:lnTo>
                  <a:lnTo>
                    <a:pt x="37" y="158"/>
                  </a:lnTo>
                  <a:lnTo>
                    <a:pt x="37" y="158"/>
                  </a:lnTo>
                  <a:lnTo>
                    <a:pt x="35" y="158"/>
                  </a:lnTo>
                  <a:lnTo>
                    <a:pt x="35" y="158"/>
                  </a:lnTo>
                  <a:lnTo>
                    <a:pt x="35" y="158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5" y="162"/>
                  </a:lnTo>
                  <a:lnTo>
                    <a:pt x="35" y="162"/>
                  </a:lnTo>
                  <a:lnTo>
                    <a:pt x="37" y="162"/>
                  </a:lnTo>
                  <a:lnTo>
                    <a:pt x="37" y="162"/>
                  </a:lnTo>
                  <a:lnTo>
                    <a:pt x="39" y="162"/>
                  </a:lnTo>
                  <a:lnTo>
                    <a:pt x="39" y="160"/>
                  </a:lnTo>
                  <a:lnTo>
                    <a:pt x="39" y="160"/>
                  </a:lnTo>
                  <a:lnTo>
                    <a:pt x="39" y="160"/>
                  </a:lnTo>
                  <a:lnTo>
                    <a:pt x="39" y="158"/>
                  </a:lnTo>
                  <a:lnTo>
                    <a:pt x="41" y="158"/>
                  </a:lnTo>
                  <a:lnTo>
                    <a:pt x="41" y="160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5" y="162"/>
                  </a:lnTo>
                  <a:lnTo>
                    <a:pt x="45" y="162"/>
                  </a:lnTo>
                  <a:lnTo>
                    <a:pt x="43" y="164"/>
                  </a:lnTo>
                  <a:lnTo>
                    <a:pt x="41" y="164"/>
                  </a:lnTo>
                  <a:lnTo>
                    <a:pt x="41" y="166"/>
                  </a:lnTo>
                  <a:lnTo>
                    <a:pt x="43" y="166"/>
                  </a:lnTo>
                  <a:lnTo>
                    <a:pt x="45" y="164"/>
                  </a:lnTo>
                  <a:lnTo>
                    <a:pt x="45" y="164"/>
                  </a:lnTo>
                  <a:lnTo>
                    <a:pt x="47" y="162"/>
                  </a:lnTo>
                  <a:lnTo>
                    <a:pt x="50" y="162"/>
                  </a:lnTo>
                  <a:lnTo>
                    <a:pt x="52" y="162"/>
                  </a:lnTo>
                  <a:lnTo>
                    <a:pt x="56" y="162"/>
                  </a:lnTo>
                  <a:lnTo>
                    <a:pt x="60" y="162"/>
                  </a:lnTo>
                  <a:lnTo>
                    <a:pt x="60" y="162"/>
                  </a:lnTo>
                  <a:lnTo>
                    <a:pt x="62" y="162"/>
                  </a:lnTo>
                  <a:lnTo>
                    <a:pt x="62" y="160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60"/>
                  </a:lnTo>
                  <a:lnTo>
                    <a:pt x="70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6" y="156"/>
                  </a:lnTo>
                  <a:lnTo>
                    <a:pt x="76" y="158"/>
                  </a:lnTo>
                  <a:lnTo>
                    <a:pt x="76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6"/>
                  </a:lnTo>
                  <a:lnTo>
                    <a:pt x="80" y="156"/>
                  </a:lnTo>
                  <a:lnTo>
                    <a:pt x="80" y="156"/>
                  </a:lnTo>
                  <a:lnTo>
                    <a:pt x="80" y="154"/>
                  </a:lnTo>
                  <a:lnTo>
                    <a:pt x="80" y="154"/>
                  </a:lnTo>
                  <a:lnTo>
                    <a:pt x="82" y="156"/>
                  </a:lnTo>
                  <a:lnTo>
                    <a:pt x="84" y="156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2"/>
                  </a:lnTo>
                  <a:lnTo>
                    <a:pt x="87" y="152"/>
                  </a:lnTo>
                  <a:lnTo>
                    <a:pt x="87" y="152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6"/>
                  </a:lnTo>
                  <a:lnTo>
                    <a:pt x="89" y="156"/>
                  </a:lnTo>
                  <a:lnTo>
                    <a:pt x="89" y="154"/>
                  </a:lnTo>
                  <a:lnTo>
                    <a:pt x="93" y="154"/>
                  </a:lnTo>
                  <a:lnTo>
                    <a:pt x="93" y="154"/>
                  </a:lnTo>
                  <a:lnTo>
                    <a:pt x="95" y="154"/>
                  </a:lnTo>
                  <a:lnTo>
                    <a:pt x="97" y="154"/>
                  </a:lnTo>
                  <a:lnTo>
                    <a:pt x="99" y="154"/>
                  </a:lnTo>
                  <a:lnTo>
                    <a:pt x="99" y="154"/>
                  </a:lnTo>
                  <a:lnTo>
                    <a:pt x="101" y="154"/>
                  </a:lnTo>
                  <a:lnTo>
                    <a:pt x="103" y="154"/>
                  </a:lnTo>
                  <a:lnTo>
                    <a:pt x="103" y="154"/>
                  </a:lnTo>
                  <a:lnTo>
                    <a:pt x="107" y="150"/>
                  </a:lnTo>
                  <a:lnTo>
                    <a:pt x="109" y="148"/>
                  </a:lnTo>
                  <a:lnTo>
                    <a:pt x="111" y="148"/>
                  </a:lnTo>
                  <a:lnTo>
                    <a:pt x="111" y="146"/>
                  </a:lnTo>
                  <a:lnTo>
                    <a:pt x="113" y="146"/>
                  </a:lnTo>
                  <a:lnTo>
                    <a:pt x="113" y="144"/>
                  </a:lnTo>
                  <a:lnTo>
                    <a:pt x="117" y="144"/>
                  </a:lnTo>
                  <a:lnTo>
                    <a:pt x="119" y="142"/>
                  </a:lnTo>
                  <a:lnTo>
                    <a:pt x="123" y="138"/>
                  </a:lnTo>
                  <a:lnTo>
                    <a:pt x="123" y="138"/>
                  </a:lnTo>
                  <a:lnTo>
                    <a:pt x="126" y="138"/>
                  </a:lnTo>
                  <a:lnTo>
                    <a:pt x="128" y="134"/>
                  </a:lnTo>
                  <a:lnTo>
                    <a:pt x="128" y="134"/>
                  </a:lnTo>
                  <a:lnTo>
                    <a:pt x="132" y="129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40" y="123"/>
                  </a:lnTo>
                  <a:lnTo>
                    <a:pt x="142" y="121"/>
                  </a:lnTo>
                  <a:lnTo>
                    <a:pt x="142" y="119"/>
                  </a:lnTo>
                  <a:lnTo>
                    <a:pt x="144" y="117"/>
                  </a:lnTo>
                  <a:lnTo>
                    <a:pt x="144" y="117"/>
                  </a:lnTo>
                  <a:lnTo>
                    <a:pt x="144" y="115"/>
                  </a:lnTo>
                  <a:lnTo>
                    <a:pt x="144" y="11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0" name="Freeform 177">
              <a:extLst>
                <a:ext uri="{FF2B5EF4-FFF2-40B4-BE49-F238E27FC236}">
                  <a16:creationId xmlns:a16="http://schemas.microsoft.com/office/drawing/2014/main" id="{CF9BAF18-0CC9-A24C-9C6E-B8CA441913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1809" y="2194488"/>
              <a:ext cx="15449" cy="20203"/>
            </a:xfrm>
            <a:custGeom>
              <a:avLst/>
              <a:gdLst>
                <a:gd name="T0" fmla="*/ 9 w 13"/>
                <a:gd name="T1" fmla="*/ 15 h 17"/>
                <a:gd name="T2" fmla="*/ 9 w 13"/>
                <a:gd name="T3" fmla="*/ 15 h 17"/>
                <a:gd name="T4" fmla="*/ 9 w 13"/>
                <a:gd name="T5" fmla="*/ 13 h 17"/>
                <a:gd name="T6" fmla="*/ 6 w 13"/>
                <a:gd name="T7" fmla="*/ 13 h 17"/>
                <a:gd name="T8" fmla="*/ 6 w 13"/>
                <a:gd name="T9" fmla="*/ 13 h 17"/>
                <a:gd name="T10" fmla="*/ 6 w 13"/>
                <a:gd name="T11" fmla="*/ 13 h 17"/>
                <a:gd name="T12" fmla="*/ 4 w 13"/>
                <a:gd name="T13" fmla="*/ 13 h 17"/>
                <a:gd name="T14" fmla="*/ 4 w 13"/>
                <a:gd name="T15" fmla="*/ 13 h 17"/>
                <a:gd name="T16" fmla="*/ 6 w 13"/>
                <a:gd name="T17" fmla="*/ 15 h 17"/>
                <a:gd name="T18" fmla="*/ 6 w 13"/>
                <a:gd name="T19" fmla="*/ 15 h 17"/>
                <a:gd name="T20" fmla="*/ 9 w 13"/>
                <a:gd name="T21" fmla="*/ 17 h 17"/>
                <a:gd name="T22" fmla="*/ 9 w 13"/>
                <a:gd name="T23" fmla="*/ 17 h 17"/>
                <a:gd name="T24" fmla="*/ 9 w 13"/>
                <a:gd name="T25" fmla="*/ 15 h 17"/>
                <a:gd name="T26" fmla="*/ 9 w 13"/>
                <a:gd name="T27" fmla="*/ 15 h 17"/>
                <a:gd name="T28" fmla="*/ 9 w 13"/>
                <a:gd name="T29" fmla="*/ 9 h 17"/>
                <a:gd name="T30" fmla="*/ 6 w 13"/>
                <a:gd name="T31" fmla="*/ 9 h 17"/>
                <a:gd name="T32" fmla="*/ 6 w 13"/>
                <a:gd name="T33" fmla="*/ 9 h 17"/>
                <a:gd name="T34" fmla="*/ 6 w 13"/>
                <a:gd name="T35" fmla="*/ 9 h 17"/>
                <a:gd name="T36" fmla="*/ 6 w 13"/>
                <a:gd name="T37" fmla="*/ 9 h 17"/>
                <a:gd name="T38" fmla="*/ 9 w 13"/>
                <a:gd name="T39" fmla="*/ 9 h 17"/>
                <a:gd name="T40" fmla="*/ 9 w 13"/>
                <a:gd name="T41" fmla="*/ 11 h 17"/>
                <a:gd name="T42" fmla="*/ 9 w 13"/>
                <a:gd name="T43" fmla="*/ 11 h 17"/>
                <a:gd name="T44" fmla="*/ 11 w 13"/>
                <a:gd name="T45" fmla="*/ 9 h 17"/>
                <a:gd name="T46" fmla="*/ 11 w 13"/>
                <a:gd name="T47" fmla="*/ 9 h 17"/>
                <a:gd name="T48" fmla="*/ 9 w 13"/>
                <a:gd name="T49" fmla="*/ 9 h 17"/>
                <a:gd name="T50" fmla="*/ 9 w 13"/>
                <a:gd name="T51" fmla="*/ 9 h 17"/>
                <a:gd name="T52" fmla="*/ 2 w 13"/>
                <a:gd name="T53" fmla="*/ 4 h 17"/>
                <a:gd name="T54" fmla="*/ 2 w 13"/>
                <a:gd name="T55" fmla="*/ 4 h 17"/>
                <a:gd name="T56" fmla="*/ 2 w 13"/>
                <a:gd name="T57" fmla="*/ 4 h 17"/>
                <a:gd name="T58" fmla="*/ 0 w 13"/>
                <a:gd name="T59" fmla="*/ 4 h 17"/>
                <a:gd name="T60" fmla="*/ 0 w 13"/>
                <a:gd name="T61" fmla="*/ 4 h 17"/>
                <a:gd name="T62" fmla="*/ 2 w 13"/>
                <a:gd name="T63" fmla="*/ 4 h 17"/>
                <a:gd name="T64" fmla="*/ 2 w 13"/>
                <a:gd name="T65" fmla="*/ 6 h 17"/>
                <a:gd name="T66" fmla="*/ 4 w 13"/>
                <a:gd name="T67" fmla="*/ 4 h 17"/>
                <a:gd name="T68" fmla="*/ 4 w 13"/>
                <a:gd name="T69" fmla="*/ 4 h 17"/>
                <a:gd name="T70" fmla="*/ 4 w 13"/>
                <a:gd name="T71" fmla="*/ 4 h 17"/>
                <a:gd name="T72" fmla="*/ 2 w 13"/>
                <a:gd name="T73" fmla="*/ 4 h 17"/>
                <a:gd name="T74" fmla="*/ 6 w 13"/>
                <a:gd name="T75" fmla="*/ 0 h 17"/>
                <a:gd name="T76" fmla="*/ 4 w 13"/>
                <a:gd name="T77" fmla="*/ 2 h 17"/>
                <a:gd name="T78" fmla="*/ 6 w 13"/>
                <a:gd name="T79" fmla="*/ 4 h 17"/>
                <a:gd name="T80" fmla="*/ 9 w 13"/>
                <a:gd name="T81" fmla="*/ 6 h 17"/>
                <a:gd name="T82" fmla="*/ 9 w 13"/>
                <a:gd name="T83" fmla="*/ 6 h 17"/>
                <a:gd name="T84" fmla="*/ 9 w 13"/>
                <a:gd name="T85" fmla="*/ 6 h 17"/>
                <a:gd name="T86" fmla="*/ 9 w 13"/>
                <a:gd name="T87" fmla="*/ 6 h 17"/>
                <a:gd name="T88" fmla="*/ 9 w 13"/>
                <a:gd name="T89" fmla="*/ 4 h 17"/>
                <a:gd name="T90" fmla="*/ 9 w 13"/>
                <a:gd name="T91" fmla="*/ 4 h 17"/>
                <a:gd name="T92" fmla="*/ 9 w 13"/>
                <a:gd name="T93" fmla="*/ 4 h 17"/>
                <a:gd name="T94" fmla="*/ 9 w 13"/>
                <a:gd name="T95" fmla="*/ 4 h 17"/>
                <a:gd name="T96" fmla="*/ 9 w 13"/>
                <a:gd name="T97" fmla="*/ 4 h 17"/>
                <a:gd name="T98" fmla="*/ 9 w 13"/>
                <a:gd name="T99" fmla="*/ 4 h 17"/>
                <a:gd name="T100" fmla="*/ 11 w 13"/>
                <a:gd name="T101" fmla="*/ 4 h 17"/>
                <a:gd name="T102" fmla="*/ 11 w 13"/>
                <a:gd name="T103" fmla="*/ 2 h 17"/>
                <a:gd name="T104" fmla="*/ 9 w 13"/>
                <a:gd name="T105" fmla="*/ 2 h 17"/>
                <a:gd name="T106" fmla="*/ 6 w 13"/>
                <a:gd name="T107" fmla="*/ 0 h 17"/>
                <a:gd name="T108" fmla="*/ 13 w 13"/>
                <a:gd name="T109" fmla="*/ 2 h 17"/>
                <a:gd name="T110" fmla="*/ 13 w 13"/>
                <a:gd name="T111" fmla="*/ 0 h 17"/>
                <a:gd name="T112" fmla="*/ 13 w 13"/>
                <a:gd name="T113" fmla="*/ 2 h 17"/>
                <a:gd name="T114" fmla="*/ 11 w 13"/>
                <a:gd name="T115" fmla="*/ 2 h 17"/>
                <a:gd name="T116" fmla="*/ 13 w 13"/>
                <a:gd name="T117" fmla="*/ 2 h 17"/>
                <a:gd name="T118" fmla="*/ 13 w 13"/>
                <a:gd name="T119" fmla="*/ 2 h 17"/>
                <a:gd name="T120" fmla="*/ 13 w 13"/>
                <a:gd name="T121" fmla="*/ 2 h 17"/>
                <a:gd name="T122" fmla="*/ 13 w 13"/>
                <a:gd name="T123" fmla="*/ 2 h 17"/>
                <a:gd name="T124" fmla="*/ 13 w 13"/>
                <a:gd name="T12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7">
                  <a:moveTo>
                    <a:pt x="9" y="15"/>
                  </a:moveTo>
                  <a:lnTo>
                    <a:pt x="9" y="15"/>
                  </a:lnTo>
                  <a:lnTo>
                    <a:pt x="9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9" y="9"/>
                  </a:move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9" y="9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9" y="9"/>
                  </a:lnTo>
                  <a:lnTo>
                    <a:pt x="9" y="9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close/>
                  <a:moveTo>
                    <a:pt x="6" y="0"/>
                  </a:moveTo>
                  <a:lnTo>
                    <a:pt x="4" y="2"/>
                  </a:lnTo>
                  <a:lnTo>
                    <a:pt x="6" y="4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9" y="2"/>
                  </a:lnTo>
                  <a:lnTo>
                    <a:pt x="6" y="0"/>
                  </a:lnTo>
                  <a:close/>
                  <a:moveTo>
                    <a:pt x="13" y="2"/>
                  </a:moveTo>
                  <a:lnTo>
                    <a:pt x="13" y="0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1" name="Freeform 179">
              <a:extLst>
                <a:ext uri="{FF2B5EF4-FFF2-40B4-BE49-F238E27FC236}">
                  <a16:creationId xmlns:a16="http://schemas.microsoft.com/office/drawing/2014/main" id="{18C5BA04-DA53-EE43-AC4F-3FB88EE04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2947" y="3210559"/>
              <a:ext cx="287590" cy="248373"/>
            </a:xfrm>
            <a:custGeom>
              <a:avLst/>
              <a:gdLst>
                <a:gd name="T0" fmla="*/ 207 w 242"/>
                <a:gd name="T1" fmla="*/ 119 h 209"/>
                <a:gd name="T2" fmla="*/ 180 w 242"/>
                <a:gd name="T3" fmla="*/ 111 h 209"/>
                <a:gd name="T4" fmla="*/ 170 w 242"/>
                <a:gd name="T5" fmla="*/ 102 h 209"/>
                <a:gd name="T6" fmla="*/ 162 w 242"/>
                <a:gd name="T7" fmla="*/ 92 h 209"/>
                <a:gd name="T8" fmla="*/ 158 w 242"/>
                <a:gd name="T9" fmla="*/ 84 h 209"/>
                <a:gd name="T10" fmla="*/ 154 w 242"/>
                <a:gd name="T11" fmla="*/ 78 h 209"/>
                <a:gd name="T12" fmla="*/ 158 w 242"/>
                <a:gd name="T13" fmla="*/ 72 h 209"/>
                <a:gd name="T14" fmla="*/ 151 w 242"/>
                <a:gd name="T15" fmla="*/ 69 h 209"/>
                <a:gd name="T16" fmla="*/ 143 w 242"/>
                <a:gd name="T17" fmla="*/ 72 h 209"/>
                <a:gd name="T18" fmla="*/ 139 w 242"/>
                <a:gd name="T19" fmla="*/ 61 h 209"/>
                <a:gd name="T20" fmla="*/ 145 w 242"/>
                <a:gd name="T21" fmla="*/ 51 h 209"/>
                <a:gd name="T22" fmla="*/ 145 w 242"/>
                <a:gd name="T23" fmla="*/ 39 h 209"/>
                <a:gd name="T24" fmla="*/ 135 w 242"/>
                <a:gd name="T25" fmla="*/ 28 h 209"/>
                <a:gd name="T26" fmla="*/ 121 w 242"/>
                <a:gd name="T27" fmla="*/ 14 h 209"/>
                <a:gd name="T28" fmla="*/ 110 w 242"/>
                <a:gd name="T29" fmla="*/ 8 h 209"/>
                <a:gd name="T30" fmla="*/ 102 w 242"/>
                <a:gd name="T31" fmla="*/ 6 h 209"/>
                <a:gd name="T32" fmla="*/ 96 w 242"/>
                <a:gd name="T33" fmla="*/ 6 h 209"/>
                <a:gd name="T34" fmla="*/ 86 w 242"/>
                <a:gd name="T35" fmla="*/ 8 h 209"/>
                <a:gd name="T36" fmla="*/ 80 w 242"/>
                <a:gd name="T37" fmla="*/ 4 h 209"/>
                <a:gd name="T38" fmla="*/ 73 w 242"/>
                <a:gd name="T39" fmla="*/ 4 h 209"/>
                <a:gd name="T40" fmla="*/ 69 w 242"/>
                <a:gd name="T41" fmla="*/ 14 h 209"/>
                <a:gd name="T42" fmla="*/ 63 w 242"/>
                <a:gd name="T43" fmla="*/ 10 h 209"/>
                <a:gd name="T44" fmla="*/ 55 w 242"/>
                <a:gd name="T45" fmla="*/ 10 h 209"/>
                <a:gd name="T46" fmla="*/ 51 w 242"/>
                <a:gd name="T47" fmla="*/ 22 h 209"/>
                <a:gd name="T48" fmla="*/ 49 w 242"/>
                <a:gd name="T49" fmla="*/ 32 h 209"/>
                <a:gd name="T50" fmla="*/ 45 w 242"/>
                <a:gd name="T51" fmla="*/ 41 h 209"/>
                <a:gd name="T52" fmla="*/ 36 w 242"/>
                <a:gd name="T53" fmla="*/ 47 h 209"/>
                <a:gd name="T54" fmla="*/ 30 w 242"/>
                <a:gd name="T55" fmla="*/ 59 h 209"/>
                <a:gd name="T56" fmla="*/ 30 w 242"/>
                <a:gd name="T57" fmla="*/ 74 h 209"/>
                <a:gd name="T58" fmla="*/ 24 w 242"/>
                <a:gd name="T59" fmla="*/ 74 h 209"/>
                <a:gd name="T60" fmla="*/ 18 w 242"/>
                <a:gd name="T61" fmla="*/ 80 h 209"/>
                <a:gd name="T62" fmla="*/ 18 w 242"/>
                <a:gd name="T63" fmla="*/ 92 h 209"/>
                <a:gd name="T64" fmla="*/ 16 w 242"/>
                <a:gd name="T65" fmla="*/ 104 h 209"/>
                <a:gd name="T66" fmla="*/ 16 w 242"/>
                <a:gd name="T67" fmla="*/ 117 h 209"/>
                <a:gd name="T68" fmla="*/ 8 w 242"/>
                <a:gd name="T69" fmla="*/ 119 h 209"/>
                <a:gd name="T70" fmla="*/ 0 w 242"/>
                <a:gd name="T71" fmla="*/ 125 h 209"/>
                <a:gd name="T72" fmla="*/ 4 w 242"/>
                <a:gd name="T73" fmla="*/ 131 h 209"/>
                <a:gd name="T74" fmla="*/ 14 w 242"/>
                <a:gd name="T75" fmla="*/ 135 h 209"/>
                <a:gd name="T76" fmla="*/ 18 w 242"/>
                <a:gd name="T77" fmla="*/ 144 h 209"/>
                <a:gd name="T78" fmla="*/ 26 w 242"/>
                <a:gd name="T79" fmla="*/ 152 h 209"/>
                <a:gd name="T80" fmla="*/ 32 w 242"/>
                <a:gd name="T81" fmla="*/ 166 h 209"/>
                <a:gd name="T82" fmla="*/ 36 w 242"/>
                <a:gd name="T83" fmla="*/ 172 h 209"/>
                <a:gd name="T84" fmla="*/ 39 w 242"/>
                <a:gd name="T85" fmla="*/ 174 h 209"/>
                <a:gd name="T86" fmla="*/ 45 w 242"/>
                <a:gd name="T87" fmla="*/ 178 h 209"/>
                <a:gd name="T88" fmla="*/ 45 w 242"/>
                <a:gd name="T89" fmla="*/ 187 h 209"/>
                <a:gd name="T90" fmla="*/ 53 w 242"/>
                <a:gd name="T91" fmla="*/ 191 h 209"/>
                <a:gd name="T92" fmla="*/ 67 w 242"/>
                <a:gd name="T93" fmla="*/ 195 h 209"/>
                <a:gd name="T94" fmla="*/ 82 w 242"/>
                <a:gd name="T95" fmla="*/ 205 h 209"/>
                <a:gd name="T96" fmla="*/ 96 w 242"/>
                <a:gd name="T97" fmla="*/ 209 h 209"/>
                <a:gd name="T98" fmla="*/ 108 w 242"/>
                <a:gd name="T99" fmla="*/ 207 h 209"/>
                <a:gd name="T100" fmla="*/ 121 w 242"/>
                <a:gd name="T101" fmla="*/ 197 h 209"/>
                <a:gd name="T102" fmla="*/ 131 w 242"/>
                <a:gd name="T103" fmla="*/ 201 h 209"/>
                <a:gd name="T104" fmla="*/ 141 w 242"/>
                <a:gd name="T105" fmla="*/ 201 h 209"/>
                <a:gd name="T106" fmla="*/ 151 w 242"/>
                <a:gd name="T107" fmla="*/ 195 h 209"/>
                <a:gd name="T108" fmla="*/ 162 w 242"/>
                <a:gd name="T109" fmla="*/ 189 h 209"/>
                <a:gd name="T110" fmla="*/ 174 w 242"/>
                <a:gd name="T111" fmla="*/ 183 h 209"/>
                <a:gd name="T112" fmla="*/ 188 w 242"/>
                <a:gd name="T113" fmla="*/ 183 h 209"/>
                <a:gd name="T114" fmla="*/ 203 w 242"/>
                <a:gd name="T115" fmla="*/ 168 h 209"/>
                <a:gd name="T116" fmla="*/ 225 w 242"/>
                <a:gd name="T117" fmla="*/ 144 h 209"/>
                <a:gd name="T118" fmla="*/ 225 w 242"/>
                <a:gd name="T119" fmla="*/ 12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2" h="209">
                  <a:moveTo>
                    <a:pt x="225" y="127"/>
                  </a:moveTo>
                  <a:lnTo>
                    <a:pt x="223" y="125"/>
                  </a:lnTo>
                  <a:lnTo>
                    <a:pt x="219" y="125"/>
                  </a:lnTo>
                  <a:lnTo>
                    <a:pt x="213" y="123"/>
                  </a:lnTo>
                  <a:lnTo>
                    <a:pt x="207" y="119"/>
                  </a:lnTo>
                  <a:lnTo>
                    <a:pt x="201" y="117"/>
                  </a:lnTo>
                  <a:lnTo>
                    <a:pt x="197" y="115"/>
                  </a:lnTo>
                  <a:lnTo>
                    <a:pt x="190" y="113"/>
                  </a:lnTo>
                  <a:lnTo>
                    <a:pt x="186" y="113"/>
                  </a:lnTo>
                  <a:lnTo>
                    <a:pt x="180" y="111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74" y="104"/>
                  </a:lnTo>
                  <a:lnTo>
                    <a:pt x="170" y="102"/>
                  </a:lnTo>
                  <a:lnTo>
                    <a:pt x="170" y="102"/>
                  </a:lnTo>
                  <a:lnTo>
                    <a:pt x="168" y="100"/>
                  </a:lnTo>
                  <a:lnTo>
                    <a:pt x="166" y="98"/>
                  </a:lnTo>
                  <a:lnTo>
                    <a:pt x="164" y="96"/>
                  </a:lnTo>
                  <a:lnTo>
                    <a:pt x="164" y="94"/>
                  </a:lnTo>
                  <a:lnTo>
                    <a:pt x="162" y="92"/>
                  </a:lnTo>
                  <a:lnTo>
                    <a:pt x="162" y="90"/>
                  </a:lnTo>
                  <a:lnTo>
                    <a:pt x="160" y="90"/>
                  </a:lnTo>
                  <a:lnTo>
                    <a:pt x="158" y="86"/>
                  </a:lnTo>
                  <a:lnTo>
                    <a:pt x="158" y="86"/>
                  </a:lnTo>
                  <a:lnTo>
                    <a:pt x="158" y="84"/>
                  </a:lnTo>
                  <a:lnTo>
                    <a:pt x="156" y="82"/>
                  </a:lnTo>
                  <a:lnTo>
                    <a:pt x="156" y="80"/>
                  </a:lnTo>
                  <a:lnTo>
                    <a:pt x="154" y="80"/>
                  </a:lnTo>
                  <a:lnTo>
                    <a:pt x="154" y="78"/>
                  </a:lnTo>
                  <a:lnTo>
                    <a:pt x="154" y="78"/>
                  </a:lnTo>
                  <a:lnTo>
                    <a:pt x="156" y="76"/>
                  </a:lnTo>
                  <a:lnTo>
                    <a:pt x="156" y="74"/>
                  </a:lnTo>
                  <a:lnTo>
                    <a:pt x="158" y="74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6" y="72"/>
                  </a:lnTo>
                  <a:lnTo>
                    <a:pt x="156" y="69"/>
                  </a:lnTo>
                  <a:lnTo>
                    <a:pt x="154" y="69"/>
                  </a:lnTo>
                  <a:lnTo>
                    <a:pt x="151" y="69"/>
                  </a:lnTo>
                  <a:lnTo>
                    <a:pt x="151" y="69"/>
                  </a:lnTo>
                  <a:lnTo>
                    <a:pt x="147" y="72"/>
                  </a:lnTo>
                  <a:lnTo>
                    <a:pt x="145" y="72"/>
                  </a:lnTo>
                  <a:lnTo>
                    <a:pt x="143" y="72"/>
                  </a:lnTo>
                  <a:lnTo>
                    <a:pt x="143" y="72"/>
                  </a:lnTo>
                  <a:lnTo>
                    <a:pt x="141" y="72"/>
                  </a:lnTo>
                  <a:lnTo>
                    <a:pt x="139" y="72"/>
                  </a:lnTo>
                  <a:lnTo>
                    <a:pt x="139" y="67"/>
                  </a:lnTo>
                  <a:lnTo>
                    <a:pt x="139" y="63"/>
                  </a:lnTo>
                  <a:lnTo>
                    <a:pt x="139" y="61"/>
                  </a:lnTo>
                  <a:lnTo>
                    <a:pt x="139" y="59"/>
                  </a:lnTo>
                  <a:lnTo>
                    <a:pt x="139" y="57"/>
                  </a:lnTo>
                  <a:lnTo>
                    <a:pt x="141" y="55"/>
                  </a:lnTo>
                  <a:lnTo>
                    <a:pt x="143" y="55"/>
                  </a:lnTo>
                  <a:lnTo>
                    <a:pt x="145" y="51"/>
                  </a:lnTo>
                  <a:lnTo>
                    <a:pt x="147" y="47"/>
                  </a:lnTo>
                  <a:lnTo>
                    <a:pt x="149" y="45"/>
                  </a:lnTo>
                  <a:lnTo>
                    <a:pt x="147" y="43"/>
                  </a:lnTo>
                  <a:lnTo>
                    <a:pt x="145" y="41"/>
                  </a:lnTo>
                  <a:lnTo>
                    <a:pt x="145" y="39"/>
                  </a:lnTo>
                  <a:lnTo>
                    <a:pt x="143" y="39"/>
                  </a:lnTo>
                  <a:lnTo>
                    <a:pt x="141" y="37"/>
                  </a:lnTo>
                  <a:lnTo>
                    <a:pt x="139" y="35"/>
                  </a:lnTo>
                  <a:lnTo>
                    <a:pt x="139" y="30"/>
                  </a:lnTo>
                  <a:lnTo>
                    <a:pt x="135" y="28"/>
                  </a:lnTo>
                  <a:lnTo>
                    <a:pt x="131" y="26"/>
                  </a:lnTo>
                  <a:lnTo>
                    <a:pt x="127" y="20"/>
                  </a:lnTo>
                  <a:lnTo>
                    <a:pt x="125" y="16"/>
                  </a:lnTo>
                  <a:lnTo>
                    <a:pt x="123" y="14"/>
                  </a:lnTo>
                  <a:lnTo>
                    <a:pt x="121" y="14"/>
                  </a:lnTo>
                  <a:lnTo>
                    <a:pt x="119" y="12"/>
                  </a:lnTo>
                  <a:lnTo>
                    <a:pt x="115" y="10"/>
                  </a:lnTo>
                  <a:lnTo>
                    <a:pt x="112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08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0" y="6"/>
                  </a:lnTo>
                  <a:lnTo>
                    <a:pt x="98" y="8"/>
                  </a:lnTo>
                  <a:lnTo>
                    <a:pt x="96" y="8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2" y="6"/>
                  </a:lnTo>
                  <a:lnTo>
                    <a:pt x="90" y="8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8" y="4"/>
                  </a:lnTo>
                  <a:lnTo>
                    <a:pt x="78" y="2"/>
                  </a:lnTo>
                  <a:lnTo>
                    <a:pt x="76" y="2"/>
                  </a:lnTo>
                  <a:lnTo>
                    <a:pt x="76" y="0"/>
                  </a:lnTo>
                  <a:lnTo>
                    <a:pt x="73" y="4"/>
                  </a:lnTo>
                  <a:lnTo>
                    <a:pt x="71" y="8"/>
                  </a:lnTo>
                  <a:lnTo>
                    <a:pt x="71" y="10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7" y="10"/>
                  </a:lnTo>
                  <a:lnTo>
                    <a:pt x="65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10"/>
                  </a:lnTo>
                  <a:lnTo>
                    <a:pt x="61" y="10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57" y="10"/>
                  </a:lnTo>
                  <a:lnTo>
                    <a:pt x="55" y="10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1" y="22"/>
                  </a:lnTo>
                  <a:lnTo>
                    <a:pt x="51" y="24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49" y="30"/>
                  </a:lnTo>
                  <a:lnTo>
                    <a:pt x="49" y="32"/>
                  </a:lnTo>
                  <a:lnTo>
                    <a:pt x="49" y="37"/>
                  </a:lnTo>
                  <a:lnTo>
                    <a:pt x="49" y="39"/>
                  </a:lnTo>
                  <a:lnTo>
                    <a:pt x="47" y="39"/>
                  </a:lnTo>
                  <a:lnTo>
                    <a:pt x="47" y="39"/>
                  </a:lnTo>
                  <a:lnTo>
                    <a:pt x="45" y="41"/>
                  </a:lnTo>
                  <a:lnTo>
                    <a:pt x="43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39" y="43"/>
                  </a:lnTo>
                  <a:lnTo>
                    <a:pt x="36" y="47"/>
                  </a:lnTo>
                  <a:lnTo>
                    <a:pt x="36" y="51"/>
                  </a:lnTo>
                  <a:lnTo>
                    <a:pt x="34" y="53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30" y="59"/>
                  </a:lnTo>
                  <a:lnTo>
                    <a:pt x="30" y="63"/>
                  </a:lnTo>
                  <a:lnTo>
                    <a:pt x="30" y="65"/>
                  </a:lnTo>
                  <a:lnTo>
                    <a:pt x="30" y="67"/>
                  </a:lnTo>
                  <a:lnTo>
                    <a:pt x="28" y="72"/>
                  </a:lnTo>
                  <a:lnTo>
                    <a:pt x="30" y="74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4" y="76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2" y="74"/>
                  </a:lnTo>
                  <a:lnTo>
                    <a:pt x="22" y="76"/>
                  </a:lnTo>
                  <a:lnTo>
                    <a:pt x="20" y="78"/>
                  </a:lnTo>
                  <a:lnTo>
                    <a:pt x="18" y="80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8"/>
                  </a:lnTo>
                  <a:lnTo>
                    <a:pt x="18" y="90"/>
                  </a:lnTo>
                  <a:lnTo>
                    <a:pt x="18" y="92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4"/>
                  </a:lnTo>
                  <a:lnTo>
                    <a:pt x="16" y="106"/>
                  </a:lnTo>
                  <a:lnTo>
                    <a:pt x="16" y="113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4" y="119"/>
                  </a:lnTo>
                  <a:lnTo>
                    <a:pt x="12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2" y="121"/>
                  </a:lnTo>
                  <a:lnTo>
                    <a:pt x="0" y="125"/>
                  </a:lnTo>
                  <a:lnTo>
                    <a:pt x="0" y="127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4" y="131"/>
                  </a:lnTo>
                  <a:lnTo>
                    <a:pt x="6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10" y="133"/>
                  </a:lnTo>
                  <a:lnTo>
                    <a:pt x="14" y="135"/>
                  </a:lnTo>
                  <a:lnTo>
                    <a:pt x="14" y="137"/>
                  </a:lnTo>
                  <a:lnTo>
                    <a:pt x="16" y="137"/>
                  </a:lnTo>
                  <a:lnTo>
                    <a:pt x="16" y="139"/>
                  </a:lnTo>
                  <a:lnTo>
                    <a:pt x="16" y="141"/>
                  </a:lnTo>
                  <a:lnTo>
                    <a:pt x="18" y="144"/>
                  </a:lnTo>
                  <a:lnTo>
                    <a:pt x="20" y="146"/>
                  </a:lnTo>
                  <a:lnTo>
                    <a:pt x="24" y="146"/>
                  </a:lnTo>
                  <a:lnTo>
                    <a:pt x="24" y="148"/>
                  </a:lnTo>
                  <a:lnTo>
                    <a:pt x="26" y="150"/>
                  </a:lnTo>
                  <a:lnTo>
                    <a:pt x="26" y="152"/>
                  </a:lnTo>
                  <a:lnTo>
                    <a:pt x="28" y="152"/>
                  </a:lnTo>
                  <a:lnTo>
                    <a:pt x="28" y="158"/>
                  </a:lnTo>
                  <a:lnTo>
                    <a:pt x="30" y="160"/>
                  </a:lnTo>
                  <a:lnTo>
                    <a:pt x="30" y="162"/>
                  </a:lnTo>
                  <a:lnTo>
                    <a:pt x="32" y="166"/>
                  </a:lnTo>
                  <a:lnTo>
                    <a:pt x="32" y="166"/>
                  </a:lnTo>
                  <a:lnTo>
                    <a:pt x="32" y="168"/>
                  </a:lnTo>
                  <a:lnTo>
                    <a:pt x="34" y="170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9" y="174"/>
                  </a:lnTo>
                  <a:lnTo>
                    <a:pt x="39" y="174"/>
                  </a:lnTo>
                  <a:lnTo>
                    <a:pt x="39" y="174"/>
                  </a:lnTo>
                  <a:lnTo>
                    <a:pt x="45" y="174"/>
                  </a:lnTo>
                  <a:lnTo>
                    <a:pt x="45" y="176"/>
                  </a:lnTo>
                  <a:lnTo>
                    <a:pt x="45" y="178"/>
                  </a:lnTo>
                  <a:lnTo>
                    <a:pt x="45" y="178"/>
                  </a:lnTo>
                  <a:lnTo>
                    <a:pt x="45" y="178"/>
                  </a:lnTo>
                  <a:lnTo>
                    <a:pt x="45" y="183"/>
                  </a:lnTo>
                  <a:lnTo>
                    <a:pt x="45" y="185"/>
                  </a:lnTo>
                  <a:lnTo>
                    <a:pt x="45" y="187"/>
                  </a:lnTo>
                  <a:lnTo>
                    <a:pt x="47" y="189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53" y="191"/>
                  </a:lnTo>
                  <a:lnTo>
                    <a:pt x="57" y="191"/>
                  </a:lnTo>
                  <a:lnTo>
                    <a:pt x="61" y="191"/>
                  </a:lnTo>
                  <a:lnTo>
                    <a:pt x="61" y="193"/>
                  </a:lnTo>
                  <a:lnTo>
                    <a:pt x="63" y="193"/>
                  </a:lnTo>
                  <a:lnTo>
                    <a:pt x="67" y="195"/>
                  </a:lnTo>
                  <a:lnTo>
                    <a:pt x="71" y="197"/>
                  </a:lnTo>
                  <a:lnTo>
                    <a:pt x="73" y="199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82" y="205"/>
                  </a:lnTo>
                  <a:lnTo>
                    <a:pt x="84" y="207"/>
                  </a:lnTo>
                  <a:lnTo>
                    <a:pt x="88" y="207"/>
                  </a:lnTo>
                  <a:lnTo>
                    <a:pt x="90" y="207"/>
                  </a:lnTo>
                  <a:lnTo>
                    <a:pt x="92" y="207"/>
                  </a:lnTo>
                  <a:lnTo>
                    <a:pt x="96" y="209"/>
                  </a:lnTo>
                  <a:lnTo>
                    <a:pt x="98" y="209"/>
                  </a:lnTo>
                  <a:lnTo>
                    <a:pt x="100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8" y="207"/>
                  </a:lnTo>
                  <a:lnTo>
                    <a:pt x="110" y="205"/>
                  </a:lnTo>
                  <a:lnTo>
                    <a:pt x="110" y="203"/>
                  </a:lnTo>
                  <a:lnTo>
                    <a:pt x="112" y="201"/>
                  </a:lnTo>
                  <a:lnTo>
                    <a:pt x="119" y="199"/>
                  </a:lnTo>
                  <a:lnTo>
                    <a:pt x="121" y="197"/>
                  </a:lnTo>
                  <a:lnTo>
                    <a:pt x="125" y="195"/>
                  </a:lnTo>
                  <a:lnTo>
                    <a:pt x="127" y="197"/>
                  </a:lnTo>
                  <a:lnTo>
                    <a:pt x="129" y="199"/>
                  </a:lnTo>
                  <a:lnTo>
                    <a:pt x="131" y="199"/>
                  </a:lnTo>
                  <a:lnTo>
                    <a:pt x="131" y="201"/>
                  </a:lnTo>
                  <a:lnTo>
                    <a:pt x="133" y="201"/>
                  </a:lnTo>
                  <a:lnTo>
                    <a:pt x="135" y="201"/>
                  </a:lnTo>
                  <a:lnTo>
                    <a:pt x="135" y="201"/>
                  </a:lnTo>
                  <a:lnTo>
                    <a:pt x="137" y="201"/>
                  </a:lnTo>
                  <a:lnTo>
                    <a:pt x="141" y="201"/>
                  </a:lnTo>
                  <a:lnTo>
                    <a:pt x="143" y="201"/>
                  </a:lnTo>
                  <a:lnTo>
                    <a:pt x="143" y="199"/>
                  </a:lnTo>
                  <a:lnTo>
                    <a:pt x="145" y="197"/>
                  </a:lnTo>
                  <a:lnTo>
                    <a:pt x="149" y="197"/>
                  </a:lnTo>
                  <a:lnTo>
                    <a:pt x="151" y="195"/>
                  </a:lnTo>
                  <a:lnTo>
                    <a:pt x="158" y="195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4" y="189"/>
                  </a:lnTo>
                  <a:lnTo>
                    <a:pt x="166" y="187"/>
                  </a:lnTo>
                  <a:lnTo>
                    <a:pt x="170" y="185"/>
                  </a:lnTo>
                  <a:lnTo>
                    <a:pt x="170" y="185"/>
                  </a:lnTo>
                  <a:lnTo>
                    <a:pt x="174" y="183"/>
                  </a:lnTo>
                  <a:lnTo>
                    <a:pt x="176" y="183"/>
                  </a:lnTo>
                  <a:lnTo>
                    <a:pt x="178" y="183"/>
                  </a:lnTo>
                  <a:lnTo>
                    <a:pt x="178" y="183"/>
                  </a:lnTo>
                  <a:lnTo>
                    <a:pt x="184" y="183"/>
                  </a:lnTo>
                  <a:lnTo>
                    <a:pt x="188" y="183"/>
                  </a:lnTo>
                  <a:lnTo>
                    <a:pt x="193" y="183"/>
                  </a:lnTo>
                  <a:lnTo>
                    <a:pt x="193" y="183"/>
                  </a:lnTo>
                  <a:lnTo>
                    <a:pt x="197" y="178"/>
                  </a:lnTo>
                  <a:lnTo>
                    <a:pt x="201" y="172"/>
                  </a:lnTo>
                  <a:lnTo>
                    <a:pt x="203" y="168"/>
                  </a:lnTo>
                  <a:lnTo>
                    <a:pt x="209" y="162"/>
                  </a:lnTo>
                  <a:lnTo>
                    <a:pt x="213" y="158"/>
                  </a:lnTo>
                  <a:lnTo>
                    <a:pt x="217" y="154"/>
                  </a:lnTo>
                  <a:lnTo>
                    <a:pt x="219" y="150"/>
                  </a:lnTo>
                  <a:lnTo>
                    <a:pt x="225" y="144"/>
                  </a:lnTo>
                  <a:lnTo>
                    <a:pt x="227" y="141"/>
                  </a:lnTo>
                  <a:lnTo>
                    <a:pt x="232" y="135"/>
                  </a:lnTo>
                  <a:lnTo>
                    <a:pt x="238" y="131"/>
                  </a:lnTo>
                  <a:lnTo>
                    <a:pt x="242" y="127"/>
                  </a:lnTo>
                  <a:lnTo>
                    <a:pt x="225" y="12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2" name="Freeform 180">
              <a:extLst>
                <a:ext uri="{FF2B5EF4-FFF2-40B4-BE49-F238E27FC236}">
                  <a16:creationId xmlns:a16="http://schemas.microsoft.com/office/drawing/2014/main" id="{F5D9DD69-CB93-DF48-AA6E-13DE6ED27A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8642" y="2249154"/>
              <a:ext cx="95071" cy="43970"/>
            </a:xfrm>
            <a:custGeom>
              <a:avLst/>
              <a:gdLst>
                <a:gd name="T0" fmla="*/ 10 w 80"/>
                <a:gd name="T1" fmla="*/ 18 h 37"/>
                <a:gd name="T2" fmla="*/ 6 w 80"/>
                <a:gd name="T3" fmla="*/ 18 h 37"/>
                <a:gd name="T4" fmla="*/ 4 w 80"/>
                <a:gd name="T5" fmla="*/ 20 h 37"/>
                <a:gd name="T6" fmla="*/ 2 w 80"/>
                <a:gd name="T7" fmla="*/ 20 h 37"/>
                <a:gd name="T8" fmla="*/ 0 w 80"/>
                <a:gd name="T9" fmla="*/ 22 h 37"/>
                <a:gd name="T10" fmla="*/ 4 w 80"/>
                <a:gd name="T11" fmla="*/ 24 h 37"/>
                <a:gd name="T12" fmla="*/ 2 w 80"/>
                <a:gd name="T13" fmla="*/ 28 h 37"/>
                <a:gd name="T14" fmla="*/ 6 w 80"/>
                <a:gd name="T15" fmla="*/ 24 h 37"/>
                <a:gd name="T16" fmla="*/ 12 w 80"/>
                <a:gd name="T17" fmla="*/ 22 h 37"/>
                <a:gd name="T18" fmla="*/ 16 w 80"/>
                <a:gd name="T19" fmla="*/ 20 h 37"/>
                <a:gd name="T20" fmla="*/ 14 w 80"/>
                <a:gd name="T21" fmla="*/ 18 h 37"/>
                <a:gd name="T22" fmla="*/ 18 w 80"/>
                <a:gd name="T23" fmla="*/ 18 h 37"/>
                <a:gd name="T24" fmla="*/ 16 w 80"/>
                <a:gd name="T25" fmla="*/ 16 h 37"/>
                <a:gd name="T26" fmla="*/ 8 w 80"/>
                <a:gd name="T27" fmla="*/ 16 h 37"/>
                <a:gd name="T28" fmla="*/ 12 w 80"/>
                <a:gd name="T29" fmla="*/ 14 h 37"/>
                <a:gd name="T30" fmla="*/ 14 w 80"/>
                <a:gd name="T31" fmla="*/ 12 h 37"/>
                <a:gd name="T32" fmla="*/ 10 w 80"/>
                <a:gd name="T33" fmla="*/ 10 h 37"/>
                <a:gd name="T34" fmla="*/ 8 w 80"/>
                <a:gd name="T35" fmla="*/ 12 h 37"/>
                <a:gd name="T36" fmla="*/ 80 w 80"/>
                <a:gd name="T37" fmla="*/ 4 h 37"/>
                <a:gd name="T38" fmla="*/ 78 w 80"/>
                <a:gd name="T39" fmla="*/ 4 h 37"/>
                <a:gd name="T40" fmla="*/ 62 w 80"/>
                <a:gd name="T41" fmla="*/ 2 h 37"/>
                <a:gd name="T42" fmla="*/ 45 w 80"/>
                <a:gd name="T43" fmla="*/ 0 h 37"/>
                <a:gd name="T44" fmla="*/ 39 w 80"/>
                <a:gd name="T45" fmla="*/ 2 h 37"/>
                <a:gd name="T46" fmla="*/ 27 w 80"/>
                <a:gd name="T47" fmla="*/ 4 h 37"/>
                <a:gd name="T48" fmla="*/ 21 w 80"/>
                <a:gd name="T49" fmla="*/ 8 h 37"/>
                <a:gd name="T50" fmla="*/ 21 w 80"/>
                <a:gd name="T51" fmla="*/ 10 h 37"/>
                <a:gd name="T52" fmla="*/ 21 w 80"/>
                <a:gd name="T53" fmla="*/ 14 h 37"/>
                <a:gd name="T54" fmla="*/ 23 w 80"/>
                <a:gd name="T55" fmla="*/ 16 h 37"/>
                <a:gd name="T56" fmla="*/ 25 w 80"/>
                <a:gd name="T57" fmla="*/ 20 h 37"/>
                <a:gd name="T58" fmla="*/ 31 w 80"/>
                <a:gd name="T59" fmla="*/ 22 h 37"/>
                <a:gd name="T60" fmla="*/ 35 w 80"/>
                <a:gd name="T61" fmla="*/ 22 h 37"/>
                <a:gd name="T62" fmla="*/ 35 w 80"/>
                <a:gd name="T63" fmla="*/ 26 h 37"/>
                <a:gd name="T64" fmla="*/ 35 w 80"/>
                <a:gd name="T65" fmla="*/ 28 h 37"/>
                <a:gd name="T66" fmla="*/ 43 w 80"/>
                <a:gd name="T67" fmla="*/ 26 h 37"/>
                <a:gd name="T68" fmla="*/ 45 w 80"/>
                <a:gd name="T69" fmla="*/ 26 h 37"/>
                <a:gd name="T70" fmla="*/ 49 w 80"/>
                <a:gd name="T71" fmla="*/ 28 h 37"/>
                <a:gd name="T72" fmla="*/ 55 w 80"/>
                <a:gd name="T73" fmla="*/ 30 h 37"/>
                <a:gd name="T74" fmla="*/ 60 w 80"/>
                <a:gd name="T75" fmla="*/ 34 h 37"/>
                <a:gd name="T76" fmla="*/ 68 w 80"/>
                <a:gd name="T77" fmla="*/ 34 h 37"/>
                <a:gd name="T78" fmla="*/ 74 w 80"/>
                <a:gd name="T79" fmla="*/ 37 h 37"/>
                <a:gd name="T80" fmla="*/ 74 w 80"/>
                <a:gd name="T81" fmla="*/ 32 h 37"/>
                <a:gd name="T82" fmla="*/ 78 w 80"/>
                <a:gd name="T83" fmla="*/ 30 h 37"/>
                <a:gd name="T84" fmla="*/ 78 w 80"/>
                <a:gd name="T85" fmla="*/ 28 h 37"/>
                <a:gd name="T86" fmla="*/ 74 w 80"/>
                <a:gd name="T87" fmla="*/ 24 h 37"/>
                <a:gd name="T88" fmla="*/ 74 w 80"/>
                <a:gd name="T89" fmla="*/ 20 h 37"/>
                <a:gd name="T90" fmla="*/ 74 w 80"/>
                <a:gd name="T91" fmla="*/ 12 h 37"/>
                <a:gd name="T92" fmla="*/ 78 w 80"/>
                <a:gd name="T93" fmla="*/ 6 h 37"/>
                <a:gd name="T94" fmla="*/ 80 w 80"/>
                <a:gd name="T9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37">
                  <a:moveTo>
                    <a:pt x="14" y="18"/>
                  </a:moveTo>
                  <a:lnTo>
                    <a:pt x="12" y="16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2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4" y="18"/>
                  </a:lnTo>
                  <a:close/>
                  <a:moveTo>
                    <a:pt x="16" y="16"/>
                  </a:moveTo>
                  <a:lnTo>
                    <a:pt x="16" y="16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18" y="16"/>
                  </a:lnTo>
                  <a:lnTo>
                    <a:pt x="16" y="16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6" y="12"/>
                  </a:lnTo>
                  <a:close/>
                  <a:moveTo>
                    <a:pt x="80" y="4"/>
                  </a:moveTo>
                  <a:lnTo>
                    <a:pt x="80" y="4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4"/>
                  </a:lnTo>
                  <a:lnTo>
                    <a:pt x="70" y="4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0" y="2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39" y="2"/>
                  </a:lnTo>
                  <a:lnTo>
                    <a:pt x="35" y="4"/>
                  </a:lnTo>
                  <a:lnTo>
                    <a:pt x="31" y="2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9" y="6"/>
                  </a:lnTo>
                  <a:lnTo>
                    <a:pt x="25" y="6"/>
                  </a:lnTo>
                  <a:lnTo>
                    <a:pt x="23" y="6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8"/>
                  </a:lnTo>
                  <a:lnTo>
                    <a:pt x="25" y="18"/>
                  </a:lnTo>
                  <a:lnTo>
                    <a:pt x="25" y="20"/>
                  </a:lnTo>
                  <a:lnTo>
                    <a:pt x="25" y="22"/>
                  </a:lnTo>
                  <a:lnTo>
                    <a:pt x="29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6"/>
                  </a:lnTo>
                  <a:lnTo>
                    <a:pt x="33" y="28"/>
                  </a:lnTo>
                  <a:lnTo>
                    <a:pt x="33" y="30"/>
                  </a:lnTo>
                  <a:lnTo>
                    <a:pt x="35" y="30"/>
                  </a:lnTo>
                  <a:lnTo>
                    <a:pt x="35" y="28"/>
                  </a:lnTo>
                  <a:lnTo>
                    <a:pt x="39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3" y="26"/>
                  </a:lnTo>
                  <a:lnTo>
                    <a:pt x="45" y="26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7" y="26"/>
                  </a:lnTo>
                  <a:lnTo>
                    <a:pt x="49" y="28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3" y="30"/>
                  </a:lnTo>
                  <a:lnTo>
                    <a:pt x="55" y="30"/>
                  </a:lnTo>
                  <a:lnTo>
                    <a:pt x="55" y="30"/>
                  </a:lnTo>
                  <a:lnTo>
                    <a:pt x="55" y="30"/>
                  </a:lnTo>
                  <a:lnTo>
                    <a:pt x="60" y="32"/>
                  </a:lnTo>
                  <a:lnTo>
                    <a:pt x="60" y="34"/>
                  </a:lnTo>
                  <a:lnTo>
                    <a:pt x="62" y="34"/>
                  </a:lnTo>
                  <a:lnTo>
                    <a:pt x="64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2" y="34"/>
                  </a:lnTo>
                  <a:lnTo>
                    <a:pt x="74" y="37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0"/>
                  </a:lnTo>
                  <a:lnTo>
                    <a:pt x="78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78" y="30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8" y="26"/>
                  </a:lnTo>
                  <a:lnTo>
                    <a:pt x="76" y="24"/>
                  </a:lnTo>
                  <a:lnTo>
                    <a:pt x="74" y="24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2" y="16"/>
                  </a:lnTo>
                  <a:lnTo>
                    <a:pt x="72" y="14"/>
                  </a:lnTo>
                  <a:lnTo>
                    <a:pt x="74" y="14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6" y="10"/>
                  </a:lnTo>
                  <a:lnTo>
                    <a:pt x="78" y="8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3" name="Freeform 181">
              <a:extLst>
                <a:ext uri="{FF2B5EF4-FFF2-40B4-BE49-F238E27FC236}">
                  <a16:creationId xmlns:a16="http://schemas.microsoft.com/office/drawing/2014/main" id="{9E6F3E0C-CBC9-1C43-9691-3A0AB5D182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3565" y="3140445"/>
              <a:ext cx="129534" cy="124781"/>
            </a:xfrm>
            <a:custGeom>
              <a:avLst/>
              <a:gdLst>
                <a:gd name="T0" fmla="*/ 57 w 109"/>
                <a:gd name="T1" fmla="*/ 43 h 105"/>
                <a:gd name="T2" fmla="*/ 61 w 109"/>
                <a:gd name="T3" fmla="*/ 45 h 105"/>
                <a:gd name="T4" fmla="*/ 61 w 109"/>
                <a:gd name="T5" fmla="*/ 43 h 105"/>
                <a:gd name="T6" fmla="*/ 59 w 109"/>
                <a:gd name="T7" fmla="*/ 41 h 105"/>
                <a:gd name="T8" fmla="*/ 57 w 109"/>
                <a:gd name="T9" fmla="*/ 41 h 105"/>
                <a:gd name="T10" fmla="*/ 57 w 109"/>
                <a:gd name="T11" fmla="*/ 43 h 105"/>
                <a:gd name="T12" fmla="*/ 57 w 109"/>
                <a:gd name="T13" fmla="*/ 35 h 105"/>
                <a:gd name="T14" fmla="*/ 59 w 109"/>
                <a:gd name="T15" fmla="*/ 37 h 105"/>
                <a:gd name="T16" fmla="*/ 105 w 109"/>
                <a:gd name="T17" fmla="*/ 95 h 105"/>
                <a:gd name="T18" fmla="*/ 96 w 109"/>
                <a:gd name="T19" fmla="*/ 84 h 105"/>
                <a:gd name="T20" fmla="*/ 78 w 109"/>
                <a:gd name="T21" fmla="*/ 62 h 105"/>
                <a:gd name="T22" fmla="*/ 66 w 109"/>
                <a:gd name="T23" fmla="*/ 56 h 105"/>
                <a:gd name="T24" fmla="*/ 59 w 109"/>
                <a:gd name="T25" fmla="*/ 51 h 105"/>
                <a:gd name="T26" fmla="*/ 55 w 109"/>
                <a:gd name="T27" fmla="*/ 47 h 105"/>
                <a:gd name="T28" fmla="*/ 53 w 109"/>
                <a:gd name="T29" fmla="*/ 53 h 105"/>
                <a:gd name="T30" fmla="*/ 49 w 109"/>
                <a:gd name="T31" fmla="*/ 45 h 105"/>
                <a:gd name="T32" fmla="*/ 43 w 109"/>
                <a:gd name="T33" fmla="*/ 25 h 105"/>
                <a:gd name="T34" fmla="*/ 33 w 109"/>
                <a:gd name="T35" fmla="*/ 2 h 105"/>
                <a:gd name="T36" fmla="*/ 31 w 109"/>
                <a:gd name="T37" fmla="*/ 6 h 105"/>
                <a:gd name="T38" fmla="*/ 29 w 109"/>
                <a:gd name="T39" fmla="*/ 8 h 105"/>
                <a:gd name="T40" fmla="*/ 27 w 109"/>
                <a:gd name="T41" fmla="*/ 10 h 105"/>
                <a:gd name="T42" fmla="*/ 22 w 109"/>
                <a:gd name="T43" fmla="*/ 10 h 105"/>
                <a:gd name="T44" fmla="*/ 18 w 109"/>
                <a:gd name="T45" fmla="*/ 12 h 105"/>
                <a:gd name="T46" fmla="*/ 16 w 109"/>
                <a:gd name="T47" fmla="*/ 16 h 105"/>
                <a:gd name="T48" fmla="*/ 10 w 109"/>
                <a:gd name="T49" fmla="*/ 19 h 105"/>
                <a:gd name="T50" fmla="*/ 8 w 109"/>
                <a:gd name="T51" fmla="*/ 21 h 105"/>
                <a:gd name="T52" fmla="*/ 8 w 109"/>
                <a:gd name="T53" fmla="*/ 29 h 105"/>
                <a:gd name="T54" fmla="*/ 4 w 109"/>
                <a:gd name="T55" fmla="*/ 41 h 105"/>
                <a:gd name="T56" fmla="*/ 0 w 109"/>
                <a:gd name="T57" fmla="*/ 53 h 105"/>
                <a:gd name="T58" fmla="*/ 2 w 109"/>
                <a:gd name="T59" fmla="*/ 70 h 105"/>
                <a:gd name="T60" fmla="*/ 10 w 109"/>
                <a:gd name="T61" fmla="*/ 70 h 105"/>
                <a:gd name="T62" fmla="*/ 12 w 109"/>
                <a:gd name="T63" fmla="*/ 66 h 105"/>
                <a:gd name="T64" fmla="*/ 18 w 109"/>
                <a:gd name="T65" fmla="*/ 72 h 105"/>
                <a:gd name="T66" fmla="*/ 20 w 109"/>
                <a:gd name="T67" fmla="*/ 66 h 105"/>
                <a:gd name="T68" fmla="*/ 27 w 109"/>
                <a:gd name="T69" fmla="*/ 60 h 105"/>
                <a:gd name="T70" fmla="*/ 29 w 109"/>
                <a:gd name="T71" fmla="*/ 62 h 105"/>
                <a:gd name="T72" fmla="*/ 39 w 109"/>
                <a:gd name="T73" fmla="*/ 66 h 105"/>
                <a:gd name="T74" fmla="*/ 45 w 109"/>
                <a:gd name="T75" fmla="*/ 64 h 105"/>
                <a:gd name="T76" fmla="*/ 49 w 109"/>
                <a:gd name="T77" fmla="*/ 64 h 105"/>
                <a:gd name="T78" fmla="*/ 53 w 109"/>
                <a:gd name="T79" fmla="*/ 66 h 105"/>
                <a:gd name="T80" fmla="*/ 61 w 109"/>
                <a:gd name="T81" fmla="*/ 66 h 105"/>
                <a:gd name="T82" fmla="*/ 72 w 109"/>
                <a:gd name="T83" fmla="*/ 72 h 105"/>
                <a:gd name="T84" fmla="*/ 84 w 109"/>
                <a:gd name="T85" fmla="*/ 86 h 105"/>
                <a:gd name="T86" fmla="*/ 92 w 109"/>
                <a:gd name="T87" fmla="*/ 97 h 105"/>
                <a:gd name="T88" fmla="*/ 98 w 109"/>
                <a:gd name="T89" fmla="*/ 103 h 105"/>
                <a:gd name="T90" fmla="*/ 103 w 109"/>
                <a:gd name="T91" fmla="*/ 105 h 105"/>
                <a:gd name="T92" fmla="*/ 105 w 109"/>
                <a:gd name="T93" fmla="*/ 99 h 105"/>
                <a:gd name="T94" fmla="*/ 109 w 109"/>
                <a:gd name="T95" fmla="*/ 97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" h="105">
                  <a:moveTo>
                    <a:pt x="59" y="43"/>
                  </a:moveTo>
                  <a:lnTo>
                    <a:pt x="57" y="43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7" y="45"/>
                  </a:lnTo>
                  <a:lnTo>
                    <a:pt x="59" y="45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4" y="45"/>
                  </a:lnTo>
                  <a:lnTo>
                    <a:pt x="64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3"/>
                  </a:lnTo>
                  <a:lnTo>
                    <a:pt x="59" y="43"/>
                  </a:lnTo>
                  <a:close/>
                  <a:moveTo>
                    <a:pt x="59" y="37"/>
                  </a:moveTo>
                  <a:lnTo>
                    <a:pt x="57" y="35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7" y="37"/>
                  </a:lnTo>
                  <a:lnTo>
                    <a:pt x="57" y="37"/>
                  </a:lnTo>
                  <a:lnTo>
                    <a:pt x="59" y="37"/>
                  </a:lnTo>
                  <a:close/>
                  <a:moveTo>
                    <a:pt x="109" y="97"/>
                  </a:moveTo>
                  <a:lnTo>
                    <a:pt x="107" y="95"/>
                  </a:lnTo>
                  <a:lnTo>
                    <a:pt x="107" y="97"/>
                  </a:lnTo>
                  <a:lnTo>
                    <a:pt x="105" y="95"/>
                  </a:lnTo>
                  <a:lnTo>
                    <a:pt x="103" y="93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96" y="84"/>
                  </a:lnTo>
                  <a:lnTo>
                    <a:pt x="94" y="82"/>
                  </a:lnTo>
                  <a:lnTo>
                    <a:pt x="84" y="74"/>
                  </a:lnTo>
                  <a:lnTo>
                    <a:pt x="82" y="70"/>
                  </a:lnTo>
                  <a:lnTo>
                    <a:pt x="78" y="62"/>
                  </a:lnTo>
                  <a:lnTo>
                    <a:pt x="72" y="60"/>
                  </a:lnTo>
                  <a:lnTo>
                    <a:pt x="68" y="58"/>
                  </a:lnTo>
                  <a:lnTo>
                    <a:pt x="66" y="58"/>
                  </a:lnTo>
                  <a:lnTo>
                    <a:pt x="66" y="56"/>
                  </a:lnTo>
                  <a:lnTo>
                    <a:pt x="64" y="56"/>
                  </a:lnTo>
                  <a:lnTo>
                    <a:pt x="61" y="56"/>
                  </a:lnTo>
                  <a:lnTo>
                    <a:pt x="59" y="53"/>
                  </a:lnTo>
                  <a:lnTo>
                    <a:pt x="59" y="51"/>
                  </a:lnTo>
                  <a:lnTo>
                    <a:pt x="57" y="49"/>
                  </a:lnTo>
                  <a:lnTo>
                    <a:pt x="57" y="49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3" y="49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3" y="53"/>
                  </a:lnTo>
                  <a:lnTo>
                    <a:pt x="53" y="51"/>
                  </a:lnTo>
                  <a:lnTo>
                    <a:pt x="51" y="47"/>
                  </a:lnTo>
                  <a:lnTo>
                    <a:pt x="51" y="45"/>
                  </a:lnTo>
                  <a:lnTo>
                    <a:pt x="49" y="45"/>
                  </a:lnTo>
                  <a:lnTo>
                    <a:pt x="47" y="41"/>
                  </a:lnTo>
                  <a:lnTo>
                    <a:pt x="45" y="39"/>
                  </a:lnTo>
                  <a:lnTo>
                    <a:pt x="45" y="33"/>
                  </a:lnTo>
                  <a:lnTo>
                    <a:pt x="43" y="25"/>
                  </a:lnTo>
                  <a:lnTo>
                    <a:pt x="41" y="16"/>
                  </a:lnTo>
                  <a:lnTo>
                    <a:pt x="39" y="10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29" y="6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5" y="8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2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21"/>
                  </a:lnTo>
                  <a:lnTo>
                    <a:pt x="8" y="23"/>
                  </a:lnTo>
                  <a:lnTo>
                    <a:pt x="8" y="25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8" y="33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4" y="41"/>
                  </a:lnTo>
                  <a:lnTo>
                    <a:pt x="4" y="43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0" y="53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2" y="64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4" y="68"/>
                  </a:lnTo>
                  <a:lnTo>
                    <a:pt x="6" y="68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68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4" y="66"/>
                  </a:lnTo>
                  <a:lnTo>
                    <a:pt x="16" y="68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0" y="68"/>
                  </a:lnTo>
                  <a:lnTo>
                    <a:pt x="20" y="66"/>
                  </a:lnTo>
                  <a:lnTo>
                    <a:pt x="22" y="62"/>
                  </a:lnTo>
                  <a:lnTo>
                    <a:pt x="25" y="58"/>
                  </a:lnTo>
                  <a:lnTo>
                    <a:pt x="25" y="60"/>
                  </a:lnTo>
                  <a:lnTo>
                    <a:pt x="27" y="60"/>
                  </a:lnTo>
                  <a:lnTo>
                    <a:pt x="27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3" y="66"/>
                  </a:lnTo>
                  <a:lnTo>
                    <a:pt x="33" y="66"/>
                  </a:lnTo>
                  <a:lnTo>
                    <a:pt x="35" y="66"/>
                  </a:lnTo>
                  <a:lnTo>
                    <a:pt x="39" y="66"/>
                  </a:lnTo>
                  <a:lnTo>
                    <a:pt x="41" y="64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5" y="66"/>
                  </a:lnTo>
                  <a:lnTo>
                    <a:pt x="47" y="66"/>
                  </a:lnTo>
                  <a:lnTo>
                    <a:pt x="49" y="64"/>
                  </a:lnTo>
                  <a:lnTo>
                    <a:pt x="51" y="64"/>
                  </a:lnTo>
                  <a:lnTo>
                    <a:pt x="51" y="64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7" y="66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61" y="66"/>
                  </a:lnTo>
                  <a:lnTo>
                    <a:pt x="64" y="68"/>
                  </a:lnTo>
                  <a:lnTo>
                    <a:pt x="68" y="70"/>
                  </a:lnTo>
                  <a:lnTo>
                    <a:pt x="70" y="72"/>
                  </a:lnTo>
                  <a:lnTo>
                    <a:pt x="72" y="72"/>
                  </a:lnTo>
                  <a:lnTo>
                    <a:pt x="74" y="74"/>
                  </a:lnTo>
                  <a:lnTo>
                    <a:pt x="76" y="78"/>
                  </a:lnTo>
                  <a:lnTo>
                    <a:pt x="80" y="84"/>
                  </a:lnTo>
                  <a:lnTo>
                    <a:pt x="84" y="86"/>
                  </a:lnTo>
                  <a:lnTo>
                    <a:pt x="88" y="88"/>
                  </a:lnTo>
                  <a:lnTo>
                    <a:pt x="88" y="93"/>
                  </a:lnTo>
                  <a:lnTo>
                    <a:pt x="90" y="95"/>
                  </a:lnTo>
                  <a:lnTo>
                    <a:pt x="92" y="97"/>
                  </a:lnTo>
                  <a:lnTo>
                    <a:pt x="94" y="97"/>
                  </a:lnTo>
                  <a:lnTo>
                    <a:pt x="94" y="99"/>
                  </a:lnTo>
                  <a:lnTo>
                    <a:pt x="96" y="101"/>
                  </a:lnTo>
                  <a:lnTo>
                    <a:pt x="98" y="103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103" y="105"/>
                  </a:lnTo>
                  <a:lnTo>
                    <a:pt x="103" y="103"/>
                  </a:lnTo>
                  <a:lnTo>
                    <a:pt x="105" y="103"/>
                  </a:lnTo>
                  <a:lnTo>
                    <a:pt x="105" y="101"/>
                  </a:lnTo>
                  <a:lnTo>
                    <a:pt x="105" y="99"/>
                  </a:lnTo>
                  <a:lnTo>
                    <a:pt x="105" y="99"/>
                  </a:lnTo>
                  <a:lnTo>
                    <a:pt x="107" y="99"/>
                  </a:lnTo>
                  <a:lnTo>
                    <a:pt x="109" y="99"/>
                  </a:lnTo>
                  <a:lnTo>
                    <a:pt x="109" y="9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4" name="Freeform 182">
              <a:extLst>
                <a:ext uri="{FF2B5EF4-FFF2-40B4-BE49-F238E27FC236}">
                  <a16:creationId xmlns:a16="http://schemas.microsoft.com/office/drawing/2014/main" id="{BE035383-79FF-6B41-8F06-5AEE2D2B3A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8791" y="3450614"/>
              <a:ext cx="55854" cy="61796"/>
            </a:xfrm>
            <a:custGeom>
              <a:avLst/>
              <a:gdLst>
                <a:gd name="T0" fmla="*/ 47 w 47"/>
                <a:gd name="T1" fmla="*/ 45 h 52"/>
                <a:gd name="T2" fmla="*/ 47 w 47"/>
                <a:gd name="T3" fmla="*/ 37 h 52"/>
                <a:gd name="T4" fmla="*/ 47 w 47"/>
                <a:gd name="T5" fmla="*/ 31 h 52"/>
                <a:gd name="T6" fmla="*/ 39 w 47"/>
                <a:gd name="T7" fmla="*/ 31 h 52"/>
                <a:gd name="T8" fmla="*/ 31 w 47"/>
                <a:gd name="T9" fmla="*/ 31 h 52"/>
                <a:gd name="T10" fmla="*/ 25 w 47"/>
                <a:gd name="T11" fmla="*/ 29 h 52"/>
                <a:gd name="T12" fmla="*/ 23 w 47"/>
                <a:gd name="T13" fmla="*/ 29 h 52"/>
                <a:gd name="T14" fmla="*/ 23 w 47"/>
                <a:gd name="T15" fmla="*/ 27 h 52"/>
                <a:gd name="T16" fmla="*/ 23 w 47"/>
                <a:gd name="T17" fmla="*/ 35 h 52"/>
                <a:gd name="T18" fmla="*/ 21 w 47"/>
                <a:gd name="T19" fmla="*/ 41 h 52"/>
                <a:gd name="T20" fmla="*/ 21 w 47"/>
                <a:gd name="T21" fmla="*/ 41 h 52"/>
                <a:gd name="T22" fmla="*/ 17 w 47"/>
                <a:gd name="T23" fmla="*/ 45 h 52"/>
                <a:gd name="T24" fmla="*/ 17 w 47"/>
                <a:gd name="T25" fmla="*/ 49 h 52"/>
                <a:gd name="T26" fmla="*/ 21 w 47"/>
                <a:gd name="T27" fmla="*/ 52 h 52"/>
                <a:gd name="T28" fmla="*/ 21 w 47"/>
                <a:gd name="T29" fmla="*/ 52 h 52"/>
                <a:gd name="T30" fmla="*/ 21 w 47"/>
                <a:gd name="T31" fmla="*/ 49 h 52"/>
                <a:gd name="T32" fmla="*/ 23 w 47"/>
                <a:gd name="T33" fmla="*/ 52 h 52"/>
                <a:gd name="T34" fmla="*/ 25 w 47"/>
                <a:gd name="T35" fmla="*/ 52 h 52"/>
                <a:gd name="T36" fmla="*/ 25 w 47"/>
                <a:gd name="T37" fmla="*/ 52 h 52"/>
                <a:gd name="T38" fmla="*/ 27 w 47"/>
                <a:gd name="T39" fmla="*/ 52 h 52"/>
                <a:gd name="T40" fmla="*/ 31 w 47"/>
                <a:gd name="T41" fmla="*/ 52 h 52"/>
                <a:gd name="T42" fmla="*/ 41 w 47"/>
                <a:gd name="T43" fmla="*/ 52 h 52"/>
                <a:gd name="T44" fmla="*/ 47 w 47"/>
                <a:gd name="T45" fmla="*/ 52 h 52"/>
                <a:gd name="T46" fmla="*/ 6 w 47"/>
                <a:gd name="T47" fmla="*/ 2 h 52"/>
                <a:gd name="T48" fmla="*/ 4 w 47"/>
                <a:gd name="T49" fmla="*/ 2 h 52"/>
                <a:gd name="T50" fmla="*/ 4 w 47"/>
                <a:gd name="T51" fmla="*/ 4 h 52"/>
                <a:gd name="T52" fmla="*/ 2 w 47"/>
                <a:gd name="T53" fmla="*/ 6 h 52"/>
                <a:gd name="T54" fmla="*/ 2 w 47"/>
                <a:gd name="T55" fmla="*/ 6 h 52"/>
                <a:gd name="T56" fmla="*/ 2 w 47"/>
                <a:gd name="T57" fmla="*/ 10 h 52"/>
                <a:gd name="T58" fmla="*/ 4 w 47"/>
                <a:gd name="T59" fmla="*/ 10 h 52"/>
                <a:gd name="T60" fmla="*/ 6 w 47"/>
                <a:gd name="T61" fmla="*/ 10 h 52"/>
                <a:gd name="T62" fmla="*/ 10 w 47"/>
                <a:gd name="T63" fmla="*/ 4 h 52"/>
                <a:gd name="T64" fmla="*/ 8 w 47"/>
                <a:gd name="T6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7" h="52">
                  <a:moveTo>
                    <a:pt x="47" y="49"/>
                  </a:moveTo>
                  <a:lnTo>
                    <a:pt x="47" y="45"/>
                  </a:lnTo>
                  <a:lnTo>
                    <a:pt x="47" y="41"/>
                  </a:lnTo>
                  <a:lnTo>
                    <a:pt x="47" y="37"/>
                  </a:lnTo>
                  <a:lnTo>
                    <a:pt x="47" y="35"/>
                  </a:lnTo>
                  <a:lnTo>
                    <a:pt x="47" y="31"/>
                  </a:lnTo>
                  <a:lnTo>
                    <a:pt x="43" y="31"/>
                  </a:lnTo>
                  <a:lnTo>
                    <a:pt x="39" y="31"/>
                  </a:lnTo>
                  <a:lnTo>
                    <a:pt x="35" y="31"/>
                  </a:lnTo>
                  <a:lnTo>
                    <a:pt x="31" y="31"/>
                  </a:lnTo>
                  <a:lnTo>
                    <a:pt x="27" y="31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7"/>
                  </a:lnTo>
                  <a:lnTo>
                    <a:pt x="23" y="33"/>
                  </a:lnTo>
                  <a:lnTo>
                    <a:pt x="23" y="35"/>
                  </a:lnTo>
                  <a:lnTo>
                    <a:pt x="23" y="37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19" y="43"/>
                  </a:lnTo>
                  <a:lnTo>
                    <a:pt x="17" y="45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9" y="49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3" y="49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9" y="52"/>
                  </a:lnTo>
                  <a:lnTo>
                    <a:pt x="31" y="52"/>
                  </a:lnTo>
                  <a:lnTo>
                    <a:pt x="35" y="52"/>
                  </a:lnTo>
                  <a:lnTo>
                    <a:pt x="41" y="52"/>
                  </a:lnTo>
                  <a:lnTo>
                    <a:pt x="45" y="52"/>
                  </a:lnTo>
                  <a:lnTo>
                    <a:pt x="47" y="52"/>
                  </a:lnTo>
                  <a:lnTo>
                    <a:pt x="47" y="49"/>
                  </a:lnTo>
                  <a:close/>
                  <a:moveTo>
                    <a:pt x="6" y="2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5" name="Freeform 184">
              <a:extLst>
                <a:ext uri="{FF2B5EF4-FFF2-40B4-BE49-F238E27FC236}">
                  <a16:creationId xmlns:a16="http://schemas.microsoft.com/office/drawing/2014/main" id="{D5AAB2D6-5C01-9749-8D8F-DFB232672F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830" y="2842159"/>
              <a:ext cx="234112" cy="212721"/>
            </a:xfrm>
            <a:custGeom>
              <a:avLst/>
              <a:gdLst>
                <a:gd name="T0" fmla="*/ 187 w 197"/>
                <a:gd name="T1" fmla="*/ 167 h 179"/>
                <a:gd name="T2" fmla="*/ 178 w 197"/>
                <a:gd name="T3" fmla="*/ 161 h 179"/>
                <a:gd name="T4" fmla="*/ 174 w 197"/>
                <a:gd name="T5" fmla="*/ 144 h 179"/>
                <a:gd name="T6" fmla="*/ 178 w 197"/>
                <a:gd name="T7" fmla="*/ 142 h 179"/>
                <a:gd name="T8" fmla="*/ 170 w 197"/>
                <a:gd name="T9" fmla="*/ 134 h 179"/>
                <a:gd name="T10" fmla="*/ 154 w 197"/>
                <a:gd name="T11" fmla="*/ 105 h 179"/>
                <a:gd name="T12" fmla="*/ 146 w 197"/>
                <a:gd name="T13" fmla="*/ 82 h 179"/>
                <a:gd name="T14" fmla="*/ 141 w 197"/>
                <a:gd name="T15" fmla="*/ 76 h 179"/>
                <a:gd name="T16" fmla="*/ 137 w 197"/>
                <a:gd name="T17" fmla="*/ 68 h 179"/>
                <a:gd name="T18" fmla="*/ 129 w 197"/>
                <a:gd name="T19" fmla="*/ 56 h 179"/>
                <a:gd name="T20" fmla="*/ 125 w 197"/>
                <a:gd name="T21" fmla="*/ 50 h 179"/>
                <a:gd name="T22" fmla="*/ 121 w 197"/>
                <a:gd name="T23" fmla="*/ 39 h 179"/>
                <a:gd name="T24" fmla="*/ 121 w 197"/>
                <a:gd name="T25" fmla="*/ 33 h 179"/>
                <a:gd name="T26" fmla="*/ 127 w 197"/>
                <a:gd name="T27" fmla="*/ 41 h 179"/>
                <a:gd name="T28" fmla="*/ 133 w 197"/>
                <a:gd name="T29" fmla="*/ 50 h 179"/>
                <a:gd name="T30" fmla="*/ 137 w 197"/>
                <a:gd name="T31" fmla="*/ 62 h 179"/>
                <a:gd name="T32" fmla="*/ 152 w 197"/>
                <a:gd name="T33" fmla="*/ 72 h 179"/>
                <a:gd name="T34" fmla="*/ 154 w 197"/>
                <a:gd name="T35" fmla="*/ 62 h 179"/>
                <a:gd name="T36" fmla="*/ 160 w 197"/>
                <a:gd name="T37" fmla="*/ 41 h 179"/>
                <a:gd name="T38" fmla="*/ 156 w 197"/>
                <a:gd name="T39" fmla="*/ 27 h 179"/>
                <a:gd name="T40" fmla="*/ 150 w 197"/>
                <a:gd name="T41" fmla="*/ 17 h 179"/>
                <a:gd name="T42" fmla="*/ 148 w 197"/>
                <a:gd name="T43" fmla="*/ 6 h 179"/>
                <a:gd name="T44" fmla="*/ 135 w 197"/>
                <a:gd name="T45" fmla="*/ 10 h 179"/>
                <a:gd name="T46" fmla="*/ 127 w 197"/>
                <a:gd name="T47" fmla="*/ 10 h 179"/>
                <a:gd name="T48" fmla="*/ 121 w 197"/>
                <a:gd name="T49" fmla="*/ 10 h 179"/>
                <a:gd name="T50" fmla="*/ 117 w 197"/>
                <a:gd name="T51" fmla="*/ 8 h 179"/>
                <a:gd name="T52" fmla="*/ 115 w 197"/>
                <a:gd name="T53" fmla="*/ 10 h 179"/>
                <a:gd name="T54" fmla="*/ 111 w 197"/>
                <a:gd name="T55" fmla="*/ 6 h 179"/>
                <a:gd name="T56" fmla="*/ 113 w 197"/>
                <a:gd name="T57" fmla="*/ 4 h 179"/>
                <a:gd name="T58" fmla="*/ 105 w 197"/>
                <a:gd name="T59" fmla="*/ 4 h 179"/>
                <a:gd name="T60" fmla="*/ 98 w 197"/>
                <a:gd name="T61" fmla="*/ 4 h 179"/>
                <a:gd name="T62" fmla="*/ 90 w 197"/>
                <a:gd name="T63" fmla="*/ 6 h 179"/>
                <a:gd name="T64" fmla="*/ 88 w 197"/>
                <a:gd name="T65" fmla="*/ 4 h 179"/>
                <a:gd name="T66" fmla="*/ 86 w 197"/>
                <a:gd name="T67" fmla="*/ 8 h 179"/>
                <a:gd name="T68" fmla="*/ 76 w 197"/>
                <a:gd name="T69" fmla="*/ 12 h 179"/>
                <a:gd name="T70" fmla="*/ 68 w 197"/>
                <a:gd name="T71" fmla="*/ 17 h 179"/>
                <a:gd name="T72" fmla="*/ 51 w 197"/>
                <a:gd name="T73" fmla="*/ 10 h 179"/>
                <a:gd name="T74" fmla="*/ 39 w 197"/>
                <a:gd name="T75" fmla="*/ 6 h 179"/>
                <a:gd name="T76" fmla="*/ 10 w 197"/>
                <a:gd name="T77" fmla="*/ 4 h 179"/>
                <a:gd name="T78" fmla="*/ 6 w 197"/>
                <a:gd name="T79" fmla="*/ 2 h 179"/>
                <a:gd name="T80" fmla="*/ 2 w 197"/>
                <a:gd name="T81" fmla="*/ 10 h 179"/>
                <a:gd name="T82" fmla="*/ 4 w 197"/>
                <a:gd name="T83" fmla="*/ 19 h 179"/>
                <a:gd name="T84" fmla="*/ 0 w 197"/>
                <a:gd name="T85" fmla="*/ 27 h 179"/>
                <a:gd name="T86" fmla="*/ 4 w 197"/>
                <a:gd name="T87" fmla="*/ 39 h 179"/>
                <a:gd name="T88" fmla="*/ 6 w 197"/>
                <a:gd name="T89" fmla="*/ 50 h 179"/>
                <a:gd name="T90" fmla="*/ 6 w 197"/>
                <a:gd name="T91" fmla="*/ 66 h 179"/>
                <a:gd name="T92" fmla="*/ 6 w 197"/>
                <a:gd name="T93" fmla="*/ 84 h 179"/>
                <a:gd name="T94" fmla="*/ 8 w 197"/>
                <a:gd name="T95" fmla="*/ 101 h 179"/>
                <a:gd name="T96" fmla="*/ 8 w 197"/>
                <a:gd name="T97" fmla="*/ 117 h 179"/>
                <a:gd name="T98" fmla="*/ 8 w 197"/>
                <a:gd name="T99" fmla="*/ 134 h 179"/>
                <a:gd name="T100" fmla="*/ 8 w 197"/>
                <a:gd name="T101" fmla="*/ 150 h 179"/>
                <a:gd name="T102" fmla="*/ 10 w 197"/>
                <a:gd name="T103" fmla="*/ 167 h 179"/>
                <a:gd name="T104" fmla="*/ 22 w 197"/>
                <a:gd name="T105" fmla="*/ 179 h 179"/>
                <a:gd name="T106" fmla="*/ 51 w 197"/>
                <a:gd name="T107" fmla="*/ 179 h 179"/>
                <a:gd name="T108" fmla="*/ 76 w 197"/>
                <a:gd name="T109" fmla="*/ 179 h 179"/>
                <a:gd name="T110" fmla="*/ 100 w 197"/>
                <a:gd name="T111" fmla="*/ 179 h 179"/>
                <a:gd name="T112" fmla="*/ 111 w 197"/>
                <a:gd name="T113" fmla="*/ 175 h 179"/>
                <a:gd name="T114" fmla="*/ 113 w 197"/>
                <a:gd name="T115" fmla="*/ 177 h 179"/>
                <a:gd name="T116" fmla="*/ 125 w 197"/>
                <a:gd name="T117" fmla="*/ 179 h 179"/>
                <a:gd name="T118" fmla="*/ 156 w 197"/>
                <a:gd name="T119" fmla="*/ 179 h 179"/>
                <a:gd name="T120" fmla="*/ 176 w 197"/>
                <a:gd name="T121" fmla="*/ 179 h 179"/>
                <a:gd name="T122" fmla="*/ 197 w 197"/>
                <a:gd name="T1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7" h="179">
                  <a:moveTo>
                    <a:pt x="197" y="177"/>
                  </a:moveTo>
                  <a:lnTo>
                    <a:pt x="197" y="177"/>
                  </a:lnTo>
                  <a:lnTo>
                    <a:pt x="191" y="171"/>
                  </a:lnTo>
                  <a:lnTo>
                    <a:pt x="187" y="167"/>
                  </a:lnTo>
                  <a:lnTo>
                    <a:pt x="183" y="165"/>
                  </a:lnTo>
                  <a:lnTo>
                    <a:pt x="180" y="165"/>
                  </a:lnTo>
                  <a:lnTo>
                    <a:pt x="180" y="163"/>
                  </a:lnTo>
                  <a:lnTo>
                    <a:pt x="178" y="161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4" y="146"/>
                  </a:lnTo>
                  <a:lnTo>
                    <a:pt x="174" y="144"/>
                  </a:lnTo>
                  <a:lnTo>
                    <a:pt x="176" y="142"/>
                  </a:lnTo>
                  <a:lnTo>
                    <a:pt x="176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6" y="140"/>
                  </a:lnTo>
                  <a:lnTo>
                    <a:pt x="174" y="138"/>
                  </a:lnTo>
                  <a:lnTo>
                    <a:pt x="172" y="136"/>
                  </a:lnTo>
                  <a:lnTo>
                    <a:pt x="170" y="134"/>
                  </a:lnTo>
                  <a:lnTo>
                    <a:pt x="164" y="121"/>
                  </a:lnTo>
                  <a:lnTo>
                    <a:pt x="160" y="115"/>
                  </a:lnTo>
                  <a:lnTo>
                    <a:pt x="158" y="111"/>
                  </a:lnTo>
                  <a:lnTo>
                    <a:pt x="154" y="105"/>
                  </a:lnTo>
                  <a:lnTo>
                    <a:pt x="150" y="95"/>
                  </a:lnTo>
                  <a:lnTo>
                    <a:pt x="148" y="93"/>
                  </a:lnTo>
                  <a:lnTo>
                    <a:pt x="148" y="87"/>
                  </a:lnTo>
                  <a:lnTo>
                    <a:pt x="146" y="82"/>
                  </a:lnTo>
                  <a:lnTo>
                    <a:pt x="146" y="82"/>
                  </a:lnTo>
                  <a:lnTo>
                    <a:pt x="144" y="80"/>
                  </a:lnTo>
                  <a:lnTo>
                    <a:pt x="144" y="78"/>
                  </a:lnTo>
                  <a:lnTo>
                    <a:pt x="141" y="76"/>
                  </a:lnTo>
                  <a:lnTo>
                    <a:pt x="141" y="74"/>
                  </a:lnTo>
                  <a:lnTo>
                    <a:pt x="141" y="70"/>
                  </a:lnTo>
                  <a:lnTo>
                    <a:pt x="139" y="68"/>
                  </a:lnTo>
                  <a:lnTo>
                    <a:pt x="137" y="68"/>
                  </a:lnTo>
                  <a:lnTo>
                    <a:pt x="135" y="64"/>
                  </a:lnTo>
                  <a:lnTo>
                    <a:pt x="131" y="60"/>
                  </a:lnTo>
                  <a:lnTo>
                    <a:pt x="129" y="58"/>
                  </a:lnTo>
                  <a:lnTo>
                    <a:pt x="129" y="56"/>
                  </a:lnTo>
                  <a:lnTo>
                    <a:pt x="129" y="56"/>
                  </a:lnTo>
                  <a:lnTo>
                    <a:pt x="127" y="54"/>
                  </a:lnTo>
                  <a:lnTo>
                    <a:pt x="125" y="52"/>
                  </a:lnTo>
                  <a:lnTo>
                    <a:pt x="125" y="50"/>
                  </a:lnTo>
                  <a:lnTo>
                    <a:pt x="125" y="45"/>
                  </a:lnTo>
                  <a:lnTo>
                    <a:pt x="125" y="43"/>
                  </a:lnTo>
                  <a:lnTo>
                    <a:pt x="123" y="43"/>
                  </a:lnTo>
                  <a:lnTo>
                    <a:pt x="121" y="39"/>
                  </a:lnTo>
                  <a:lnTo>
                    <a:pt x="121" y="37"/>
                  </a:lnTo>
                  <a:lnTo>
                    <a:pt x="121" y="35"/>
                  </a:lnTo>
                  <a:lnTo>
                    <a:pt x="123" y="35"/>
                  </a:lnTo>
                  <a:lnTo>
                    <a:pt x="121" y="33"/>
                  </a:lnTo>
                  <a:lnTo>
                    <a:pt x="123" y="31"/>
                  </a:lnTo>
                  <a:lnTo>
                    <a:pt x="125" y="35"/>
                  </a:lnTo>
                  <a:lnTo>
                    <a:pt x="125" y="39"/>
                  </a:lnTo>
                  <a:lnTo>
                    <a:pt x="127" y="41"/>
                  </a:lnTo>
                  <a:lnTo>
                    <a:pt x="127" y="43"/>
                  </a:lnTo>
                  <a:lnTo>
                    <a:pt x="129" y="45"/>
                  </a:lnTo>
                  <a:lnTo>
                    <a:pt x="131" y="47"/>
                  </a:lnTo>
                  <a:lnTo>
                    <a:pt x="133" y="50"/>
                  </a:lnTo>
                  <a:lnTo>
                    <a:pt x="135" y="54"/>
                  </a:lnTo>
                  <a:lnTo>
                    <a:pt x="135" y="56"/>
                  </a:lnTo>
                  <a:lnTo>
                    <a:pt x="135" y="58"/>
                  </a:lnTo>
                  <a:lnTo>
                    <a:pt x="137" y="62"/>
                  </a:lnTo>
                  <a:lnTo>
                    <a:pt x="141" y="64"/>
                  </a:lnTo>
                  <a:lnTo>
                    <a:pt x="144" y="68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0"/>
                  </a:lnTo>
                  <a:lnTo>
                    <a:pt x="154" y="68"/>
                  </a:lnTo>
                  <a:lnTo>
                    <a:pt x="154" y="66"/>
                  </a:lnTo>
                  <a:lnTo>
                    <a:pt x="154" y="62"/>
                  </a:lnTo>
                  <a:lnTo>
                    <a:pt x="156" y="54"/>
                  </a:lnTo>
                  <a:lnTo>
                    <a:pt x="158" y="45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0" y="39"/>
                  </a:lnTo>
                  <a:lnTo>
                    <a:pt x="158" y="35"/>
                  </a:lnTo>
                  <a:lnTo>
                    <a:pt x="156" y="31"/>
                  </a:lnTo>
                  <a:lnTo>
                    <a:pt x="156" y="27"/>
                  </a:lnTo>
                  <a:lnTo>
                    <a:pt x="154" y="23"/>
                  </a:lnTo>
                  <a:lnTo>
                    <a:pt x="154" y="23"/>
                  </a:lnTo>
                  <a:lnTo>
                    <a:pt x="152" y="21"/>
                  </a:lnTo>
                  <a:lnTo>
                    <a:pt x="150" y="17"/>
                  </a:lnTo>
                  <a:lnTo>
                    <a:pt x="150" y="12"/>
                  </a:lnTo>
                  <a:lnTo>
                    <a:pt x="148" y="8"/>
                  </a:lnTo>
                  <a:lnTo>
                    <a:pt x="148" y="8"/>
                  </a:lnTo>
                  <a:lnTo>
                    <a:pt x="148" y="6"/>
                  </a:lnTo>
                  <a:lnTo>
                    <a:pt x="146" y="8"/>
                  </a:lnTo>
                  <a:lnTo>
                    <a:pt x="141" y="10"/>
                  </a:lnTo>
                  <a:lnTo>
                    <a:pt x="139" y="10"/>
                  </a:lnTo>
                  <a:lnTo>
                    <a:pt x="135" y="10"/>
                  </a:lnTo>
                  <a:lnTo>
                    <a:pt x="131" y="12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27" y="10"/>
                  </a:lnTo>
                  <a:lnTo>
                    <a:pt x="127" y="10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1" y="10"/>
                  </a:lnTo>
                  <a:lnTo>
                    <a:pt x="119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3" y="8"/>
                  </a:lnTo>
                  <a:lnTo>
                    <a:pt x="111" y="8"/>
                  </a:lnTo>
                  <a:lnTo>
                    <a:pt x="109" y="8"/>
                  </a:lnTo>
                  <a:lnTo>
                    <a:pt x="111" y="6"/>
                  </a:lnTo>
                  <a:lnTo>
                    <a:pt x="111" y="4"/>
                  </a:lnTo>
                  <a:lnTo>
                    <a:pt x="115" y="6"/>
                  </a:lnTo>
                  <a:lnTo>
                    <a:pt x="115" y="6"/>
                  </a:lnTo>
                  <a:lnTo>
                    <a:pt x="113" y="4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5" y="4"/>
                  </a:lnTo>
                  <a:lnTo>
                    <a:pt x="100" y="2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8" y="4"/>
                  </a:lnTo>
                  <a:lnTo>
                    <a:pt x="96" y="4"/>
                  </a:lnTo>
                  <a:lnTo>
                    <a:pt x="94" y="4"/>
                  </a:lnTo>
                  <a:lnTo>
                    <a:pt x="92" y="6"/>
                  </a:lnTo>
                  <a:lnTo>
                    <a:pt x="90" y="6"/>
                  </a:lnTo>
                  <a:lnTo>
                    <a:pt x="96" y="4"/>
                  </a:lnTo>
                  <a:lnTo>
                    <a:pt x="96" y="2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76" y="12"/>
                  </a:lnTo>
                  <a:lnTo>
                    <a:pt x="74" y="15"/>
                  </a:lnTo>
                  <a:lnTo>
                    <a:pt x="72" y="15"/>
                  </a:lnTo>
                  <a:lnTo>
                    <a:pt x="70" y="17"/>
                  </a:lnTo>
                  <a:lnTo>
                    <a:pt x="68" y="17"/>
                  </a:lnTo>
                  <a:lnTo>
                    <a:pt x="66" y="17"/>
                  </a:lnTo>
                  <a:lnTo>
                    <a:pt x="63" y="15"/>
                  </a:lnTo>
                  <a:lnTo>
                    <a:pt x="59" y="12"/>
                  </a:lnTo>
                  <a:lnTo>
                    <a:pt x="51" y="10"/>
                  </a:lnTo>
                  <a:lnTo>
                    <a:pt x="49" y="10"/>
                  </a:lnTo>
                  <a:lnTo>
                    <a:pt x="45" y="10"/>
                  </a:lnTo>
                  <a:lnTo>
                    <a:pt x="43" y="8"/>
                  </a:lnTo>
                  <a:lnTo>
                    <a:pt x="39" y="6"/>
                  </a:lnTo>
                  <a:lnTo>
                    <a:pt x="33" y="4"/>
                  </a:lnTo>
                  <a:lnTo>
                    <a:pt x="27" y="4"/>
                  </a:lnTo>
                  <a:lnTo>
                    <a:pt x="18" y="2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6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4" y="15"/>
                  </a:lnTo>
                  <a:lnTo>
                    <a:pt x="4" y="17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2" y="29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4" y="39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50"/>
                  </a:lnTo>
                  <a:lnTo>
                    <a:pt x="6" y="54"/>
                  </a:lnTo>
                  <a:lnTo>
                    <a:pt x="6" y="58"/>
                  </a:lnTo>
                  <a:lnTo>
                    <a:pt x="6" y="62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74"/>
                  </a:lnTo>
                  <a:lnTo>
                    <a:pt x="6" y="80"/>
                  </a:lnTo>
                  <a:lnTo>
                    <a:pt x="6" y="84"/>
                  </a:lnTo>
                  <a:lnTo>
                    <a:pt x="8" y="89"/>
                  </a:lnTo>
                  <a:lnTo>
                    <a:pt x="8" y="93"/>
                  </a:lnTo>
                  <a:lnTo>
                    <a:pt x="8" y="97"/>
                  </a:lnTo>
                  <a:lnTo>
                    <a:pt x="8" y="101"/>
                  </a:lnTo>
                  <a:lnTo>
                    <a:pt x="8" y="105"/>
                  </a:lnTo>
                  <a:lnTo>
                    <a:pt x="8" y="109"/>
                  </a:lnTo>
                  <a:lnTo>
                    <a:pt x="8" y="113"/>
                  </a:lnTo>
                  <a:lnTo>
                    <a:pt x="8" y="117"/>
                  </a:lnTo>
                  <a:lnTo>
                    <a:pt x="8" y="121"/>
                  </a:lnTo>
                  <a:lnTo>
                    <a:pt x="8" y="126"/>
                  </a:lnTo>
                  <a:lnTo>
                    <a:pt x="8" y="130"/>
                  </a:lnTo>
                  <a:lnTo>
                    <a:pt x="8" y="134"/>
                  </a:lnTo>
                  <a:lnTo>
                    <a:pt x="8" y="138"/>
                  </a:lnTo>
                  <a:lnTo>
                    <a:pt x="8" y="142"/>
                  </a:lnTo>
                  <a:lnTo>
                    <a:pt x="8" y="146"/>
                  </a:lnTo>
                  <a:lnTo>
                    <a:pt x="8" y="150"/>
                  </a:lnTo>
                  <a:lnTo>
                    <a:pt x="8" y="154"/>
                  </a:lnTo>
                  <a:lnTo>
                    <a:pt x="8" y="158"/>
                  </a:lnTo>
                  <a:lnTo>
                    <a:pt x="8" y="163"/>
                  </a:lnTo>
                  <a:lnTo>
                    <a:pt x="10" y="167"/>
                  </a:lnTo>
                  <a:lnTo>
                    <a:pt x="10" y="171"/>
                  </a:lnTo>
                  <a:lnTo>
                    <a:pt x="10" y="175"/>
                  </a:lnTo>
                  <a:lnTo>
                    <a:pt x="10" y="179"/>
                  </a:lnTo>
                  <a:lnTo>
                    <a:pt x="22" y="179"/>
                  </a:lnTo>
                  <a:lnTo>
                    <a:pt x="29" y="179"/>
                  </a:lnTo>
                  <a:lnTo>
                    <a:pt x="33" y="179"/>
                  </a:lnTo>
                  <a:lnTo>
                    <a:pt x="39" y="179"/>
                  </a:lnTo>
                  <a:lnTo>
                    <a:pt x="51" y="179"/>
                  </a:lnTo>
                  <a:lnTo>
                    <a:pt x="57" y="179"/>
                  </a:lnTo>
                  <a:lnTo>
                    <a:pt x="63" y="179"/>
                  </a:lnTo>
                  <a:lnTo>
                    <a:pt x="70" y="179"/>
                  </a:lnTo>
                  <a:lnTo>
                    <a:pt x="76" y="179"/>
                  </a:lnTo>
                  <a:lnTo>
                    <a:pt x="82" y="179"/>
                  </a:lnTo>
                  <a:lnTo>
                    <a:pt x="88" y="179"/>
                  </a:lnTo>
                  <a:lnTo>
                    <a:pt x="94" y="179"/>
                  </a:lnTo>
                  <a:lnTo>
                    <a:pt x="100" y="179"/>
                  </a:lnTo>
                  <a:lnTo>
                    <a:pt x="107" y="179"/>
                  </a:lnTo>
                  <a:lnTo>
                    <a:pt x="109" y="179"/>
                  </a:lnTo>
                  <a:lnTo>
                    <a:pt x="109" y="179"/>
                  </a:lnTo>
                  <a:lnTo>
                    <a:pt x="111" y="175"/>
                  </a:lnTo>
                  <a:lnTo>
                    <a:pt x="111" y="175"/>
                  </a:lnTo>
                  <a:lnTo>
                    <a:pt x="113" y="175"/>
                  </a:lnTo>
                  <a:lnTo>
                    <a:pt x="113" y="175"/>
                  </a:lnTo>
                  <a:lnTo>
                    <a:pt x="113" y="177"/>
                  </a:lnTo>
                  <a:lnTo>
                    <a:pt x="113" y="179"/>
                  </a:lnTo>
                  <a:lnTo>
                    <a:pt x="115" y="179"/>
                  </a:lnTo>
                  <a:lnTo>
                    <a:pt x="119" y="179"/>
                  </a:lnTo>
                  <a:lnTo>
                    <a:pt x="125" y="179"/>
                  </a:lnTo>
                  <a:lnTo>
                    <a:pt x="131" y="179"/>
                  </a:lnTo>
                  <a:lnTo>
                    <a:pt x="135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2" y="179"/>
                  </a:lnTo>
                  <a:lnTo>
                    <a:pt x="166" y="179"/>
                  </a:lnTo>
                  <a:lnTo>
                    <a:pt x="172" y="179"/>
                  </a:lnTo>
                  <a:lnTo>
                    <a:pt x="176" y="179"/>
                  </a:lnTo>
                  <a:lnTo>
                    <a:pt x="183" y="179"/>
                  </a:lnTo>
                  <a:lnTo>
                    <a:pt x="187" y="179"/>
                  </a:lnTo>
                  <a:lnTo>
                    <a:pt x="193" y="179"/>
                  </a:lnTo>
                  <a:lnTo>
                    <a:pt x="197" y="179"/>
                  </a:lnTo>
                  <a:lnTo>
                    <a:pt x="197" y="17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6" name="Freeform 189">
              <a:extLst>
                <a:ext uri="{FF2B5EF4-FFF2-40B4-BE49-F238E27FC236}">
                  <a16:creationId xmlns:a16="http://schemas.microsoft.com/office/drawing/2014/main" id="{69E0E9C6-1AD6-8D4B-B2A7-85A746312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8143" y="3258095"/>
              <a:ext cx="32086" cy="36840"/>
            </a:xfrm>
            <a:custGeom>
              <a:avLst/>
              <a:gdLst>
                <a:gd name="T0" fmla="*/ 25 w 27"/>
                <a:gd name="T1" fmla="*/ 6 h 31"/>
                <a:gd name="T2" fmla="*/ 25 w 27"/>
                <a:gd name="T3" fmla="*/ 4 h 31"/>
                <a:gd name="T4" fmla="*/ 21 w 27"/>
                <a:gd name="T5" fmla="*/ 0 h 31"/>
                <a:gd name="T6" fmla="*/ 21 w 27"/>
                <a:gd name="T7" fmla="*/ 0 h 31"/>
                <a:gd name="T8" fmla="*/ 19 w 27"/>
                <a:gd name="T9" fmla="*/ 0 h 31"/>
                <a:gd name="T10" fmla="*/ 17 w 27"/>
                <a:gd name="T11" fmla="*/ 0 h 31"/>
                <a:gd name="T12" fmla="*/ 17 w 27"/>
                <a:gd name="T13" fmla="*/ 0 h 31"/>
                <a:gd name="T14" fmla="*/ 17 w 27"/>
                <a:gd name="T15" fmla="*/ 2 h 31"/>
                <a:gd name="T16" fmla="*/ 17 w 27"/>
                <a:gd name="T17" fmla="*/ 4 h 31"/>
                <a:gd name="T18" fmla="*/ 15 w 27"/>
                <a:gd name="T19" fmla="*/ 4 h 31"/>
                <a:gd name="T20" fmla="*/ 15 w 27"/>
                <a:gd name="T21" fmla="*/ 6 h 31"/>
                <a:gd name="T22" fmla="*/ 10 w 27"/>
                <a:gd name="T23" fmla="*/ 2 h 31"/>
                <a:gd name="T24" fmla="*/ 10 w 27"/>
                <a:gd name="T25" fmla="*/ 2 h 31"/>
                <a:gd name="T26" fmla="*/ 10 w 27"/>
                <a:gd name="T27" fmla="*/ 2 h 31"/>
                <a:gd name="T28" fmla="*/ 10 w 27"/>
                <a:gd name="T29" fmla="*/ 4 h 31"/>
                <a:gd name="T30" fmla="*/ 8 w 27"/>
                <a:gd name="T31" fmla="*/ 6 h 31"/>
                <a:gd name="T32" fmla="*/ 6 w 27"/>
                <a:gd name="T33" fmla="*/ 10 h 31"/>
                <a:gd name="T34" fmla="*/ 4 w 27"/>
                <a:gd name="T35" fmla="*/ 14 h 31"/>
                <a:gd name="T36" fmla="*/ 2 w 27"/>
                <a:gd name="T37" fmla="*/ 14 h 31"/>
                <a:gd name="T38" fmla="*/ 0 w 27"/>
                <a:gd name="T39" fmla="*/ 16 h 31"/>
                <a:gd name="T40" fmla="*/ 0 w 27"/>
                <a:gd name="T41" fmla="*/ 18 h 31"/>
                <a:gd name="T42" fmla="*/ 0 w 27"/>
                <a:gd name="T43" fmla="*/ 20 h 31"/>
                <a:gd name="T44" fmla="*/ 0 w 27"/>
                <a:gd name="T45" fmla="*/ 22 h 31"/>
                <a:gd name="T46" fmla="*/ 0 w 27"/>
                <a:gd name="T47" fmla="*/ 26 h 31"/>
                <a:gd name="T48" fmla="*/ 0 w 27"/>
                <a:gd name="T49" fmla="*/ 31 h 31"/>
                <a:gd name="T50" fmla="*/ 2 w 27"/>
                <a:gd name="T51" fmla="*/ 31 h 31"/>
                <a:gd name="T52" fmla="*/ 4 w 27"/>
                <a:gd name="T53" fmla="*/ 31 h 31"/>
                <a:gd name="T54" fmla="*/ 4 w 27"/>
                <a:gd name="T55" fmla="*/ 31 h 31"/>
                <a:gd name="T56" fmla="*/ 6 w 27"/>
                <a:gd name="T57" fmla="*/ 31 h 31"/>
                <a:gd name="T58" fmla="*/ 8 w 27"/>
                <a:gd name="T59" fmla="*/ 31 h 31"/>
                <a:gd name="T60" fmla="*/ 12 w 27"/>
                <a:gd name="T61" fmla="*/ 28 h 31"/>
                <a:gd name="T62" fmla="*/ 12 w 27"/>
                <a:gd name="T63" fmla="*/ 28 h 31"/>
                <a:gd name="T64" fmla="*/ 15 w 27"/>
                <a:gd name="T65" fmla="*/ 28 h 31"/>
                <a:gd name="T66" fmla="*/ 17 w 27"/>
                <a:gd name="T67" fmla="*/ 28 h 31"/>
                <a:gd name="T68" fmla="*/ 17 w 27"/>
                <a:gd name="T69" fmla="*/ 31 h 31"/>
                <a:gd name="T70" fmla="*/ 19 w 27"/>
                <a:gd name="T71" fmla="*/ 31 h 31"/>
                <a:gd name="T72" fmla="*/ 19 w 27"/>
                <a:gd name="T73" fmla="*/ 31 h 31"/>
                <a:gd name="T74" fmla="*/ 21 w 27"/>
                <a:gd name="T75" fmla="*/ 26 h 31"/>
                <a:gd name="T76" fmla="*/ 23 w 27"/>
                <a:gd name="T77" fmla="*/ 24 h 31"/>
                <a:gd name="T78" fmla="*/ 25 w 27"/>
                <a:gd name="T79" fmla="*/ 20 h 31"/>
                <a:gd name="T80" fmla="*/ 23 w 27"/>
                <a:gd name="T81" fmla="*/ 20 h 31"/>
                <a:gd name="T82" fmla="*/ 21 w 27"/>
                <a:gd name="T83" fmla="*/ 20 h 31"/>
                <a:gd name="T84" fmla="*/ 19 w 27"/>
                <a:gd name="T85" fmla="*/ 20 h 31"/>
                <a:gd name="T86" fmla="*/ 17 w 27"/>
                <a:gd name="T87" fmla="*/ 20 h 31"/>
                <a:gd name="T88" fmla="*/ 15 w 27"/>
                <a:gd name="T89" fmla="*/ 20 h 31"/>
                <a:gd name="T90" fmla="*/ 12 w 27"/>
                <a:gd name="T91" fmla="*/ 20 h 31"/>
                <a:gd name="T92" fmla="*/ 12 w 27"/>
                <a:gd name="T93" fmla="*/ 20 h 31"/>
                <a:gd name="T94" fmla="*/ 12 w 27"/>
                <a:gd name="T95" fmla="*/ 20 h 31"/>
                <a:gd name="T96" fmla="*/ 15 w 27"/>
                <a:gd name="T97" fmla="*/ 20 h 31"/>
                <a:gd name="T98" fmla="*/ 17 w 27"/>
                <a:gd name="T99" fmla="*/ 16 h 31"/>
                <a:gd name="T100" fmla="*/ 21 w 27"/>
                <a:gd name="T101" fmla="*/ 14 h 31"/>
                <a:gd name="T102" fmla="*/ 25 w 27"/>
                <a:gd name="T103" fmla="*/ 12 h 31"/>
                <a:gd name="T104" fmla="*/ 25 w 27"/>
                <a:gd name="T105" fmla="*/ 12 h 31"/>
                <a:gd name="T106" fmla="*/ 25 w 27"/>
                <a:gd name="T107" fmla="*/ 10 h 31"/>
                <a:gd name="T108" fmla="*/ 27 w 27"/>
                <a:gd name="T109" fmla="*/ 8 h 31"/>
                <a:gd name="T110" fmla="*/ 25 w 27"/>
                <a:gd name="T11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" h="31">
                  <a:moveTo>
                    <a:pt x="25" y="6"/>
                  </a:moveTo>
                  <a:lnTo>
                    <a:pt x="25" y="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6"/>
                  </a:lnTo>
                  <a:lnTo>
                    <a:pt x="6" y="10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6" y="31"/>
                  </a:lnTo>
                  <a:lnTo>
                    <a:pt x="8" y="31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5" y="28"/>
                  </a:lnTo>
                  <a:lnTo>
                    <a:pt x="17" y="28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1" y="26"/>
                  </a:lnTo>
                  <a:lnTo>
                    <a:pt x="23" y="24"/>
                  </a:lnTo>
                  <a:lnTo>
                    <a:pt x="25" y="20"/>
                  </a:lnTo>
                  <a:lnTo>
                    <a:pt x="23" y="20"/>
                  </a:lnTo>
                  <a:lnTo>
                    <a:pt x="21" y="20"/>
                  </a:lnTo>
                  <a:lnTo>
                    <a:pt x="19" y="20"/>
                  </a:lnTo>
                  <a:lnTo>
                    <a:pt x="17" y="20"/>
                  </a:lnTo>
                  <a:lnTo>
                    <a:pt x="15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5" y="20"/>
                  </a:lnTo>
                  <a:lnTo>
                    <a:pt x="17" y="16"/>
                  </a:lnTo>
                  <a:lnTo>
                    <a:pt x="21" y="14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7" y="8"/>
                  </a:lnTo>
                  <a:lnTo>
                    <a:pt x="25" y="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7" name="Freeform 190">
              <a:extLst>
                <a:ext uri="{FF2B5EF4-FFF2-40B4-BE49-F238E27FC236}">
                  <a16:creationId xmlns:a16="http://schemas.microsoft.com/office/drawing/2014/main" id="{EA0F1DC8-8BB8-3E4A-9C49-EBA3CADF30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3544" y="2287182"/>
              <a:ext cx="112897" cy="64173"/>
            </a:xfrm>
            <a:custGeom>
              <a:avLst/>
              <a:gdLst>
                <a:gd name="T0" fmla="*/ 41 w 95"/>
                <a:gd name="T1" fmla="*/ 48 h 54"/>
                <a:gd name="T2" fmla="*/ 48 w 95"/>
                <a:gd name="T3" fmla="*/ 52 h 54"/>
                <a:gd name="T4" fmla="*/ 29 w 95"/>
                <a:gd name="T5" fmla="*/ 48 h 54"/>
                <a:gd name="T6" fmla="*/ 31 w 95"/>
                <a:gd name="T7" fmla="*/ 50 h 54"/>
                <a:gd name="T8" fmla="*/ 58 w 95"/>
                <a:gd name="T9" fmla="*/ 46 h 54"/>
                <a:gd name="T10" fmla="*/ 56 w 95"/>
                <a:gd name="T11" fmla="*/ 48 h 54"/>
                <a:gd name="T12" fmla="*/ 58 w 95"/>
                <a:gd name="T13" fmla="*/ 48 h 54"/>
                <a:gd name="T14" fmla="*/ 25 w 95"/>
                <a:gd name="T15" fmla="*/ 48 h 54"/>
                <a:gd name="T16" fmla="*/ 23 w 95"/>
                <a:gd name="T17" fmla="*/ 50 h 54"/>
                <a:gd name="T18" fmla="*/ 37 w 95"/>
                <a:gd name="T19" fmla="*/ 46 h 54"/>
                <a:gd name="T20" fmla="*/ 35 w 95"/>
                <a:gd name="T21" fmla="*/ 52 h 54"/>
                <a:gd name="T22" fmla="*/ 37 w 95"/>
                <a:gd name="T23" fmla="*/ 44 h 54"/>
                <a:gd name="T24" fmla="*/ 89 w 95"/>
                <a:gd name="T25" fmla="*/ 46 h 54"/>
                <a:gd name="T26" fmla="*/ 95 w 95"/>
                <a:gd name="T27" fmla="*/ 44 h 54"/>
                <a:gd name="T28" fmla="*/ 31 w 95"/>
                <a:gd name="T29" fmla="*/ 37 h 54"/>
                <a:gd name="T30" fmla="*/ 23 w 95"/>
                <a:gd name="T31" fmla="*/ 37 h 54"/>
                <a:gd name="T32" fmla="*/ 29 w 95"/>
                <a:gd name="T33" fmla="*/ 46 h 54"/>
                <a:gd name="T34" fmla="*/ 35 w 95"/>
                <a:gd name="T35" fmla="*/ 42 h 54"/>
                <a:gd name="T36" fmla="*/ 60 w 95"/>
                <a:gd name="T37" fmla="*/ 35 h 54"/>
                <a:gd name="T38" fmla="*/ 62 w 95"/>
                <a:gd name="T39" fmla="*/ 35 h 54"/>
                <a:gd name="T40" fmla="*/ 33 w 95"/>
                <a:gd name="T41" fmla="*/ 33 h 54"/>
                <a:gd name="T42" fmla="*/ 33 w 95"/>
                <a:gd name="T43" fmla="*/ 31 h 54"/>
                <a:gd name="T44" fmla="*/ 58 w 95"/>
                <a:gd name="T45" fmla="*/ 39 h 54"/>
                <a:gd name="T46" fmla="*/ 58 w 95"/>
                <a:gd name="T47" fmla="*/ 35 h 54"/>
                <a:gd name="T48" fmla="*/ 60 w 95"/>
                <a:gd name="T49" fmla="*/ 31 h 54"/>
                <a:gd name="T50" fmla="*/ 58 w 95"/>
                <a:gd name="T51" fmla="*/ 27 h 54"/>
                <a:gd name="T52" fmla="*/ 52 w 95"/>
                <a:gd name="T53" fmla="*/ 31 h 54"/>
                <a:gd name="T54" fmla="*/ 50 w 95"/>
                <a:gd name="T55" fmla="*/ 35 h 54"/>
                <a:gd name="T56" fmla="*/ 48 w 95"/>
                <a:gd name="T57" fmla="*/ 31 h 54"/>
                <a:gd name="T58" fmla="*/ 43 w 95"/>
                <a:gd name="T59" fmla="*/ 33 h 54"/>
                <a:gd name="T60" fmla="*/ 39 w 95"/>
                <a:gd name="T61" fmla="*/ 35 h 54"/>
                <a:gd name="T62" fmla="*/ 41 w 95"/>
                <a:gd name="T63" fmla="*/ 42 h 54"/>
                <a:gd name="T64" fmla="*/ 48 w 95"/>
                <a:gd name="T65" fmla="*/ 44 h 54"/>
                <a:gd name="T66" fmla="*/ 50 w 95"/>
                <a:gd name="T67" fmla="*/ 52 h 54"/>
                <a:gd name="T68" fmla="*/ 54 w 95"/>
                <a:gd name="T69" fmla="*/ 44 h 54"/>
                <a:gd name="T70" fmla="*/ 39 w 95"/>
                <a:gd name="T71" fmla="*/ 7 h 54"/>
                <a:gd name="T72" fmla="*/ 21 w 95"/>
                <a:gd name="T73" fmla="*/ 48 h 54"/>
                <a:gd name="T74" fmla="*/ 19 w 95"/>
                <a:gd name="T75" fmla="*/ 46 h 54"/>
                <a:gd name="T76" fmla="*/ 19 w 95"/>
                <a:gd name="T77" fmla="*/ 37 h 54"/>
                <a:gd name="T78" fmla="*/ 25 w 95"/>
                <a:gd name="T79" fmla="*/ 33 h 54"/>
                <a:gd name="T80" fmla="*/ 27 w 95"/>
                <a:gd name="T81" fmla="*/ 31 h 54"/>
                <a:gd name="T82" fmla="*/ 31 w 95"/>
                <a:gd name="T83" fmla="*/ 25 h 54"/>
                <a:gd name="T84" fmla="*/ 37 w 95"/>
                <a:gd name="T85" fmla="*/ 25 h 54"/>
                <a:gd name="T86" fmla="*/ 31 w 95"/>
                <a:gd name="T87" fmla="*/ 21 h 54"/>
                <a:gd name="T88" fmla="*/ 29 w 95"/>
                <a:gd name="T89" fmla="*/ 13 h 54"/>
                <a:gd name="T90" fmla="*/ 33 w 95"/>
                <a:gd name="T91" fmla="*/ 5 h 54"/>
                <a:gd name="T92" fmla="*/ 33 w 95"/>
                <a:gd name="T93" fmla="*/ 0 h 54"/>
                <a:gd name="T94" fmla="*/ 19 w 95"/>
                <a:gd name="T95" fmla="*/ 9 h 54"/>
                <a:gd name="T96" fmla="*/ 6 w 95"/>
                <a:gd name="T97" fmla="*/ 11 h 54"/>
                <a:gd name="T98" fmla="*/ 2 w 95"/>
                <a:gd name="T99" fmla="*/ 17 h 54"/>
                <a:gd name="T100" fmla="*/ 13 w 95"/>
                <a:gd name="T101" fmla="*/ 13 h 54"/>
                <a:gd name="T102" fmla="*/ 15 w 95"/>
                <a:gd name="T103" fmla="*/ 17 h 54"/>
                <a:gd name="T104" fmla="*/ 9 w 95"/>
                <a:gd name="T105" fmla="*/ 21 h 54"/>
                <a:gd name="T106" fmla="*/ 2 w 95"/>
                <a:gd name="T107" fmla="*/ 19 h 54"/>
                <a:gd name="T108" fmla="*/ 0 w 95"/>
                <a:gd name="T109" fmla="*/ 29 h 54"/>
                <a:gd name="T110" fmla="*/ 6 w 95"/>
                <a:gd name="T111" fmla="*/ 42 h 54"/>
                <a:gd name="T112" fmla="*/ 6 w 95"/>
                <a:gd name="T113" fmla="*/ 48 h 54"/>
                <a:gd name="T114" fmla="*/ 15 w 95"/>
                <a:gd name="T115" fmla="*/ 50 h 54"/>
                <a:gd name="T116" fmla="*/ 21 w 95"/>
                <a:gd name="T117" fmla="*/ 5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" h="54">
                  <a:moveTo>
                    <a:pt x="50" y="50"/>
                  </a:moveTo>
                  <a:lnTo>
                    <a:pt x="48" y="50"/>
                  </a:lnTo>
                  <a:lnTo>
                    <a:pt x="46" y="50"/>
                  </a:lnTo>
                  <a:lnTo>
                    <a:pt x="43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46" y="54"/>
                  </a:lnTo>
                  <a:lnTo>
                    <a:pt x="48" y="52"/>
                  </a:lnTo>
                  <a:lnTo>
                    <a:pt x="48" y="54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0"/>
                  </a:lnTo>
                  <a:close/>
                  <a:moveTo>
                    <a:pt x="29" y="48"/>
                  </a:moveTo>
                  <a:lnTo>
                    <a:pt x="29" y="48"/>
                  </a:lnTo>
                  <a:lnTo>
                    <a:pt x="27" y="48"/>
                  </a:lnTo>
                  <a:lnTo>
                    <a:pt x="29" y="48"/>
                  </a:lnTo>
                  <a:lnTo>
                    <a:pt x="29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29" y="48"/>
                  </a:lnTo>
                  <a:close/>
                  <a:moveTo>
                    <a:pt x="58" y="46"/>
                  </a:moveTo>
                  <a:lnTo>
                    <a:pt x="58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6" y="50"/>
                  </a:lnTo>
                  <a:lnTo>
                    <a:pt x="58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8" y="46"/>
                  </a:lnTo>
                  <a:close/>
                  <a:moveTo>
                    <a:pt x="25" y="48"/>
                  </a:moveTo>
                  <a:lnTo>
                    <a:pt x="23" y="46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5" y="50"/>
                  </a:lnTo>
                  <a:lnTo>
                    <a:pt x="27" y="50"/>
                  </a:lnTo>
                  <a:lnTo>
                    <a:pt x="27" y="48"/>
                  </a:lnTo>
                  <a:lnTo>
                    <a:pt x="25" y="48"/>
                  </a:lnTo>
                  <a:close/>
                  <a:moveTo>
                    <a:pt x="37" y="46"/>
                  </a:moveTo>
                  <a:lnTo>
                    <a:pt x="35" y="48"/>
                  </a:lnTo>
                  <a:lnTo>
                    <a:pt x="35" y="48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0"/>
                  </a:lnTo>
                  <a:lnTo>
                    <a:pt x="37" y="46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6"/>
                  </a:lnTo>
                  <a:close/>
                  <a:moveTo>
                    <a:pt x="95" y="44"/>
                  </a:moveTo>
                  <a:lnTo>
                    <a:pt x="89" y="42"/>
                  </a:lnTo>
                  <a:lnTo>
                    <a:pt x="89" y="44"/>
                  </a:lnTo>
                  <a:lnTo>
                    <a:pt x="89" y="46"/>
                  </a:lnTo>
                  <a:lnTo>
                    <a:pt x="91" y="46"/>
                  </a:lnTo>
                  <a:lnTo>
                    <a:pt x="93" y="48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5" y="44"/>
                  </a:lnTo>
                  <a:close/>
                  <a:moveTo>
                    <a:pt x="35" y="39"/>
                  </a:moveTo>
                  <a:lnTo>
                    <a:pt x="35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5" y="37"/>
                  </a:lnTo>
                  <a:lnTo>
                    <a:pt x="23" y="37"/>
                  </a:lnTo>
                  <a:lnTo>
                    <a:pt x="23" y="42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9" y="46"/>
                  </a:lnTo>
                  <a:lnTo>
                    <a:pt x="31" y="46"/>
                  </a:lnTo>
                  <a:lnTo>
                    <a:pt x="33" y="46"/>
                  </a:lnTo>
                  <a:lnTo>
                    <a:pt x="35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7" y="42"/>
                  </a:lnTo>
                  <a:lnTo>
                    <a:pt x="35" y="39"/>
                  </a:lnTo>
                  <a:close/>
                  <a:moveTo>
                    <a:pt x="60" y="35"/>
                  </a:moveTo>
                  <a:lnTo>
                    <a:pt x="60" y="35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0" y="37"/>
                  </a:lnTo>
                  <a:lnTo>
                    <a:pt x="60" y="37"/>
                  </a:lnTo>
                  <a:lnTo>
                    <a:pt x="62" y="37"/>
                  </a:lnTo>
                  <a:lnTo>
                    <a:pt x="62" y="35"/>
                  </a:lnTo>
                  <a:lnTo>
                    <a:pt x="60" y="35"/>
                  </a:lnTo>
                  <a:close/>
                  <a:moveTo>
                    <a:pt x="33" y="33"/>
                  </a:move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5" y="31"/>
                  </a:lnTo>
                  <a:lnTo>
                    <a:pt x="33" y="31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3" y="33"/>
                  </a:lnTo>
                  <a:close/>
                  <a:moveTo>
                    <a:pt x="56" y="44"/>
                  </a:moveTo>
                  <a:lnTo>
                    <a:pt x="58" y="42"/>
                  </a:lnTo>
                  <a:lnTo>
                    <a:pt x="58" y="39"/>
                  </a:lnTo>
                  <a:lnTo>
                    <a:pt x="56" y="39"/>
                  </a:lnTo>
                  <a:lnTo>
                    <a:pt x="56" y="39"/>
                  </a:lnTo>
                  <a:lnTo>
                    <a:pt x="56" y="37"/>
                  </a:lnTo>
                  <a:lnTo>
                    <a:pt x="56" y="37"/>
                  </a:lnTo>
                  <a:lnTo>
                    <a:pt x="58" y="35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0" y="33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8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4" y="29"/>
                  </a:lnTo>
                  <a:lnTo>
                    <a:pt x="50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0" y="33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48" y="35"/>
                  </a:lnTo>
                  <a:lnTo>
                    <a:pt x="48" y="33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1" y="33"/>
                  </a:lnTo>
                  <a:lnTo>
                    <a:pt x="39" y="33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1" y="39"/>
                  </a:lnTo>
                  <a:lnTo>
                    <a:pt x="41" y="42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6" y="44"/>
                  </a:lnTo>
                  <a:lnTo>
                    <a:pt x="48" y="44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6"/>
                  </a:lnTo>
                  <a:lnTo>
                    <a:pt x="54" y="44"/>
                  </a:lnTo>
                  <a:lnTo>
                    <a:pt x="56" y="44"/>
                  </a:lnTo>
                  <a:close/>
                  <a:moveTo>
                    <a:pt x="39" y="9"/>
                  </a:moveTo>
                  <a:lnTo>
                    <a:pt x="39" y="9"/>
                  </a:lnTo>
                  <a:lnTo>
                    <a:pt x="41" y="7"/>
                  </a:lnTo>
                  <a:lnTo>
                    <a:pt x="39" y="7"/>
                  </a:lnTo>
                  <a:lnTo>
                    <a:pt x="37" y="7"/>
                  </a:lnTo>
                  <a:lnTo>
                    <a:pt x="37" y="9"/>
                  </a:lnTo>
                  <a:lnTo>
                    <a:pt x="39" y="9"/>
                  </a:lnTo>
                  <a:lnTo>
                    <a:pt x="39" y="9"/>
                  </a:lnTo>
                  <a:close/>
                  <a:moveTo>
                    <a:pt x="21" y="48"/>
                  </a:moveTo>
                  <a:lnTo>
                    <a:pt x="21" y="48"/>
                  </a:lnTo>
                  <a:lnTo>
                    <a:pt x="21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21" y="44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39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23" y="37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9" y="29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29" y="15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1" y="9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3" y="5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9" y="2"/>
                  </a:lnTo>
                  <a:lnTo>
                    <a:pt x="25" y="2"/>
                  </a:lnTo>
                  <a:lnTo>
                    <a:pt x="23" y="5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7" y="11"/>
                  </a:lnTo>
                  <a:lnTo>
                    <a:pt x="13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6" y="11"/>
                  </a:lnTo>
                  <a:lnTo>
                    <a:pt x="4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6" y="17"/>
                  </a:lnTo>
                  <a:lnTo>
                    <a:pt x="9" y="17"/>
                  </a:lnTo>
                  <a:lnTo>
                    <a:pt x="11" y="15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5" y="13"/>
                  </a:lnTo>
                  <a:lnTo>
                    <a:pt x="15" y="15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1" y="17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37"/>
                  </a:lnTo>
                  <a:lnTo>
                    <a:pt x="2" y="37"/>
                  </a:lnTo>
                  <a:lnTo>
                    <a:pt x="6" y="39"/>
                  </a:lnTo>
                  <a:lnTo>
                    <a:pt x="6" y="42"/>
                  </a:lnTo>
                  <a:lnTo>
                    <a:pt x="6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7" y="50"/>
                  </a:lnTo>
                  <a:lnTo>
                    <a:pt x="19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48"/>
                  </a:lnTo>
                  <a:lnTo>
                    <a:pt x="21" y="4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8" name="Freeform 191">
              <a:extLst>
                <a:ext uri="{FF2B5EF4-FFF2-40B4-BE49-F238E27FC236}">
                  <a16:creationId xmlns:a16="http://schemas.microsoft.com/office/drawing/2014/main" id="{2D9DF0E1-96A2-6442-984C-12BA36A3D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2471" y="3418527"/>
              <a:ext cx="368400" cy="408805"/>
            </a:xfrm>
            <a:custGeom>
              <a:avLst/>
              <a:gdLst>
                <a:gd name="T0" fmla="*/ 300 w 310"/>
                <a:gd name="T1" fmla="*/ 52 h 344"/>
                <a:gd name="T2" fmla="*/ 302 w 310"/>
                <a:gd name="T3" fmla="*/ 37 h 344"/>
                <a:gd name="T4" fmla="*/ 298 w 310"/>
                <a:gd name="T5" fmla="*/ 31 h 344"/>
                <a:gd name="T6" fmla="*/ 285 w 310"/>
                <a:gd name="T7" fmla="*/ 15 h 344"/>
                <a:gd name="T8" fmla="*/ 267 w 310"/>
                <a:gd name="T9" fmla="*/ 15 h 344"/>
                <a:gd name="T10" fmla="*/ 254 w 310"/>
                <a:gd name="T11" fmla="*/ 13 h 344"/>
                <a:gd name="T12" fmla="*/ 240 w 310"/>
                <a:gd name="T13" fmla="*/ 2 h 344"/>
                <a:gd name="T14" fmla="*/ 213 w 310"/>
                <a:gd name="T15" fmla="*/ 0 h 344"/>
                <a:gd name="T16" fmla="*/ 189 w 310"/>
                <a:gd name="T17" fmla="*/ 9 h 344"/>
                <a:gd name="T18" fmla="*/ 170 w 310"/>
                <a:gd name="T19" fmla="*/ 13 h 344"/>
                <a:gd name="T20" fmla="*/ 148 w 310"/>
                <a:gd name="T21" fmla="*/ 17 h 344"/>
                <a:gd name="T22" fmla="*/ 127 w 310"/>
                <a:gd name="T23" fmla="*/ 7 h 344"/>
                <a:gd name="T24" fmla="*/ 102 w 310"/>
                <a:gd name="T25" fmla="*/ 19 h 344"/>
                <a:gd name="T26" fmla="*/ 94 w 310"/>
                <a:gd name="T27" fmla="*/ 60 h 344"/>
                <a:gd name="T28" fmla="*/ 90 w 310"/>
                <a:gd name="T29" fmla="*/ 107 h 344"/>
                <a:gd name="T30" fmla="*/ 70 w 310"/>
                <a:gd name="T31" fmla="*/ 134 h 344"/>
                <a:gd name="T32" fmla="*/ 57 w 310"/>
                <a:gd name="T33" fmla="*/ 171 h 344"/>
                <a:gd name="T34" fmla="*/ 39 w 310"/>
                <a:gd name="T35" fmla="*/ 188 h 344"/>
                <a:gd name="T36" fmla="*/ 37 w 310"/>
                <a:gd name="T37" fmla="*/ 179 h 344"/>
                <a:gd name="T38" fmla="*/ 27 w 310"/>
                <a:gd name="T39" fmla="*/ 179 h 344"/>
                <a:gd name="T40" fmla="*/ 20 w 310"/>
                <a:gd name="T41" fmla="*/ 185 h 344"/>
                <a:gd name="T42" fmla="*/ 14 w 310"/>
                <a:gd name="T43" fmla="*/ 183 h 344"/>
                <a:gd name="T44" fmla="*/ 6 w 310"/>
                <a:gd name="T45" fmla="*/ 192 h 344"/>
                <a:gd name="T46" fmla="*/ 4 w 310"/>
                <a:gd name="T47" fmla="*/ 208 h 344"/>
                <a:gd name="T48" fmla="*/ 18 w 310"/>
                <a:gd name="T49" fmla="*/ 204 h 344"/>
                <a:gd name="T50" fmla="*/ 53 w 310"/>
                <a:gd name="T51" fmla="*/ 204 h 344"/>
                <a:gd name="T52" fmla="*/ 74 w 310"/>
                <a:gd name="T53" fmla="*/ 212 h 344"/>
                <a:gd name="T54" fmla="*/ 80 w 310"/>
                <a:gd name="T55" fmla="*/ 233 h 344"/>
                <a:gd name="T56" fmla="*/ 94 w 310"/>
                <a:gd name="T57" fmla="*/ 245 h 344"/>
                <a:gd name="T58" fmla="*/ 117 w 310"/>
                <a:gd name="T59" fmla="*/ 239 h 344"/>
                <a:gd name="T60" fmla="*/ 129 w 310"/>
                <a:gd name="T61" fmla="*/ 225 h 344"/>
                <a:gd name="T62" fmla="*/ 150 w 310"/>
                <a:gd name="T63" fmla="*/ 231 h 344"/>
                <a:gd name="T64" fmla="*/ 156 w 310"/>
                <a:gd name="T65" fmla="*/ 262 h 344"/>
                <a:gd name="T66" fmla="*/ 162 w 310"/>
                <a:gd name="T67" fmla="*/ 290 h 344"/>
                <a:gd name="T68" fmla="*/ 164 w 310"/>
                <a:gd name="T69" fmla="*/ 303 h 344"/>
                <a:gd name="T70" fmla="*/ 185 w 310"/>
                <a:gd name="T71" fmla="*/ 299 h 344"/>
                <a:gd name="T72" fmla="*/ 193 w 310"/>
                <a:gd name="T73" fmla="*/ 301 h 344"/>
                <a:gd name="T74" fmla="*/ 201 w 310"/>
                <a:gd name="T75" fmla="*/ 305 h 344"/>
                <a:gd name="T76" fmla="*/ 211 w 310"/>
                <a:gd name="T77" fmla="*/ 309 h 344"/>
                <a:gd name="T78" fmla="*/ 228 w 310"/>
                <a:gd name="T79" fmla="*/ 317 h 344"/>
                <a:gd name="T80" fmla="*/ 240 w 310"/>
                <a:gd name="T81" fmla="*/ 311 h 344"/>
                <a:gd name="T82" fmla="*/ 250 w 310"/>
                <a:gd name="T83" fmla="*/ 323 h 344"/>
                <a:gd name="T84" fmla="*/ 265 w 310"/>
                <a:gd name="T85" fmla="*/ 333 h 344"/>
                <a:gd name="T86" fmla="*/ 275 w 310"/>
                <a:gd name="T87" fmla="*/ 342 h 344"/>
                <a:gd name="T88" fmla="*/ 283 w 310"/>
                <a:gd name="T89" fmla="*/ 344 h 344"/>
                <a:gd name="T90" fmla="*/ 281 w 310"/>
                <a:gd name="T91" fmla="*/ 321 h 344"/>
                <a:gd name="T92" fmla="*/ 271 w 310"/>
                <a:gd name="T93" fmla="*/ 323 h 344"/>
                <a:gd name="T94" fmla="*/ 261 w 310"/>
                <a:gd name="T95" fmla="*/ 309 h 344"/>
                <a:gd name="T96" fmla="*/ 265 w 310"/>
                <a:gd name="T97" fmla="*/ 280 h 344"/>
                <a:gd name="T98" fmla="*/ 269 w 310"/>
                <a:gd name="T99" fmla="*/ 259 h 344"/>
                <a:gd name="T100" fmla="*/ 293 w 310"/>
                <a:gd name="T101" fmla="*/ 249 h 344"/>
                <a:gd name="T102" fmla="*/ 291 w 310"/>
                <a:gd name="T103" fmla="*/ 227 h 344"/>
                <a:gd name="T104" fmla="*/ 279 w 310"/>
                <a:gd name="T105" fmla="*/ 206 h 344"/>
                <a:gd name="T106" fmla="*/ 277 w 310"/>
                <a:gd name="T107" fmla="*/ 185 h 344"/>
                <a:gd name="T108" fmla="*/ 275 w 310"/>
                <a:gd name="T109" fmla="*/ 159 h 344"/>
                <a:gd name="T110" fmla="*/ 271 w 310"/>
                <a:gd name="T111" fmla="*/ 146 h 344"/>
                <a:gd name="T112" fmla="*/ 275 w 310"/>
                <a:gd name="T113" fmla="*/ 132 h 344"/>
                <a:gd name="T114" fmla="*/ 281 w 310"/>
                <a:gd name="T115" fmla="*/ 118 h 344"/>
                <a:gd name="T116" fmla="*/ 285 w 310"/>
                <a:gd name="T117" fmla="*/ 95 h 344"/>
                <a:gd name="T118" fmla="*/ 291 w 310"/>
                <a:gd name="T119" fmla="*/ 76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0" h="344">
                  <a:moveTo>
                    <a:pt x="308" y="56"/>
                  </a:moveTo>
                  <a:lnTo>
                    <a:pt x="308" y="56"/>
                  </a:lnTo>
                  <a:lnTo>
                    <a:pt x="308" y="56"/>
                  </a:lnTo>
                  <a:lnTo>
                    <a:pt x="308" y="56"/>
                  </a:lnTo>
                  <a:lnTo>
                    <a:pt x="306" y="56"/>
                  </a:lnTo>
                  <a:lnTo>
                    <a:pt x="306" y="54"/>
                  </a:lnTo>
                  <a:lnTo>
                    <a:pt x="304" y="54"/>
                  </a:lnTo>
                  <a:lnTo>
                    <a:pt x="304" y="54"/>
                  </a:lnTo>
                  <a:lnTo>
                    <a:pt x="302" y="54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2" y="48"/>
                  </a:lnTo>
                  <a:lnTo>
                    <a:pt x="302" y="46"/>
                  </a:lnTo>
                  <a:lnTo>
                    <a:pt x="302" y="44"/>
                  </a:lnTo>
                  <a:lnTo>
                    <a:pt x="302" y="44"/>
                  </a:lnTo>
                  <a:lnTo>
                    <a:pt x="302" y="44"/>
                  </a:lnTo>
                  <a:lnTo>
                    <a:pt x="302" y="42"/>
                  </a:lnTo>
                  <a:lnTo>
                    <a:pt x="300" y="42"/>
                  </a:lnTo>
                  <a:lnTo>
                    <a:pt x="302" y="39"/>
                  </a:lnTo>
                  <a:lnTo>
                    <a:pt x="302" y="37"/>
                  </a:lnTo>
                  <a:lnTo>
                    <a:pt x="302" y="35"/>
                  </a:lnTo>
                  <a:lnTo>
                    <a:pt x="304" y="35"/>
                  </a:lnTo>
                  <a:lnTo>
                    <a:pt x="304" y="33"/>
                  </a:lnTo>
                  <a:lnTo>
                    <a:pt x="302" y="33"/>
                  </a:lnTo>
                  <a:lnTo>
                    <a:pt x="302" y="31"/>
                  </a:lnTo>
                  <a:lnTo>
                    <a:pt x="302" y="31"/>
                  </a:lnTo>
                  <a:lnTo>
                    <a:pt x="300" y="31"/>
                  </a:lnTo>
                  <a:lnTo>
                    <a:pt x="300" y="29"/>
                  </a:lnTo>
                  <a:lnTo>
                    <a:pt x="300" y="31"/>
                  </a:lnTo>
                  <a:lnTo>
                    <a:pt x="298" y="31"/>
                  </a:lnTo>
                  <a:lnTo>
                    <a:pt x="298" y="29"/>
                  </a:lnTo>
                  <a:lnTo>
                    <a:pt x="298" y="29"/>
                  </a:lnTo>
                  <a:lnTo>
                    <a:pt x="298" y="27"/>
                  </a:lnTo>
                  <a:lnTo>
                    <a:pt x="295" y="27"/>
                  </a:lnTo>
                  <a:lnTo>
                    <a:pt x="295" y="25"/>
                  </a:lnTo>
                  <a:lnTo>
                    <a:pt x="291" y="23"/>
                  </a:lnTo>
                  <a:lnTo>
                    <a:pt x="289" y="21"/>
                  </a:lnTo>
                  <a:lnTo>
                    <a:pt x="287" y="19"/>
                  </a:lnTo>
                  <a:lnTo>
                    <a:pt x="285" y="17"/>
                  </a:lnTo>
                  <a:lnTo>
                    <a:pt x="285" y="15"/>
                  </a:lnTo>
                  <a:lnTo>
                    <a:pt x="283" y="13"/>
                  </a:lnTo>
                  <a:lnTo>
                    <a:pt x="281" y="13"/>
                  </a:lnTo>
                  <a:lnTo>
                    <a:pt x="279" y="13"/>
                  </a:lnTo>
                  <a:lnTo>
                    <a:pt x="279" y="15"/>
                  </a:lnTo>
                  <a:lnTo>
                    <a:pt x="275" y="17"/>
                  </a:lnTo>
                  <a:lnTo>
                    <a:pt x="275" y="17"/>
                  </a:lnTo>
                  <a:lnTo>
                    <a:pt x="273" y="15"/>
                  </a:lnTo>
                  <a:lnTo>
                    <a:pt x="271" y="15"/>
                  </a:lnTo>
                  <a:lnTo>
                    <a:pt x="267" y="15"/>
                  </a:lnTo>
                  <a:lnTo>
                    <a:pt x="267" y="15"/>
                  </a:lnTo>
                  <a:lnTo>
                    <a:pt x="265" y="17"/>
                  </a:lnTo>
                  <a:lnTo>
                    <a:pt x="263" y="17"/>
                  </a:lnTo>
                  <a:lnTo>
                    <a:pt x="263" y="17"/>
                  </a:lnTo>
                  <a:lnTo>
                    <a:pt x="261" y="17"/>
                  </a:lnTo>
                  <a:lnTo>
                    <a:pt x="261" y="17"/>
                  </a:lnTo>
                  <a:lnTo>
                    <a:pt x="259" y="17"/>
                  </a:lnTo>
                  <a:lnTo>
                    <a:pt x="256" y="17"/>
                  </a:lnTo>
                  <a:lnTo>
                    <a:pt x="256" y="15"/>
                  </a:lnTo>
                  <a:lnTo>
                    <a:pt x="256" y="15"/>
                  </a:lnTo>
                  <a:lnTo>
                    <a:pt x="254" y="13"/>
                  </a:lnTo>
                  <a:lnTo>
                    <a:pt x="252" y="13"/>
                  </a:lnTo>
                  <a:lnTo>
                    <a:pt x="252" y="13"/>
                  </a:lnTo>
                  <a:lnTo>
                    <a:pt x="252" y="11"/>
                  </a:lnTo>
                  <a:lnTo>
                    <a:pt x="250" y="9"/>
                  </a:lnTo>
                  <a:lnTo>
                    <a:pt x="250" y="9"/>
                  </a:lnTo>
                  <a:lnTo>
                    <a:pt x="248" y="7"/>
                  </a:lnTo>
                  <a:lnTo>
                    <a:pt x="246" y="5"/>
                  </a:lnTo>
                  <a:lnTo>
                    <a:pt x="246" y="2"/>
                  </a:lnTo>
                  <a:lnTo>
                    <a:pt x="242" y="2"/>
                  </a:lnTo>
                  <a:lnTo>
                    <a:pt x="240" y="2"/>
                  </a:lnTo>
                  <a:lnTo>
                    <a:pt x="240" y="2"/>
                  </a:lnTo>
                  <a:lnTo>
                    <a:pt x="238" y="5"/>
                  </a:lnTo>
                  <a:lnTo>
                    <a:pt x="236" y="5"/>
                  </a:lnTo>
                  <a:lnTo>
                    <a:pt x="236" y="5"/>
                  </a:lnTo>
                  <a:lnTo>
                    <a:pt x="234" y="5"/>
                  </a:lnTo>
                  <a:lnTo>
                    <a:pt x="226" y="2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15" y="0"/>
                  </a:lnTo>
                  <a:lnTo>
                    <a:pt x="213" y="0"/>
                  </a:lnTo>
                  <a:lnTo>
                    <a:pt x="211" y="5"/>
                  </a:lnTo>
                  <a:lnTo>
                    <a:pt x="211" y="5"/>
                  </a:lnTo>
                  <a:lnTo>
                    <a:pt x="209" y="7"/>
                  </a:lnTo>
                  <a:lnTo>
                    <a:pt x="207" y="7"/>
                  </a:lnTo>
                  <a:lnTo>
                    <a:pt x="203" y="7"/>
                  </a:lnTo>
                  <a:lnTo>
                    <a:pt x="199" y="5"/>
                  </a:lnTo>
                  <a:lnTo>
                    <a:pt x="197" y="5"/>
                  </a:lnTo>
                  <a:lnTo>
                    <a:pt x="195" y="7"/>
                  </a:lnTo>
                  <a:lnTo>
                    <a:pt x="191" y="9"/>
                  </a:lnTo>
                  <a:lnTo>
                    <a:pt x="189" y="9"/>
                  </a:lnTo>
                  <a:lnTo>
                    <a:pt x="187" y="9"/>
                  </a:lnTo>
                  <a:lnTo>
                    <a:pt x="183" y="11"/>
                  </a:lnTo>
                  <a:lnTo>
                    <a:pt x="183" y="11"/>
                  </a:lnTo>
                  <a:lnTo>
                    <a:pt x="181" y="11"/>
                  </a:lnTo>
                  <a:lnTo>
                    <a:pt x="178" y="11"/>
                  </a:lnTo>
                  <a:lnTo>
                    <a:pt x="176" y="11"/>
                  </a:lnTo>
                  <a:lnTo>
                    <a:pt x="174" y="11"/>
                  </a:lnTo>
                  <a:lnTo>
                    <a:pt x="172" y="11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68" y="15"/>
                  </a:lnTo>
                  <a:lnTo>
                    <a:pt x="166" y="19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58" y="19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48" y="19"/>
                  </a:lnTo>
                  <a:lnTo>
                    <a:pt x="148" y="17"/>
                  </a:lnTo>
                  <a:lnTo>
                    <a:pt x="146" y="19"/>
                  </a:lnTo>
                  <a:lnTo>
                    <a:pt x="146" y="17"/>
                  </a:lnTo>
                  <a:lnTo>
                    <a:pt x="141" y="17"/>
                  </a:lnTo>
                  <a:lnTo>
                    <a:pt x="139" y="15"/>
                  </a:lnTo>
                  <a:lnTo>
                    <a:pt x="137" y="15"/>
                  </a:lnTo>
                  <a:lnTo>
                    <a:pt x="135" y="15"/>
                  </a:lnTo>
                  <a:lnTo>
                    <a:pt x="133" y="13"/>
                  </a:lnTo>
                  <a:lnTo>
                    <a:pt x="133" y="11"/>
                  </a:lnTo>
                  <a:lnTo>
                    <a:pt x="129" y="9"/>
                  </a:lnTo>
                  <a:lnTo>
                    <a:pt x="127" y="7"/>
                  </a:lnTo>
                  <a:lnTo>
                    <a:pt x="125" y="5"/>
                  </a:lnTo>
                  <a:lnTo>
                    <a:pt x="123" y="5"/>
                  </a:lnTo>
                  <a:lnTo>
                    <a:pt x="121" y="2"/>
                  </a:lnTo>
                  <a:lnTo>
                    <a:pt x="119" y="2"/>
                  </a:lnTo>
                  <a:lnTo>
                    <a:pt x="115" y="5"/>
                  </a:lnTo>
                  <a:lnTo>
                    <a:pt x="111" y="7"/>
                  </a:lnTo>
                  <a:lnTo>
                    <a:pt x="107" y="15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2" y="19"/>
                  </a:lnTo>
                  <a:lnTo>
                    <a:pt x="105" y="21"/>
                  </a:lnTo>
                  <a:lnTo>
                    <a:pt x="105" y="25"/>
                  </a:lnTo>
                  <a:lnTo>
                    <a:pt x="105" y="29"/>
                  </a:lnTo>
                  <a:lnTo>
                    <a:pt x="105" y="33"/>
                  </a:lnTo>
                  <a:lnTo>
                    <a:pt x="105" y="37"/>
                  </a:lnTo>
                  <a:lnTo>
                    <a:pt x="102" y="39"/>
                  </a:lnTo>
                  <a:lnTo>
                    <a:pt x="102" y="44"/>
                  </a:lnTo>
                  <a:lnTo>
                    <a:pt x="100" y="48"/>
                  </a:lnTo>
                  <a:lnTo>
                    <a:pt x="98" y="52"/>
                  </a:lnTo>
                  <a:lnTo>
                    <a:pt x="94" y="60"/>
                  </a:lnTo>
                  <a:lnTo>
                    <a:pt x="96" y="66"/>
                  </a:lnTo>
                  <a:lnTo>
                    <a:pt x="94" y="68"/>
                  </a:lnTo>
                  <a:lnTo>
                    <a:pt x="94" y="70"/>
                  </a:lnTo>
                  <a:lnTo>
                    <a:pt x="92" y="76"/>
                  </a:lnTo>
                  <a:lnTo>
                    <a:pt x="92" y="81"/>
                  </a:lnTo>
                  <a:lnTo>
                    <a:pt x="92" y="87"/>
                  </a:lnTo>
                  <a:lnTo>
                    <a:pt x="92" y="93"/>
                  </a:lnTo>
                  <a:lnTo>
                    <a:pt x="90" y="97"/>
                  </a:lnTo>
                  <a:lnTo>
                    <a:pt x="90" y="103"/>
                  </a:lnTo>
                  <a:lnTo>
                    <a:pt x="90" y="107"/>
                  </a:lnTo>
                  <a:lnTo>
                    <a:pt x="86" y="111"/>
                  </a:lnTo>
                  <a:lnTo>
                    <a:pt x="82" y="116"/>
                  </a:lnTo>
                  <a:lnTo>
                    <a:pt x="80" y="118"/>
                  </a:lnTo>
                  <a:lnTo>
                    <a:pt x="78" y="118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22"/>
                  </a:lnTo>
                  <a:lnTo>
                    <a:pt x="72" y="128"/>
                  </a:lnTo>
                  <a:lnTo>
                    <a:pt x="70" y="130"/>
                  </a:lnTo>
                  <a:lnTo>
                    <a:pt x="70" y="134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6" y="138"/>
                  </a:lnTo>
                  <a:lnTo>
                    <a:pt x="66" y="142"/>
                  </a:lnTo>
                  <a:lnTo>
                    <a:pt x="66" y="153"/>
                  </a:lnTo>
                  <a:lnTo>
                    <a:pt x="66" y="157"/>
                  </a:lnTo>
                  <a:lnTo>
                    <a:pt x="63" y="161"/>
                  </a:lnTo>
                  <a:lnTo>
                    <a:pt x="61" y="167"/>
                  </a:lnTo>
                  <a:lnTo>
                    <a:pt x="59" y="169"/>
                  </a:lnTo>
                  <a:lnTo>
                    <a:pt x="57" y="171"/>
                  </a:lnTo>
                  <a:lnTo>
                    <a:pt x="55" y="171"/>
                  </a:lnTo>
                  <a:lnTo>
                    <a:pt x="53" y="173"/>
                  </a:lnTo>
                  <a:lnTo>
                    <a:pt x="53" y="173"/>
                  </a:lnTo>
                  <a:lnTo>
                    <a:pt x="51" y="175"/>
                  </a:lnTo>
                  <a:lnTo>
                    <a:pt x="49" y="175"/>
                  </a:lnTo>
                  <a:lnTo>
                    <a:pt x="47" y="179"/>
                  </a:lnTo>
                  <a:lnTo>
                    <a:pt x="45" y="183"/>
                  </a:lnTo>
                  <a:lnTo>
                    <a:pt x="41" y="185"/>
                  </a:lnTo>
                  <a:lnTo>
                    <a:pt x="41" y="188"/>
                  </a:lnTo>
                  <a:lnTo>
                    <a:pt x="39" y="188"/>
                  </a:lnTo>
                  <a:lnTo>
                    <a:pt x="39" y="185"/>
                  </a:lnTo>
                  <a:lnTo>
                    <a:pt x="37" y="185"/>
                  </a:lnTo>
                  <a:lnTo>
                    <a:pt x="37" y="185"/>
                  </a:lnTo>
                  <a:lnTo>
                    <a:pt x="37" y="185"/>
                  </a:lnTo>
                  <a:lnTo>
                    <a:pt x="37" y="185"/>
                  </a:lnTo>
                  <a:lnTo>
                    <a:pt x="37" y="185"/>
                  </a:lnTo>
                  <a:lnTo>
                    <a:pt x="37" y="183"/>
                  </a:lnTo>
                  <a:lnTo>
                    <a:pt x="35" y="181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37" y="177"/>
                  </a:lnTo>
                  <a:lnTo>
                    <a:pt x="37" y="177"/>
                  </a:lnTo>
                  <a:lnTo>
                    <a:pt x="35" y="175"/>
                  </a:lnTo>
                  <a:lnTo>
                    <a:pt x="35" y="175"/>
                  </a:lnTo>
                  <a:lnTo>
                    <a:pt x="33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29" y="179"/>
                  </a:lnTo>
                  <a:lnTo>
                    <a:pt x="29" y="179"/>
                  </a:lnTo>
                  <a:lnTo>
                    <a:pt x="27" y="179"/>
                  </a:lnTo>
                  <a:lnTo>
                    <a:pt x="27" y="179"/>
                  </a:lnTo>
                  <a:lnTo>
                    <a:pt x="27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81"/>
                  </a:lnTo>
                  <a:lnTo>
                    <a:pt x="24" y="181"/>
                  </a:lnTo>
                  <a:lnTo>
                    <a:pt x="24" y="183"/>
                  </a:lnTo>
                  <a:lnTo>
                    <a:pt x="24" y="183"/>
                  </a:lnTo>
                  <a:lnTo>
                    <a:pt x="22" y="185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1"/>
                  </a:lnTo>
                  <a:lnTo>
                    <a:pt x="16" y="181"/>
                  </a:lnTo>
                  <a:lnTo>
                    <a:pt x="14" y="181"/>
                  </a:lnTo>
                  <a:lnTo>
                    <a:pt x="14" y="181"/>
                  </a:lnTo>
                  <a:lnTo>
                    <a:pt x="14" y="183"/>
                  </a:lnTo>
                  <a:lnTo>
                    <a:pt x="12" y="183"/>
                  </a:lnTo>
                  <a:lnTo>
                    <a:pt x="10" y="183"/>
                  </a:lnTo>
                  <a:lnTo>
                    <a:pt x="8" y="188"/>
                  </a:lnTo>
                  <a:lnTo>
                    <a:pt x="6" y="188"/>
                  </a:lnTo>
                  <a:lnTo>
                    <a:pt x="6" y="190"/>
                  </a:lnTo>
                  <a:lnTo>
                    <a:pt x="6" y="190"/>
                  </a:lnTo>
                  <a:lnTo>
                    <a:pt x="4" y="190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6"/>
                  </a:lnTo>
                  <a:lnTo>
                    <a:pt x="6" y="202"/>
                  </a:lnTo>
                  <a:lnTo>
                    <a:pt x="4" y="202"/>
                  </a:lnTo>
                  <a:lnTo>
                    <a:pt x="4" y="202"/>
                  </a:lnTo>
                  <a:lnTo>
                    <a:pt x="2" y="202"/>
                  </a:lnTo>
                  <a:lnTo>
                    <a:pt x="0" y="202"/>
                  </a:lnTo>
                  <a:lnTo>
                    <a:pt x="0" y="204"/>
                  </a:lnTo>
                  <a:lnTo>
                    <a:pt x="2" y="206"/>
                  </a:lnTo>
                  <a:lnTo>
                    <a:pt x="4" y="206"/>
                  </a:lnTo>
                  <a:lnTo>
                    <a:pt x="4" y="208"/>
                  </a:lnTo>
                  <a:lnTo>
                    <a:pt x="6" y="208"/>
                  </a:lnTo>
                  <a:lnTo>
                    <a:pt x="8" y="206"/>
                  </a:lnTo>
                  <a:lnTo>
                    <a:pt x="10" y="206"/>
                  </a:lnTo>
                  <a:lnTo>
                    <a:pt x="10" y="204"/>
                  </a:lnTo>
                  <a:lnTo>
                    <a:pt x="12" y="204"/>
                  </a:lnTo>
                  <a:lnTo>
                    <a:pt x="14" y="204"/>
                  </a:lnTo>
                  <a:lnTo>
                    <a:pt x="16" y="204"/>
                  </a:lnTo>
                  <a:lnTo>
                    <a:pt x="18" y="206"/>
                  </a:lnTo>
                  <a:lnTo>
                    <a:pt x="18" y="204"/>
                  </a:lnTo>
                  <a:lnTo>
                    <a:pt x="18" y="204"/>
                  </a:lnTo>
                  <a:lnTo>
                    <a:pt x="24" y="204"/>
                  </a:lnTo>
                  <a:lnTo>
                    <a:pt x="24" y="204"/>
                  </a:lnTo>
                  <a:lnTo>
                    <a:pt x="29" y="204"/>
                  </a:lnTo>
                  <a:lnTo>
                    <a:pt x="31" y="204"/>
                  </a:lnTo>
                  <a:lnTo>
                    <a:pt x="33" y="204"/>
                  </a:lnTo>
                  <a:lnTo>
                    <a:pt x="35" y="206"/>
                  </a:lnTo>
                  <a:lnTo>
                    <a:pt x="41" y="206"/>
                  </a:lnTo>
                  <a:lnTo>
                    <a:pt x="41" y="206"/>
                  </a:lnTo>
                  <a:lnTo>
                    <a:pt x="47" y="204"/>
                  </a:lnTo>
                  <a:lnTo>
                    <a:pt x="53" y="204"/>
                  </a:lnTo>
                  <a:lnTo>
                    <a:pt x="57" y="204"/>
                  </a:lnTo>
                  <a:lnTo>
                    <a:pt x="63" y="204"/>
                  </a:lnTo>
                  <a:lnTo>
                    <a:pt x="68" y="204"/>
                  </a:lnTo>
                  <a:lnTo>
                    <a:pt x="68" y="206"/>
                  </a:lnTo>
                  <a:lnTo>
                    <a:pt x="70" y="206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10"/>
                  </a:lnTo>
                  <a:lnTo>
                    <a:pt x="74" y="210"/>
                  </a:lnTo>
                  <a:lnTo>
                    <a:pt x="74" y="212"/>
                  </a:lnTo>
                  <a:lnTo>
                    <a:pt x="74" y="214"/>
                  </a:lnTo>
                  <a:lnTo>
                    <a:pt x="74" y="216"/>
                  </a:lnTo>
                  <a:lnTo>
                    <a:pt x="74" y="218"/>
                  </a:lnTo>
                  <a:lnTo>
                    <a:pt x="74" y="220"/>
                  </a:lnTo>
                  <a:lnTo>
                    <a:pt x="76" y="225"/>
                  </a:lnTo>
                  <a:lnTo>
                    <a:pt x="78" y="227"/>
                  </a:lnTo>
                  <a:lnTo>
                    <a:pt x="78" y="229"/>
                  </a:lnTo>
                  <a:lnTo>
                    <a:pt x="78" y="231"/>
                  </a:lnTo>
                  <a:lnTo>
                    <a:pt x="78" y="233"/>
                  </a:lnTo>
                  <a:lnTo>
                    <a:pt x="80" y="233"/>
                  </a:lnTo>
                  <a:lnTo>
                    <a:pt x="80" y="235"/>
                  </a:lnTo>
                  <a:lnTo>
                    <a:pt x="82" y="237"/>
                  </a:lnTo>
                  <a:lnTo>
                    <a:pt x="84" y="241"/>
                  </a:lnTo>
                  <a:lnTo>
                    <a:pt x="86" y="245"/>
                  </a:lnTo>
                  <a:lnTo>
                    <a:pt x="86" y="245"/>
                  </a:lnTo>
                  <a:lnTo>
                    <a:pt x="88" y="245"/>
                  </a:lnTo>
                  <a:lnTo>
                    <a:pt x="90" y="245"/>
                  </a:lnTo>
                  <a:lnTo>
                    <a:pt x="92" y="245"/>
                  </a:lnTo>
                  <a:lnTo>
                    <a:pt x="94" y="245"/>
                  </a:lnTo>
                  <a:lnTo>
                    <a:pt x="94" y="245"/>
                  </a:lnTo>
                  <a:lnTo>
                    <a:pt x="96" y="245"/>
                  </a:lnTo>
                  <a:lnTo>
                    <a:pt x="98" y="243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105" y="243"/>
                  </a:lnTo>
                  <a:lnTo>
                    <a:pt x="109" y="243"/>
                  </a:lnTo>
                  <a:lnTo>
                    <a:pt x="109" y="243"/>
                  </a:lnTo>
                  <a:lnTo>
                    <a:pt x="113" y="243"/>
                  </a:lnTo>
                  <a:lnTo>
                    <a:pt x="115" y="243"/>
                  </a:lnTo>
                  <a:lnTo>
                    <a:pt x="117" y="239"/>
                  </a:lnTo>
                  <a:lnTo>
                    <a:pt x="117" y="237"/>
                  </a:lnTo>
                  <a:lnTo>
                    <a:pt x="117" y="237"/>
                  </a:lnTo>
                  <a:lnTo>
                    <a:pt x="117" y="235"/>
                  </a:lnTo>
                  <a:lnTo>
                    <a:pt x="117" y="233"/>
                  </a:lnTo>
                  <a:lnTo>
                    <a:pt x="117" y="231"/>
                  </a:lnTo>
                  <a:lnTo>
                    <a:pt x="119" y="229"/>
                  </a:lnTo>
                  <a:lnTo>
                    <a:pt x="121" y="227"/>
                  </a:lnTo>
                  <a:lnTo>
                    <a:pt x="125" y="225"/>
                  </a:lnTo>
                  <a:lnTo>
                    <a:pt x="127" y="225"/>
                  </a:lnTo>
                  <a:lnTo>
                    <a:pt x="129" y="225"/>
                  </a:lnTo>
                  <a:lnTo>
                    <a:pt x="133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35" y="231"/>
                  </a:lnTo>
                  <a:lnTo>
                    <a:pt x="135" y="231"/>
                  </a:lnTo>
                  <a:lnTo>
                    <a:pt x="141" y="231"/>
                  </a:lnTo>
                  <a:lnTo>
                    <a:pt x="146" y="231"/>
                  </a:lnTo>
                  <a:lnTo>
                    <a:pt x="150" y="231"/>
                  </a:lnTo>
                  <a:lnTo>
                    <a:pt x="154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3"/>
                  </a:lnTo>
                  <a:lnTo>
                    <a:pt x="156" y="237"/>
                  </a:lnTo>
                  <a:lnTo>
                    <a:pt x="156" y="241"/>
                  </a:lnTo>
                  <a:lnTo>
                    <a:pt x="156" y="245"/>
                  </a:lnTo>
                  <a:lnTo>
                    <a:pt x="156" y="251"/>
                  </a:lnTo>
                  <a:lnTo>
                    <a:pt x="156" y="257"/>
                  </a:lnTo>
                  <a:lnTo>
                    <a:pt x="156" y="262"/>
                  </a:lnTo>
                  <a:lnTo>
                    <a:pt x="156" y="266"/>
                  </a:lnTo>
                  <a:lnTo>
                    <a:pt x="156" y="272"/>
                  </a:lnTo>
                  <a:lnTo>
                    <a:pt x="156" y="274"/>
                  </a:lnTo>
                  <a:lnTo>
                    <a:pt x="158" y="276"/>
                  </a:lnTo>
                  <a:lnTo>
                    <a:pt x="160" y="278"/>
                  </a:lnTo>
                  <a:lnTo>
                    <a:pt x="162" y="282"/>
                  </a:lnTo>
                  <a:lnTo>
                    <a:pt x="162" y="286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290"/>
                  </a:lnTo>
                  <a:lnTo>
                    <a:pt x="162" y="292"/>
                  </a:lnTo>
                  <a:lnTo>
                    <a:pt x="162" y="294"/>
                  </a:lnTo>
                  <a:lnTo>
                    <a:pt x="162" y="296"/>
                  </a:lnTo>
                  <a:lnTo>
                    <a:pt x="160" y="296"/>
                  </a:lnTo>
                  <a:lnTo>
                    <a:pt x="162" y="299"/>
                  </a:lnTo>
                  <a:lnTo>
                    <a:pt x="162" y="301"/>
                  </a:lnTo>
                  <a:lnTo>
                    <a:pt x="162" y="303"/>
                  </a:lnTo>
                  <a:lnTo>
                    <a:pt x="162" y="303"/>
                  </a:lnTo>
                  <a:lnTo>
                    <a:pt x="162" y="303"/>
                  </a:lnTo>
                  <a:lnTo>
                    <a:pt x="164" y="303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8" y="301"/>
                  </a:lnTo>
                  <a:lnTo>
                    <a:pt x="170" y="301"/>
                  </a:lnTo>
                  <a:lnTo>
                    <a:pt x="174" y="301"/>
                  </a:lnTo>
                  <a:lnTo>
                    <a:pt x="176" y="301"/>
                  </a:lnTo>
                  <a:lnTo>
                    <a:pt x="181" y="299"/>
                  </a:lnTo>
                  <a:lnTo>
                    <a:pt x="183" y="299"/>
                  </a:lnTo>
                  <a:lnTo>
                    <a:pt x="183" y="299"/>
                  </a:lnTo>
                  <a:lnTo>
                    <a:pt x="185" y="299"/>
                  </a:lnTo>
                  <a:lnTo>
                    <a:pt x="187" y="299"/>
                  </a:lnTo>
                  <a:lnTo>
                    <a:pt x="189" y="299"/>
                  </a:lnTo>
                  <a:lnTo>
                    <a:pt x="189" y="299"/>
                  </a:lnTo>
                  <a:lnTo>
                    <a:pt x="189" y="296"/>
                  </a:lnTo>
                  <a:lnTo>
                    <a:pt x="189" y="296"/>
                  </a:lnTo>
                  <a:lnTo>
                    <a:pt x="191" y="296"/>
                  </a:lnTo>
                  <a:lnTo>
                    <a:pt x="191" y="296"/>
                  </a:lnTo>
                  <a:lnTo>
                    <a:pt x="193" y="299"/>
                  </a:lnTo>
                  <a:lnTo>
                    <a:pt x="193" y="299"/>
                  </a:lnTo>
                  <a:lnTo>
                    <a:pt x="193" y="301"/>
                  </a:lnTo>
                  <a:lnTo>
                    <a:pt x="195" y="301"/>
                  </a:lnTo>
                  <a:lnTo>
                    <a:pt x="197" y="301"/>
                  </a:lnTo>
                  <a:lnTo>
                    <a:pt x="197" y="305"/>
                  </a:lnTo>
                  <a:lnTo>
                    <a:pt x="197" y="305"/>
                  </a:lnTo>
                  <a:lnTo>
                    <a:pt x="195" y="307"/>
                  </a:lnTo>
                  <a:lnTo>
                    <a:pt x="197" y="307"/>
                  </a:lnTo>
                  <a:lnTo>
                    <a:pt x="197" y="307"/>
                  </a:lnTo>
                  <a:lnTo>
                    <a:pt x="199" y="307"/>
                  </a:lnTo>
                  <a:lnTo>
                    <a:pt x="201" y="305"/>
                  </a:lnTo>
                  <a:lnTo>
                    <a:pt x="201" y="305"/>
                  </a:lnTo>
                  <a:lnTo>
                    <a:pt x="203" y="305"/>
                  </a:lnTo>
                  <a:lnTo>
                    <a:pt x="205" y="305"/>
                  </a:lnTo>
                  <a:lnTo>
                    <a:pt x="207" y="305"/>
                  </a:lnTo>
                  <a:lnTo>
                    <a:pt x="209" y="303"/>
                  </a:lnTo>
                  <a:lnTo>
                    <a:pt x="209" y="303"/>
                  </a:lnTo>
                  <a:lnTo>
                    <a:pt x="211" y="303"/>
                  </a:lnTo>
                  <a:lnTo>
                    <a:pt x="211" y="303"/>
                  </a:lnTo>
                  <a:lnTo>
                    <a:pt x="211" y="305"/>
                  </a:lnTo>
                  <a:lnTo>
                    <a:pt x="211" y="307"/>
                  </a:lnTo>
                  <a:lnTo>
                    <a:pt x="211" y="309"/>
                  </a:lnTo>
                  <a:lnTo>
                    <a:pt x="211" y="311"/>
                  </a:lnTo>
                  <a:lnTo>
                    <a:pt x="213" y="311"/>
                  </a:lnTo>
                  <a:lnTo>
                    <a:pt x="213" y="311"/>
                  </a:lnTo>
                  <a:lnTo>
                    <a:pt x="213" y="313"/>
                  </a:lnTo>
                  <a:lnTo>
                    <a:pt x="215" y="313"/>
                  </a:lnTo>
                  <a:lnTo>
                    <a:pt x="220" y="315"/>
                  </a:lnTo>
                  <a:lnTo>
                    <a:pt x="222" y="315"/>
                  </a:lnTo>
                  <a:lnTo>
                    <a:pt x="224" y="315"/>
                  </a:lnTo>
                  <a:lnTo>
                    <a:pt x="224" y="315"/>
                  </a:lnTo>
                  <a:lnTo>
                    <a:pt x="228" y="317"/>
                  </a:lnTo>
                  <a:lnTo>
                    <a:pt x="230" y="317"/>
                  </a:lnTo>
                  <a:lnTo>
                    <a:pt x="232" y="317"/>
                  </a:lnTo>
                  <a:lnTo>
                    <a:pt x="234" y="317"/>
                  </a:lnTo>
                  <a:lnTo>
                    <a:pt x="236" y="317"/>
                  </a:lnTo>
                  <a:lnTo>
                    <a:pt x="236" y="317"/>
                  </a:lnTo>
                  <a:lnTo>
                    <a:pt x="238" y="315"/>
                  </a:lnTo>
                  <a:lnTo>
                    <a:pt x="238" y="315"/>
                  </a:lnTo>
                  <a:lnTo>
                    <a:pt x="238" y="315"/>
                  </a:lnTo>
                  <a:lnTo>
                    <a:pt x="238" y="311"/>
                  </a:lnTo>
                  <a:lnTo>
                    <a:pt x="240" y="311"/>
                  </a:lnTo>
                  <a:lnTo>
                    <a:pt x="240" y="311"/>
                  </a:lnTo>
                  <a:lnTo>
                    <a:pt x="240" y="309"/>
                  </a:lnTo>
                  <a:lnTo>
                    <a:pt x="242" y="311"/>
                  </a:lnTo>
                  <a:lnTo>
                    <a:pt x="242" y="313"/>
                  </a:lnTo>
                  <a:lnTo>
                    <a:pt x="244" y="317"/>
                  </a:lnTo>
                  <a:lnTo>
                    <a:pt x="246" y="319"/>
                  </a:lnTo>
                  <a:lnTo>
                    <a:pt x="246" y="321"/>
                  </a:lnTo>
                  <a:lnTo>
                    <a:pt x="248" y="321"/>
                  </a:lnTo>
                  <a:lnTo>
                    <a:pt x="248" y="323"/>
                  </a:lnTo>
                  <a:lnTo>
                    <a:pt x="250" y="323"/>
                  </a:lnTo>
                  <a:lnTo>
                    <a:pt x="252" y="323"/>
                  </a:lnTo>
                  <a:lnTo>
                    <a:pt x="254" y="323"/>
                  </a:lnTo>
                  <a:lnTo>
                    <a:pt x="259" y="325"/>
                  </a:lnTo>
                  <a:lnTo>
                    <a:pt x="261" y="325"/>
                  </a:lnTo>
                  <a:lnTo>
                    <a:pt x="261" y="327"/>
                  </a:lnTo>
                  <a:lnTo>
                    <a:pt x="261" y="327"/>
                  </a:lnTo>
                  <a:lnTo>
                    <a:pt x="263" y="329"/>
                  </a:lnTo>
                  <a:lnTo>
                    <a:pt x="263" y="331"/>
                  </a:lnTo>
                  <a:lnTo>
                    <a:pt x="263" y="333"/>
                  </a:lnTo>
                  <a:lnTo>
                    <a:pt x="265" y="333"/>
                  </a:lnTo>
                  <a:lnTo>
                    <a:pt x="265" y="333"/>
                  </a:lnTo>
                  <a:lnTo>
                    <a:pt x="267" y="333"/>
                  </a:lnTo>
                  <a:lnTo>
                    <a:pt x="267" y="336"/>
                  </a:lnTo>
                  <a:lnTo>
                    <a:pt x="269" y="338"/>
                  </a:lnTo>
                  <a:lnTo>
                    <a:pt x="269" y="340"/>
                  </a:lnTo>
                  <a:lnTo>
                    <a:pt x="269" y="342"/>
                  </a:lnTo>
                  <a:lnTo>
                    <a:pt x="271" y="342"/>
                  </a:lnTo>
                  <a:lnTo>
                    <a:pt x="271" y="344"/>
                  </a:lnTo>
                  <a:lnTo>
                    <a:pt x="273" y="344"/>
                  </a:lnTo>
                  <a:lnTo>
                    <a:pt x="275" y="342"/>
                  </a:lnTo>
                  <a:lnTo>
                    <a:pt x="277" y="342"/>
                  </a:lnTo>
                  <a:lnTo>
                    <a:pt x="277" y="340"/>
                  </a:lnTo>
                  <a:lnTo>
                    <a:pt x="279" y="340"/>
                  </a:lnTo>
                  <a:lnTo>
                    <a:pt x="279" y="340"/>
                  </a:lnTo>
                  <a:lnTo>
                    <a:pt x="281" y="342"/>
                  </a:lnTo>
                  <a:lnTo>
                    <a:pt x="281" y="342"/>
                  </a:lnTo>
                  <a:lnTo>
                    <a:pt x="281" y="344"/>
                  </a:lnTo>
                  <a:lnTo>
                    <a:pt x="281" y="344"/>
                  </a:lnTo>
                  <a:lnTo>
                    <a:pt x="283" y="344"/>
                  </a:lnTo>
                  <a:lnTo>
                    <a:pt x="283" y="344"/>
                  </a:lnTo>
                  <a:lnTo>
                    <a:pt x="283" y="342"/>
                  </a:lnTo>
                  <a:lnTo>
                    <a:pt x="283" y="340"/>
                  </a:lnTo>
                  <a:lnTo>
                    <a:pt x="283" y="336"/>
                  </a:lnTo>
                  <a:lnTo>
                    <a:pt x="283" y="333"/>
                  </a:lnTo>
                  <a:lnTo>
                    <a:pt x="283" y="329"/>
                  </a:lnTo>
                  <a:lnTo>
                    <a:pt x="283" y="325"/>
                  </a:lnTo>
                  <a:lnTo>
                    <a:pt x="283" y="323"/>
                  </a:lnTo>
                  <a:lnTo>
                    <a:pt x="283" y="321"/>
                  </a:lnTo>
                  <a:lnTo>
                    <a:pt x="283" y="321"/>
                  </a:lnTo>
                  <a:lnTo>
                    <a:pt x="281" y="321"/>
                  </a:lnTo>
                  <a:lnTo>
                    <a:pt x="279" y="321"/>
                  </a:lnTo>
                  <a:lnTo>
                    <a:pt x="279" y="321"/>
                  </a:lnTo>
                  <a:lnTo>
                    <a:pt x="279" y="323"/>
                  </a:lnTo>
                  <a:lnTo>
                    <a:pt x="279" y="323"/>
                  </a:lnTo>
                  <a:lnTo>
                    <a:pt x="279" y="325"/>
                  </a:lnTo>
                  <a:lnTo>
                    <a:pt x="279" y="325"/>
                  </a:lnTo>
                  <a:lnTo>
                    <a:pt x="277" y="325"/>
                  </a:lnTo>
                  <a:lnTo>
                    <a:pt x="275" y="325"/>
                  </a:lnTo>
                  <a:lnTo>
                    <a:pt x="273" y="323"/>
                  </a:lnTo>
                  <a:lnTo>
                    <a:pt x="271" y="323"/>
                  </a:lnTo>
                  <a:lnTo>
                    <a:pt x="271" y="321"/>
                  </a:lnTo>
                  <a:lnTo>
                    <a:pt x="269" y="319"/>
                  </a:lnTo>
                  <a:lnTo>
                    <a:pt x="267" y="319"/>
                  </a:lnTo>
                  <a:lnTo>
                    <a:pt x="263" y="315"/>
                  </a:lnTo>
                  <a:lnTo>
                    <a:pt x="263" y="315"/>
                  </a:lnTo>
                  <a:lnTo>
                    <a:pt x="263" y="313"/>
                  </a:lnTo>
                  <a:lnTo>
                    <a:pt x="261" y="311"/>
                  </a:lnTo>
                  <a:lnTo>
                    <a:pt x="261" y="311"/>
                  </a:lnTo>
                  <a:lnTo>
                    <a:pt x="261" y="309"/>
                  </a:lnTo>
                  <a:lnTo>
                    <a:pt x="261" y="309"/>
                  </a:lnTo>
                  <a:lnTo>
                    <a:pt x="261" y="305"/>
                  </a:lnTo>
                  <a:lnTo>
                    <a:pt x="263" y="301"/>
                  </a:lnTo>
                  <a:lnTo>
                    <a:pt x="263" y="299"/>
                  </a:lnTo>
                  <a:lnTo>
                    <a:pt x="263" y="294"/>
                  </a:lnTo>
                  <a:lnTo>
                    <a:pt x="265" y="292"/>
                  </a:lnTo>
                  <a:lnTo>
                    <a:pt x="265" y="290"/>
                  </a:lnTo>
                  <a:lnTo>
                    <a:pt x="265" y="288"/>
                  </a:lnTo>
                  <a:lnTo>
                    <a:pt x="265" y="286"/>
                  </a:lnTo>
                  <a:lnTo>
                    <a:pt x="265" y="282"/>
                  </a:lnTo>
                  <a:lnTo>
                    <a:pt x="265" y="280"/>
                  </a:lnTo>
                  <a:lnTo>
                    <a:pt x="265" y="278"/>
                  </a:lnTo>
                  <a:lnTo>
                    <a:pt x="265" y="274"/>
                  </a:lnTo>
                  <a:lnTo>
                    <a:pt x="265" y="272"/>
                  </a:lnTo>
                  <a:lnTo>
                    <a:pt x="261" y="268"/>
                  </a:lnTo>
                  <a:lnTo>
                    <a:pt x="261" y="266"/>
                  </a:lnTo>
                  <a:lnTo>
                    <a:pt x="263" y="266"/>
                  </a:lnTo>
                  <a:lnTo>
                    <a:pt x="265" y="264"/>
                  </a:lnTo>
                  <a:lnTo>
                    <a:pt x="267" y="264"/>
                  </a:lnTo>
                  <a:lnTo>
                    <a:pt x="267" y="262"/>
                  </a:lnTo>
                  <a:lnTo>
                    <a:pt x="269" y="259"/>
                  </a:lnTo>
                  <a:lnTo>
                    <a:pt x="269" y="257"/>
                  </a:lnTo>
                  <a:lnTo>
                    <a:pt x="271" y="257"/>
                  </a:lnTo>
                  <a:lnTo>
                    <a:pt x="271" y="255"/>
                  </a:lnTo>
                  <a:lnTo>
                    <a:pt x="269" y="253"/>
                  </a:lnTo>
                  <a:lnTo>
                    <a:pt x="271" y="253"/>
                  </a:lnTo>
                  <a:lnTo>
                    <a:pt x="275" y="251"/>
                  </a:lnTo>
                  <a:lnTo>
                    <a:pt x="279" y="251"/>
                  </a:lnTo>
                  <a:lnTo>
                    <a:pt x="283" y="251"/>
                  </a:lnTo>
                  <a:lnTo>
                    <a:pt x="289" y="249"/>
                  </a:lnTo>
                  <a:lnTo>
                    <a:pt x="293" y="249"/>
                  </a:lnTo>
                  <a:lnTo>
                    <a:pt x="298" y="247"/>
                  </a:lnTo>
                  <a:lnTo>
                    <a:pt x="300" y="247"/>
                  </a:lnTo>
                  <a:lnTo>
                    <a:pt x="300" y="245"/>
                  </a:lnTo>
                  <a:lnTo>
                    <a:pt x="298" y="243"/>
                  </a:lnTo>
                  <a:lnTo>
                    <a:pt x="298" y="241"/>
                  </a:lnTo>
                  <a:lnTo>
                    <a:pt x="295" y="237"/>
                  </a:lnTo>
                  <a:lnTo>
                    <a:pt x="293" y="235"/>
                  </a:lnTo>
                  <a:lnTo>
                    <a:pt x="293" y="233"/>
                  </a:lnTo>
                  <a:lnTo>
                    <a:pt x="293" y="229"/>
                  </a:lnTo>
                  <a:lnTo>
                    <a:pt x="291" y="227"/>
                  </a:lnTo>
                  <a:lnTo>
                    <a:pt x="291" y="225"/>
                  </a:lnTo>
                  <a:lnTo>
                    <a:pt x="289" y="225"/>
                  </a:lnTo>
                  <a:lnTo>
                    <a:pt x="287" y="222"/>
                  </a:lnTo>
                  <a:lnTo>
                    <a:pt x="285" y="220"/>
                  </a:lnTo>
                  <a:lnTo>
                    <a:pt x="283" y="218"/>
                  </a:lnTo>
                  <a:lnTo>
                    <a:pt x="281" y="214"/>
                  </a:lnTo>
                  <a:lnTo>
                    <a:pt x="281" y="212"/>
                  </a:lnTo>
                  <a:lnTo>
                    <a:pt x="279" y="210"/>
                  </a:lnTo>
                  <a:lnTo>
                    <a:pt x="279" y="208"/>
                  </a:lnTo>
                  <a:lnTo>
                    <a:pt x="279" y="206"/>
                  </a:lnTo>
                  <a:lnTo>
                    <a:pt x="281" y="204"/>
                  </a:lnTo>
                  <a:lnTo>
                    <a:pt x="281" y="202"/>
                  </a:lnTo>
                  <a:lnTo>
                    <a:pt x="281" y="200"/>
                  </a:lnTo>
                  <a:lnTo>
                    <a:pt x="281" y="198"/>
                  </a:lnTo>
                  <a:lnTo>
                    <a:pt x="279" y="196"/>
                  </a:lnTo>
                  <a:lnTo>
                    <a:pt x="279" y="194"/>
                  </a:lnTo>
                  <a:lnTo>
                    <a:pt x="279" y="192"/>
                  </a:lnTo>
                  <a:lnTo>
                    <a:pt x="277" y="190"/>
                  </a:lnTo>
                  <a:lnTo>
                    <a:pt x="277" y="188"/>
                  </a:lnTo>
                  <a:lnTo>
                    <a:pt x="277" y="185"/>
                  </a:lnTo>
                  <a:lnTo>
                    <a:pt x="277" y="183"/>
                  </a:lnTo>
                  <a:lnTo>
                    <a:pt x="279" y="179"/>
                  </a:lnTo>
                  <a:lnTo>
                    <a:pt x="279" y="179"/>
                  </a:lnTo>
                  <a:lnTo>
                    <a:pt x="279" y="175"/>
                  </a:lnTo>
                  <a:lnTo>
                    <a:pt x="277" y="173"/>
                  </a:lnTo>
                  <a:lnTo>
                    <a:pt x="275" y="169"/>
                  </a:lnTo>
                  <a:lnTo>
                    <a:pt x="275" y="167"/>
                  </a:lnTo>
                  <a:lnTo>
                    <a:pt x="275" y="165"/>
                  </a:lnTo>
                  <a:lnTo>
                    <a:pt x="275" y="161"/>
                  </a:lnTo>
                  <a:lnTo>
                    <a:pt x="275" y="159"/>
                  </a:lnTo>
                  <a:lnTo>
                    <a:pt x="275" y="157"/>
                  </a:lnTo>
                  <a:lnTo>
                    <a:pt x="275" y="155"/>
                  </a:lnTo>
                  <a:lnTo>
                    <a:pt x="275" y="153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73" y="148"/>
                  </a:lnTo>
                  <a:lnTo>
                    <a:pt x="273" y="148"/>
                  </a:lnTo>
                  <a:lnTo>
                    <a:pt x="273" y="146"/>
                  </a:lnTo>
                  <a:lnTo>
                    <a:pt x="271" y="146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1" y="142"/>
                  </a:lnTo>
                  <a:lnTo>
                    <a:pt x="271" y="140"/>
                  </a:lnTo>
                  <a:lnTo>
                    <a:pt x="271" y="140"/>
                  </a:lnTo>
                  <a:lnTo>
                    <a:pt x="273" y="140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6"/>
                  </a:lnTo>
                  <a:lnTo>
                    <a:pt x="275" y="134"/>
                  </a:lnTo>
                  <a:lnTo>
                    <a:pt x="275" y="132"/>
                  </a:lnTo>
                  <a:lnTo>
                    <a:pt x="275" y="130"/>
                  </a:lnTo>
                  <a:lnTo>
                    <a:pt x="275" y="128"/>
                  </a:lnTo>
                  <a:lnTo>
                    <a:pt x="277" y="128"/>
                  </a:lnTo>
                  <a:lnTo>
                    <a:pt x="277" y="126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81" y="124"/>
                  </a:lnTo>
                  <a:lnTo>
                    <a:pt x="281" y="122"/>
                  </a:lnTo>
                  <a:lnTo>
                    <a:pt x="281" y="122"/>
                  </a:lnTo>
                  <a:lnTo>
                    <a:pt x="281" y="118"/>
                  </a:lnTo>
                  <a:lnTo>
                    <a:pt x="281" y="116"/>
                  </a:lnTo>
                  <a:lnTo>
                    <a:pt x="281" y="113"/>
                  </a:lnTo>
                  <a:lnTo>
                    <a:pt x="281" y="111"/>
                  </a:lnTo>
                  <a:lnTo>
                    <a:pt x="283" y="109"/>
                  </a:lnTo>
                  <a:lnTo>
                    <a:pt x="283" y="107"/>
                  </a:lnTo>
                  <a:lnTo>
                    <a:pt x="283" y="105"/>
                  </a:lnTo>
                  <a:lnTo>
                    <a:pt x="283" y="99"/>
                  </a:lnTo>
                  <a:lnTo>
                    <a:pt x="283" y="99"/>
                  </a:lnTo>
                  <a:lnTo>
                    <a:pt x="283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5" y="93"/>
                  </a:lnTo>
                  <a:lnTo>
                    <a:pt x="287" y="89"/>
                  </a:lnTo>
                  <a:lnTo>
                    <a:pt x="287" y="89"/>
                  </a:lnTo>
                  <a:lnTo>
                    <a:pt x="287" y="85"/>
                  </a:lnTo>
                  <a:lnTo>
                    <a:pt x="287" y="83"/>
                  </a:lnTo>
                  <a:lnTo>
                    <a:pt x="287" y="83"/>
                  </a:lnTo>
                  <a:lnTo>
                    <a:pt x="289" y="81"/>
                  </a:lnTo>
                  <a:lnTo>
                    <a:pt x="291" y="79"/>
                  </a:lnTo>
                  <a:lnTo>
                    <a:pt x="291" y="76"/>
                  </a:lnTo>
                  <a:lnTo>
                    <a:pt x="293" y="74"/>
                  </a:lnTo>
                  <a:lnTo>
                    <a:pt x="295" y="74"/>
                  </a:lnTo>
                  <a:lnTo>
                    <a:pt x="295" y="74"/>
                  </a:lnTo>
                  <a:lnTo>
                    <a:pt x="304" y="66"/>
                  </a:lnTo>
                  <a:lnTo>
                    <a:pt x="308" y="62"/>
                  </a:lnTo>
                  <a:lnTo>
                    <a:pt x="308" y="60"/>
                  </a:lnTo>
                  <a:lnTo>
                    <a:pt x="308" y="58"/>
                  </a:lnTo>
                  <a:lnTo>
                    <a:pt x="310" y="58"/>
                  </a:lnTo>
                  <a:lnTo>
                    <a:pt x="308" y="5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9" name="Freeform 192">
              <a:extLst>
                <a:ext uri="{FF2B5EF4-FFF2-40B4-BE49-F238E27FC236}">
                  <a16:creationId xmlns:a16="http://schemas.microsoft.com/office/drawing/2014/main" id="{A06440BB-286B-9143-B4BE-F122E89C5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7717" y="2425035"/>
              <a:ext cx="114085" cy="53477"/>
            </a:xfrm>
            <a:custGeom>
              <a:avLst/>
              <a:gdLst>
                <a:gd name="T0" fmla="*/ 92 w 96"/>
                <a:gd name="T1" fmla="*/ 22 h 45"/>
                <a:gd name="T2" fmla="*/ 88 w 96"/>
                <a:gd name="T3" fmla="*/ 20 h 45"/>
                <a:gd name="T4" fmla="*/ 84 w 96"/>
                <a:gd name="T5" fmla="*/ 18 h 45"/>
                <a:gd name="T6" fmla="*/ 84 w 96"/>
                <a:gd name="T7" fmla="*/ 18 h 45"/>
                <a:gd name="T8" fmla="*/ 80 w 96"/>
                <a:gd name="T9" fmla="*/ 18 h 45"/>
                <a:gd name="T10" fmla="*/ 78 w 96"/>
                <a:gd name="T11" fmla="*/ 16 h 45"/>
                <a:gd name="T12" fmla="*/ 80 w 96"/>
                <a:gd name="T13" fmla="*/ 14 h 45"/>
                <a:gd name="T14" fmla="*/ 76 w 96"/>
                <a:gd name="T15" fmla="*/ 14 h 45"/>
                <a:gd name="T16" fmla="*/ 67 w 96"/>
                <a:gd name="T17" fmla="*/ 12 h 45"/>
                <a:gd name="T18" fmla="*/ 70 w 96"/>
                <a:gd name="T19" fmla="*/ 14 h 45"/>
                <a:gd name="T20" fmla="*/ 65 w 96"/>
                <a:gd name="T21" fmla="*/ 16 h 45"/>
                <a:gd name="T22" fmla="*/ 61 w 96"/>
                <a:gd name="T23" fmla="*/ 14 h 45"/>
                <a:gd name="T24" fmla="*/ 57 w 96"/>
                <a:gd name="T25" fmla="*/ 12 h 45"/>
                <a:gd name="T26" fmla="*/ 59 w 96"/>
                <a:gd name="T27" fmla="*/ 10 h 45"/>
                <a:gd name="T28" fmla="*/ 61 w 96"/>
                <a:gd name="T29" fmla="*/ 8 h 45"/>
                <a:gd name="T30" fmla="*/ 55 w 96"/>
                <a:gd name="T31" fmla="*/ 8 h 45"/>
                <a:gd name="T32" fmla="*/ 53 w 96"/>
                <a:gd name="T33" fmla="*/ 6 h 45"/>
                <a:gd name="T34" fmla="*/ 47 w 96"/>
                <a:gd name="T35" fmla="*/ 4 h 45"/>
                <a:gd name="T36" fmla="*/ 45 w 96"/>
                <a:gd name="T37" fmla="*/ 2 h 45"/>
                <a:gd name="T38" fmla="*/ 41 w 96"/>
                <a:gd name="T39" fmla="*/ 2 h 45"/>
                <a:gd name="T40" fmla="*/ 39 w 96"/>
                <a:gd name="T41" fmla="*/ 4 h 45"/>
                <a:gd name="T42" fmla="*/ 35 w 96"/>
                <a:gd name="T43" fmla="*/ 4 h 45"/>
                <a:gd name="T44" fmla="*/ 35 w 96"/>
                <a:gd name="T45" fmla="*/ 2 h 45"/>
                <a:gd name="T46" fmla="*/ 31 w 96"/>
                <a:gd name="T47" fmla="*/ 0 h 45"/>
                <a:gd name="T48" fmla="*/ 33 w 96"/>
                <a:gd name="T49" fmla="*/ 2 h 45"/>
                <a:gd name="T50" fmla="*/ 26 w 96"/>
                <a:gd name="T51" fmla="*/ 4 h 45"/>
                <a:gd name="T52" fmla="*/ 20 w 96"/>
                <a:gd name="T53" fmla="*/ 6 h 45"/>
                <a:gd name="T54" fmla="*/ 18 w 96"/>
                <a:gd name="T55" fmla="*/ 8 h 45"/>
                <a:gd name="T56" fmla="*/ 16 w 96"/>
                <a:gd name="T57" fmla="*/ 8 h 45"/>
                <a:gd name="T58" fmla="*/ 12 w 96"/>
                <a:gd name="T59" fmla="*/ 12 h 45"/>
                <a:gd name="T60" fmla="*/ 8 w 96"/>
                <a:gd name="T61" fmla="*/ 12 h 45"/>
                <a:gd name="T62" fmla="*/ 4 w 96"/>
                <a:gd name="T63" fmla="*/ 14 h 45"/>
                <a:gd name="T64" fmla="*/ 2 w 96"/>
                <a:gd name="T65" fmla="*/ 14 h 45"/>
                <a:gd name="T66" fmla="*/ 0 w 96"/>
                <a:gd name="T67" fmla="*/ 14 h 45"/>
                <a:gd name="T68" fmla="*/ 2 w 96"/>
                <a:gd name="T69" fmla="*/ 16 h 45"/>
                <a:gd name="T70" fmla="*/ 6 w 96"/>
                <a:gd name="T71" fmla="*/ 20 h 45"/>
                <a:gd name="T72" fmla="*/ 6 w 96"/>
                <a:gd name="T73" fmla="*/ 22 h 45"/>
                <a:gd name="T74" fmla="*/ 6 w 96"/>
                <a:gd name="T75" fmla="*/ 24 h 45"/>
                <a:gd name="T76" fmla="*/ 10 w 96"/>
                <a:gd name="T77" fmla="*/ 30 h 45"/>
                <a:gd name="T78" fmla="*/ 14 w 96"/>
                <a:gd name="T79" fmla="*/ 35 h 45"/>
                <a:gd name="T80" fmla="*/ 18 w 96"/>
                <a:gd name="T81" fmla="*/ 37 h 45"/>
                <a:gd name="T82" fmla="*/ 22 w 96"/>
                <a:gd name="T83" fmla="*/ 39 h 45"/>
                <a:gd name="T84" fmla="*/ 26 w 96"/>
                <a:gd name="T85" fmla="*/ 41 h 45"/>
                <a:gd name="T86" fmla="*/ 33 w 96"/>
                <a:gd name="T87" fmla="*/ 45 h 45"/>
                <a:gd name="T88" fmla="*/ 37 w 96"/>
                <a:gd name="T89" fmla="*/ 45 h 45"/>
                <a:gd name="T90" fmla="*/ 41 w 96"/>
                <a:gd name="T91" fmla="*/ 41 h 45"/>
                <a:gd name="T92" fmla="*/ 43 w 96"/>
                <a:gd name="T93" fmla="*/ 37 h 45"/>
                <a:gd name="T94" fmla="*/ 45 w 96"/>
                <a:gd name="T95" fmla="*/ 37 h 45"/>
                <a:gd name="T96" fmla="*/ 51 w 96"/>
                <a:gd name="T97" fmla="*/ 39 h 45"/>
                <a:gd name="T98" fmla="*/ 59 w 96"/>
                <a:gd name="T99" fmla="*/ 41 h 45"/>
                <a:gd name="T100" fmla="*/ 63 w 96"/>
                <a:gd name="T101" fmla="*/ 41 h 45"/>
                <a:gd name="T102" fmla="*/ 67 w 96"/>
                <a:gd name="T103" fmla="*/ 43 h 45"/>
                <a:gd name="T104" fmla="*/ 70 w 96"/>
                <a:gd name="T105" fmla="*/ 43 h 45"/>
                <a:gd name="T106" fmla="*/ 74 w 96"/>
                <a:gd name="T107" fmla="*/ 39 h 45"/>
                <a:gd name="T108" fmla="*/ 82 w 96"/>
                <a:gd name="T109" fmla="*/ 39 h 45"/>
                <a:gd name="T110" fmla="*/ 84 w 96"/>
                <a:gd name="T111" fmla="*/ 37 h 45"/>
                <a:gd name="T112" fmla="*/ 86 w 96"/>
                <a:gd name="T113" fmla="*/ 32 h 45"/>
                <a:gd name="T114" fmla="*/ 90 w 96"/>
                <a:gd name="T115" fmla="*/ 30 h 45"/>
                <a:gd name="T116" fmla="*/ 92 w 96"/>
                <a:gd name="T117" fmla="*/ 28 h 45"/>
                <a:gd name="T118" fmla="*/ 94 w 96"/>
                <a:gd name="T119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" h="45">
                  <a:moveTo>
                    <a:pt x="94" y="26"/>
                  </a:moveTo>
                  <a:lnTo>
                    <a:pt x="94" y="26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0"/>
                  </a:lnTo>
                  <a:lnTo>
                    <a:pt x="90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2" y="20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80" y="16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1" y="14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7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3" y="8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1" y="6"/>
                  </a:lnTo>
                  <a:lnTo>
                    <a:pt x="49" y="6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2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4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26" y="4"/>
                  </a:lnTo>
                  <a:lnTo>
                    <a:pt x="24" y="6"/>
                  </a:lnTo>
                  <a:lnTo>
                    <a:pt x="22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4" y="32"/>
                  </a:lnTo>
                  <a:lnTo>
                    <a:pt x="14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2" y="39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6" y="41"/>
                  </a:lnTo>
                  <a:lnTo>
                    <a:pt x="26" y="43"/>
                  </a:lnTo>
                  <a:lnTo>
                    <a:pt x="28" y="43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7" y="45"/>
                  </a:lnTo>
                  <a:lnTo>
                    <a:pt x="37" y="43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3" y="39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7" y="37"/>
                  </a:lnTo>
                  <a:lnTo>
                    <a:pt x="49" y="39"/>
                  </a:lnTo>
                  <a:lnTo>
                    <a:pt x="51" y="39"/>
                  </a:lnTo>
                  <a:lnTo>
                    <a:pt x="53" y="39"/>
                  </a:lnTo>
                  <a:lnTo>
                    <a:pt x="53" y="39"/>
                  </a:lnTo>
                  <a:lnTo>
                    <a:pt x="57" y="41"/>
                  </a:lnTo>
                  <a:lnTo>
                    <a:pt x="59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5" y="41"/>
                  </a:lnTo>
                  <a:lnTo>
                    <a:pt x="67" y="41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70" y="43"/>
                  </a:lnTo>
                  <a:lnTo>
                    <a:pt x="70" y="45"/>
                  </a:lnTo>
                  <a:lnTo>
                    <a:pt x="70" y="43"/>
                  </a:lnTo>
                  <a:lnTo>
                    <a:pt x="72" y="41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4" y="39"/>
                  </a:lnTo>
                  <a:lnTo>
                    <a:pt x="76" y="41"/>
                  </a:lnTo>
                  <a:lnTo>
                    <a:pt x="78" y="39"/>
                  </a:lnTo>
                  <a:lnTo>
                    <a:pt x="80" y="39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6" y="35"/>
                  </a:lnTo>
                  <a:lnTo>
                    <a:pt x="86" y="35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0" y="30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4" y="28"/>
                  </a:lnTo>
                  <a:lnTo>
                    <a:pt x="94" y="28"/>
                  </a:lnTo>
                  <a:lnTo>
                    <a:pt x="96" y="28"/>
                  </a:lnTo>
                  <a:lnTo>
                    <a:pt x="94" y="2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0" name="Freeform 193">
              <a:extLst>
                <a:ext uri="{FF2B5EF4-FFF2-40B4-BE49-F238E27FC236}">
                  <a16:creationId xmlns:a16="http://schemas.microsoft.com/office/drawing/2014/main" id="{0B986C2D-FECD-E246-93DE-5E1DB7D7E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117" y="2756595"/>
              <a:ext cx="39217" cy="22579"/>
            </a:xfrm>
            <a:custGeom>
              <a:avLst/>
              <a:gdLst>
                <a:gd name="T0" fmla="*/ 33 w 33"/>
                <a:gd name="T1" fmla="*/ 0 h 19"/>
                <a:gd name="T2" fmla="*/ 33 w 33"/>
                <a:gd name="T3" fmla="*/ 0 h 19"/>
                <a:gd name="T4" fmla="*/ 31 w 33"/>
                <a:gd name="T5" fmla="*/ 0 h 19"/>
                <a:gd name="T6" fmla="*/ 28 w 33"/>
                <a:gd name="T7" fmla="*/ 0 h 19"/>
                <a:gd name="T8" fmla="*/ 28 w 33"/>
                <a:gd name="T9" fmla="*/ 2 h 19"/>
                <a:gd name="T10" fmla="*/ 26 w 33"/>
                <a:gd name="T11" fmla="*/ 2 h 19"/>
                <a:gd name="T12" fmla="*/ 20 w 33"/>
                <a:gd name="T13" fmla="*/ 4 h 19"/>
                <a:gd name="T14" fmla="*/ 18 w 33"/>
                <a:gd name="T15" fmla="*/ 4 h 19"/>
                <a:gd name="T16" fmla="*/ 14 w 33"/>
                <a:gd name="T17" fmla="*/ 4 h 19"/>
                <a:gd name="T18" fmla="*/ 12 w 33"/>
                <a:gd name="T19" fmla="*/ 4 h 19"/>
                <a:gd name="T20" fmla="*/ 10 w 33"/>
                <a:gd name="T21" fmla="*/ 4 h 19"/>
                <a:gd name="T22" fmla="*/ 10 w 33"/>
                <a:gd name="T23" fmla="*/ 6 h 19"/>
                <a:gd name="T24" fmla="*/ 8 w 33"/>
                <a:gd name="T25" fmla="*/ 8 h 19"/>
                <a:gd name="T26" fmla="*/ 8 w 33"/>
                <a:gd name="T27" fmla="*/ 8 h 19"/>
                <a:gd name="T28" fmla="*/ 6 w 33"/>
                <a:gd name="T29" fmla="*/ 8 h 19"/>
                <a:gd name="T30" fmla="*/ 6 w 33"/>
                <a:gd name="T31" fmla="*/ 8 h 19"/>
                <a:gd name="T32" fmla="*/ 4 w 33"/>
                <a:gd name="T33" fmla="*/ 8 h 19"/>
                <a:gd name="T34" fmla="*/ 2 w 33"/>
                <a:gd name="T35" fmla="*/ 10 h 19"/>
                <a:gd name="T36" fmla="*/ 2 w 33"/>
                <a:gd name="T37" fmla="*/ 10 h 19"/>
                <a:gd name="T38" fmla="*/ 0 w 33"/>
                <a:gd name="T39" fmla="*/ 10 h 19"/>
                <a:gd name="T40" fmla="*/ 0 w 33"/>
                <a:gd name="T41" fmla="*/ 13 h 19"/>
                <a:gd name="T42" fmla="*/ 2 w 33"/>
                <a:gd name="T43" fmla="*/ 17 h 19"/>
                <a:gd name="T44" fmla="*/ 2 w 33"/>
                <a:gd name="T45" fmla="*/ 17 h 19"/>
                <a:gd name="T46" fmla="*/ 4 w 33"/>
                <a:gd name="T47" fmla="*/ 17 h 19"/>
                <a:gd name="T48" fmla="*/ 6 w 33"/>
                <a:gd name="T49" fmla="*/ 19 h 19"/>
                <a:gd name="T50" fmla="*/ 8 w 33"/>
                <a:gd name="T51" fmla="*/ 19 h 19"/>
                <a:gd name="T52" fmla="*/ 10 w 33"/>
                <a:gd name="T53" fmla="*/ 19 h 19"/>
                <a:gd name="T54" fmla="*/ 10 w 33"/>
                <a:gd name="T55" fmla="*/ 19 h 19"/>
                <a:gd name="T56" fmla="*/ 10 w 33"/>
                <a:gd name="T57" fmla="*/ 19 h 19"/>
                <a:gd name="T58" fmla="*/ 12 w 33"/>
                <a:gd name="T59" fmla="*/ 19 h 19"/>
                <a:gd name="T60" fmla="*/ 12 w 33"/>
                <a:gd name="T61" fmla="*/ 19 h 19"/>
                <a:gd name="T62" fmla="*/ 12 w 33"/>
                <a:gd name="T63" fmla="*/ 19 h 19"/>
                <a:gd name="T64" fmla="*/ 12 w 33"/>
                <a:gd name="T65" fmla="*/ 17 h 19"/>
                <a:gd name="T66" fmla="*/ 12 w 33"/>
                <a:gd name="T67" fmla="*/ 17 h 19"/>
                <a:gd name="T68" fmla="*/ 14 w 33"/>
                <a:gd name="T69" fmla="*/ 17 h 19"/>
                <a:gd name="T70" fmla="*/ 16 w 33"/>
                <a:gd name="T71" fmla="*/ 17 h 19"/>
                <a:gd name="T72" fmla="*/ 18 w 33"/>
                <a:gd name="T73" fmla="*/ 17 h 19"/>
                <a:gd name="T74" fmla="*/ 18 w 33"/>
                <a:gd name="T75" fmla="*/ 15 h 19"/>
                <a:gd name="T76" fmla="*/ 22 w 33"/>
                <a:gd name="T77" fmla="*/ 13 h 19"/>
                <a:gd name="T78" fmla="*/ 22 w 33"/>
                <a:gd name="T79" fmla="*/ 13 h 19"/>
                <a:gd name="T80" fmla="*/ 22 w 33"/>
                <a:gd name="T81" fmla="*/ 13 h 19"/>
                <a:gd name="T82" fmla="*/ 24 w 33"/>
                <a:gd name="T83" fmla="*/ 13 h 19"/>
                <a:gd name="T84" fmla="*/ 26 w 33"/>
                <a:gd name="T85" fmla="*/ 13 h 19"/>
                <a:gd name="T86" fmla="*/ 26 w 33"/>
                <a:gd name="T87" fmla="*/ 10 h 19"/>
                <a:gd name="T88" fmla="*/ 26 w 33"/>
                <a:gd name="T89" fmla="*/ 10 h 19"/>
                <a:gd name="T90" fmla="*/ 24 w 33"/>
                <a:gd name="T91" fmla="*/ 8 h 19"/>
                <a:gd name="T92" fmla="*/ 24 w 33"/>
                <a:gd name="T93" fmla="*/ 8 h 19"/>
                <a:gd name="T94" fmla="*/ 24 w 33"/>
                <a:gd name="T95" fmla="*/ 6 h 19"/>
                <a:gd name="T96" fmla="*/ 33 w 33"/>
                <a:gd name="T9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" h="19">
                  <a:moveTo>
                    <a:pt x="33" y="0"/>
                  </a:moveTo>
                  <a:lnTo>
                    <a:pt x="33" y="0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8" y="2"/>
                  </a:lnTo>
                  <a:lnTo>
                    <a:pt x="26" y="2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7"/>
                  </a:lnTo>
                  <a:lnTo>
                    <a:pt x="6" y="19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6" y="17"/>
                  </a:lnTo>
                  <a:lnTo>
                    <a:pt x="18" y="17"/>
                  </a:lnTo>
                  <a:lnTo>
                    <a:pt x="18" y="15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4" y="13"/>
                  </a:lnTo>
                  <a:lnTo>
                    <a:pt x="26" y="13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6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1" name="Freeform 197">
              <a:extLst>
                <a:ext uri="{FF2B5EF4-FFF2-40B4-BE49-F238E27FC236}">
                  <a16:creationId xmlns:a16="http://schemas.microsoft.com/office/drawing/2014/main" id="{F394701B-1600-654E-BB7D-F76CDEBB63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1485" y="2522483"/>
              <a:ext cx="102201" cy="87941"/>
            </a:xfrm>
            <a:custGeom>
              <a:avLst/>
              <a:gdLst>
                <a:gd name="T0" fmla="*/ 60 w 86"/>
                <a:gd name="T1" fmla="*/ 68 h 74"/>
                <a:gd name="T2" fmla="*/ 47 w 86"/>
                <a:gd name="T3" fmla="*/ 64 h 74"/>
                <a:gd name="T4" fmla="*/ 56 w 86"/>
                <a:gd name="T5" fmla="*/ 64 h 74"/>
                <a:gd name="T6" fmla="*/ 70 w 86"/>
                <a:gd name="T7" fmla="*/ 70 h 74"/>
                <a:gd name="T8" fmla="*/ 62 w 86"/>
                <a:gd name="T9" fmla="*/ 66 h 74"/>
                <a:gd name="T10" fmla="*/ 62 w 86"/>
                <a:gd name="T11" fmla="*/ 66 h 74"/>
                <a:gd name="T12" fmla="*/ 74 w 86"/>
                <a:gd name="T13" fmla="*/ 72 h 74"/>
                <a:gd name="T14" fmla="*/ 45 w 86"/>
                <a:gd name="T15" fmla="*/ 59 h 74"/>
                <a:gd name="T16" fmla="*/ 50 w 86"/>
                <a:gd name="T17" fmla="*/ 59 h 74"/>
                <a:gd name="T18" fmla="*/ 43 w 86"/>
                <a:gd name="T19" fmla="*/ 57 h 74"/>
                <a:gd name="T20" fmla="*/ 27 w 86"/>
                <a:gd name="T21" fmla="*/ 47 h 74"/>
                <a:gd name="T22" fmla="*/ 25 w 86"/>
                <a:gd name="T23" fmla="*/ 43 h 74"/>
                <a:gd name="T24" fmla="*/ 21 w 86"/>
                <a:gd name="T25" fmla="*/ 43 h 74"/>
                <a:gd name="T26" fmla="*/ 27 w 86"/>
                <a:gd name="T27" fmla="*/ 47 h 74"/>
                <a:gd name="T28" fmla="*/ 25 w 86"/>
                <a:gd name="T29" fmla="*/ 41 h 74"/>
                <a:gd name="T30" fmla="*/ 21 w 86"/>
                <a:gd name="T31" fmla="*/ 35 h 74"/>
                <a:gd name="T32" fmla="*/ 21 w 86"/>
                <a:gd name="T33" fmla="*/ 37 h 74"/>
                <a:gd name="T34" fmla="*/ 19 w 86"/>
                <a:gd name="T35" fmla="*/ 31 h 74"/>
                <a:gd name="T36" fmla="*/ 15 w 86"/>
                <a:gd name="T37" fmla="*/ 31 h 74"/>
                <a:gd name="T38" fmla="*/ 13 w 86"/>
                <a:gd name="T39" fmla="*/ 24 h 74"/>
                <a:gd name="T40" fmla="*/ 15 w 86"/>
                <a:gd name="T41" fmla="*/ 33 h 74"/>
                <a:gd name="T42" fmla="*/ 19 w 86"/>
                <a:gd name="T43" fmla="*/ 24 h 74"/>
                <a:gd name="T44" fmla="*/ 15 w 86"/>
                <a:gd name="T45" fmla="*/ 24 h 74"/>
                <a:gd name="T46" fmla="*/ 86 w 86"/>
                <a:gd name="T47" fmla="*/ 22 h 74"/>
                <a:gd name="T48" fmla="*/ 80 w 86"/>
                <a:gd name="T49" fmla="*/ 18 h 74"/>
                <a:gd name="T50" fmla="*/ 78 w 86"/>
                <a:gd name="T51" fmla="*/ 16 h 74"/>
                <a:gd name="T52" fmla="*/ 78 w 86"/>
                <a:gd name="T53" fmla="*/ 10 h 74"/>
                <a:gd name="T54" fmla="*/ 74 w 86"/>
                <a:gd name="T55" fmla="*/ 12 h 74"/>
                <a:gd name="T56" fmla="*/ 64 w 86"/>
                <a:gd name="T57" fmla="*/ 12 h 74"/>
                <a:gd name="T58" fmla="*/ 56 w 86"/>
                <a:gd name="T59" fmla="*/ 8 h 74"/>
                <a:gd name="T60" fmla="*/ 47 w 86"/>
                <a:gd name="T61" fmla="*/ 2 h 74"/>
                <a:gd name="T62" fmla="*/ 41 w 86"/>
                <a:gd name="T63" fmla="*/ 0 h 74"/>
                <a:gd name="T64" fmla="*/ 37 w 86"/>
                <a:gd name="T65" fmla="*/ 4 h 74"/>
                <a:gd name="T66" fmla="*/ 31 w 86"/>
                <a:gd name="T67" fmla="*/ 6 h 74"/>
                <a:gd name="T68" fmla="*/ 31 w 86"/>
                <a:gd name="T69" fmla="*/ 10 h 74"/>
                <a:gd name="T70" fmla="*/ 27 w 86"/>
                <a:gd name="T71" fmla="*/ 14 h 74"/>
                <a:gd name="T72" fmla="*/ 27 w 86"/>
                <a:gd name="T73" fmla="*/ 18 h 74"/>
                <a:gd name="T74" fmla="*/ 19 w 86"/>
                <a:gd name="T75" fmla="*/ 16 h 74"/>
                <a:gd name="T76" fmla="*/ 15 w 86"/>
                <a:gd name="T77" fmla="*/ 16 h 74"/>
                <a:gd name="T78" fmla="*/ 8 w 86"/>
                <a:gd name="T79" fmla="*/ 16 h 74"/>
                <a:gd name="T80" fmla="*/ 2 w 86"/>
                <a:gd name="T81" fmla="*/ 16 h 74"/>
                <a:gd name="T82" fmla="*/ 6 w 86"/>
                <a:gd name="T83" fmla="*/ 31 h 74"/>
                <a:gd name="T84" fmla="*/ 13 w 86"/>
                <a:gd name="T85" fmla="*/ 20 h 74"/>
                <a:gd name="T86" fmla="*/ 21 w 86"/>
                <a:gd name="T87" fmla="*/ 29 h 74"/>
                <a:gd name="T88" fmla="*/ 29 w 86"/>
                <a:gd name="T89" fmla="*/ 41 h 74"/>
                <a:gd name="T90" fmla="*/ 25 w 86"/>
                <a:gd name="T91" fmla="*/ 43 h 74"/>
                <a:gd name="T92" fmla="*/ 37 w 86"/>
                <a:gd name="T93" fmla="*/ 53 h 74"/>
                <a:gd name="T94" fmla="*/ 47 w 86"/>
                <a:gd name="T95" fmla="*/ 55 h 74"/>
                <a:gd name="T96" fmla="*/ 62 w 86"/>
                <a:gd name="T97" fmla="*/ 64 h 74"/>
                <a:gd name="T98" fmla="*/ 58 w 86"/>
                <a:gd name="T99" fmla="*/ 57 h 74"/>
                <a:gd name="T100" fmla="*/ 47 w 86"/>
                <a:gd name="T101" fmla="*/ 49 h 74"/>
                <a:gd name="T102" fmla="*/ 39 w 86"/>
                <a:gd name="T103" fmla="*/ 39 h 74"/>
                <a:gd name="T104" fmla="*/ 33 w 86"/>
                <a:gd name="T105" fmla="*/ 31 h 74"/>
                <a:gd name="T106" fmla="*/ 37 w 86"/>
                <a:gd name="T107" fmla="*/ 22 h 74"/>
                <a:gd name="T108" fmla="*/ 45 w 86"/>
                <a:gd name="T109" fmla="*/ 22 h 74"/>
                <a:gd name="T110" fmla="*/ 56 w 86"/>
                <a:gd name="T111" fmla="*/ 22 h 74"/>
                <a:gd name="T112" fmla="*/ 64 w 86"/>
                <a:gd name="T113" fmla="*/ 24 h 74"/>
                <a:gd name="T114" fmla="*/ 70 w 86"/>
                <a:gd name="T115" fmla="*/ 24 h 74"/>
                <a:gd name="T116" fmla="*/ 78 w 86"/>
                <a:gd name="T117" fmla="*/ 29 h 74"/>
                <a:gd name="T118" fmla="*/ 80 w 86"/>
                <a:gd name="T119" fmla="*/ 29 h 74"/>
                <a:gd name="T120" fmla="*/ 82 w 86"/>
                <a:gd name="T121" fmla="*/ 24 h 74"/>
                <a:gd name="T122" fmla="*/ 86 w 86"/>
                <a:gd name="T123" fmla="*/ 2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6" h="74">
                  <a:moveTo>
                    <a:pt x="60" y="68"/>
                  </a:moveTo>
                  <a:lnTo>
                    <a:pt x="58" y="68"/>
                  </a:lnTo>
                  <a:lnTo>
                    <a:pt x="58" y="68"/>
                  </a:lnTo>
                  <a:lnTo>
                    <a:pt x="64" y="68"/>
                  </a:lnTo>
                  <a:lnTo>
                    <a:pt x="62" y="68"/>
                  </a:lnTo>
                  <a:lnTo>
                    <a:pt x="60" y="68"/>
                  </a:lnTo>
                  <a:close/>
                  <a:moveTo>
                    <a:pt x="54" y="64"/>
                  </a:moveTo>
                  <a:lnTo>
                    <a:pt x="52" y="64"/>
                  </a:lnTo>
                  <a:lnTo>
                    <a:pt x="50" y="64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50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4" y="66"/>
                  </a:lnTo>
                  <a:lnTo>
                    <a:pt x="56" y="66"/>
                  </a:lnTo>
                  <a:lnTo>
                    <a:pt x="56" y="64"/>
                  </a:lnTo>
                  <a:lnTo>
                    <a:pt x="54" y="64"/>
                  </a:lnTo>
                  <a:close/>
                  <a:moveTo>
                    <a:pt x="74" y="72"/>
                  </a:moveTo>
                  <a:lnTo>
                    <a:pt x="74" y="72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0" y="70"/>
                  </a:lnTo>
                  <a:lnTo>
                    <a:pt x="68" y="68"/>
                  </a:lnTo>
                  <a:lnTo>
                    <a:pt x="66" y="68"/>
                  </a:lnTo>
                  <a:lnTo>
                    <a:pt x="66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2" y="66"/>
                  </a:lnTo>
                  <a:lnTo>
                    <a:pt x="64" y="66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4" y="64"/>
                  </a:lnTo>
                  <a:lnTo>
                    <a:pt x="56" y="64"/>
                  </a:lnTo>
                  <a:lnTo>
                    <a:pt x="62" y="66"/>
                  </a:lnTo>
                  <a:lnTo>
                    <a:pt x="66" y="68"/>
                  </a:lnTo>
                  <a:lnTo>
                    <a:pt x="70" y="70"/>
                  </a:lnTo>
                  <a:lnTo>
                    <a:pt x="72" y="72"/>
                  </a:lnTo>
                  <a:lnTo>
                    <a:pt x="76" y="74"/>
                  </a:lnTo>
                  <a:lnTo>
                    <a:pt x="74" y="72"/>
                  </a:lnTo>
                  <a:lnTo>
                    <a:pt x="74" y="72"/>
                  </a:lnTo>
                  <a:close/>
                  <a:moveTo>
                    <a:pt x="54" y="61"/>
                  </a:moveTo>
                  <a:lnTo>
                    <a:pt x="56" y="61"/>
                  </a:lnTo>
                  <a:lnTo>
                    <a:pt x="54" y="61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5" y="59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5" y="61"/>
                  </a:lnTo>
                  <a:lnTo>
                    <a:pt x="47" y="61"/>
                  </a:lnTo>
                  <a:lnTo>
                    <a:pt x="54" y="61"/>
                  </a:lnTo>
                  <a:close/>
                  <a:moveTo>
                    <a:pt x="50" y="59"/>
                  </a:moveTo>
                  <a:lnTo>
                    <a:pt x="52" y="57"/>
                  </a:lnTo>
                  <a:lnTo>
                    <a:pt x="52" y="57"/>
                  </a:lnTo>
                  <a:lnTo>
                    <a:pt x="50" y="57"/>
                  </a:lnTo>
                  <a:lnTo>
                    <a:pt x="47" y="57"/>
                  </a:lnTo>
                  <a:lnTo>
                    <a:pt x="45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5" y="57"/>
                  </a:lnTo>
                  <a:lnTo>
                    <a:pt x="47" y="59"/>
                  </a:lnTo>
                  <a:lnTo>
                    <a:pt x="50" y="59"/>
                  </a:lnTo>
                  <a:close/>
                  <a:moveTo>
                    <a:pt x="27" y="45"/>
                  </a:moveTo>
                  <a:lnTo>
                    <a:pt x="27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5"/>
                  </a:lnTo>
                  <a:lnTo>
                    <a:pt x="27" y="45"/>
                  </a:lnTo>
                  <a:close/>
                  <a:moveTo>
                    <a:pt x="25" y="43"/>
                  </a:moveTo>
                  <a:lnTo>
                    <a:pt x="25" y="43"/>
                  </a:lnTo>
                  <a:lnTo>
                    <a:pt x="25" y="43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5" y="43"/>
                  </a:lnTo>
                  <a:close/>
                  <a:moveTo>
                    <a:pt x="23" y="43"/>
                  </a:moveTo>
                  <a:lnTo>
                    <a:pt x="21" y="43"/>
                  </a:lnTo>
                  <a:lnTo>
                    <a:pt x="21" y="43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3" y="43"/>
                  </a:lnTo>
                  <a:close/>
                  <a:moveTo>
                    <a:pt x="21" y="37"/>
                  </a:moveTo>
                  <a:lnTo>
                    <a:pt x="23" y="39"/>
                  </a:lnTo>
                  <a:lnTo>
                    <a:pt x="23" y="39"/>
                  </a:lnTo>
                  <a:lnTo>
                    <a:pt x="25" y="39"/>
                  </a:lnTo>
                  <a:lnTo>
                    <a:pt x="25" y="41"/>
                  </a:lnTo>
                  <a:lnTo>
                    <a:pt x="25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5" y="39"/>
                  </a:lnTo>
                  <a:lnTo>
                    <a:pt x="23" y="37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21" y="37"/>
                  </a:lnTo>
                  <a:lnTo>
                    <a:pt x="21" y="37"/>
                  </a:lnTo>
                  <a:close/>
                  <a:moveTo>
                    <a:pt x="21" y="33"/>
                  </a:moveTo>
                  <a:lnTo>
                    <a:pt x="21" y="33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21" y="33"/>
                  </a:lnTo>
                  <a:close/>
                  <a:moveTo>
                    <a:pt x="15" y="33"/>
                  </a:moveTo>
                  <a:lnTo>
                    <a:pt x="15" y="31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5" y="24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4"/>
                  </a:lnTo>
                  <a:lnTo>
                    <a:pt x="13" y="27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3"/>
                  </a:lnTo>
                  <a:lnTo>
                    <a:pt x="15" y="33"/>
                  </a:lnTo>
                  <a:close/>
                  <a:moveTo>
                    <a:pt x="21" y="29"/>
                  </a:moveTo>
                  <a:lnTo>
                    <a:pt x="19" y="24"/>
                  </a:lnTo>
                  <a:lnTo>
                    <a:pt x="19" y="24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21" y="29"/>
                  </a:lnTo>
                  <a:close/>
                  <a:moveTo>
                    <a:pt x="86" y="22"/>
                  </a:move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20"/>
                  </a:lnTo>
                  <a:lnTo>
                    <a:pt x="82" y="20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2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7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4" y="6"/>
                  </a:lnTo>
                  <a:lnTo>
                    <a:pt x="52" y="6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47" y="2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41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1" y="4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8"/>
                  </a:lnTo>
                  <a:lnTo>
                    <a:pt x="33" y="8"/>
                  </a:lnTo>
                  <a:lnTo>
                    <a:pt x="33" y="10"/>
                  </a:lnTo>
                  <a:lnTo>
                    <a:pt x="31" y="10"/>
                  </a:lnTo>
                  <a:lnTo>
                    <a:pt x="31" y="12"/>
                  </a:lnTo>
                  <a:lnTo>
                    <a:pt x="29" y="12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5" y="16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1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4" y="29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11" y="29"/>
                  </a:lnTo>
                  <a:lnTo>
                    <a:pt x="13" y="24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5" y="20"/>
                  </a:lnTo>
                  <a:lnTo>
                    <a:pt x="17" y="20"/>
                  </a:lnTo>
                  <a:lnTo>
                    <a:pt x="17" y="22"/>
                  </a:lnTo>
                  <a:lnTo>
                    <a:pt x="21" y="24"/>
                  </a:lnTo>
                  <a:lnTo>
                    <a:pt x="21" y="29"/>
                  </a:lnTo>
                  <a:lnTo>
                    <a:pt x="21" y="31"/>
                  </a:lnTo>
                  <a:lnTo>
                    <a:pt x="21" y="33"/>
                  </a:lnTo>
                  <a:lnTo>
                    <a:pt x="23" y="35"/>
                  </a:lnTo>
                  <a:lnTo>
                    <a:pt x="27" y="39"/>
                  </a:lnTo>
                  <a:lnTo>
                    <a:pt x="29" y="39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31" y="47"/>
                  </a:lnTo>
                  <a:lnTo>
                    <a:pt x="33" y="49"/>
                  </a:lnTo>
                  <a:lnTo>
                    <a:pt x="35" y="51"/>
                  </a:lnTo>
                  <a:lnTo>
                    <a:pt x="37" y="51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41" y="53"/>
                  </a:lnTo>
                  <a:lnTo>
                    <a:pt x="43" y="53"/>
                  </a:lnTo>
                  <a:lnTo>
                    <a:pt x="47" y="55"/>
                  </a:lnTo>
                  <a:lnTo>
                    <a:pt x="52" y="57"/>
                  </a:lnTo>
                  <a:lnTo>
                    <a:pt x="56" y="59"/>
                  </a:lnTo>
                  <a:lnTo>
                    <a:pt x="58" y="61"/>
                  </a:lnTo>
                  <a:lnTo>
                    <a:pt x="60" y="64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58" y="57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4" y="53"/>
                  </a:lnTo>
                  <a:lnTo>
                    <a:pt x="52" y="51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5" y="47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1" y="43"/>
                  </a:lnTo>
                  <a:lnTo>
                    <a:pt x="41" y="41"/>
                  </a:lnTo>
                  <a:lnTo>
                    <a:pt x="39" y="39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5" y="33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33" y="27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9" y="24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3" y="24"/>
                  </a:lnTo>
                  <a:lnTo>
                    <a:pt x="43" y="22"/>
                  </a:lnTo>
                  <a:lnTo>
                    <a:pt x="45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4" y="22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8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2" y="22"/>
                  </a:lnTo>
                  <a:lnTo>
                    <a:pt x="62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8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76" y="27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2" name="Freeform 200">
              <a:extLst>
                <a:ext uri="{FF2B5EF4-FFF2-40B4-BE49-F238E27FC236}">
                  <a16:creationId xmlns:a16="http://schemas.microsoft.com/office/drawing/2014/main" id="{93FC901D-46F1-904E-AE9A-8452431C3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268" y="3452990"/>
              <a:ext cx="144983" cy="191330"/>
            </a:xfrm>
            <a:custGeom>
              <a:avLst/>
              <a:gdLst>
                <a:gd name="T0" fmla="*/ 115 w 122"/>
                <a:gd name="T1" fmla="*/ 2 h 161"/>
                <a:gd name="T2" fmla="*/ 109 w 122"/>
                <a:gd name="T3" fmla="*/ 2 h 161"/>
                <a:gd name="T4" fmla="*/ 101 w 122"/>
                <a:gd name="T5" fmla="*/ 0 h 161"/>
                <a:gd name="T6" fmla="*/ 89 w 122"/>
                <a:gd name="T7" fmla="*/ 4 h 161"/>
                <a:gd name="T8" fmla="*/ 87 w 122"/>
                <a:gd name="T9" fmla="*/ 13 h 161"/>
                <a:gd name="T10" fmla="*/ 83 w 122"/>
                <a:gd name="T11" fmla="*/ 27 h 161"/>
                <a:gd name="T12" fmla="*/ 80 w 122"/>
                <a:gd name="T13" fmla="*/ 33 h 161"/>
                <a:gd name="T14" fmla="*/ 78 w 122"/>
                <a:gd name="T15" fmla="*/ 35 h 161"/>
                <a:gd name="T16" fmla="*/ 66 w 122"/>
                <a:gd name="T17" fmla="*/ 31 h 161"/>
                <a:gd name="T18" fmla="*/ 60 w 122"/>
                <a:gd name="T19" fmla="*/ 31 h 161"/>
                <a:gd name="T20" fmla="*/ 58 w 122"/>
                <a:gd name="T21" fmla="*/ 29 h 161"/>
                <a:gd name="T22" fmla="*/ 39 w 122"/>
                <a:gd name="T23" fmla="*/ 29 h 161"/>
                <a:gd name="T24" fmla="*/ 33 w 122"/>
                <a:gd name="T25" fmla="*/ 39 h 161"/>
                <a:gd name="T26" fmla="*/ 35 w 122"/>
                <a:gd name="T27" fmla="*/ 45 h 161"/>
                <a:gd name="T28" fmla="*/ 50 w 122"/>
                <a:gd name="T29" fmla="*/ 43 h 161"/>
                <a:gd name="T30" fmla="*/ 54 w 122"/>
                <a:gd name="T31" fmla="*/ 52 h 161"/>
                <a:gd name="T32" fmla="*/ 50 w 122"/>
                <a:gd name="T33" fmla="*/ 58 h 161"/>
                <a:gd name="T34" fmla="*/ 44 w 122"/>
                <a:gd name="T35" fmla="*/ 64 h 161"/>
                <a:gd name="T36" fmla="*/ 48 w 122"/>
                <a:gd name="T37" fmla="*/ 74 h 161"/>
                <a:gd name="T38" fmla="*/ 54 w 122"/>
                <a:gd name="T39" fmla="*/ 80 h 161"/>
                <a:gd name="T40" fmla="*/ 54 w 122"/>
                <a:gd name="T41" fmla="*/ 97 h 161"/>
                <a:gd name="T42" fmla="*/ 52 w 122"/>
                <a:gd name="T43" fmla="*/ 103 h 161"/>
                <a:gd name="T44" fmla="*/ 50 w 122"/>
                <a:gd name="T45" fmla="*/ 111 h 161"/>
                <a:gd name="T46" fmla="*/ 44 w 122"/>
                <a:gd name="T47" fmla="*/ 113 h 161"/>
                <a:gd name="T48" fmla="*/ 41 w 122"/>
                <a:gd name="T49" fmla="*/ 109 h 161"/>
                <a:gd name="T50" fmla="*/ 29 w 122"/>
                <a:gd name="T51" fmla="*/ 107 h 161"/>
                <a:gd name="T52" fmla="*/ 21 w 122"/>
                <a:gd name="T53" fmla="*/ 103 h 161"/>
                <a:gd name="T54" fmla="*/ 21 w 122"/>
                <a:gd name="T55" fmla="*/ 107 h 161"/>
                <a:gd name="T56" fmla="*/ 13 w 122"/>
                <a:gd name="T57" fmla="*/ 111 h 161"/>
                <a:gd name="T58" fmla="*/ 7 w 122"/>
                <a:gd name="T59" fmla="*/ 115 h 161"/>
                <a:gd name="T60" fmla="*/ 9 w 122"/>
                <a:gd name="T61" fmla="*/ 121 h 161"/>
                <a:gd name="T62" fmla="*/ 11 w 122"/>
                <a:gd name="T63" fmla="*/ 128 h 161"/>
                <a:gd name="T64" fmla="*/ 11 w 122"/>
                <a:gd name="T65" fmla="*/ 134 h 161"/>
                <a:gd name="T66" fmla="*/ 9 w 122"/>
                <a:gd name="T67" fmla="*/ 136 h 161"/>
                <a:gd name="T68" fmla="*/ 0 w 122"/>
                <a:gd name="T69" fmla="*/ 138 h 161"/>
                <a:gd name="T70" fmla="*/ 11 w 122"/>
                <a:gd name="T71" fmla="*/ 154 h 161"/>
                <a:gd name="T72" fmla="*/ 15 w 122"/>
                <a:gd name="T73" fmla="*/ 161 h 161"/>
                <a:gd name="T74" fmla="*/ 21 w 122"/>
                <a:gd name="T75" fmla="*/ 154 h 161"/>
                <a:gd name="T76" fmla="*/ 27 w 122"/>
                <a:gd name="T77" fmla="*/ 150 h 161"/>
                <a:gd name="T78" fmla="*/ 33 w 122"/>
                <a:gd name="T79" fmla="*/ 152 h 161"/>
                <a:gd name="T80" fmla="*/ 37 w 122"/>
                <a:gd name="T81" fmla="*/ 156 h 161"/>
                <a:gd name="T82" fmla="*/ 41 w 122"/>
                <a:gd name="T83" fmla="*/ 152 h 161"/>
                <a:gd name="T84" fmla="*/ 46 w 122"/>
                <a:gd name="T85" fmla="*/ 150 h 161"/>
                <a:gd name="T86" fmla="*/ 52 w 122"/>
                <a:gd name="T87" fmla="*/ 146 h 161"/>
                <a:gd name="T88" fmla="*/ 54 w 122"/>
                <a:gd name="T89" fmla="*/ 154 h 161"/>
                <a:gd name="T90" fmla="*/ 56 w 122"/>
                <a:gd name="T91" fmla="*/ 156 h 161"/>
                <a:gd name="T92" fmla="*/ 66 w 122"/>
                <a:gd name="T93" fmla="*/ 146 h 161"/>
                <a:gd name="T94" fmla="*/ 76 w 122"/>
                <a:gd name="T95" fmla="*/ 140 h 161"/>
                <a:gd name="T96" fmla="*/ 83 w 122"/>
                <a:gd name="T97" fmla="*/ 109 h 161"/>
                <a:gd name="T98" fmla="*/ 91 w 122"/>
                <a:gd name="T99" fmla="*/ 93 h 161"/>
                <a:gd name="T100" fmla="*/ 103 w 122"/>
                <a:gd name="T101" fmla="*/ 82 h 161"/>
                <a:gd name="T102" fmla="*/ 109 w 122"/>
                <a:gd name="T103" fmla="*/ 52 h 161"/>
                <a:gd name="T104" fmla="*/ 115 w 122"/>
                <a:gd name="T105" fmla="*/ 2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2" h="161">
                  <a:moveTo>
                    <a:pt x="122" y="4"/>
                  </a:moveTo>
                  <a:lnTo>
                    <a:pt x="119" y="4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3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2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1" y="0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5" y="2"/>
                  </a:lnTo>
                  <a:lnTo>
                    <a:pt x="91" y="2"/>
                  </a:lnTo>
                  <a:lnTo>
                    <a:pt x="89" y="2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7" y="6"/>
                  </a:lnTo>
                  <a:lnTo>
                    <a:pt x="87" y="8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3"/>
                  </a:lnTo>
                  <a:lnTo>
                    <a:pt x="87" y="15"/>
                  </a:lnTo>
                  <a:lnTo>
                    <a:pt x="87" y="17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3" y="25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80" y="33"/>
                  </a:lnTo>
                  <a:lnTo>
                    <a:pt x="80" y="35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78" y="35"/>
                  </a:lnTo>
                  <a:lnTo>
                    <a:pt x="76" y="35"/>
                  </a:lnTo>
                  <a:lnTo>
                    <a:pt x="74" y="33"/>
                  </a:lnTo>
                  <a:lnTo>
                    <a:pt x="72" y="33"/>
                  </a:lnTo>
                  <a:lnTo>
                    <a:pt x="70" y="33"/>
                  </a:lnTo>
                  <a:lnTo>
                    <a:pt x="68" y="33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2" y="31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0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6" y="27"/>
                  </a:lnTo>
                  <a:lnTo>
                    <a:pt x="54" y="29"/>
                  </a:lnTo>
                  <a:lnTo>
                    <a:pt x="52" y="29"/>
                  </a:lnTo>
                  <a:lnTo>
                    <a:pt x="48" y="29"/>
                  </a:lnTo>
                  <a:lnTo>
                    <a:pt x="44" y="29"/>
                  </a:lnTo>
                  <a:lnTo>
                    <a:pt x="39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3" y="33"/>
                  </a:lnTo>
                  <a:lnTo>
                    <a:pt x="33" y="35"/>
                  </a:lnTo>
                  <a:lnTo>
                    <a:pt x="33" y="37"/>
                  </a:lnTo>
                  <a:lnTo>
                    <a:pt x="33" y="39"/>
                  </a:lnTo>
                  <a:lnTo>
                    <a:pt x="33" y="41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9" y="43"/>
                  </a:lnTo>
                  <a:lnTo>
                    <a:pt x="41" y="43"/>
                  </a:lnTo>
                  <a:lnTo>
                    <a:pt x="44" y="41"/>
                  </a:lnTo>
                  <a:lnTo>
                    <a:pt x="48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50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8"/>
                  </a:lnTo>
                  <a:lnTo>
                    <a:pt x="50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60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4" y="64"/>
                  </a:lnTo>
                  <a:lnTo>
                    <a:pt x="46" y="66"/>
                  </a:lnTo>
                  <a:lnTo>
                    <a:pt x="44" y="70"/>
                  </a:lnTo>
                  <a:lnTo>
                    <a:pt x="44" y="72"/>
                  </a:lnTo>
                  <a:lnTo>
                    <a:pt x="46" y="72"/>
                  </a:lnTo>
                  <a:lnTo>
                    <a:pt x="48" y="72"/>
                  </a:lnTo>
                  <a:lnTo>
                    <a:pt x="48" y="74"/>
                  </a:lnTo>
                  <a:lnTo>
                    <a:pt x="50" y="74"/>
                  </a:lnTo>
                  <a:lnTo>
                    <a:pt x="50" y="76"/>
                  </a:lnTo>
                  <a:lnTo>
                    <a:pt x="52" y="76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4" y="80"/>
                  </a:lnTo>
                  <a:lnTo>
                    <a:pt x="54" y="82"/>
                  </a:lnTo>
                  <a:lnTo>
                    <a:pt x="54" y="87"/>
                  </a:lnTo>
                  <a:lnTo>
                    <a:pt x="54" y="89"/>
                  </a:lnTo>
                  <a:lnTo>
                    <a:pt x="54" y="91"/>
                  </a:lnTo>
                  <a:lnTo>
                    <a:pt x="54" y="95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0" y="105"/>
                  </a:lnTo>
                  <a:lnTo>
                    <a:pt x="50" y="107"/>
                  </a:lnTo>
                  <a:lnTo>
                    <a:pt x="50" y="107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11"/>
                  </a:lnTo>
                  <a:lnTo>
                    <a:pt x="50" y="111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4" y="111"/>
                  </a:lnTo>
                  <a:lnTo>
                    <a:pt x="44" y="111"/>
                  </a:lnTo>
                  <a:lnTo>
                    <a:pt x="44" y="109"/>
                  </a:lnTo>
                  <a:lnTo>
                    <a:pt x="44" y="107"/>
                  </a:lnTo>
                  <a:lnTo>
                    <a:pt x="41" y="107"/>
                  </a:lnTo>
                  <a:lnTo>
                    <a:pt x="41" y="109"/>
                  </a:lnTo>
                  <a:lnTo>
                    <a:pt x="39" y="109"/>
                  </a:lnTo>
                  <a:lnTo>
                    <a:pt x="37" y="111"/>
                  </a:lnTo>
                  <a:lnTo>
                    <a:pt x="35" y="113"/>
                  </a:lnTo>
                  <a:lnTo>
                    <a:pt x="33" y="111"/>
                  </a:lnTo>
                  <a:lnTo>
                    <a:pt x="29" y="111"/>
                  </a:lnTo>
                  <a:lnTo>
                    <a:pt x="29" y="107"/>
                  </a:lnTo>
                  <a:lnTo>
                    <a:pt x="27" y="105"/>
                  </a:lnTo>
                  <a:lnTo>
                    <a:pt x="27" y="103"/>
                  </a:lnTo>
                  <a:lnTo>
                    <a:pt x="25" y="103"/>
                  </a:lnTo>
                  <a:lnTo>
                    <a:pt x="25" y="101"/>
                  </a:lnTo>
                  <a:lnTo>
                    <a:pt x="23" y="101"/>
                  </a:lnTo>
                  <a:lnTo>
                    <a:pt x="21" y="103"/>
                  </a:lnTo>
                  <a:lnTo>
                    <a:pt x="21" y="103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21" y="109"/>
                  </a:lnTo>
                  <a:lnTo>
                    <a:pt x="21" y="111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7" y="115"/>
                  </a:lnTo>
                  <a:lnTo>
                    <a:pt x="7" y="117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9" y="124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11" y="128"/>
                  </a:lnTo>
                  <a:lnTo>
                    <a:pt x="13" y="128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2"/>
                  </a:lnTo>
                  <a:lnTo>
                    <a:pt x="13" y="132"/>
                  </a:lnTo>
                  <a:lnTo>
                    <a:pt x="11" y="134"/>
                  </a:lnTo>
                  <a:lnTo>
                    <a:pt x="11" y="134"/>
                  </a:lnTo>
                  <a:lnTo>
                    <a:pt x="13" y="134"/>
                  </a:lnTo>
                  <a:lnTo>
                    <a:pt x="13" y="136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9" y="136"/>
                  </a:lnTo>
                  <a:lnTo>
                    <a:pt x="9" y="136"/>
                  </a:lnTo>
                  <a:lnTo>
                    <a:pt x="7" y="134"/>
                  </a:lnTo>
                  <a:lnTo>
                    <a:pt x="7" y="132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5" y="144"/>
                  </a:lnTo>
                  <a:lnTo>
                    <a:pt x="5" y="146"/>
                  </a:lnTo>
                  <a:lnTo>
                    <a:pt x="9" y="150"/>
                  </a:lnTo>
                  <a:lnTo>
                    <a:pt x="11" y="152"/>
                  </a:lnTo>
                  <a:lnTo>
                    <a:pt x="11" y="154"/>
                  </a:lnTo>
                  <a:lnTo>
                    <a:pt x="11" y="154"/>
                  </a:lnTo>
                  <a:lnTo>
                    <a:pt x="11" y="154"/>
                  </a:lnTo>
                  <a:lnTo>
                    <a:pt x="13" y="156"/>
                  </a:lnTo>
                  <a:lnTo>
                    <a:pt x="13" y="159"/>
                  </a:lnTo>
                  <a:lnTo>
                    <a:pt x="15" y="161"/>
                  </a:lnTo>
                  <a:lnTo>
                    <a:pt x="15" y="161"/>
                  </a:lnTo>
                  <a:lnTo>
                    <a:pt x="15" y="159"/>
                  </a:lnTo>
                  <a:lnTo>
                    <a:pt x="17" y="156"/>
                  </a:lnTo>
                  <a:lnTo>
                    <a:pt x="17" y="156"/>
                  </a:lnTo>
                  <a:lnTo>
                    <a:pt x="19" y="156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21" y="152"/>
                  </a:lnTo>
                  <a:lnTo>
                    <a:pt x="23" y="152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7" y="150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52"/>
                  </a:lnTo>
                  <a:lnTo>
                    <a:pt x="31" y="152"/>
                  </a:lnTo>
                  <a:lnTo>
                    <a:pt x="31" y="152"/>
                  </a:lnTo>
                  <a:lnTo>
                    <a:pt x="31" y="152"/>
                  </a:lnTo>
                  <a:lnTo>
                    <a:pt x="33" y="152"/>
                  </a:lnTo>
                  <a:lnTo>
                    <a:pt x="33" y="152"/>
                  </a:lnTo>
                  <a:lnTo>
                    <a:pt x="33" y="154"/>
                  </a:lnTo>
                  <a:lnTo>
                    <a:pt x="33" y="154"/>
                  </a:lnTo>
                  <a:lnTo>
                    <a:pt x="35" y="156"/>
                  </a:lnTo>
                  <a:lnTo>
                    <a:pt x="35" y="156"/>
                  </a:lnTo>
                  <a:lnTo>
                    <a:pt x="37" y="156"/>
                  </a:lnTo>
                  <a:lnTo>
                    <a:pt x="37" y="156"/>
                  </a:lnTo>
                  <a:lnTo>
                    <a:pt x="39" y="156"/>
                  </a:lnTo>
                  <a:lnTo>
                    <a:pt x="41" y="154"/>
                  </a:lnTo>
                  <a:lnTo>
                    <a:pt x="41" y="154"/>
                  </a:lnTo>
                  <a:lnTo>
                    <a:pt x="41" y="152"/>
                  </a:lnTo>
                  <a:lnTo>
                    <a:pt x="41" y="152"/>
                  </a:lnTo>
                  <a:lnTo>
                    <a:pt x="41" y="150"/>
                  </a:lnTo>
                  <a:lnTo>
                    <a:pt x="41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6" y="150"/>
                  </a:lnTo>
                  <a:lnTo>
                    <a:pt x="46" y="150"/>
                  </a:lnTo>
                  <a:lnTo>
                    <a:pt x="48" y="148"/>
                  </a:lnTo>
                  <a:lnTo>
                    <a:pt x="48" y="148"/>
                  </a:lnTo>
                  <a:lnTo>
                    <a:pt x="50" y="148"/>
                  </a:lnTo>
                  <a:lnTo>
                    <a:pt x="52" y="146"/>
                  </a:lnTo>
                  <a:lnTo>
                    <a:pt x="52" y="146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4" y="150"/>
                  </a:lnTo>
                  <a:lnTo>
                    <a:pt x="52" y="152"/>
                  </a:lnTo>
                  <a:lnTo>
                    <a:pt x="54" y="154"/>
                  </a:lnTo>
                  <a:lnTo>
                    <a:pt x="54" y="156"/>
                  </a:lnTo>
                  <a:lnTo>
                    <a:pt x="54" y="156"/>
                  </a:lnTo>
                  <a:lnTo>
                    <a:pt x="54" y="156"/>
                  </a:lnTo>
                  <a:lnTo>
                    <a:pt x="54" y="156"/>
                  </a:lnTo>
                  <a:lnTo>
                    <a:pt x="54" y="156"/>
                  </a:lnTo>
                  <a:lnTo>
                    <a:pt x="56" y="156"/>
                  </a:lnTo>
                  <a:lnTo>
                    <a:pt x="56" y="159"/>
                  </a:lnTo>
                  <a:lnTo>
                    <a:pt x="58" y="159"/>
                  </a:lnTo>
                  <a:lnTo>
                    <a:pt x="58" y="156"/>
                  </a:lnTo>
                  <a:lnTo>
                    <a:pt x="62" y="154"/>
                  </a:lnTo>
                  <a:lnTo>
                    <a:pt x="64" y="150"/>
                  </a:lnTo>
                  <a:lnTo>
                    <a:pt x="66" y="146"/>
                  </a:lnTo>
                  <a:lnTo>
                    <a:pt x="68" y="146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72" y="142"/>
                  </a:lnTo>
                  <a:lnTo>
                    <a:pt x="74" y="142"/>
                  </a:lnTo>
                  <a:lnTo>
                    <a:pt x="76" y="140"/>
                  </a:lnTo>
                  <a:lnTo>
                    <a:pt x="78" y="138"/>
                  </a:lnTo>
                  <a:lnTo>
                    <a:pt x="80" y="132"/>
                  </a:lnTo>
                  <a:lnTo>
                    <a:pt x="83" y="128"/>
                  </a:lnTo>
                  <a:lnTo>
                    <a:pt x="83" y="124"/>
                  </a:lnTo>
                  <a:lnTo>
                    <a:pt x="83" y="113"/>
                  </a:lnTo>
                  <a:lnTo>
                    <a:pt x="83" y="109"/>
                  </a:lnTo>
                  <a:lnTo>
                    <a:pt x="83" y="107"/>
                  </a:lnTo>
                  <a:lnTo>
                    <a:pt x="83" y="107"/>
                  </a:lnTo>
                  <a:lnTo>
                    <a:pt x="87" y="105"/>
                  </a:lnTo>
                  <a:lnTo>
                    <a:pt x="87" y="101"/>
                  </a:lnTo>
                  <a:lnTo>
                    <a:pt x="89" y="99"/>
                  </a:lnTo>
                  <a:lnTo>
                    <a:pt x="91" y="93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5" y="89"/>
                  </a:lnTo>
                  <a:lnTo>
                    <a:pt x="97" y="89"/>
                  </a:lnTo>
                  <a:lnTo>
                    <a:pt x="99" y="87"/>
                  </a:lnTo>
                  <a:lnTo>
                    <a:pt x="103" y="82"/>
                  </a:lnTo>
                  <a:lnTo>
                    <a:pt x="107" y="78"/>
                  </a:lnTo>
                  <a:lnTo>
                    <a:pt x="107" y="74"/>
                  </a:lnTo>
                  <a:lnTo>
                    <a:pt x="107" y="68"/>
                  </a:lnTo>
                  <a:lnTo>
                    <a:pt x="109" y="64"/>
                  </a:lnTo>
                  <a:lnTo>
                    <a:pt x="109" y="58"/>
                  </a:lnTo>
                  <a:lnTo>
                    <a:pt x="109" y="52"/>
                  </a:lnTo>
                  <a:lnTo>
                    <a:pt x="109" y="47"/>
                  </a:lnTo>
                  <a:lnTo>
                    <a:pt x="111" y="41"/>
                  </a:lnTo>
                  <a:lnTo>
                    <a:pt x="111" y="39"/>
                  </a:lnTo>
                  <a:lnTo>
                    <a:pt x="113" y="37"/>
                  </a:lnTo>
                  <a:lnTo>
                    <a:pt x="111" y="31"/>
                  </a:lnTo>
                  <a:lnTo>
                    <a:pt x="115" y="23"/>
                  </a:lnTo>
                  <a:lnTo>
                    <a:pt x="117" y="19"/>
                  </a:lnTo>
                  <a:lnTo>
                    <a:pt x="119" y="15"/>
                  </a:lnTo>
                  <a:lnTo>
                    <a:pt x="119" y="10"/>
                  </a:lnTo>
                  <a:lnTo>
                    <a:pt x="122" y="8"/>
                  </a:lnTo>
                  <a:lnTo>
                    <a:pt x="122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3" name="Freeform 201">
              <a:extLst>
                <a:ext uri="{FF2B5EF4-FFF2-40B4-BE49-F238E27FC236}">
                  <a16:creationId xmlns:a16="http://schemas.microsoft.com/office/drawing/2014/main" id="{190C1750-C69A-5C41-B60A-C049BF459B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5476" y="3783362"/>
              <a:ext cx="23768" cy="19014"/>
            </a:xfrm>
            <a:custGeom>
              <a:avLst/>
              <a:gdLst>
                <a:gd name="T0" fmla="*/ 8 w 20"/>
                <a:gd name="T1" fmla="*/ 14 h 16"/>
                <a:gd name="T2" fmla="*/ 6 w 20"/>
                <a:gd name="T3" fmla="*/ 14 h 16"/>
                <a:gd name="T4" fmla="*/ 6 w 20"/>
                <a:gd name="T5" fmla="*/ 16 h 16"/>
                <a:gd name="T6" fmla="*/ 8 w 20"/>
                <a:gd name="T7" fmla="*/ 16 h 16"/>
                <a:gd name="T8" fmla="*/ 10 w 20"/>
                <a:gd name="T9" fmla="*/ 16 h 16"/>
                <a:gd name="T10" fmla="*/ 10 w 20"/>
                <a:gd name="T11" fmla="*/ 16 h 16"/>
                <a:gd name="T12" fmla="*/ 8 w 20"/>
                <a:gd name="T13" fmla="*/ 14 h 16"/>
                <a:gd name="T14" fmla="*/ 4 w 20"/>
                <a:gd name="T15" fmla="*/ 4 h 16"/>
                <a:gd name="T16" fmla="*/ 4 w 20"/>
                <a:gd name="T17" fmla="*/ 0 h 16"/>
                <a:gd name="T18" fmla="*/ 2 w 20"/>
                <a:gd name="T19" fmla="*/ 0 h 16"/>
                <a:gd name="T20" fmla="*/ 2 w 20"/>
                <a:gd name="T21" fmla="*/ 0 h 16"/>
                <a:gd name="T22" fmla="*/ 2 w 20"/>
                <a:gd name="T23" fmla="*/ 0 h 16"/>
                <a:gd name="T24" fmla="*/ 2 w 20"/>
                <a:gd name="T25" fmla="*/ 0 h 16"/>
                <a:gd name="T26" fmla="*/ 0 w 20"/>
                <a:gd name="T27" fmla="*/ 6 h 16"/>
                <a:gd name="T28" fmla="*/ 2 w 20"/>
                <a:gd name="T29" fmla="*/ 8 h 16"/>
                <a:gd name="T30" fmla="*/ 2 w 20"/>
                <a:gd name="T31" fmla="*/ 8 h 16"/>
                <a:gd name="T32" fmla="*/ 4 w 20"/>
                <a:gd name="T33" fmla="*/ 8 h 16"/>
                <a:gd name="T34" fmla="*/ 4 w 20"/>
                <a:gd name="T35" fmla="*/ 8 h 16"/>
                <a:gd name="T36" fmla="*/ 4 w 20"/>
                <a:gd name="T37" fmla="*/ 8 h 16"/>
                <a:gd name="T38" fmla="*/ 4 w 20"/>
                <a:gd name="T39" fmla="*/ 6 h 16"/>
                <a:gd name="T40" fmla="*/ 4 w 20"/>
                <a:gd name="T41" fmla="*/ 4 h 16"/>
                <a:gd name="T42" fmla="*/ 20 w 20"/>
                <a:gd name="T43" fmla="*/ 12 h 16"/>
                <a:gd name="T44" fmla="*/ 20 w 20"/>
                <a:gd name="T45" fmla="*/ 12 h 16"/>
                <a:gd name="T46" fmla="*/ 20 w 20"/>
                <a:gd name="T47" fmla="*/ 12 h 16"/>
                <a:gd name="T48" fmla="*/ 20 w 20"/>
                <a:gd name="T49" fmla="*/ 12 h 16"/>
                <a:gd name="T50" fmla="*/ 18 w 20"/>
                <a:gd name="T51" fmla="*/ 14 h 16"/>
                <a:gd name="T52" fmla="*/ 18 w 20"/>
                <a:gd name="T53" fmla="*/ 14 h 16"/>
                <a:gd name="T54" fmla="*/ 18 w 20"/>
                <a:gd name="T55" fmla="*/ 14 h 16"/>
                <a:gd name="T56" fmla="*/ 16 w 20"/>
                <a:gd name="T57" fmla="*/ 14 h 16"/>
                <a:gd name="T58" fmla="*/ 18 w 20"/>
                <a:gd name="T59" fmla="*/ 14 h 16"/>
                <a:gd name="T60" fmla="*/ 20 w 20"/>
                <a:gd name="T61" fmla="*/ 16 h 16"/>
                <a:gd name="T62" fmla="*/ 20 w 20"/>
                <a:gd name="T63" fmla="*/ 16 h 16"/>
                <a:gd name="T64" fmla="*/ 20 w 20"/>
                <a:gd name="T65" fmla="*/ 16 h 16"/>
                <a:gd name="T66" fmla="*/ 20 w 20"/>
                <a:gd name="T67" fmla="*/ 14 h 16"/>
                <a:gd name="T68" fmla="*/ 20 w 20"/>
                <a:gd name="T6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" h="16">
                  <a:moveTo>
                    <a:pt x="8" y="14"/>
                  </a:moveTo>
                  <a:lnTo>
                    <a:pt x="6" y="14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8" y="14"/>
                  </a:lnTo>
                  <a:close/>
                  <a:moveTo>
                    <a:pt x="4" y="4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4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4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4" name="Freeform 207">
              <a:extLst>
                <a:ext uri="{FF2B5EF4-FFF2-40B4-BE49-F238E27FC236}">
                  <a16:creationId xmlns:a16="http://schemas.microsoft.com/office/drawing/2014/main" id="{42DC6D0A-E180-5F4B-AC4A-544224D61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2180" y="3019934"/>
              <a:ext cx="200838" cy="347009"/>
            </a:xfrm>
            <a:custGeom>
              <a:avLst/>
              <a:gdLst>
                <a:gd name="T0" fmla="*/ 169 w 169"/>
                <a:gd name="T1" fmla="*/ 105 h 292"/>
                <a:gd name="T2" fmla="*/ 161 w 169"/>
                <a:gd name="T3" fmla="*/ 68 h 292"/>
                <a:gd name="T4" fmla="*/ 121 w 169"/>
                <a:gd name="T5" fmla="*/ 46 h 292"/>
                <a:gd name="T6" fmla="*/ 82 w 169"/>
                <a:gd name="T7" fmla="*/ 25 h 292"/>
                <a:gd name="T8" fmla="*/ 46 w 169"/>
                <a:gd name="T9" fmla="*/ 2 h 292"/>
                <a:gd name="T10" fmla="*/ 25 w 169"/>
                <a:gd name="T11" fmla="*/ 19 h 292"/>
                <a:gd name="T12" fmla="*/ 29 w 169"/>
                <a:gd name="T13" fmla="*/ 37 h 292"/>
                <a:gd name="T14" fmla="*/ 39 w 169"/>
                <a:gd name="T15" fmla="*/ 56 h 292"/>
                <a:gd name="T16" fmla="*/ 35 w 169"/>
                <a:gd name="T17" fmla="*/ 72 h 292"/>
                <a:gd name="T18" fmla="*/ 33 w 169"/>
                <a:gd name="T19" fmla="*/ 111 h 292"/>
                <a:gd name="T20" fmla="*/ 13 w 169"/>
                <a:gd name="T21" fmla="*/ 146 h 292"/>
                <a:gd name="T22" fmla="*/ 0 w 169"/>
                <a:gd name="T23" fmla="*/ 171 h 292"/>
                <a:gd name="T24" fmla="*/ 13 w 169"/>
                <a:gd name="T25" fmla="*/ 189 h 292"/>
                <a:gd name="T26" fmla="*/ 21 w 169"/>
                <a:gd name="T27" fmla="*/ 198 h 292"/>
                <a:gd name="T28" fmla="*/ 27 w 169"/>
                <a:gd name="T29" fmla="*/ 212 h 292"/>
                <a:gd name="T30" fmla="*/ 27 w 169"/>
                <a:gd name="T31" fmla="*/ 222 h 292"/>
                <a:gd name="T32" fmla="*/ 29 w 169"/>
                <a:gd name="T33" fmla="*/ 237 h 292"/>
                <a:gd name="T34" fmla="*/ 33 w 169"/>
                <a:gd name="T35" fmla="*/ 247 h 292"/>
                <a:gd name="T36" fmla="*/ 23 w 169"/>
                <a:gd name="T37" fmla="*/ 247 h 292"/>
                <a:gd name="T38" fmla="*/ 11 w 169"/>
                <a:gd name="T39" fmla="*/ 251 h 292"/>
                <a:gd name="T40" fmla="*/ 13 w 169"/>
                <a:gd name="T41" fmla="*/ 259 h 292"/>
                <a:gd name="T42" fmla="*/ 23 w 169"/>
                <a:gd name="T43" fmla="*/ 268 h 292"/>
                <a:gd name="T44" fmla="*/ 31 w 169"/>
                <a:gd name="T45" fmla="*/ 282 h 292"/>
                <a:gd name="T46" fmla="*/ 35 w 169"/>
                <a:gd name="T47" fmla="*/ 290 h 292"/>
                <a:gd name="T48" fmla="*/ 39 w 169"/>
                <a:gd name="T49" fmla="*/ 292 h 292"/>
                <a:gd name="T50" fmla="*/ 48 w 169"/>
                <a:gd name="T51" fmla="*/ 288 h 292"/>
                <a:gd name="T52" fmla="*/ 52 w 169"/>
                <a:gd name="T53" fmla="*/ 288 h 292"/>
                <a:gd name="T54" fmla="*/ 58 w 169"/>
                <a:gd name="T55" fmla="*/ 288 h 292"/>
                <a:gd name="T56" fmla="*/ 66 w 169"/>
                <a:gd name="T57" fmla="*/ 284 h 292"/>
                <a:gd name="T58" fmla="*/ 80 w 169"/>
                <a:gd name="T59" fmla="*/ 282 h 292"/>
                <a:gd name="T60" fmla="*/ 87 w 169"/>
                <a:gd name="T61" fmla="*/ 278 h 292"/>
                <a:gd name="T62" fmla="*/ 91 w 169"/>
                <a:gd name="T63" fmla="*/ 272 h 292"/>
                <a:gd name="T64" fmla="*/ 89 w 169"/>
                <a:gd name="T65" fmla="*/ 268 h 292"/>
                <a:gd name="T66" fmla="*/ 97 w 169"/>
                <a:gd name="T67" fmla="*/ 266 h 292"/>
                <a:gd name="T68" fmla="*/ 107 w 169"/>
                <a:gd name="T69" fmla="*/ 261 h 292"/>
                <a:gd name="T70" fmla="*/ 117 w 169"/>
                <a:gd name="T71" fmla="*/ 259 h 292"/>
                <a:gd name="T72" fmla="*/ 126 w 169"/>
                <a:gd name="T73" fmla="*/ 247 h 292"/>
                <a:gd name="T74" fmla="*/ 132 w 169"/>
                <a:gd name="T75" fmla="*/ 243 h 292"/>
                <a:gd name="T76" fmla="*/ 134 w 169"/>
                <a:gd name="T77" fmla="*/ 237 h 292"/>
                <a:gd name="T78" fmla="*/ 138 w 169"/>
                <a:gd name="T79" fmla="*/ 233 h 292"/>
                <a:gd name="T80" fmla="*/ 142 w 169"/>
                <a:gd name="T81" fmla="*/ 231 h 292"/>
                <a:gd name="T82" fmla="*/ 150 w 169"/>
                <a:gd name="T83" fmla="*/ 229 h 292"/>
                <a:gd name="T84" fmla="*/ 152 w 169"/>
                <a:gd name="T85" fmla="*/ 222 h 292"/>
                <a:gd name="T86" fmla="*/ 148 w 169"/>
                <a:gd name="T87" fmla="*/ 218 h 292"/>
                <a:gd name="T88" fmla="*/ 146 w 169"/>
                <a:gd name="T89" fmla="*/ 208 h 292"/>
                <a:gd name="T90" fmla="*/ 144 w 169"/>
                <a:gd name="T91" fmla="*/ 200 h 292"/>
                <a:gd name="T92" fmla="*/ 136 w 169"/>
                <a:gd name="T93" fmla="*/ 198 h 292"/>
                <a:gd name="T94" fmla="*/ 136 w 169"/>
                <a:gd name="T95" fmla="*/ 192 h 292"/>
                <a:gd name="T96" fmla="*/ 142 w 169"/>
                <a:gd name="T97" fmla="*/ 183 h 292"/>
                <a:gd name="T98" fmla="*/ 140 w 169"/>
                <a:gd name="T99" fmla="*/ 177 h 292"/>
                <a:gd name="T100" fmla="*/ 142 w 169"/>
                <a:gd name="T101" fmla="*/ 173 h 292"/>
                <a:gd name="T102" fmla="*/ 146 w 169"/>
                <a:gd name="T103" fmla="*/ 169 h 292"/>
                <a:gd name="T104" fmla="*/ 144 w 169"/>
                <a:gd name="T105" fmla="*/ 163 h 292"/>
                <a:gd name="T106" fmla="*/ 148 w 169"/>
                <a:gd name="T107" fmla="*/ 161 h 292"/>
                <a:gd name="T108" fmla="*/ 150 w 169"/>
                <a:gd name="T109" fmla="*/ 155 h 292"/>
                <a:gd name="T110" fmla="*/ 152 w 169"/>
                <a:gd name="T111" fmla="*/ 144 h 292"/>
                <a:gd name="T112" fmla="*/ 163 w 169"/>
                <a:gd name="T113" fmla="*/ 140 h 292"/>
                <a:gd name="T114" fmla="*/ 169 w 169"/>
                <a:gd name="T115" fmla="*/ 14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9" h="292">
                  <a:moveTo>
                    <a:pt x="169" y="138"/>
                  </a:moveTo>
                  <a:lnTo>
                    <a:pt x="169" y="130"/>
                  </a:lnTo>
                  <a:lnTo>
                    <a:pt x="169" y="122"/>
                  </a:lnTo>
                  <a:lnTo>
                    <a:pt x="169" y="113"/>
                  </a:lnTo>
                  <a:lnTo>
                    <a:pt x="169" y="105"/>
                  </a:lnTo>
                  <a:lnTo>
                    <a:pt x="169" y="97"/>
                  </a:lnTo>
                  <a:lnTo>
                    <a:pt x="169" y="89"/>
                  </a:lnTo>
                  <a:lnTo>
                    <a:pt x="167" y="80"/>
                  </a:lnTo>
                  <a:lnTo>
                    <a:pt x="167" y="72"/>
                  </a:lnTo>
                  <a:lnTo>
                    <a:pt x="161" y="68"/>
                  </a:lnTo>
                  <a:lnTo>
                    <a:pt x="152" y="64"/>
                  </a:lnTo>
                  <a:lnTo>
                    <a:pt x="144" y="60"/>
                  </a:lnTo>
                  <a:lnTo>
                    <a:pt x="136" y="56"/>
                  </a:lnTo>
                  <a:lnTo>
                    <a:pt x="130" y="50"/>
                  </a:lnTo>
                  <a:lnTo>
                    <a:pt x="121" y="46"/>
                  </a:lnTo>
                  <a:lnTo>
                    <a:pt x="113" y="41"/>
                  </a:lnTo>
                  <a:lnTo>
                    <a:pt x="105" y="37"/>
                  </a:lnTo>
                  <a:lnTo>
                    <a:pt x="99" y="33"/>
                  </a:lnTo>
                  <a:lnTo>
                    <a:pt x="91" y="29"/>
                  </a:lnTo>
                  <a:lnTo>
                    <a:pt x="82" y="25"/>
                  </a:lnTo>
                  <a:lnTo>
                    <a:pt x="76" y="21"/>
                  </a:lnTo>
                  <a:lnTo>
                    <a:pt x="68" y="17"/>
                  </a:lnTo>
                  <a:lnTo>
                    <a:pt x="60" y="11"/>
                  </a:lnTo>
                  <a:lnTo>
                    <a:pt x="52" y="6"/>
                  </a:lnTo>
                  <a:lnTo>
                    <a:pt x="46" y="2"/>
                  </a:lnTo>
                  <a:lnTo>
                    <a:pt x="39" y="0"/>
                  </a:lnTo>
                  <a:lnTo>
                    <a:pt x="33" y="2"/>
                  </a:lnTo>
                  <a:lnTo>
                    <a:pt x="29" y="4"/>
                  </a:lnTo>
                  <a:lnTo>
                    <a:pt x="23" y="9"/>
                  </a:lnTo>
                  <a:lnTo>
                    <a:pt x="25" y="19"/>
                  </a:lnTo>
                  <a:lnTo>
                    <a:pt x="27" y="27"/>
                  </a:lnTo>
                  <a:lnTo>
                    <a:pt x="27" y="33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9" y="37"/>
                  </a:lnTo>
                  <a:lnTo>
                    <a:pt x="33" y="46"/>
                  </a:lnTo>
                  <a:lnTo>
                    <a:pt x="33" y="48"/>
                  </a:lnTo>
                  <a:lnTo>
                    <a:pt x="33" y="50"/>
                  </a:lnTo>
                  <a:lnTo>
                    <a:pt x="35" y="50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8"/>
                  </a:lnTo>
                  <a:lnTo>
                    <a:pt x="37" y="64"/>
                  </a:lnTo>
                  <a:lnTo>
                    <a:pt x="35" y="64"/>
                  </a:lnTo>
                  <a:lnTo>
                    <a:pt x="35" y="72"/>
                  </a:lnTo>
                  <a:lnTo>
                    <a:pt x="35" y="78"/>
                  </a:lnTo>
                  <a:lnTo>
                    <a:pt x="35" y="85"/>
                  </a:lnTo>
                  <a:lnTo>
                    <a:pt x="33" y="93"/>
                  </a:lnTo>
                  <a:lnTo>
                    <a:pt x="33" y="101"/>
                  </a:lnTo>
                  <a:lnTo>
                    <a:pt x="33" y="111"/>
                  </a:lnTo>
                  <a:lnTo>
                    <a:pt x="33" y="120"/>
                  </a:lnTo>
                  <a:lnTo>
                    <a:pt x="29" y="126"/>
                  </a:lnTo>
                  <a:lnTo>
                    <a:pt x="21" y="134"/>
                  </a:lnTo>
                  <a:lnTo>
                    <a:pt x="15" y="140"/>
                  </a:lnTo>
                  <a:lnTo>
                    <a:pt x="13" y="146"/>
                  </a:lnTo>
                  <a:lnTo>
                    <a:pt x="7" y="155"/>
                  </a:lnTo>
                  <a:lnTo>
                    <a:pt x="2" y="161"/>
                  </a:lnTo>
                  <a:lnTo>
                    <a:pt x="0" y="165"/>
                  </a:lnTo>
                  <a:lnTo>
                    <a:pt x="0" y="167"/>
                  </a:lnTo>
                  <a:lnTo>
                    <a:pt x="0" y="171"/>
                  </a:lnTo>
                  <a:lnTo>
                    <a:pt x="2" y="179"/>
                  </a:lnTo>
                  <a:lnTo>
                    <a:pt x="4" y="183"/>
                  </a:lnTo>
                  <a:lnTo>
                    <a:pt x="9" y="187"/>
                  </a:lnTo>
                  <a:lnTo>
                    <a:pt x="11" y="189"/>
                  </a:lnTo>
                  <a:lnTo>
                    <a:pt x="13" y="189"/>
                  </a:lnTo>
                  <a:lnTo>
                    <a:pt x="17" y="192"/>
                  </a:lnTo>
                  <a:lnTo>
                    <a:pt x="17" y="192"/>
                  </a:lnTo>
                  <a:lnTo>
                    <a:pt x="17" y="196"/>
                  </a:lnTo>
                  <a:lnTo>
                    <a:pt x="19" y="196"/>
                  </a:lnTo>
                  <a:lnTo>
                    <a:pt x="21" y="198"/>
                  </a:lnTo>
                  <a:lnTo>
                    <a:pt x="23" y="200"/>
                  </a:lnTo>
                  <a:lnTo>
                    <a:pt x="23" y="204"/>
                  </a:lnTo>
                  <a:lnTo>
                    <a:pt x="25" y="208"/>
                  </a:lnTo>
                  <a:lnTo>
                    <a:pt x="25" y="208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4"/>
                  </a:lnTo>
                  <a:lnTo>
                    <a:pt x="27" y="216"/>
                  </a:lnTo>
                  <a:lnTo>
                    <a:pt x="27" y="218"/>
                  </a:lnTo>
                  <a:lnTo>
                    <a:pt x="27" y="222"/>
                  </a:lnTo>
                  <a:lnTo>
                    <a:pt x="25" y="222"/>
                  </a:lnTo>
                  <a:lnTo>
                    <a:pt x="25" y="226"/>
                  </a:lnTo>
                  <a:lnTo>
                    <a:pt x="27" y="231"/>
                  </a:lnTo>
                  <a:lnTo>
                    <a:pt x="27" y="235"/>
                  </a:lnTo>
                  <a:lnTo>
                    <a:pt x="29" y="237"/>
                  </a:lnTo>
                  <a:lnTo>
                    <a:pt x="29" y="241"/>
                  </a:lnTo>
                  <a:lnTo>
                    <a:pt x="31" y="243"/>
                  </a:lnTo>
                  <a:lnTo>
                    <a:pt x="33" y="245"/>
                  </a:lnTo>
                  <a:lnTo>
                    <a:pt x="35" y="247"/>
                  </a:lnTo>
                  <a:lnTo>
                    <a:pt x="33" y="247"/>
                  </a:lnTo>
                  <a:lnTo>
                    <a:pt x="31" y="247"/>
                  </a:lnTo>
                  <a:lnTo>
                    <a:pt x="29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3" y="247"/>
                  </a:lnTo>
                  <a:lnTo>
                    <a:pt x="19" y="247"/>
                  </a:lnTo>
                  <a:lnTo>
                    <a:pt x="15" y="247"/>
                  </a:lnTo>
                  <a:lnTo>
                    <a:pt x="13" y="247"/>
                  </a:lnTo>
                  <a:lnTo>
                    <a:pt x="11" y="249"/>
                  </a:lnTo>
                  <a:lnTo>
                    <a:pt x="11" y="251"/>
                  </a:lnTo>
                  <a:lnTo>
                    <a:pt x="9" y="253"/>
                  </a:lnTo>
                  <a:lnTo>
                    <a:pt x="9" y="253"/>
                  </a:lnTo>
                  <a:lnTo>
                    <a:pt x="11" y="255"/>
                  </a:lnTo>
                  <a:lnTo>
                    <a:pt x="13" y="257"/>
                  </a:lnTo>
                  <a:lnTo>
                    <a:pt x="13" y="259"/>
                  </a:lnTo>
                  <a:lnTo>
                    <a:pt x="15" y="261"/>
                  </a:lnTo>
                  <a:lnTo>
                    <a:pt x="19" y="263"/>
                  </a:lnTo>
                  <a:lnTo>
                    <a:pt x="21" y="268"/>
                  </a:lnTo>
                  <a:lnTo>
                    <a:pt x="21" y="268"/>
                  </a:lnTo>
                  <a:lnTo>
                    <a:pt x="23" y="268"/>
                  </a:lnTo>
                  <a:lnTo>
                    <a:pt x="23" y="268"/>
                  </a:lnTo>
                  <a:lnTo>
                    <a:pt x="25" y="270"/>
                  </a:lnTo>
                  <a:lnTo>
                    <a:pt x="27" y="274"/>
                  </a:lnTo>
                  <a:lnTo>
                    <a:pt x="29" y="278"/>
                  </a:lnTo>
                  <a:lnTo>
                    <a:pt x="31" y="282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5" y="286"/>
                  </a:lnTo>
                  <a:lnTo>
                    <a:pt x="35" y="288"/>
                  </a:lnTo>
                  <a:lnTo>
                    <a:pt x="35" y="290"/>
                  </a:lnTo>
                  <a:lnTo>
                    <a:pt x="33" y="290"/>
                  </a:lnTo>
                  <a:lnTo>
                    <a:pt x="33" y="292"/>
                  </a:lnTo>
                  <a:lnTo>
                    <a:pt x="35" y="292"/>
                  </a:lnTo>
                  <a:lnTo>
                    <a:pt x="37" y="292"/>
                  </a:lnTo>
                  <a:lnTo>
                    <a:pt x="39" y="292"/>
                  </a:lnTo>
                  <a:lnTo>
                    <a:pt x="41" y="292"/>
                  </a:lnTo>
                  <a:lnTo>
                    <a:pt x="41" y="290"/>
                  </a:lnTo>
                  <a:lnTo>
                    <a:pt x="46" y="290"/>
                  </a:lnTo>
                  <a:lnTo>
                    <a:pt x="48" y="288"/>
                  </a:lnTo>
                  <a:lnTo>
                    <a:pt x="48" y="288"/>
                  </a:lnTo>
                  <a:lnTo>
                    <a:pt x="50" y="286"/>
                  </a:lnTo>
                  <a:lnTo>
                    <a:pt x="50" y="286"/>
                  </a:lnTo>
                  <a:lnTo>
                    <a:pt x="50" y="286"/>
                  </a:lnTo>
                  <a:lnTo>
                    <a:pt x="50" y="286"/>
                  </a:lnTo>
                  <a:lnTo>
                    <a:pt x="52" y="288"/>
                  </a:lnTo>
                  <a:lnTo>
                    <a:pt x="52" y="290"/>
                  </a:lnTo>
                  <a:lnTo>
                    <a:pt x="54" y="292"/>
                  </a:lnTo>
                  <a:lnTo>
                    <a:pt x="54" y="292"/>
                  </a:lnTo>
                  <a:lnTo>
                    <a:pt x="56" y="290"/>
                  </a:lnTo>
                  <a:lnTo>
                    <a:pt x="58" y="288"/>
                  </a:lnTo>
                  <a:lnTo>
                    <a:pt x="60" y="288"/>
                  </a:lnTo>
                  <a:lnTo>
                    <a:pt x="62" y="286"/>
                  </a:lnTo>
                  <a:lnTo>
                    <a:pt x="64" y="286"/>
                  </a:lnTo>
                  <a:lnTo>
                    <a:pt x="64" y="286"/>
                  </a:lnTo>
                  <a:lnTo>
                    <a:pt x="66" y="284"/>
                  </a:lnTo>
                  <a:lnTo>
                    <a:pt x="68" y="284"/>
                  </a:lnTo>
                  <a:lnTo>
                    <a:pt x="70" y="284"/>
                  </a:lnTo>
                  <a:lnTo>
                    <a:pt x="72" y="284"/>
                  </a:lnTo>
                  <a:lnTo>
                    <a:pt x="78" y="282"/>
                  </a:lnTo>
                  <a:lnTo>
                    <a:pt x="80" y="282"/>
                  </a:lnTo>
                  <a:lnTo>
                    <a:pt x="82" y="282"/>
                  </a:lnTo>
                  <a:lnTo>
                    <a:pt x="82" y="282"/>
                  </a:lnTo>
                  <a:lnTo>
                    <a:pt x="85" y="280"/>
                  </a:lnTo>
                  <a:lnTo>
                    <a:pt x="85" y="280"/>
                  </a:lnTo>
                  <a:lnTo>
                    <a:pt x="87" y="278"/>
                  </a:lnTo>
                  <a:lnTo>
                    <a:pt x="89" y="276"/>
                  </a:lnTo>
                  <a:lnTo>
                    <a:pt x="91" y="274"/>
                  </a:lnTo>
                  <a:lnTo>
                    <a:pt x="91" y="272"/>
                  </a:lnTo>
                  <a:lnTo>
                    <a:pt x="91" y="272"/>
                  </a:lnTo>
                  <a:lnTo>
                    <a:pt x="91" y="272"/>
                  </a:lnTo>
                  <a:lnTo>
                    <a:pt x="91" y="272"/>
                  </a:lnTo>
                  <a:lnTo>
                    <a:pt x="91" y="270"/>
                  </a:lnTo>
                  <a:lnTo>
                    <a:pt x="89" y="268"/>
                  </a:lnTo>
                  <a:lnTo>
                    <a:pt x="89" y="268"/>
                  </a:lnTo>
                  <a:lnTo>
                    <a:pt x="89" y="268"/>
                  </a:lnTo>
                  <a:lnTo>
                    <a:pt x="89" y="268"/>
                  </a:lnTo>
                  <a:lnTo>
                    <a:pt x="89" y="266"/>
                  </a:lnTo>
                  <a:lnTo>
                    <a:pt x="91" y="266"/>
                  </a:lnTo>
                  <a:lnTo>
                    <a:pt x="93" y="266"/>
                  </a:lnTo>
                  <a:lnTo>
                    <a:pt x="97" y="266"/>
                  </a:lnTo>
                  <a:lnTo>
                    <a:pt x="99" y="263"/>
                  </a:lnTo>
                  <a:lnTo>
                    <a:pt x="101" y="263"/>
                  </a:lnTo>
                  <a:lnTo>
                    <a:pt x="103" y="263"/>
                  </a:lnTo>
                  <a:lnTo>
                    <a:pt x="105" y="263"/>
                  </a:lnTo>
                  <a:lnTo>
                    <a:pt x="107" y="261"/>
                  </a:lnTo>
                  <a:lnTo>
                    <a:pt x="111" y="263"/>
                  </a:lnTo>
                  <a:lnTo>
                    <a:pt x="115" y="259"/>
                  </a:lnTo>
                  <a:lnTo>
                    <a:pt x="115" y="259"/>
                  </a:lnTo>
                  <a:lnTo>
                    <a:pt x="117" y="259"/>
                  </a:lnTo>
                  <a:lnTo>
                    <a:pt x="117" y="259"/>
                  </a:lnTo>
                  <a:lnTo>
                    <a:pt x="119" y="257"/>
                  </a:lnTo>
                  <a:lnTo>
                    <a:pt x="119" y="255"/>
                  </a:lnTo>
                  <a:lnTo>
                    <a:pt x="121" y="253"/>
                  </a:lnTo>
                  <a:lnTo>
                    <a:pt x="121" y="251"/>
                  </a:lnTo>
                  <a:lnTo>
                    <a:pt x="126" y="247"/>
                  </a:lnTo>
                  <a:lnTo>
                    <a:pt x="128" y="247"/>
                  </a:lnTo>
                  <a:lnTo>
                    <a:pt x="128" y="247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2" y="243"/>
                  </a:lnTo>
                  <a:lnTo>
                    <a:pt x="132" y="243"/>
                  </a:lnTo>
                  <a:lnTo>
                    <a:pt x="134" y="241"/>
                  </a:lnTo>
                  <a:lnTo>
                    <a:pt x="134" y="239"/>
                  </a:lnTo>
                  <a:lnTo>
                    <a:pt x="134" y="239"/>
                  </a:lnTo>
                  <a:lnTo>
                    <a:pt x="134" y="237"/>
                  </a:lnTo>
                  <a:lnTo>
                    <a:pt x="134" y="237"/>
                  </a:lnTo>
                  <a:lnTo>
                    <a:pt x="134" y="235"/>
                  </a:lnTo>
                  <a:lnTo>
                    <a:pt x="134" y="235"/>
                  </a:lnTo>
                  <a:lnTo>
                    <a:pt x="138" y="233"/>
                  </a:lnTo>
                  <a:lnTo>
                    <a:pt x="138" y="233"/>
                  </a:lnTo>
                  <a:lnTo>
                    <a:pt x="138" y="231"/>
                  </a:lnTo>
                  <a:lnTo>
                    <a:pt x="140" y="231"/>
                  </a:lnTo>
                  <a:lnTo>
                    <a:pt x="140" y="231"/>
                  </a:lnTo>
                  <a:lnTo>
                    <a:pt x="142" y="231"/>
                  </a:lnTo>
                  <a:lnTo>
                    <a:pt x="142" y="231"/>
                  </a:lnTo>
                  <a:lnTo>
                    <a:pt x="144" y="229"/>
                  </a:lnTo>
                  <a:lnTo>
                    <a:pt x="146" y="229"/>
                  </a:lnTo>
                  <a:lnTo>
                    <a:pt x="148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2" y="231"/>
                  </a:lnTo>
                  <a:lnTo>
                    <a:pt x="152" y="229"/>
                  </a:lnTo>
                  <a:lnTo>
                    <a:pt x="152" y="224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52" y="220"/>
                  </a:lnTo>
                  <a:lnTo>
                    <a:pt x="150" y="220"/>
                  </a:lnTo>
                  <a:lnTo>
                    <a:pt x="150" y="220"/>
                  </a:lnTo>
                  <a:lnTo>
                    <a:pt x="148" y="220"/>
                  </a:lnTo>
                  <a:lnTo>
                    <a:pt x="148" y="218"/>
                  </a:lnTo>
                  <a:lnTo>
                    <a:pt x="148" y="218"/>
                  </a:lnTo>
                  <a:lnTo>
                    <a:pt x="146" y="216"/>
                  </a:lnTo>
                  <a:lnTo>
                    <a:pt x="146" y="210"/>
                  </a:lnTo>
                  <a:lnTo>
                    <a:pt x="146" y="210"/>
                  </a:lnTo>
                  <a:lnTo>
                    <a:pt x="146" y="208"/>
                  </a:lnTo>
                  <a:lnTo>
                    <a:pt x="146" y="208"/>
                  </a:lnTo>
                  <a:lnTo>
                    <a:pt x="146" y="208"/>
                  </a:lnTo>
                  <a:lnTo>
                    <a:pt x="144" y="204"/>
                  </a:lnTo>
                  <a:lnTo>
                    <a:pt x="144" y="202"/>
                  </a:lnTo>
                  <a:lnTo>
                    <a:pt x="144" y="200"/>
                  </a:lnTo>
                  <a:lnTo>
                    <a:pt x="144" y="198"/>
                  </a:lnTo>
                  <a:lnTo>
                    <a:pt x="142" y="198"/>
                  </a:lnTo>
                  <a:lnTo>
                    <a:pt x="140" y="198"/>
                  </a:lnTo>
                  <a:lnTo>
                    <a:pt x="138" y="198"/>
                  </a:lnTo>
                  <a:lnTo>
                    <a:pt x="136" y="198"/>
                  </a:lnTo>
                  <a:lnTo>
                    <a:pt x="136" y="198"/>
                  </a:lnTo>
                  <a:lnTo>
                    <a:pt x="136" y="196"/>
                  </a:lnTo>
                  <a:lnTo>
                    <a:pt x="134" y="196"/>
                  </a:lnTo>
                  <a:lnTo>
                    <a:pt x="136" y="194"/>
                  </a:lnTo>
                  <a:lnTo>
                    <a:pt x="136" y="192"/>
                  </a:lnTo>
                  <a:lnTo>
                    <a:pt x="138" y="189"/>
                  </a:lnTo>
                  <a:lnTo>
                    <a:pt x="140" y="187"/>
                  </a:lnTo>
                  <a:lnTo>
                    <a:pt x="140" y="187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3"/>
                  </a:lnTo>
                  <a:lnTo>
                    <a:pt x="140" y="181"/>
                  </a:lnTo>
                  <a:lnTo>
                    <a:pt x="140" y="179"/>
                  </a:lnTo>
                  <a:lnTo>
                    <a:pt x="140" y="177"/>
                  </a:lnTo>
                  <a:lnTo>
                    <a:pt x="140" y="177"/>
                  </a:lnTo>
                  <a:lnTo>
                    <a:pt x="140" y="175"/>
                  </a:lnTo>
                  <a:lnTo>
                    <a:pt x="140" y="175"/>
                  </a:lnTo>
                  <a:lnTo>
                    <a:pt x="142" y="173"/>
                  </a:lnTo>
                  <a:lnTo>
                    <a:pt x="142" y="173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6" y="171"/>
                  </a:lnTo>
                  <a:lnTo>
                    <a:pt x="146" y="171"/>
                  </a:lnTo>
                  <a:lnTo>
                    <a:pt x="146" y="169"/>
                  </a:lnTo>
                  <a:lnTo>
                    <a:pt x="146" y="169"/>
                  </a:lnTo>
                  <a:lnTo>
                    <a:pt x="144" y="167"/>
                  </a:lnTo>
                  <a:lnTo>
                    <a:pt x="144" y="167"/>
                  </a:lnTo>
                  <a:lnTo>
                    <a:pt x="144" y="165"/>
                  </a:lnTo>
                  <a:lnTo>
                    <a:pt x="144" y="165"/>
                  </a:lnTo>
                  <a:lnTo>
                    <a:pt x="144" y="163"/>
                  </a:lnTo>
                  <a:lnTo>
                    <a:pt x="144" y="163"/>
                  </a:lnTo>
                  <a:lnTo>
                    <a:pt x="144" y="161"/>
                  </a:lnTo>
                  <a:lnTo>
                    <a:pt x="146" y="161"/>
                  </a:lnTo>
                  <a:lnTo>
                    <a:pt x="148" y="161"/>
                  </a:lnTo>
                  <a:lnTo>
                    <a:pt x="148" y="161"/>
                  </a:lnTo>
                  <a:lnTo>
                    <a:pt x="148" y="159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2"/>
                  </a:lnTo>
                  <a:lnTo>
                    <a:pt x="152" y="152"/>
                  </a:lnTo>
                  <a:lnTo>
                    <a:pt x="152" y="150"/>
                  </a:lnTo>
                  <a:lnTo>
                    <a:pt x="152" y="148"/>
                  </a:lnTo>
                  <a:lnTo>
                    <a:pt x="152" y="144"/>
                  </a:lnTo>
                  <a:lnTo>
                    <a:pt x="152" y="144"/>
                  </a:lnTo>
                  <a:lnTo>
                    <a:pt x="154" y="142"/>
                  </a:lnTo>
                  <a:lnTo>
                    <a:pt x="156" y="142"/>
                  </a:lnTo>
                  <a:lnTo>
                    <a:pt x="161" y="142"/>
                  </a:lnTo>
                  <a:lnTo>
                    <a:pt x="163" y="140"/>
                  </a:lnTo>
                  <a:lnTo>
                    <a:pt x="165" y="140"/>
                  </a:lnTo>
                  <a:lnTo>
                    <a:pt x="169" y="142"/>
                  </a:lnTo>
                  <a:lnTo>
                    <a:pt x="169" y="142"/>
                  </a:lnTo>
                  <a:lnTo>
                    <a:pt x="169" y="142"/>
                  </a:lnTo>
                  <a:lnTo>
                    <a:pt x="169" y="140"/>
                  </a:lnTo>
                  <a:lnTo>
                    <a:pt x="169" y="13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5" name="Freeform 208">
              <a:extLst>
                <a:ext uri="{FF2B5EF4-FFF2-40B4-BE49-F238E27FC236}">
                  <a16:creationId xmlns:a16="http://schemas.microsoft.com/office/drawing/2014/main" id="{49815550-0FAC-6D4C-89DA-314E2656B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2383" y="3292075"/>
              <a:ext cx="248373" cy="190142"/>
            </a:xfrm>
            <a:custGeom>
              <a:avLst/>
              <a:gdLst>
                <a:gd name="T0" fmla="*/ 205 w 209"/>
                <a:gd name="T1" fmla="*/ 96 h 160"/>
                <a:gd name="T2" fmla="*/ 195 w 209"/>
                <a:gd name="T3" fmla="*/ 90 h 160"/>
                <a:gd name="T4" fmla="*/ 191 w 209"/>
                <a:gd name="T5" fmla="*/ 82 h 160"/>
                <a:gd name="T6" fmla="*/ 185 w 209"/>
                <a:gd name="T7" fmla="*/ 72 h 160"/>
                <a:gd name="T8" fmla="*/ 174 w 209"/>
                <a:gd name="T9" fmla="*/ 61 h 160"/>
                <a:gd name="T10" fmla="*/ 162 w 209"/>
                <a:gd name="T11" fmla="*/ 49 h 160"/>
                <a:gd name="T12" fmla="*/ 156 w 209"/>
                <a:gd name="T13" fmla="*/ 43 h 160"/>
                <a:gd name="T14" fmla="*/ 146 w 209"/>
                <a:gd name="T15" fmla="*/ 39 h 160"/>
                <a:gd name="T16" fmla="*/ 148 w 209"/>
                <a:gd name="T17" fmla="*/ 30 h 160"/>
                <a:gd name="T18" fmla="*/ 146 w 209"/>
                <a:gd name="T19" fmla="*/ 14 h 160"/>
                <a:gd name="T20" fmla="*/ 133 w 209"/>
                <a:gd name="T21" fmla="*/ 0 h 160"/>
                <a:gd name="T22" fmla="*/ 125 w 209"/>
                <a:gd name="T23" fmla="*/ 2 h 160"/>
                <a:gd name="T24" fmla="*/ 117 w 209"/>
                <a:gd name="T25" fmla="*/ 6 h 160"/>
                <a:gd name="T26" fmla="*/ 117 w 209"/>
                <a:gd name="T27" fmla="*/ 12 h 160"/>
                <a:gd name="T28" fmla="*/ 111 w 209"/>
                <a:gd name="T29" fmla="*/ 18 h 160"/>
                <a:gd name="T30" fmla="*/ 100 w 209"/>
                <a:gd name="T31" fmla="*/ 30 h 160"/>
                <a:gd name="T32" fmla="*/ 88 w 209"/>
                <a:gd name="T33" fmla="*/ 34 h 160"/>
                <a:gd name="T34" fmla="*/ 74 w 209"/>
                <a:gd name="T35" fmla="*/ 37 h 160"/>
                <a:gd name="T36" fmla="*/ 74 w 209"/>
                <a:gd name="T37" fmla="*/ 41 h 160"/>
                <a:gd name="T38" fmla="*/ 72 w 209"/>
                <a:gd name="T39" fmla="*/ 47 h 160"/>
                <a:gd name="T40" fmla="*/ 63 w 209"/>
                <a:gd name="T41" fmla="*/ 53 h 160"/>
                <a:gd name="T42" fmla="*/ 47 w 209"/>
                <a:gd name="T43" fmla="*/ 57 h 160"/>
                <a:gd name="T44" fmla="*/ 37 w 209"/>
                <a:gd name="T45" fmla="*/ 63 h 160"/>
                <a:gd name="T46" fmla="*/ 33 w 209"/>
                <a:gd name="T47" fmla="*/ 57 h 160"/>
                <a:gd name="T48" fmla="*/ 24 w 209"/>
                <a:gd name="T49" fmla="*/ 63 h 160"/>
                <a:gd name="T50" fmla="*/ 12 w 209"/>
                <a:gd name="T51" fmla="*/ 67 h 160"/>
                <a:gd name="T52" fmla="*/ 8 w 209"/>
                <a:gd name="T53" fmla="*/ 78 h 160"/>
                <a:gd name="T54" fmla="*/ 2 w 209"/>
                <a:gd name="T55" fmla="*/ 88 h 160"/>
                <a:gd name="T56" fmla="*/ 0 w 209"/>
                <a:gd name="T57" fmla="*/ 92 h 160"/>
                <a:gd name="T58" fmla="*/ 2 w 209"/>
                <a:gd name="T59" fmla="*/ 100 h 160"/>
                <a:gd name="T60" fmla="*/ 2 w 209"/>
                <a:gd name="T61" fmla="*/ 106 h 160"/>
                <a:gd name="T62" fmla="*/ 8 w 209"/>
                <a:gd name="T63" fmla="*/ 121 h 160"/>
                <a:gd name="T64" fmla="*/ 10 w 209"/>
                <a:gd name="T65" fmla="*/ 127 h 160"/>
                <a:gd name="T66" fmla="*/ 16 w 209"/>
                <a:gd name="T67" fmla="*/ 137 h 160"/>
                <a:gd name="T68" fmla="*/ 24 w 209"/>
                <a:gd name="T69" fmla="*/ 146 h 160"/>
                <a:gd name="T70" fmla="*/ 26 w 209"/>
                <a:gd name="T71" fmla="*/ 152 h 160"/>
                <a:gd name="T72" fmla="*/ 29 w 209"/>
                <a:gd name="T73" fmla="*/ 160 h 160"/>
                <a:gd name="T74" fmla="*/ 33 w 209"/>
                <a:gd name="T75" fmla="*/ 146 h 160"/>
                <a:gd name="T76" fmla="*/ 35 w 209"/>
                <a:gd name="T77" fmla="*/ 137 h 160"/>
                <a:gd name="T78" fmla="*/ 47 w 209"/>
                <a:gd name="T79" fmla="*/ 133 h 160"/>
                <a:gd name="T80" fmla="*/ 55 w 209"/>
                <a:gd name="T81" fmla="*/ 135 h 160"/>
                <a:gd name="T82" fmla="*/ 61 w 209"/>
                <a:gd name="T83" fmla="*/ 135 h 160"/>
                <a:gd name="T84" fmla="*/ 68 w 209"/>
                <a:gd name="T85" fmla="*/ 133 h 160"/>
                <a:gd name="T86" fmla="*/ 70 w 209"/>
                <a:gd name="T87" fmla="*/ 119 h 160"/>
                <a:gd name="T88" fmla="*/ 88 w 209"/>
                <a:gd name="T89" fmla="*/ 109 h 160"/>
                <a:gd name="T90" fmla="*/ 100 w 209"/>
                <a:gd name="T91" fmla="*/ 119 h 160"/>
                <a:gd name="T92" fmla="*/ 111 w 209"/>
                <a:gd name="T93" fmla="*/ 123 h 160"/>
                <a:gd name="T94" fmla="*/ 129 w 209"/>
                <a:gd name="T95" fmla="*/ 125 h 160"/>
                <a:gd name="T96" fmla="*/ 137 w 209"/>
                <a:gd name="T97" fmla="*/ 115 h 160"/>
                <a:gd name="T98" fmla="*/ 150 w 209"/>
                <a:gd name="T99" fmla="*/ 113 h 160"/>
                <a:gd name="T100" fmla="*/ 166 w 209"/>
                <a:gd name="T101" fmla="*/ 111 h 160"/>
                <a:gd name="T102" fmla="*/ 178 w 209"/>
                <a:gd name="T103" fmla="*/ 104 h 160"/>
                <a:gd name="T104" fmla="*/ 199 w 209"/>
                <a:gd name="T105" fmla="*/ 109 h 160"/>
                <a:gd name="T106" fmla="*/ 207 w 209"/>
                <a:gd name="T107" fmla="*/ 10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9" h="160">
                  <a:moveTo>
                    <a:pt x="207" y="106"/>
                  </a:moveTo>
                  <a:lnTo>
                    <a:pt x="207" y="104"/>
                  </a:lnTo>
                  <a:lnTo>
                    <a:pt x="207" y="100"/>
                  </a:lnTo>
                  <a:lnTo>
                    <a:pt x="207" y="98"/>
                  </a:lnTo>
                  <a:lnTo>
                    <a:pt x="205" y="98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3" y="94"/>
                  </a:lnTo>
                  <a:lnTo>
                    <a:pt x="201" y="94"/>
                  </a:lnTo>
                  <a:lnTo>
                    <a:pt x="199" y="92"/>
                  </a:lnTo>
                  <a:lnTo>
                    <a:pt x="199" y="90"/>
                  </a:lnTo>
                  <a:lnTo>
                    <a:pt x="195" y="90"/>
                  </a:lnTo>
                  <a:lnTo>
                    <a:pt x="195" y="90"/>
                  </a:lnTo>
                  <a:lnTo>
                    <a:pt x="193" y="88"/>
                  </a:lnTo>
                  <a:lnTo>
                    <a:pt x="193" y="86"/>
                  </a:lnTo>
                  <a:lnTo>
                    <a:pt x="193" y="84"/>
                  </a:lnTo>
                  <a:lnTo>
                    <a:pt x="191" y="84"/>
                  </a:lnTo>
                  <a:lnTo>
                    <a:pt x="191" y="82"/>
                  </a:lnTo>
                  <a:lnTo>
                    <a:pt x="193" y="80"/>
                  </a:lnTo>
                  <a:lnTo>
                    <a:pt x="191" y="78"/>
                  </a:lnTo>
                  <a:lnTo>
                    <a:pt x="189" y="76"/>
                  </a:lnTo>
                  <a:lnTo>
                    <a:pt x="187" y="76"/>
                  </a:lnTo>
                  <a:lnTo>
                    <a:pt x="187" y="74"/>
                  </a:lnTo>
                  <a:lnTo>
                    <a:pt x="185" y="72"/>
                  </a:lnTo>
                  <a:lnTo>
                    <a:pt x="178" y="67"/>
                  </a:lnTo>
                  <a:lnTo>
                    <a:pt x="176" y="67"/>
                  </a:lnTo>
                  <a:lnTo>
                    <a:pt x="174" y="65"/>
                  </a:lnTo>
                  <a:lnTo>
                    <a:pt x="172" y="63"/>
                  </a:lnTo>
                  <a:lnTo>
                    <a:pt x="172" y="63"/>
                  </a:lnTo>
                  <a:lnTo>
                    <a:pt x="174" y="61"/>
                  </a:lnTo>
                  <a:lnTo>
                    <a:pt x="174" y="59"/>
                  </a:lnTo>
                  <a:lnTo>
                    <a:pt x="172" y="57"/>
                  </a:lnTo>
                  <a:lnTo>
                    <a:pt x="170" y="55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2" y="49"/>
                  </a:lnTo>
                  <a:lnTo>
                    <a:pt x="160" y="49"/>
                  </a:lnTo>
                  <a:lnTo>
                    <a:pt x="158" y="49"/>
                  </a:lnTo>
                  <a:lnTo>
                    <a:pt x="158" y="47"/>
                  </a:lnTo>
                  <a:lnTo>
                    <a:pt x="156" y="45"/>
                  </a:lnTo>
                  <a:lnTo>
                    <a:pt x="158" y="43"/>
                  </a:lnTo>
                  <a:lnTo>
                    <a:pt x="156" y="43"/>
                  </a:lnTo>
                  <a:lnTo>
                    <a:pt x="156" y="43"/>
                  </a:lnTo>
                  <a:lnTo>
                    <a:pt x="154" y="41"/>
                  </a:lnTo>
                  <a:lnTo>
                    <a:pt x="152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6" y="39"/>
                  </a:lnTo>
                  <a:lnTo>
                    <a:pt x="146" y="37"/>
                  </a:lnTo>
                  <a:lnTo>
                    <a:pt x="146" y="37"/>
                  </a:lnTo>
                  <a:lnTo>
                    <a:pt x="146" y="37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8" y="30"/>
                  </a:lnTo>
                  <a:lnTo>
                    <a:pt x="148" y="30"/>
                  </a:lnTo>
                  <a:lnTo>
                    <a:pt x="148" y="24"/>
                  </a:lnTo>
                  <a:lnTo>
                    <a:pt x="148" y="22"/>
                  </a:lnTo>
                  <a:lnTo>
                    <a:pt x="148" y="20"/>
                  </a:lnTo>
                  <a:lnTo>
                    <a:pt x="146" y="16"/>
                  </a:lnTo>
                  <a:lnTo>
                    <a:pt x="146" y="14"/>
                  </a:lnTo>
                  <a:lnTo>
                    <a:pt x="141" y="10"/>
                  </a:lnTo>
                  <a:lnTo>
                    <a:pt x="141" y="10"/>
                  </a:lnTo>
                  <a:lnTo>
                    <a:pt x="137" y="4"/>
                  </a:lnTo>
                  <a:lnTo>
                    <a:pt x="135" y="4"/>
                  </a:lnTo>
                  <a:lnTo>
                    <a:pt x="135" y="2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27" y="0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7" y="12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09" y="18"/>
                  </a:lnTo>
                  <a:lnTo>
                    <a:pt x="104" y="22"/>
                  </a:lnTo>
                  <a:lnTo>
                    <a:pt x="104" y="24"/>
                  </a:lnTo>
                  <a:lnTo>
                    <a:pt x="102" y="26"/>
                  </a:lnTo>
                  <a:lnTo>
                    <a:pt x="102" y="28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4" y="34"/>
                  </a:lnTo>
                  <a:lnTo>
                    <a:pt x="90" y="32"/>
                  </a:lnTo>
                  <a:lnTo>
                    <a:pt x="88" y="34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80" y="37"/>
                  </a:lnTo>
                  <a:lnTo>
                    <a:pt x="76" y="37"/>
                  </a:lnTo>
                  <a:lnTo>
                    <a:pt x="74" y="37"/>
                  </a:lnTo>
                  <a:lnTo>
                    <a:pt x="72" y="37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4" y="41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74" y="45"/>
                  </a:lnTo>
                  <a:lnTo>
                    <a:pt x="72" y="47"/>
                  </a:lnTo>
                  <a:lnTo>
                    <a:pt x="70" y="49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5" y="53"/>
                  </a:lnTo>
                  <a:lnTo>
                    <a:pt x="65" y="53"/>
                  </a:lnTo>
                  <a:lnTo>
                    <a:pt x="63" y="53"/>
                  </a:lnTo>
                  <a:lnTo>
                    <a:pt x="61" y="53"/>
                  </a:lnTo>
                  <a:lnTo>
                    <a:pt x="55" y="55"/>
                  </a:lnTo>
                  <a:lnTo>
                    <a:pt x="53" y="55"/>
                  </a:lnTo>
                  <a:lnTo>
                    <a:pt x="51" y="55"/>
                  </a:lnTo>
                  <a:lnTo>
                    <a:pt x="49" y="55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5" y="57"/>
                  </a:lnTo>
                  <a:lnTo>
                    <a:pt x="43" y="59"/>
                  </a:lnTo>
                  <a:lnTo>
                    <a:pt x="41" y="59"/>
                  </a:lnTo>
                  <a:lnTo>
                    <a:pt x="39" y="61"/>
                  </a:lnTo>
                  <a:lnTo>
                    <a:pt x="37" y="63"/>
                  </a:lnTo>
                  <a:lnTo>
                    <a:pt x="37" y="63"/>
                  </a:lnTo>
                  <a:lnTo>
                    <a:pt x="35" y="61"/>
                  </a:lnTo>
                  <a:lnTo>
                    <a:pt x="35" y="59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29" y="61"/>
                  </a:lnTo>
                  <a:lnTo>
                    <a:pt x="24" y="61"/>
                  </a:lnTo>
                  <a:lnTo>
                    <a:pt x="24" y="63"/>
                  </a:lnTo>
                  <a:lnTo>
                    <a:pt x="22" y="63"/>
                  </a:lnTo>
                  <a:lnTo>
                    <a:pt x="20" y="63"/>
                  </a:lnTo>
                  <a:lnTo>
                    <a:pt x="18" y="63"/>
                  </a:lnTo>
                  <a:lnTo>
                    <a:pt x="16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0" y="72"/>
                  </a:lnTo>
                  <a:lnTo>
                    <a:pt x="10" y="74"/>
                  </a:lnTo>
                  <a:lnTo>
                    <a:pt x="8" y="76"/>
                  </a:lnTo>
                  <a:lnTo>
                    <a:pt x="8" y="78"/>
                  </a:lnTo>
                  <a:lnTo>
                    <a:pt x="6" y="80"/>
                  </a:lnTo>
                  <a:lnTo>
                    <a:pt x="4" y="84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2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2" y="100"/>
                  </a:lnTo>
                  <a:lnTo>
                    <a:pt x="2" y="100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4"/>
                  </a:lnTo>
                  <a:lnTo>
                    <a:pt x="2" y="104"/>
                  </a:lnTo>
                  <a:lnTo>
                    <a:pt x="2" y="104"/>
                  </a:lnTo>
                  <a:lnTo>
                    <a:pt x="2" y="106"/>
                  </a:lnTo>
                  <a:lnTo>
                    <a:pt x="4" y="109"/>
                  </a:lnTo>
                  <a:lnTo>
                    <a:pt x="4" y="115"/>
                  </a:lnTo>
                  <a:lnTo>
                    <a:pt x="4" y="117"/>
                  </a:lnTo>
                  <a:lnTo>
                    <a:pt x="4" y="117"/>
                  </a:lnTo>
                  <a:lnTo>
                    <a:pt x="6" y="119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0" y="125"/>
                  </a:lnTo>
                  <a:lnTo>
                    <a:pt x="10" y="127"/>
                  </a:lnTo>
                  <a:lnTo>
                    <a:pt x="10" y="127"/>
                  </a:lnTo>
                  <a:lnTo>
                    <a:pt x="10" y="127"/>
                  </a:lnTo>
                  <a:lnTo>
                    <a:pt x="10" y="127"/>
                  </a:lnTo>
                  <a:lnTo>
                    <a:pt x="10" y="127"/>
                  </a:lnTo>
                  <a:lnTo>
                    <a:pt x="10" y="129"/>
                  </a:lnTo>
                  <a:lnTo>
                    <a:pt x="10" y="131"/>
                  </a:lnTo>
                  <a:lnTo>
                    <a:pt x="12" y="133"/>
                  </a:lnTo>
                  <a:lnTo>
                    <a:pt x="14" y="135"/>
                  </a:lnTo>
                  <a:lnTo>
                    <a:pt x="16" y="137"/>
                  </a:lnTo>
                  <a:lnTo>
                    <a:pt x="18" y="139"/>
                  </a:lnTo>
                  <a:lnTo>
                    <a:pt x="20" y="141"/>
                  </a:lnTo>
                  <a:lnTo>
                    <a:pt x="20" y="143"/>
                  </a:lnTo>
                  <a:lnTo>
                    <a:pt x="22" y="143"/>
                  </a:lnTo>
                  <a:lnTo>
                    <a:pt x="22" y="143"/>
                  </a:lnTo>
                  <a:lnTo>
                    <a:pt x="24" y="146"/>
                  </a:lnTo>
                  <a:lnTo>
                    <a:pt x="24" y="146"/>
                  </a:lnTo>
                  <a:lnTo>
                    <a:pt x="24" y="146"/>
                  </a:lnTo>
                  <a:lnTo>
                    <a:pt x="26" y="148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6" y="156"/>
                  </a:lnTo>
                  <a:lnTo>
                    <a:pt x="26" y="158"/>
                  </a:lnTo>
                  <a:lnTo>
                    <a:pt x="29" y="160"/>
                  </a:lnTo>
                  <a:lnTo>
                    <a:pt x="29" y="158"/>
                  </a:lnTo>
                  <a:lnTo>
                    <a:pt x="31" y="154"/>
                  </a:lnTo>
                  <a:lnTo>
                    <a:pt x="31" y="152"/>
                  </a:lnTo>
                  <a:lnTo>
                    <a:pt x="33" y="150"/>
                  </a:lnTo>
                  <a:lnTo>
                    <a:pt x="33" y="148"/>
                  </a:lnTo>
                  <a:lnTo>
                    <a:pt x="33" y="146"/>
                  </a:lnTo>
                  <a:lnTo>
                    <a:pt x="33" y="143"/>
                  </a:lnTo>
                  <a:lnTo>
                    <a:pt x="33" y="143"/>
                  </a:lnTo>
                  <a:lnTo>
                    <a:pt x="33" y="141"/>
                  </a:lnTo>
                  <a:lnTo>
                    <a:pt x="33" y="139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5" y="135"/>
                  </a:lnTo>
                  <a:lnTo>
                    <a:pt x="37" y="135"/>
                  </a:lnTo>
                  <a:lnTo>
                    <a:pt x="41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7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53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9" y="135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61" y="135"/>
                  </a:lnTo>
                  <a:lnTo>
                    <a:pt x="61" y="135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5" y="137"/>
                  </a:lnTo>
                  <a:lnTo>
                    <a:pt x="68" y="137"/>
                  </a:lnTo>
                  <a:lnTo>
                    <a:pt x="68" y="133"/>
                  </a:lnTo>
                  <a:lnTo>
                    <a:pt x="68" y="129"/>
                  </a:lnTo>
                  <a:lnTo>
                    <a:pt x="68" y="125"/>
                  </a:lnTo>
                  <a:lnTo>
                    <a:pt x="65" y="123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70" y="119"/>
                  </a:lnTo>
                  <a:lnTo>
                    <a:pt x="74" y="111"/>
                  </a:lnTo>
                  <a:lnTo>
                    <a:pt x="78" y="109"/>
                  </a:lnTo>
                  <a:lnTo>
                    <a:pt x="82" y="106"/>
                  </a:lnTo>
                  <a:lnTo>
                    <a:pt x="84" y="106"/>
                  </a:lnTo>
                  <a:lnTo>
                    <a:pt x="86" y="109"/>
                  </a:lnTo>
                  <a:lnTo>
                    <a:pt x="88" y="109"/>
                  </a:lnTo>
                  <a:lnTo>
                    <a:pt x="90" y="111"/>
                  </a:lnTo>
                  <a:lnTo>
                    <a:pt x="92" y="113"/>
                  </a:lnTo>
                  <a:lnTo>
                    <a:pt x="96" y="115"/>
                  </a:lnTo>
                  <a:lnTo>
                    <a:pt x="96" y="117"/>
                  </a:lnTo>
                  <a:lnTo>
                    <a:pt x="98" y="119"/>
                  </a:lnTo>
                  <a:lnTo>
                    <a:pt x="100" y="119"/>
                  </a:lnTo>
                  <a:lnTo>
                    <a:pt x="102" y="119"/>
                  </a:lnTo>
                  <a:lnTo>
                    <a:pt x="104" y="121"/>
                  </a:lnTo>
                  <a:lnTo>
                    <a:pt x="109" y="121"/>
                  </a:lnTo>
                  <a:lnTo>
                    <a:pt x="109" y="123"/>
                  </a:lnTo>
                  <a:lnTo>
                    <a:pt x="111" y="121"/>
                  </a:lnTo>
                  <a:lnTo>
                    <a:pt x="111" y="123"/>
                  </a:lnTo>
                  <a:lnTo>
                    <a:pt x="115" y="123"/>
                  </a:lnTo>
                  <a:lnTo>
                    <a:pt x="117" y="123"/>
                  </a:lnTo>
                  <a:lnTo>
                    <a:pt x="121" y="123"/>
                  </a:lnTo>
                  <a:lnTo>
                    <a:pt x="129" y="125"/>
                  </a:lnTo>
                  <a:lnTo>
                    <a:pt x="129" y="125"/>
                  </a:lnTo>
                  <a:lnTo>
                    <a:pt x="129" y="125"/>
                  </a:lnTo>
                  <a:lnTo>
                    <a:pt x="129" y="123"/>
                  </a:lnTo>
                  <a:lnTo>
                    <a:pt x="131" y="119"/>
                  </a:lnTo>
                  <a:lnTo>
                    <a:pt x="133" y="117"/>
                  </a:lnTo>
                  <a:lnTo>
                    <a:pt x="133" y="117"/>
                  </a:lnTo>
                  <a:lnTo>
                    <a:pt x="135" y="115"/>
                  </a:lnTo>
                  <a:lnTo>
                    <a:pt x="137" y="115"/>
                  </a:lnTo>
                  <a:lnTo>
                    <a:pt x="139" y="115"/>
                  </a:lnTo>
                  <a:lnTo>
                    <a:pt x="141" y="115"/>
                  </a:lnTo>
                  <a:lnTo>
                    <a:pt x="144" y="115"/>
                  </a:lnTo>
                  <a:lnTo>
                    <a:pt x="146" y="115"/>
                  </a:lnTo>
                  <a:lnTo>
                    <a:pt x="146" y="115"/>
                  </a:lnTo>
                  <a:lnTo>
                    <a:pt x="150" y="113"/>
                  </a:lnTo>
                  <a:lnTo>
                    <a:pt x="152" y="113"/>
                  </a:lnTo>
                  <a:lnTo>
                    <a:pt x="154" y="113"/>
                  </a:lnTo>
                  <a:lnTo>
                    <a:pt x="158" y="111"/>
                  </a:lnTo>
                  <a:lnTo>
                    <a:pt x="160" y="109"/>
                  </a:lnTo>
                  <a:lnTo>
                    <a:pt x="162" y="109"/>
                  </a:lnTo>
                  <a:lnTo>
                    <a:pt x="166" y="111"/>
                  </a:lnTo>
                  <a:lnTo>
                    <a:pt x="170" y="111"/>
                  </a:lnTo>
                  <a:lnTo>
                    <a:pt x="172" y="111"/>
                  </a:lnTo>
                  <a:lnTo>
                    <a:pt x="174" y="109"/>
                  </a:lnTo>
                  <a:lnTo>
                    <a:pt x="174" y="109"/>
                  </a:lnTo>
                  <a:lnTo>
                    <a:pt x="176" y="104"/>
                  </a:lnTo>
                  <a:lnTo>
                    <a:pt x="178" y="104"/>
                  </a:lnTo>
                  <a:lnTo>
                    <a:pt x="183" y="104"/>
                  </a:lnTo>
                  <a:lnTo>
                    <a:pt x="183" y="104"/>
                  </a:lnTo>
                  <a:lnTo>
                    <a:pt x="189" y="106"/>
                  </a:lnTo>
                  <a:lnTo>
                    <a:pt x="197" y="109"/>
                  </a:lnTo>
                  <a:lnTo>
                    <a:pt x="199" y="109"/>
                  </a:lnTo>
                  <a:lnTo>
                    <a:pt x="199" y="109"/>
                  </a:lnTo>
                  <a:lnTo>
                    <a:pt x="201" y="109"/>
                  </a:lnTo>
                  <a:lnTo>
                    <a:pt x="203" y="106"/>
                  </a:lnTo>
                  <a:lnTo>
                    <a:pt x="203" y="106"/>
                  </a:lnTo>
                  <a:lnTo>
                    <a:pt x="205" y="106"/>
                  </a:lnTo>
                  <a:lnTo>
                    <a:pt x="209" y="106"/>
                  </a:lnTo>
                  <a:lnTo>
                    <a:pt x="207" y="10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6" name="Freeform 210">
              <a:extLst>
                <a:ext uri="{FF2B5EF4-FFF2-40B4-BE49-F238E27FC236}">
                  <a16:creationId xmlns:a16="http://schemas.microsoft.com/office/drawing/2014/main" id="{D0086F48-7959-2C4D-85EB-03A88E168B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5380" y="3156599"/>
              <a:ext cx="48724" cy="52289"/>
            </a:xfrm>
            <a:custGeom>
              <a:avLst/>
              <a:gdLst>
                <a:gd name="T0" fmla="*/ 11 w 41"/>
                <a:gd name="T1" fmla="*/ 40 h 44"/>
                <a:gd name="T2" fmla="*/ 11 w 41"/>
                <a:gd name="T3" fmla="*/ 42 h 44"/>
                <a:gd name="T4" fmla="*/ 13 w 41"/>
                <a:gd name="T5" fmla="*/ 44 h 44"/>
                <a:gd name="T6" fmla="*/ 15 w 41"/>
                <a:gd name="T7" fmla="*/ 42 h 44"/>
                <a:gd name="T8" fmla="*/ 13 w 41"/>
                <a:gd name="T9" fmla="*/ 40 h 44"/>
                <a:gd name="T10" fmla="*/ 31 w 41"/>
                <a:gd name="T11" fmla="*/ 35 h 44"/>
                <a:gd name="T12" fmla="*/ 31 w 41"/>
                <a:gd name="T13" fmla="*/ 37 h 44"/>
                <a:gd name="T14" fmla="*/ 33 w 41"/>
                <a:gd name="T15" fmla="*/ 37 h 44"/>
                <a:gd name="T16" fmla="*/ 33 w 41"/>
                <a:gd name="T17" fmla="*/ 35 h 44"/>
                <a:gd name="T18" fmla="*/ 33 w 41"/>
                <a:gd name="T19" fmla="*/ 33 h 44"/>
                <a:gd name="T20" fmla="*/ 25 w 41"/>
                <a:gd name="T21" fmla="*/ 35 h 44"/>
                <a:gd name="T22" fmla="*/ 23 w 41"/>
                <a:gd name="T23" fmla="*/ 33 h 44"/>
                <a:gd name="T24" fmla="*/ 23 w 41"/>
                <a:gd name="T25" fmla="*/ 35 h 44"/>
                <a:gd name="T26" fmla="*/ 23 w 41"/>
                <a:gd name="T27" fmla="*/ 37 h 44"/>
                <a:gd name="T28" fmla="*/ 25 w 41"/>
                <a:gd name="T29" fmla="*/ 42 h 44"/>
                <a:gd name="T30" fmla="*/ 29 w 41"/>
                <a:gd name="T31" fmla="*/ 40 h 44"/>
                <a:gd name="T32" fmla="*/ 27 w 41"/>
                <a:gd name="T33" fmla="*/ 37 h 44"/>
                <a:gd name="T34" fmla="*/ 41 w 41"/>
                <a:gd name="T35" fmla="*/ 17 h 44"/>
                <a:gd name="T36" fmla="*/ 39 w 41"/>
                <a:gd name="T37" fmla="*/ 17 h 44"/>
                <a:gd name="T38" fmla="*/ 37 w 41"/>
                <a:gd name="T39" fmla="*/ 19 h 44"/>
                <a:gd name="T40" fmla="*/ 37 w 41"/>
                <a:gd name="T41" fmla="*/ 21 h 44"/>
                <a:gd name="T42" fmla="*/ 41 w 41"/>
                <a:gd name="T43" fmla="*/ 21 h 44"/>
                <a:gd name="T44" fmla="*/ 41 w 41"/>
                <a:gd name="T45" fmla="*/ 19 h 44"/>
                <a:gd name="T46" fmla="*/ 17 w 41"/>
                <a:gd name="T47" fmla="*/ 9 h 44"/>
                <a:gd name="T48" fmla="*/ 15 w 41"/>
                <a:gd name="T49" fmla="*/ 9 h 44"/>
                <a:gd name="T50" fmla="*/ 15 w 41"/>
                <a:gd name="T51" fmla="*/ 13 h 44"/>
                <a:gd name="T52" fmla="*/ 17 w 41"/>
                <a:gd name="T53" fmla="*/ 11 h 44"/>
                <a:gd name="T54" fmla="*/ 21 w 41"/>
                <a:gd name="T55" fmla="*/ 11 h 44"/>
                <a:gd name="T56" fmla="*/ 19 w 41"/>
                <a:gd name="T57" fmla="*/ 11 h 44"/>
                <a:gd name="T58" fmla="*/ 37 w 41"/>
                <a:gd name="T59" fmla="*/ 11 h 44"/>
                <a:gd name="T60" fmla="*/ 39 w 41"/>
                <a:gd name="T61" fmla="*/ 9 h 44"/>
                <a:gd name="T62" fmla="*/ 37 w 41"/>
                <a:gd name="T63" fmla="*/ 7 h 44"/>
                <a:gd name="T64" fmla="*/ 37 w 41"/>
                <a:gd name="T65" fmla="*/ 9 h 44"/>
                <a:gd name="T66" fmla="*/ 6 w 41"/>
                <a:gd name="T67" fmla="*/ 5 h 44"/>
                <a:gd name="T68" fmla="*/ 4 w 41"/>
                <a:gd name="T69" fmla="*/ 5 h 44"/>
                <a:gd name="T70" fmla="*/ 4 w 41"/>
                <a:gd name="T71" fmla="*/ 7 h 44"/>
                <a:gd name="T72" fmla="*/ 6 w 41"/>
                <a:gd name="T73" fmla="*/ 7 h 44"/>
                <a:gd name="T74" fmla="*/ 6 w 41"/>
                <a:gd name="T75" fmla="*/ 5 h 44"/>
                <a:gd name="T76" fmla="*/ 4 w 41"/>
                <a:gd name="T77" fmla="*/ 0 h 44"/>
                <a:gd name="T78" fmla="*/ 0 w 41"/>
                <a:gd name="T79" fmla="*/ 0 h 44"/>
                <a:gd name="T80" fmla="*/ 0 w 41"/>
                <a:gd name="T81" fmla="*/ 3 h 44"/>
                <a:gd name="T82" fmla="*/ 0 w 41"/>
                <a:gd name="T83" fmla="*/ 5 h 44"/>
                <a:gd name="T84" fmla="*/ 4 w 41"/>
                <a:gd name="T85" fmla="*/ 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" h="44">
                  <a:moveTo>
                    <a:pt x="13" y="40"/>
                  </a:moveTo>
                  <a:lnTo>
                    <a:pt x="11" y="40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0"/>
                  </a:lnTo>
                  <a:lnTo>
                    <a:pt x="13" y="40"/>
                  </a:lnTo>
                  <a:close/>
                  <a:moveTo>
                    <a:pt x="33" y="33"/>
                  </a:moveTo>
                  <a:lnTo>
                    <a:pt x="31" y="35"/>
                  </a:lnTo>
                  <a:lnTo>
                    <a:pt x="31" y="35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3"/>
                  </a:lnTo>
                  <a:lnTo>
                    <a:pt x="33" y="33"/>
                  </a:lnTo>
                  <a:close/>
                  <a:moveTo>
                    <a:pt x="27" y="37"/>
                  </a:moveTo>
                  <a:lnTo>
                    <a:pt x="25" y="35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5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5" y="40"/>
                  </a:lnTo>
                  <a:lnTo>
                    <a:pt x="25" y="42"/>
                  </a:lnTo>
                  <a:lnTo>
                    <a:pt x="27" y="42"/>
                  </a:lnTo>
                  <a:lnTo>
                    <a:pt x="29" y="40"/>
                  </a:ln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41" y="19"/>
                  </a:moveTo>
                  <a:lnTo>
                    <a:pt x="41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41" y="19"/>
                  </a:lnTo>
                  <a:close/>
                  <a:moveTo>
                    <a:pt x="19" y="11"/>
                  </a:moveTo>
                  <a:lnTo>
                    <a:pt x="17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5" y="13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9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19" y="11"/>
                  </a:lnTo>
                  <a:close/>
                  <a:moveTo>
                    <a:pt x="37" y="9"/>
                  </a:moveTo>
                  <a:lnTo>
                    <a:pt x="37" y="11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9"/>
                  </a:lnTo>
                  <a:lnTo>
                    <a:pt x="37" y="9"/>
                  </a:lnTo>
                  <a:close/>
                  <a:moveTo>
                    <a:pt x="6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4" y="7"/>
                  </a:lnTo>
                  <a:lnTo>
                    <a:pt x="4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5"/>
                  </a:lnTo>
                  <a:close/>
                  <a:moveTo>
                    <a:pt x="6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4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7" name="Freeform 212">
              <a:extLst>
                <a:ext uri="{FF2B5EF4-FFF2-40B4-BE49-F238E27FC236}">
                  <a16:creationId xmlns:a16="http://schemas.microsoft.com/office/drawing/2014/main" id="{E7A7E032-D85C-F942-8921-9EFAE3612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7109" y="3244539"/>
              <a:ext cx="149737" cy="249561"/>
            </a:xfrm>
            <a:custGeom>
              <a:avLst/>
              <a:gdLst>
                <a:gd name="T0" fmla="*/ 123 w 126"/>
                <a:gd name="T1" fmla="*/ 192 h 210"/>
                <a:gd name="T2" fmla="*/ 121 w 126"/>
                <a:gd name="T3" fmla="*/ 186 h 210"/>
                <a:gd name="T4" fmla="*/ 113 w 126"/>
                <a:gd name="T5" fmla="*/ 177 h 210"/>
                <a:gd name="T6" fmla="*/ 107 w 126"/>
                <a:gd name="T7" fmla="*/ 167 h 210"/>
                <a:gd name="T8" fmla="*/ 105 w 126"/>
                <a:gd name="T9" fmla="*/ 161 h 210"/>
                <a:gd name="T10" fmla="*/ 99 w 126"/>
                <a:gd name="T11" fmla="*/ 146 h 210"/>
                <a:gd name="T12" fmla="*/ 99 w 126"/>
                <a:gd name="T13" fmla="*/ 140 h 210"/>
                <a:gd name="T14" fmla="*/ 97 w 126"/>
                <a:gd name="T15" fmla="*/ 132 h 210"/>
                <a:gd name="T16" fmla="*/ 99 w 126"/>
                <a:gd name="T17" fmla="*/ 128 h 210"/>
                <a:gd name="T18" fmla="*/ 105 w 126"/>
                <a:gd name="T19" fmla="*/ 118 h 210"/>
                <a:gd name="T20" fmla="*/ 109 w 126"/>
                <a:gd name="T21" fmla="*/ 107 h 210"/>
                <a:gd name="T22" fmla="*/ 115 w 126"/>
                <a:gd name="T23" fmla="*/ 97 h 210"/>
                <a:gd name="T24" fmla="*/ 105 w 126"/>
                <a:gd name="T25" fmla="*/ 81 h 210"/>
                <a:gd name="T26" fmla="*/ 95 w 126"/>
                <a:gd name="T27" fmla="*/ 72 h 210"/>
                <a:gd name="T28" fmla="*/ 91 w 126"/>
                <a:gd name="T29" fmla="*/ 62 h 210"/>
                <a:gd name="T30" fmla="*/ 107 w 126"/>
                <a:gd name="T31" fmla="*/ 58 h 210"/>
                <a:gd name="T32" fmla="*/ 113 w 126"/>
                <a:gd name="T33" fmla="*/ 56 h 210"/>
                <a:gd name="T34" fmla="*/ 105 w 126"/>
                <a:gd name="T35" fmla="*/ 37 h 210"/>
                <a:gd name="T36" fmla="*/ 107 w 126"/>
                <a:gd name="T37" fmla="*/ 23 h 210"/>
                <a:gd name="T38" fmla="*/ 101 w 126"/>
                <a:gd name="T39" fmla="*/ 9 h 210"/>
                <a:gd name="T40" fmla="*/ 91 w 126"/>
                <a:gd name="T41" fmla="*/ 0 h 210"/>
                <a:gd name="T42" fmla="*/ 93 w 126"/>
                <a:gd name="T43" fmla="*/ 15 h 210"/>
                <a:gd name="T44" fmla="*/ 99 w 126"/>
                <a:gd name="T45" fmla="*/ 19 h 210"/>
                <a:gd name="T46" fmla="*/ 99 w 126"/>
                <a:gd name="T47" fmla="*/ 29 h 210"/>
                <a:gd name="T48" fmla="*/ 89 w 126"/>
                <a:gd name="T49" fmla="*/ 35 h 210"/>
                <a:gd name="T50" fmla="*/ 78 w 126"/>
                <a:gd name="T51" fmla="*/ 56 h 210"/>
                <a:gd name="T52" fmla="*/ 76 w 126"/>
                <a:gd name="T53" fmla="*/ 66 h 210"/>
                <a:gd name="T54" fmla="*/ 70 w 126"/>
                <a:gd name="T55" fmla="*/ 79 h 210"/>
                <a:gd name="T56" fmla="*/ 62 w 126"/>
                <a:gd name="T57" fmla="*/ 87 h 210"/>
                <a:gd name="T58" fmla="*/ 58 w 126"/>
                <a:gd name="T59" fmla="*/ 101 h 210"/>
                <a:gd name="T60" fmla="*/ 54 w 126"/>
                <a:gd name="T61" fmla="*/ 109 h 210"/>
                <a:gd name="T62" fmla="*/ 50 w 126"/>
                <a:gd name="T63" fmla="*/ 120 h 210"/>
                <a:gd name="T64" fmla="*/ 43 w 126"/>
                <a:gd name="T65" fmla="*/ 122 h 210"/>
                <a:gd name="T66" fmla="*/ 37 w 126"/>
                <a:gd name="T67" fmla="*/ 114 h 210"/>
                <a:gd name="T68" fmla="*/ 31 w 126"/>
                <a:gd name="T69" fmla="*/ 116 h 210"/>
                <a:gd name="T70" fmla="*/ 25 w 126"/>
                <a:gd name="T71" fmla="*/ 114 h 210"/>
                <a:gd name="T72" fmla="*/ 17 w 126"/>
                <a:gd name="T73" fmla="*/ 122 h 210"/>
                <a:gd name="T74" fmla="*/ 8 w 126"/>
                <a:gd name="T75" fmla="*/ 132 h 210"/>
                <a:gd name="T76" fmla="*/ 2 w 126"/>
                <a:gd name="T77" fmla="*/ 151 h 210"/>
                <a:gd name="T78" fmla="*/ 2 w 126"/>
                <a:gd name="T79" fmla="*/ 159 h 210"/>
                <a:gd name="T80" fmla="*/ 4 w 126"/>
                <a:gd name="T81" fmla="*/ 157 h 210"/>
                <a:gd name="T82" fmla="*/ 6 w 126"/>
                <a:gd name="T83" fmla="*/ 163 h 210"/>
                <a:gd name="T84" fmla="*/ 13 w 126"/>
                <a:gd name="T85" fmla="*/ 169 h 210"/>
                <a:gd name="T86" fmla="*/ 17 w 126"/>
                <a:gd name="T87" fmla="*/ 167 h 210"/>
                <a:gd name="T88" fmla="*/ 19 w 126"/>
                <a:gd name="T89" fmla="*/ 169 h 210"/>
                <a:gd name="T90" fmla="*/ 19 w 126"/>
                <a:gd name="T91" fmla="*/ 173 h 210"/>
                <a:gd name="T92" fmla="*/ 23 w 126"/>
                <a:gd name="T93" fmla="*/ 186 h 210"/>
                <a:gd name="T94" fmla="*/ 21 w 126"/>
                <a:gd name="T95" fmla="*/ 200 h 210"/>
                <a:gd name="T96" fmla="*/ 37 w 126"/>
                <a:gd name="T97" fmla="*/ 202 h 210"/>
                <a:gd name="T98" fmla="*/ 50 w 126"/>
                <a:gd name="T99" fmla="*/ 198 h 210"/>
                <a:gd name="T100" fmla="*/ 66 w 126"/>
                <a:gd name="T101" fmla="*/ 200 h 210"/>
                <a:gd name="T102" fmla="*/ 78 w 126"/>
                <a:gd name="T103" fmla="*/ 202 h 210"/>
                <a:gd name="T104" fmla="*/ 99 w 126"/>
                <a:gd name="T105" fmla="*/ 200 h 210"/>
                <a:gd name="T106" fmla="*/ 103 w 126"/>
                <a:gd name="T107" fmla="*/ 204 h 210"/>
                <a:gd name="T108" fmla="*/ 109 w 126"/>
                <a:gd name="T109" fmla="*/ 204 h 210"/>
                <a:gd name="T110" fmla="*/ 119 w 126"/>
                <a:gd name="T111" fmla="*/ 208 h 210"/>
                <a:gd name="T112" fmla="*/ 123 w 126"/>
                <a:gd name="T113" fmla="*/ 208 h 210"/>
                <a:gd name="T114" fmla="*/ 126 w 126"/>
                <a:gd name="T115" fmla="*/ 20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6" h="210">
                  <a:moveTo>
                    <a:pt x="123" y="198"/>
                  </a:moveTo>
                  <a:lnTo>
                    <a:pt x="123" y="196"/>
                  </a:lnTo>
                  <a:lnTo>
                    <a:pt x="123" y="194"/>
                  </a:lnTo>
                  <a:lnTo>
                    <a:pt x="123" y="194"/>
                  </a:lnTo>
                  <a:lnTo>
                    <a:pt x="123" y="192"/>
                  </a:lnTo>
                  <a:lnTo>
                    <a:pt x="123" y="192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3" y="188"/>
                  </a:lnTo>
                  <a:lnTo>
                    <a:pt x="121" y="186"/>
                  </a:lnTo>
                  <a:lnTo>
                    <a:pt x="121" y="186"/>
                  </a:lnTo>
                  <a:lnTo>
                    <a:pt x="121" y="186"/>
                  </a:lnTo>
                  <a:lnTo>
                    <a:pt x="119" y="183"/>
                  </a:lnTo>
                  <a:lnTo>
                    <a:pt x="119" y="183"/>
                  </a:lnTo>
                  <a:lnTo>
                    <a:pt x="117" y="183"/>
                  </a:lnTo>
                  <a:lnTo>
                    <a:pt x="117" y="181"/>
                  </a:lnTo>
                  <a:lnTo>
                    <a:pt x="115" y="179"/>
                  </a:lnTo>
                  <a:lnTo>
                    <a:pt x="113" y="177"/>
                  </a:lnTo>
                  <a:lnTo>
                    <a:pt x="111" y="175"/>
                  </a:lnTo>
                  <a:lnTo>
                    <a:pt x="109" y="173"/>
                  </a:lnTo>
                  <a:lnTo>
                    <a:pt x="107" y="171"/>
                  </a:lnTo>
                  <a:lnTo>
                    <a:pt x="107" y="169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5"/>
                  </a:lnTo>
                  <a:lnTo>
                    <a:pt x="107" y="163"/>
                  </a:lnTo>
                  <a:lnTo>
                    <a:pt x="105" y="161"/>
                  </a:lnTo>
                  <a:lnTo>
                    <a:pt x="103" y="159"/>
                  </a:lnTo>
                  <a:lnTo>
                    <a:pt x="101" y="157"/>
                  </a:lnTo>
                  <a:lnTo>
                    <a:pt x="101" y="157"/>
                  </a:lnTo>
                  <a:lnTo>
                    <a:pt x="101" y="155"/>
                  </a:lnTo>
                  <a:lnTo>
                    <a:pt x="101" y="149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9" y="142"/>
                  </a:lnTo>
                  <a:lnTo>
                    <a:pt x="99" y="142"/>
                  </a:lnTo>
                  <a:lnTo>
                    <a:pt x="99" y="140"/>
                  </a:lnTo>
                  <a:lnTo>
                    <a:pt x="99" y="140"/>
                  </a:lnTo>
                  <a:lnTo>
                    <a:pt x="99" y="134"/>
                  </a:lnTo>
                  <a:lnTo>
                    <a:pt x="99" y="132"/>
                  </a:lnTo>
                  <a:lnTo>
                    <a:pt x="99" y="132"/>
                  </a:lnTo>
                  <a:lnTo>
                    <a:pt x="99" y="132"/>
                  </a:lnTo>
                  <a:lnTo>
                    <a:pt x="97" y="132"/>
                  </a:lnTo>
                  <a:lnTo>
                    <a:pt x="97" y="132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9" y="128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3" y="120"/>
                  </a:lnTo>
                  <a:lnTo>
                    <a:pt x="105" y="118"/>
                  </a:lnTo>
                  <a:lnTo>
                    <a:pt x="105" y="116"/>
                  </a:lnTo>
                  <a:lnTo>
                    <a:pt x="107" y="114"/>
                  </a:lnTo>
                  <a:lnTo>
                    <a:pt x="107" y="112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9" y="107"/>
                  </a:lnTo>
                  <a:lnTo>
                    <a:pt x="111" y="105"/>
                  </a:lnTo>
                  <a:lnTo>
                    <a:pt x="113" y="103"/>
                  </a:lnTo>
                  <a:lnTo>
                    <a:pt x="113" y="101"/>
                  </a:lnTo>
                  <a:lnTo>
                    <a:pt x="115" y="101"/>
                  </a:lnTo>
                  <a:lnTo>
                    <a:pt x="115" y="99"/>
                  </a:lnTo>
                  <a:lnTo>
                    <a:pt x="115" y="97"/>
                  </a:lnTo>
                  <a:lnTo>
                    <a:pt x="113" y="97"/>
                  </a:lnTo>
                  <a:lnTo>
                    <a:pt x="113" y="97"/>
                  </a:lnTo>
                  <a:lnTo>
                    <a:pt x="111" y="93"/>
                  </a:lnTo>
                  <a:lnTo>
                    <a:pt x="109" y="89"/>
                  </a:lnTo>
                  <a:lnTo>
                    <a:pt x="107" y="85"/>
                  </a:lnTo>
                  <a:lnTo>
                    <a:pt x="105" y="81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1" y="79"/>
                  </a:lnTo>
                  <a:lnTo>
                    <a:pt x="101" y="79"/>
                  </a:lnTo>
                  <a:lnTo>
                    <a:pt x="99" y="74"/>
                  </a:lnTo>
                  <a:lnTo>
                    <a:pt x="95" y="72"/>
                  </a:lnTo>
                  <a:lnTo>
                    <a:pt x="93" y="70"/>
                  </a:lnTo>
                  <a:lnTo>
                    <a:pt x="93" y="68"/>
                  </a:lnTo>
                  <a:lnTo>
                    <a:pt x="91" y="66"/>
                  </a:lnTo>
                  <a:lnTo>
                    <a:pt x="89" y="64"/>
                  </a:lnTo>
                  <a:lnTo>
                    <a:pt x="89" y="64"/>
                  </a:lnTo>
                  <a:lnTo>
                    <a:pt x="91" y="62"/>
                  </a:lnTo>
                  <a:lnTo>
                    <a:pt x="91" y="60"/>
                  </a:lnTo>
                  <a:lnTo>
                    <a:pt x="93" y="58"/>
                  </a:lnTo>
                  <a:lnTo>
                    <a:pt x="95" y="58"/>
                  </a:lnTo>
                  <a:lnTo>
                    <a:pt x="99" y="58"/>
                  </a:lnTo>
                  <a:lnTo>
                    <a:pt x="103" y="58"/>
                  </a:lnTo>
                  <a:lnTo>
                    <a:pt x="107" y="58"/>
                  </a:lnTo>
                  <a:lnTo>
                    <a:pt x="107" y="58"/>
                  </a:lnTo>
                  <a:lnTo>
                    <a:pt x="109" y="58"/>
                  </a:lnTo>
                  <a:lnTo>
                    <a:pt x="111" y="58"/>
                  </a:lnTo>
                  <a:lnTo>
                    <a:pt x="113" y="58"/>
                  </a:lnTo>
                  <a:lnTo>
                    <a:pt x="115" y="58"/>
                  </a:lnTo>
                  <a:lnTo>
                    <a:pt x="113" y="56"/>
                  </a:lnTo>
                  <a:lnTo>
                    <a:pt x="111" y="54"/>
                  </a:lnTo>
                  <a:lnTo>
                    <a:pt x="109" y="52"/>
                  </a:lnTo>
                  <a:lnTo>
                    <a:pt x="109" y="48"/>
                  </a:lnTo>
                  <a:lnTo>
                    <a:pt x="107" y="46"/>
                  </a:lnTo>
                  <a:lnTo>
                    <a:pt x="107" y="42"/>
                  </a:lnTo>
                  <a:lnTo>
                    <a:pt x="105" y="37"/>
                  </a:lnTo>
                  <a:lnTo>
                    <a:pt x="105" y="33"/>
                  </a:lnTo>
                  <a:lnTo>
                    <a:pt x="107" y="33"/>
                  </a:lnTo>
                  <a:lnTo>
                    <a:pt x="107" y="29"/>
                  </a:lnTo>
                  <a:lnTo>
                    <a:pt x="107" y="27"/>
                  </a:lnTo>
                  <a:lnTo>
                    <a:pt x="107" y="25"/>
                  </a:lnTo>
                  <a:lnTo>
                    <a:pt x="107" y="23"/>
                  </a:lnTo>
                  <a:lnTo>
                    <a:pt x="107" y="23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3" y="15"/>
                  </a:lnTo>
                  <a:lnTo>
                    <a:pt x="103" y="11"/>
                  </a:lnTo>
                  <a:lnTo>
                    <a:pt x="101" y="9"/>
                  </a:lnTo>
                  <a:lnTo>
                    <a:pt x="99" y="7"/>
                  </a:lnTo>
                  <a:lnTo>
                    <a:pt x="97" y="7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3" y="0"/>
                  </a:lnTo>
                  <a:lnTo>
                    <a:pt x="91" y="0"/>
                  </a:lnTo>
                  <a:lnTo>
                    <a:pt x="91" y="9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5"/>
                  </a:lnTo>
                  <a:lnTo>
                    <a:pt x="95" y="15"/>
                  </a:lnTo>
                  <a:lnTo>
                    <a:pt x="97" y="15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9"/>
                  </a:lnTo>
                  <a:lnTo>
                    <a:pt x="99" y="19"/>
                  </a:lnTo>
                  <a:lnTo>
                    <a:pt x="99" y="21"/>
                  </a:lnTo>
                  <a:lnTo>
                    <a:pt x="99" y="23"/>
                  </a:lnTo>
                  <a:lnTo>
                    <a:pt x="99" y="25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7" y="31"/>
                  </a:lnTo>
                  <a:lnTo>
                    <a:pt x="95" y="31"/>
                  </a:lnTo>
                  <a:lnTo>
                    <a:pt x="93" y="33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89" y="35"/>
                  </a:lnTo>
                  <a:lnTo>
                    <a:pt x="87" y="37"/>
                  </a:lnTo>
                  <a:lnTo>
                    <a:pt x="84" y="42"/>
                  </a:lnTo>
                  <a:lnTo>
                    <a:pt x="82" y="46"/>
                  </a:lnTo>
                  <a:lnTo>
                    <a:pt x="80" y="50"/>
                  </a:lnTo>
                  <a:lnTo>
                    <a:pt x="80" y="54"/>
                  </a:lnTo>
                  <a:lnTo>
                    <a:pt x="78" y="56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4" y="66"/>
                  </a:lnTo>
                  <a:lnTo>
                    <a:pt x="72" y="68"/>
                  </a:lnTo>
                  <a:lnTo>
                    <a:pt x="70" y="70"/>
                  </a:lnTo>
                  <a:lnTo>
                    <a:pt x="70" y="72"/>
                  </a:lnTo>
                  <a:lnTo>
                    <a:pt x="70" y="77"/>
                  </a:lnTo>
                  <a:lnTo>
                    <a:pt x="70" y="79"/>
                  </a:lnTo>
                  <a:lnTo>
                    <a:pt x="70" y="79"/>
                  </a:lnTo>
                  <a:lnTo>
                    <a:pt x="68" y="81"/>
                  </a:lnTo>
                  <a:lnTo>
                    <a:pt x="68" y="83"/>
                  </a:lnTo>
                  <a:lnTo>
                    <a:pt x="66" y="83"/>
                  </a:lnTo>
                  <a:lnTo>
                    <a:pt x="64" y="83"/>
                  </a:lnTo>
                  <a:lnTo>
                    <a:pt x="62" y="87"/>
                  </a:lnTo>
                  <a:lnTo>
                    <a:pt x="60" y="89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58" y="99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50" y="116"/>
                  </a:lnTo>
                  <a:lnTo>
                    <a:pt x="50" y="118"/>
                  </a:lnTo>
                  <a:lnTo>
                    <a:pt x="50" y="120"/>
                  </a:lnTo>
                  <a:lnTo>
                    <a:pt x="48" y="120"/>
                  </a:lnTo>
                  <a:lnTo>
                    <a:pt x="48" y="122"/>
                  </a:lnTo>
                  <a:lnTo>
                    <a:pt x="45" y="122"/>
                  </a:lnTo>
                  <a:lnTo>
                    <a:pt x="45" y="122"/>
                  </a:lnTo>
                  <a:lnTo>
                    <a:pt x="43" y="124"/>
                  </a:lnTo>
                  <a:lnTo>
                    <a:pt x="43" y="122"/>
                  </a:lnTo>
                  <a:lnTo>
                    <a:pt x="41" y="122"/>
                  </a:lnTo>
                  <a:lnTo>
                    <a:pt x="41" y="118"/>
                  </a:lnTo>
                  <a:lnTo>
                    <a:pt x="41" y="118"/>
                  </a:lnTo>
                  <a:lnTo>
                    <a:pt x="39" y="118"/>
                  </a:lnTo>
                  <a:lnTo>
                    <a:pt x="39" y="116"/>
                  </a:lnTo>
                  <a:lnTo>
                    <a:pt x="37" y="114"/>
                  </a:lnTo>
                  <a:lnTo>
                    <a:pt x="35" y="112"/>
                  </a:lnTo>
                  <a:lnTo>
                    <a:pt x="33" y="112"/>
                  </a:lnTo>
                  <a:lnTo>
                    <a:pt x="33" y="112"/>
                  </a:lnTo>
                  <a:lnTo>
                    <a:pt x="33" y="114"/>
                  </a:lnTo>
                  <a:lnTo>
                    <a:pt x="33" y="116"/>
                  </a:lnTo>
                  <a:lnTo>
                    <a:pt x="31" y="116"/>
                  </a:lnTo>
                  <a:lnTo>
                    <a:pt x="29" y="116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5" y="114"/>
                  </a:lnTo>
                  <a:lnTo>
                    <a:pt x="23" y="116"/>
                  </a:lnTo>
                  <a:lnTo>
                    <a:pt x="21" y="116"/>
                  </a:lnTo>
                  <a:lnTo>
                    <a:pt x="21" y="118"/>
                  </a:lnTo>
                  <a:lnTo>
                    <a:pt x="21" y="120"/>
                  </a:lnTo>
                  <a:lnTo>
                    <a:pt x="19" y="122"/>
                  </a:lnTo>
                  <a:lnTo>
                    <a:pt x="17" y="122"/>
                  </a:lnTo>
                  <a:lnTo>
                    <a:pt x="17" y="124"/>
                  </a:lnTo>
                  <a:lnTo>
                    <a:pt x="15" y="124"/>
                  </a:lnTo>
                  <a:lnTo>
                    <a:pt x="15" y="126"/>
                  </a:lnTo>
                  <a:lnTo>
                    <a:pt x="13" y="128"/>
                  </a:lnTo>
                  <a:lnTo>
                    <a:pt x="8" y="130"/>
                  </a:lnTo>
                  <a:lnTo>
                    <a:pt x="8" y="132"/>
                  </a:lnTo>
                  <a:lnTo>
                    <a:pt x="6" y="134"/>
                  </a:lnTo>
                  <a:lnTo>
                    <a:pt x="6" y="138"/>
                  </a:lnTo>
                  <a:lnTo>
                    <a:pt x="6" y="140"/>
                  </a:lnTo>
                  <a:lnTo>
                    <a:pt x="4" y="146"/>
                  </a:lnTo>
                  <a:lnTo>
                    <a:pt x="4" y="149"/>
                  </a:lnTo>
                  <a:lnTo>
                    <a:pt x="2" y="151"/>
                  </a:lnTo>
                  <a:lnTo>
                    <a:pt x="2" y="153"/>
                  </a:lnTo>
                  <a:lnTo>
                    <a:pt x="0" y="155"/>
                  </a:lnTo>
                  <a:lnTo>
                    <a:pt x="2" y="155"/>
                  </a:lnTo>
                  <a:lnTo>
                    <a:pt x="0" y="157"/>
                  </a:lnTo>
                  <a:lnTo>
                    <a:pt x="0" y="157"/>
                  </a:lnTo>
                  <a:lnTo>
                    <a:pt x="2" y="159"/>
                  </a:lnTo>
                  <a:lnTo>
                    <a:pt x="2" y="159"/>
                  </a:lnTo>
                  <a:lnTo>
                    <a:pt x="4" y="157"/>
                  </a:lnTo>
                  <a:lnTo>
                    <a:pt x="2" y="155"/>
                  </a:lnTo>
                  <a:lnTo>
                    <a:pt x="4" y="157"/>
                  </a:lnTo>
                  <a:lnTo>
                    <a:pt x="4" y="157"/>
                  </a:lnTo>
                  <a:lnTo>
                    <a:pt x="4" y="157"/>
                  </a:lnTo>
                  <a:lnTo>
                    <a:pt x="6" y="157"/>
                  </a:lnTo>
                  <a:lnTo>
                    <a:pt x="6" y="157"/>
                  </a:lnTo>
                  <a:lnTo>
                    <a:pt x="6" y="157"/>
                  </a:lnTo>
                  <a:lnTo>
                    <a:pt x="6" y="159"/>
                  </a:lnTo>
                  <a:lnTo>
                    <a:pt x="6" y="161"/>
                  </a:lnTo>
                  <a:lnTo>
                    <a:pt x="6" y="163"/>
                  </a:lnTo>
                  <a:lnTo>
                    <a:pt x="8" y="163"/>
                  </a:lnTo>
                  <a:lnTo>
                    <a:pt x="8" y="165"/>
                  </a:lnTo>
                  <a:lnTo>
                    <a:pt x="11" y="167"/>
                  </a:lnTo>
                  <a:lnTo>
                    <a:pt x="13" y="167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5" y="169"/>
                  </a:lnTo>
                  <a:lnTo>
                    <a:pt x="15" y="169"/>
                  </a:lnTo>
                  <a:lnTo>
                    <a:pt x="17" y="169"/>
                  </a:lnTo>
                  <a:lnTo>
                    <a:pt x="17" y="167"/>
                  </a:lnTo>
                  <a:lnTo>
                    <a:pt x="17" y="167"/>
                  </a:lnTo>
                  <a:lnTo>
                    <a:pt x="17" y="167"/>
                  </a:lnTo>
                  <a:lnTo>
                    <a:pt x="17" y="167"/>
                  </a:lnTo>
                  <a:lnTo>
                    <a:pt x="19" y="167"/>
                  </a:lnTo>
                  <a:lnTo>
                    <a:pt x="19" y="167"/>
                  </a:lnTo>
                  <a:lnTo>
                    <a:pt x="19" y="167"/>
                  </a:lnTo>
                  <a:lnTo>
                    <a:pt x="19" y="167"/>
                  </a:lnTo>
                  <a:lnTo>
                    <a:pt x="19" y="169"/>
                  </a:lnTo>
                  <a:lnTo>
                    <a:pt x="21" y="169"/>
                  </a:lnTo>
                  <a:lnTo>
                    <a:pt x="21" y="171"/>
                  </a:lnTo>
                  <a:lnTo>
                    <a:pt x="19" y="169"/>
                  </a:lnTo>
                  <a:lnTo>
                    <a:pt x="19" y="171"/>
                  </a:lnTo>
                  <a:lnTo>
                    <a:pt x="17" y="171"/>
                  </a:lnTo>
                  <a:lnTo>
                    <a:pt x="19" y="173"/>
                  </a:lnTo>
                  <a:lnTo>
                    <a:pt x="19" y="175"/>
                  </a:lnTo>
                  <a:lnTo>
                    <a:pt x="21" y="175"/>
                  </a:lnTo>
                  <a:lnTo>
                    <a:pt x="19" y="175"/>
                  </a:lnTo>
                  <a:lnTo>
                    <a:pt x="23" y="179"/>
                  </a:lnTo>
                  <a:lnTo>
                    <a:pt x="23" y="181"/>
                  </a:lnTo>
                  <a:lnTo>
                    <a:pt x="23" y="186"/>
                  </a:lnTo>
                  <a:lnTo>
                    <a:pt x="23" y="188"/>
                  </a:lnTo>
                  <a:lnTo>
                    <a:pt x="23" y="192"/>
                  </a:lnTo>
                  <a:lnTo>
                    <a:pt x="21" y="194"/>
                  </a:lnTo>
                  <a:lnTo>
                    <a:pt x="21" y="198"/>
                  </a:lnTo>
                  <a:lnTo>
                    <a:pt x="21" y="200"/>
                  </a:lnTo>
                  <a:lnTo>
                    <a:pt x="21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5" y="202"/>
                  </a:lnTo>
                  <a:lnTo>
                    <a:pt x="29" y="202"/>
                  </a:lnTo>
                  <a:lnTo>
                    <a:pt x="33" y="202"/>
                  </a:lnTo>
                  <a:lnTo>
                    <a:pt x="37" y="202"/>
                  </a:lnTo>
                  <a:lnTo>
                    <a:pt x="41" y="202"/>
                  </a:lnTo>
                  <a:lnTo>
                    <a:pt x="45" y="202"/>
                  </a:lnTo>
                  <a:lnTo>
                    <a:pt x="45" y="200"/>
                  </a:lnTo>
                  <a:lnTo>
                    <a:pt x="48" y="200"/>
                  </a:lnTo>
                  <a:lnTo>
                    <a:pt x="45" y="198"/>
                  </a:lnTo>
                  <a:lnTo>
                    <a:pt x="50" y="198"/>
                  </a:lnTo>
                  <a:lnTo>
                    <a:pt x="56" y="200"/>
                  </a:lnTo>
                  <a:lnTo>
                    <a:pt x="58" y="200"/>
                  </a:lnTo>
                  <a:lnTo>
                    <a:pt x="60" y="200"/>
                  </a:lnTo>
                  <a:lnTo>
                    <a:pt x="62" y="200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8" y="200"/>
                  </a:lnTo>
                  <a:lnTo>
                    <a:pt x="70" y="200"/>
                  </a:lnTo>
                  <a:lnTo>
                    <a:pt x="76" y="200"/>
                  </a:lnTo>
                  <a:lnTo>
                    <a:pt x="76" y="200"/>
                  </a:lnTo>
                  <a:lnTo>
                    <a:pt x="78" y="200"/>
                  </a:lnTo>
                  <a:lnTo>
                    <a:pt x="78" y="202"/>
                  </a:lnTo>
                  <a:lnTo>
                    <a:pt x="82" y="202"/>
                  </a:lnTo>
                  <a:lnTo>
                    <a:pt x="87" y="202"/>
                  </a:lnTo>
                  <a:lnTo>
                    <a:pt x="91" y="202"/>
                  </a:lnTo>
                  <a:lnTo>
                    <a:pt x="95" y="202"/>
                  </a:lnTo>
                  <a:lnTo>
                    <a:pt x="97" y="202"/>
                  </a:lnTo>
                  <a:lnTo>
                    <a:pt x="99" y="200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1" y="204"/>
                  </a:lnTo>
                  <a:lnTo>
                    <a:pt x="103" y="202"/>
                  </a:lnTo>
                  <a:lnTo>
                    <a:pt x="103" y="204"/>
                  </a:lnTo>
                  <a:lnTo>
                    <a:pt x="103" y="204"/>
                  </a:lnTo>
                  <a:lnTo>
                    <a:pt x="105" y="204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109" y="204"/>
                  </a:lnTo>
                  <a:lnTo>
                    <a:pt x="109" y="204"/>
                  </a:lnTo>
                  <a:lnTo>
                    <a:pt x="109" y="204"/>
                  </a:lnTo>
                  <a:lnTo>
                    <a:pt x="111" y="206"/>
                  </a:lnTo>
                  <a:lnTo>
                    <a:pt x="113" y="206"/>
                  </a:lnTo>
                  <a:lnTo>
                    <a:pt x="115" y="206"/>
                  </a:lnTo>
                  <a:lnTo>
                    <a:pt x="117" y="206"/>
                  </a:lnTo>
                  <a:lnTo>
                    <a:pt x="119" y="208"/>
                  </a:lnTo>
                  <a:lnTo>
                    <a:pt x="121" y="208"/>
                  </a:lnTo>
                  <a:lnTo>
                    <a:pt x="123" y="210"/>
                  </a:lnTo>
                  <a:lnTo>
                    <a:pt x="123" y="210"/>
                  </a:lnTo>
                  <a:lnTo>
                    <a:pt x="123" y="210"/>
                  </a:lnTo>
                  <a:lnTo>
                    <a:pt x="123" y="210"/>
                  </a:lnTo>
                  <a:lnTo>
                    <a:pt x="123" y="208"/>
                  </a:lnTo>
                  <a:lnTo>
                    <a:pt x="123" y="206"/>
                  </a:lnTo>
                  <a:lnTo>
                    <a:pt x="123" y="204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3" y="19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8" name="Freeform 214">
              <a:extLst>
                <a:ext uri="{FF2B5EF4-FFF2-40B4-BE49-F238E27FC236}">
                  <a16:creationId xmlns:a16="http://schemas.microsoft.com/office/drawing/2014/main" id="{77BB5BD9-3F39-7C40-839A-1E6E88C93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2843" y="3582042"/>
              <a:ext cx="34463" cy="46347"/>
            </a:xfrm>
            <a:custGeom>
              <a:avLst/>
              <a:gdLst>
                <a:gd name="T0" fmla="*/ 29 w 29"/>
                <a:gd name="T1" fmla="*/ 13 h 39"/>
                <a:gd name="T2" fmla="*/ 27 w 29"/>
                <a:gd name="T3" fmla="*/ 13 h 39"/>
                <a:gd name="T4" fmla="*/ 25 w 29"/>
                <a:gd name="T5" fmla="*/ 10 h 39"/>
                <a:gd name="T6" fmla="*/ 22 w 29"/>
                <a:gd name="T7" fmla="*/ 10 h 39"/>
                <a:gd name="T8" fmla="*/ 22 w 29"/>
                <a:gd name="T9" fmla="*/ 8 h 39"/>
                <a:gd name="T10" fmla="*/ 22 w 29"/>
                <a:gd name="T11" fmla="*/ 6 h 39"/>
                <a:gd name="T12" fmla="*/ 22 w 29"/>
                <a:gd name="T13" fmla="*/ 6 h 39"/>
                <a:gd name="T14" fmla="*/ 25 w 29"/>
                <a:gd name="T15" fmla="*/ 2 h 39"/>
                <a:gd name="T16" fmla="*/ 25 w 29"/>
                <a:gd name="T17" fmla="*/ 0 h 39"/>
                <a:gd name="T18" fmla="*/ 22 w 29"/>
                <a:gd name="T19" fmla="*/ 0 h 39"/>
                <a:gd name="T20" fmla="*/ 18 w 29"/>
                <a:gd name="T21" fmla="*/ 0 h 39"/>
                <a:gd name="T22" fmla="*/ 18 w 29"/>
                <a:gd name="T23" fmla="*/ 2 h 39"/>
                <a:gd name="T24" fmla="*/ 16 w 29"/>
                <a:gd name="T25" fmla="*/ 2 h 39"/>
                <a:gd name="T26" fmla="*/ 14 w 29"/>
                <a:gd name="T27" fmla="*/ 0 h 39"/>
                <a:gd name="T28" fmla="*/ 14 w 29"/>
                <a:gd name="T29" fmla="*/ 6 h 39"/>
                <a:gd name="T30" fmla="*/ 12 w 29"/>
                <a:gd name="T31" fmla="*/ 8 h 39"/>
                <a:gd name="T32" fmla="*/ 10 w 29"/>
                <a:gd name="T33" fmla="*/ 8 h 39"/>
                <a:gd name="T34" fmla="*/ 6 w 29"/>
                <a:gd name="T35" fmla="*/ 8 h 39"/>
                <a:gd name="T36" fmla="*/ 4 w 29"/>
                <a:gd name="T37" fmla="*/ 6 h 39"/>
                <a:gd name="T38" fmla="*/ 0 w 29"/>
                <a:gd name="T39" fmla="*/ 4 h 39"/>
                <a:gd name="T40" fmla="*/ 0 w 29"/>
                <a:gd name="T41" fmla="*/ 6 h 39"/>
                <a:gd name="T42" fmla="*/ 0 w 29"/>
                <a:gd name="T43" fmla="*/ 8 h 39"/>
                <a:gd name="T44" fmla="*/ 0 w 29"/>
                <a:gd name="T45" fmla="*/ 8 h 39"/>
                <a:gd name="T46" fmla="*/ 2 w 29"/>
                <a:gd name="T47" fmla="*/ 13 h 39"/>
                <a:gd name="T48" fmla="*/ 2 w 29"/>
                <a:gd name="T49" fmla="*/ 17 h 39"/>
                <a:gd name="T50" fmla="*/ 2 w 29"/>
                <a:gd name="T51" fmla="*/ 21 h 39"/>
                <a:gd name="T52" fmla="*/ 2 w 29"/>
                <a:gd name="T53" fmla="*/ 27 h 39"/>
                <a:gd name="T54" fmla="*/ 4 w 29"/>
                <a:gd name="T55" fmla="*/ 33 h 39"/>
                <a:gd name="T56" fmla="*/ 6 w 29"/>
                <a:gd name="T57" fmla="*/ 39 h 39"/>
                <a:gd name="T58" fmla="*/ 12 w 29"/>
                <a:gd name="T59" fmla="*/ 37 h 39"/>
                <a:gd name="T60" fmla="*/ 18 w 29"/>
                <a:gd name="T61" fmla="*/ 33 h 39"/>
                <a:gd name="T62" fmla="*/ 20 w 29"/>
                <a:gd name="T63" fmla="*/ 27 h 39"/>
                <a:gd name="T64" fmla="*/ 20 w 29"/>
                <a:gd name="T65" fmla="*/ 25 h 39"/>
                <a:gd name="T66" fmla="*/ 22 w 29"/>
                <a:gd name="T67" fmla="*/ 23 h 39"/>
                <a:gd name="T68" fmla="*/ 25 w 29"/>
                <a:gd name="T69" fmla="*/ 21 h 39"/>
                <a:gd name="T70" fmla="*/ 25 w 29"/>
                <a:gd name="T71" fmla="*/ 19 h 39"/>
                <a:gd name="T72" fmla="*/ 27 w 29"/>
                <a:gd name="T73" fmla="*/ 19 h 39"/>
                <a:gd name="T74" fmla="*/ 29 w 29"/>
                <a:gd name="T75" fmla="*/ 17 h 39"/>
                <a:gd name="T76" fmla="*/ 29 w 29"/>
                <a:gd name="T77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39">
                  <a:moveTo>
                    <a:pt x="29" y="13"/>
                  </a:moveTo>
                  <a:lnTo>
                    <a:pt x="29" y="13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2" y="25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4" y="33"/>
                  </a:lnTo>
                  <a:lnTo>
                    <a:pt x="6" y="35"/>
                  </a:lnTo>
                  <a:lnTo>
                    <a:pt x="6" y="39"/>
                  </a:lnTo>
                  <a:lnTo>
                    <a:pt x="10" y="39"/>
                  </a:lnTo>
                  <a:lnTo>
                    <a:pt x="12" y="37"/>
                  </a:lnTo>
                  <a:lnTo>
                    <a:pt x="14" y="35"/>
                  </a:lnTo>
                  <a:lnTo>
                    <a:pt x="18" y="33"/>
                  </a:lnTo>
                  <a:lnTo>
                    <a:pt x="18" y="31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5"/>
                  </a:lnTo>
                  <a:lnTo>
                    <a:pt x="22" y="25"/>
                  </a:lnTo>
                  <a:lnTo>
                    <a:pt x="22" y="23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5"/>
                  </a:lnTo>
                  <a:lnTo>
                    <a:pt x="29" y="1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9" name="Freeform 215">
              <a:extLst>
                <a:ext uri="{FF2B5EF4-FFF2-40B4-BE49-F238E27FC236}">
                  <a16:creationId xmlns:a16="http://schemas.microsoft.com/office/drawing/2014/main" id="{004DA794-0B26-DC48-B2BD-5E237A924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8534" y="3200569"/>
              <a:ext cx="152114" cy="124781"/>
            </a:xfrm>
            <a:custGeom>
              <a:avLst/>
              <a:gdLst>
                <a:gd name="T0" fmla="*/ 124 w 128"/>
                <a:gd name="T1" fmla="*/ 52 h 105"/>
                <a:gd name="T2" fmla="*/ 126 w 128"/>
                <a:gd name="T3" fmla="*/ 50 h 105"/>
                <a:gd name="T4" fmla="*/ 124 w 128"/>
                <a:gd name="T5" fmla="*/ 46 h 105"/>
                <a:gd name="T6" fmla="*/ 122 w 128"/>
                <a:gd name="T7" fmla="*/ 46 h 105"/>
                <a:gd name="T8" fmla="*/ 115 w 128"/>
                <a:gd name="T9" fmla="*/ 46 h 105"/>
                <a:gd name="T10" fmla="*/ 105 w 128"/>
                <a:gd name="T11" fmla="*/ 40 h 105"/>
                <a:gd name="T12" fmla="*/ 105 w 128"/>
                <a:gd name="T13" fmla="*/ 33 h 105"/>
                <a:gd name="T14" fmla="*/ 107 w 128"/>
                <a:gd name="T15" fmla="*/ 31 h 105"/>
                <a:gd name="T16" fmla="*/ 105 w 128"/>
                <a:gd name="T17" fmla="*/ 29 h 105"/>
                <a:gd name="T18" fmla="*/ 101 w 128"/>
                <a:gd name="T19" fmla="*/ 27 h 105"/>
                <a:gd name="T20" fmla="*/ 97 w 128"/>
                <a:gd name="T21" fmla="*/ 19 h 105"/>
                <a:gd name="T22" fmla="*/ 95 w 128"/>
                <a:gd name="T23" fmla="*/ 13 h 105"/>
                <a:gd name="T24" fmla="*/ 93 w 128"/>
                <a:gd name="T25" fmla="*/ 5 h 105"/>
                <a:gd name="T26" fmla="*/ 85 w 128"/>
                <a:gd name="T27" fmla="*/ 3 h 105"/>
                <a:gd name="T28" fmla="*/ 81 w 128"/>
                <a:gd name="T29" fmla="*/ 0 h 105"/>
                <a:gd name="T30" fmla="*/ 74 w 128"/>
                <a:gd name="T31" fmla="*/ 7 h 105"/>
                <a:gd name="T32" fmla="*/ 64 w 128"/>
                <a:gd name="T33" fmla="*/ 11 h 105"/>
                <a:gd name="T34" fmla="*/ 58 w 128"/>
                <a:gd name="T35" fmla="*/ 17 h 105"/>
                <a:gd name="T36" fmla="*/ 48 w 128"/>
                <a:gd name="T37" fmla="*/ 17 h 105"/>
                <a:gd name="T38" fmla="*/ 44 w 128"/>
                <a:gd name="T39" fmla="*/ 25 h 105"/>
                <a:gd name="T40" fmla="*/ 42 w 128"/>
                <a:gd name="T41" fmla="*/ 27 h 105"/>
                <a:gd name="T42" fmla="*/ 37 w 128"/>
                <a:gd name="T43" fmla="*/ 31 h 105"/>
                <a:gd name="T44" fmla="*/ 33 w 128"/>
                <a:gd name="T45" fmla="*/ 35 h 105"/>
                <a:gd name="T46" fmla="*/ 25 w 128"/>
                <a:gd name="T47" fmla="*/ 33 h 105"/>
                <a:gd name="T48" fmla="*/ 21 w 128"/>
                <a:gd name="T49" fmla="*/ 37 h 105"/>
                <a:gd name="T50" fmla="*/ 21 w 128"/>
                <a:gd name="T51" fmla="*/ 44 h 105"/>
                <a:gd name="T52" fmla="*/ 19 w 128"/>
                <a:gd name="T53" fmla="*/ 48 h 105"/>
                <a:gd name="T54" fmla="*/ 17 w 128"/>
                <a:gd name="T55" fmla="*/ 56 h 105"/>
                <a:gd name="T56" fmla="*/ 11 w 128"/>
                <a:gd name="T57" fmla="*/ 58 h 105"/>
                <a:gd name="T58" fmla="*/ 5 w 128"/>
                <a:gd name="T59" fmla="*/ 60 h 105"/>
                <a:gd name="T60" fmla="*/ 5 w 128"/>
                <a:gd name="T61" fmla="*/ 66 h 105"/>
                <a:gd name="T62" fmla="*/ 2 w 128"/>
                <a:gd name="T63" fmla="*/ 74 h 105"/>
                <a:gd name="T64" fmla="*/ 2 w 128"/>
                <a:gd name="T65" fmla="*/ 81 h 105"/>
                <a:gd name="T66" fmla="*/ 0 w 128"/>
                <a:gd name="T67" fmla="*/ 87 h 105"/>
                <a:gd name="T68" fmla="*/ 7 w 128"/>
                <a:gd name="T69" fmla="*/ 89 h 105"/>
                <a:gd name="T70" fmla="*/ 9 w 128"/>
                <a:gd name="T71" fmla="*/ 95 h 105"/>
                <a:gd name="T72" fmla="*/ 15 w 128"/>
                <a:gd name="T73" fmla="*/ 99 h 105"/>
                <a:gd name="T74" fmla="*/ 19 w 128"/>
                <a:gd name="T75" fmla="*/ 101 h 105"/>
                <a:gd name="T76" fmla="*/ 27 w 128"/>
                <a:gd name="T77" fmla="*/ 97 h 105"/>
                <a:gd name="T78" fmla="*/ 35 w 128"/>
                <a:gd name="T79" fmla="*/ 97 h 105"/>
                <a:gd name="T80" fmla="*/ 39 w 128"/>
                <a:gd name="T81" fmla="*/ 99 h 105"/>
                <a:gd name="T82" fmla="*/ 44 w 128"/>
                <a:gd name="T83" fmla="*/ 103 h 105"/>
                <a:gd name="T84" fmla="*/ 46 w 128"/>
                <a:gd name="T85" fmla="*/ 103 h 105"/>
                <a:gd name="T86" fmla="*/ 46 w 128"/>
                <a:gd name="T87" fmla="*/ 99 h 105"/>
                <a:gd name="T88" fmla="*/ 46 w 128"/>
                <a:gd name="T89" fmla="*/ 91 h 105"/>
                <a:gd name="T90" fmla="*/ 44 w 128"/>
                <a:gd name="T91" fmla="*/ 87 h 105"/>
                <a:gd name="T92" fmla="*/ 44 w 128"/>
                <a:gd name="T93" fmla="*/ 83 h 105"/>
                <a:gd name="T94" fmla="*/ 46 w 128"/>
                <a:gd name="T95" fmla="*/ 77 h 105"/>
                <a:gd name="T96" fmla="*/ 60 w 128"/>
                <a:gd name="T97" fmla="*/ 77 h 105"/>
                <a:gd name="T98" fmla="*/ 70 w 128"/>
                <a:gd name="T99" fmla="*/ 77 h 105"/>
                <a:gd name="T100" fmla="*/ 76 w 128"/>
                <a:gd name="T101" fmla="*/ 77 h 105"/>
                <a:gd name="T102" fmla="*/ 81 w 128"/>
                <a:gd name="T103" fmla="*/ 77 h 105"/>
                <a:gd name="T104" fmla="*/ 83 w 128"/>
                <a:gd name="T105" fmla="*/ 74 h 105"/>
                <a:gd name="T106" fmla="*/ 85 w 128"/>
                <a:gd name="T107" fmla="*/ 72 h 105"/>
                <a:gd name="T108" fmla="*/ 97 w 128"/>
                <a:gd name="T109" fmla="*/ 77 h 105"/>
                <a:gd name="T110" fmla="*/ 103 w 128"/>
                <a:gd name="T111" fmla="*/ 77 h 105"/>
                <a:gd name="T112" fmla="*/ 105 w 128"/>
                <a:gd name="T113" fmla="*/ 74 h 105"/>
                <a:gd name="T114" fmla="*/ 107 w 128"/>
                <a:gd name="T115" fmla="*/ 72 h 105"/>
                <a:gd name="T116" fmla="*/ 109 w 128"/>
                <a:gd name="T117" fmla="*/ 70 h 105"/>
                <a:gd name="T118" fmla="*/ 111 w 128"/>
                <a:gd name="T119" fmla="*/ 68 h 105"/>
                <a:gd name="T120" fmla="*/ 113 w 128"/>
                <a:gd name="T121" fmla="*/ 68 h 105"/>
                <a:gd name="T122" fmla="*/ 122 w 128"/>
                <a:gd name="T123" fmla="*/ 68 h 105"/>
                <a:gd name="T124" fmla="*/ 128 w 128"/>
                <a:gd name="T125" fmla="*/ 6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" h="105">
                  <a:moveTo>
                    <a:pt x="128" y="58"/>
                  </a:moveTo>
                  <a:lnTo>
                    <a:pt x="126" y="56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6" y="50"/>
                  </a:lnTo>
                  <a:lnTo>
                    <a:pt x="126" y="50"/>
                  </a:lnTo>
                  <a:lnTo>
                    <a:pt x="126" y="48"/>
                  </a:lnTo>
                  <a:lnTo>
                    <a:pt x="124" y="46"/>
                  </a:lnTo>
                  <a:lnTo>
                    <a:pt x="124" y="46"/>
                  </a:lnTo>
                  <a:lnTo>
                    <a:pt x="124" y="46"/>
                  </a:lnTo>
                  <a:lnTo>
                    <a:pt x="122" y="44"/>
                  </a:lnTo>
                  <a:lnTo>
                    <a:pt x="122" y="46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17" y="46"/>
                  </a:lnTo>
                  <a:lnTo>
                    <a:pt x="115" y="46"/>
                  </a:lnTo>
                  <a:lnTo>
                    <a:pt x="113" y="46"/>
                  </a:lnTo>
                  <a:lnTo>
                    <a:pt x="111" y="42"/>
                  </a:lnTo>
                  <a:lnTo>
                    <a:pt x="107" y="40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5" y="35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7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1" y="27"/>
                  </a:lnTo>
                  <a:lnTo>
                    <a:pt x="99" y="27"/>
                  </a:lnTo>
                  <a:lnTo>
                    <a:pt x="99" y="23"/>
                  </a:lnTo>
                  <a:lnTo>
                    <a:pt x="97" y="21"/>
                  </a:lnTo>
                  <a:lnTo>
                    <a:pt x="97" y="19"/>
                  </a:lnTo>
                  <a:lnTo>
                    <a:pt x="95" y="19"/>
                  </a:lnTo>
                  <a:lnTo>
                    <a:pt x="97" y="17"/>
                  </a:lnTo>
                  <a:lnTo>
                    <a:pt x="95" y="15"/>
                  </a:lnTo>
                  <a:lnTo>
                    <a:pt x="95" y="13"/>
                  </a:lnTo>
                  <a:lnTo>
                    <a:pt x="93" y="13"/>
                  </a:lnTo>
                  <a:lnTo>
                    <a:pt x="93" y="9"/>
                  </a:lnTo>
                  <a:lnTo>
                    <a:pt x="93" y="7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1" y="3"/>
                  </a:lnTo>
                  <a:lnTo>
                    <a:pt x="87" y="3"/>
                  </a:lnTo>
                  <a:lnTo>
                    <a:pt x="85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78" y="3"/>
                  </a:lnTo>
                  <a:lnTo>
                    <a:pt x="76" y="5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0" y="7"/>
                  </a:lnTo>
                  <a:lnTo>
                    <a:pt x="66" y="9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2" y="13"/>
                  </a:lnTo>
                  <a:lnTo>
                    <a:pt x="60" y="13"/>
                  </a:lnTo>
                  <a:lnTo>
                    <a:pt x="58" y="13"/>
                  </a:lnTo>
                  <a:lnTo>
                    <a:pt x="58" y="17"/>
                  </a:lnTo>
                  <a:lnTo>
                    <a:pt x="56" y="19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48" y="17"/>
                  </a:lnTo>
                  <a:lnTo>
                    <a:pt x="46" y="19"/>
                  </a:lnTo>
                  <a:lnTo>
                    <a:pt x="44" y="21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39" y="27"/>
                  </a:lnTo>
                  <a:lnTo>
                    <a:pt x="37" y="27"/>
                  </a:lnTo>
                  <a:lnTo>
                    <a:pt x="37" y="29"/>
                  </a:lnTo>
                  <a:lnTo>
                    <a:pt x="37" y="31"/>
                  </a:lnTo>
                  <a:lnTo>
                    <a:pt x="37" y="33"/>
                  </a:lnTo>
                  <a:lnTo>
                    <a:pt x="35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3" y="35"/>
                  </a:lnTo>
                  <a:lnTo>
                    <a:pt x="21" y="35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40"/>
                  </a:lnTo>
                  <a:lnTo>
                    <a:pt x="21" y="42"/>
                  </a:lnTo>
                  <a:lnTo>
                    <a:pt x="21" y="44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52"/>
                  </a:lnTo>
                  <a:lnTo>
                    <a:pt x="17" y="52"/>
                  </a:lnTo>
                  <a:lnTo>
                    <a:pt x="17" y="54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3" y="58"/>
                  </a:lnTo>
                  <a:lnTo>
                    <a:pt x="11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5" y="62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8"/>
                  </a:lnTo>
                  <a:lnTo>
                    <a:pt x="5" y="72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4"/>
                  </a:lnTo>
                  <a:lnTo>
                    <a:pt x="2" y="77"/>
                  </a:lnTo>
                  <a:lnTo>
                    <a:pt x="2" y="81"/>
                  </a:lnTo>
                  <a:lnTo>
                    <a:pt x="0" y="83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7"/>
                  </a:lnTo>
                  <a:lnTo>
                    <a:pt x="0" y="89"/>
                  </a:lnTo>
                  <a:lnTo>
                    <a:pt x="2" y="89"/>
                  </a:lnTo>
                  <a:lnTo>
                    <a:pt x="5" y="89"/>
                  </a:lnTo>
                  <a:lnTo>
                    <a:pt x="7" y="89"/>
                  </a:lnTo>
                  <a:lnTo>
                    <a:pt x="7" y="91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5"/>
                  </a:lnTo>
                  <a:lnTo>
                    <a:pt x="11" y="97"/>
                  </a:lnTo>
                  <a:lnTo>
                    <a:pt x="13" y="97"/>
                  </a:lnTo>
                  <a:lnTo>
                    <a:pt x="13" y="99"/>
                  </a:lnTo>
                  <a:lnTo>
                    <a:pt x="15" y="99"/>
                  </a:lnTo>
                  <a:lnTo>
                    <a:pt x="17" y="99"/>
                  </a:lnTo>
                  <a:lnTo>
                    <a:pt x="17" y="101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5" y="97"/>
                  </a:lnTo>
                  <a:lnTo>
                    <a:pt x="27" y="97"/>
                  </a:lnTo>
                  <a:lnTo>
                    <a:pt x="29" y="95"/>
                  </a:lnTo>
                  <a:lnTo>
                    <a:pt x="31" y="95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7" y="97"/>
                  </a:lnTo>
                  <a:lnTo>
                    <a:pt x="39" y="97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4" y="103"/>
                  </a:lnTo>
                  <a:lnTo>
                    <a:pt x="44" y="103"/>
                  </a:lnTo>
                  <a:lnTo>
                    <a:pt x="44" y="105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6" y="103"/>
                  </a:lnTo>
                  <a:lnTo>
                    <a:pt x="46" y="103"/>
                  </a:lnTo>
                  <a:lnTo>
                    <a:pt x="46" y="101"/>
                  </a:lnTo>
                  <a:lnTo>
                    <a:pt x="44" y="99"/>
                  </a:lnTo>
                  <a:lnTo>
                    <a:pt x="46" y="99"/>
                  </a:lnTo>
                  <a:lnTo>
                    <a:pt x="46" y="97"/>
                  </a:lnTo>
                  <a:lnTo>
                    <a:pt x="44" y="93"/>
                  </a:lnTo>
                  <a:lnTo>
                    <a:pt x="44" y="91"/>
                  </a:lnTo>
                  <a:lnTo>
                    <a:pt x="46" y="91"/>
                  </a:lnTo>
                  <a:lnTo>
                    <a:pt x="46" y="89"/>
                  </a:lnTo>
                  <a:lnTo>
                    <a:pt x="44" y="89"/>
                  </a:lnTo>
                  <a:lnTo>
                    <a:pt x="44" y="89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5"/>
                  </a:lnTo>
                  <a:lnTo>
                    <a:pt x="44" y="83"/>
                  </a:lnTo>
                  <a:lnTo>
                    <a:pt x="44" y="81"/>
                  </a:lnTo>
                  <a:lnTo>
                    <a:pt x="44" y="77"/>
                  </a:lnTo>
                  <a:lnTo>
                    <a:pt x="44" y="77"/>
                  </a:lnTo>
                  <a:lnTo>
                    <a:pt x="46" y="77"/>
                  </a:lnTo>
                  <a:lnTo>
                    <a:pt x="46" y="77"/>
                  </a:lnTo>
                  <a:lnTo>
                    <a:pt x="50" y="77"/>
                  </a:lnTo>
                  <a:lnTo>
                    <a:pt x="54" y="77"/>
                  </a:lnTo>
                  <a:lnTo>
                    <a:pt x="60" y="77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70" y="77"/>
                  </a:lnTo>
                  <a:lnTo>
                    <a:pt x="72" y="77"/>
                  </a:lnTo>
                  <a:lnTo>
                    <a:pt x="74" y="77"/>
                  </a:lnTo>
                  <a:lnTo>
                    <a:pt x="74" y="77"/>
                  </a:lnTo>
                  <a:lnTo>
                    <a:pt x="76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3" y="77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5" y="72"/>
                  </a:lnTo>
                  <a:lnTo>
                    <a:pt x="89" y="74"/>
                  </a:lnTo>
                  <a:lnTo>
                    <a:pt x="93" y="74"/>
                  </a:lnTo>
                  <a:lnTo>
                    <a:pt x="97" y="77"/>
                  </a:lnTo>
                  <a:lnTo>
                    <a:pt x="97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99" y="77"/>
                  </a:lnTo>
                  <a:lnTo>
                    <a:pt x="103" y="77"/>
                  </a:lnTo>
                  <a:lnTo>
                    <a:pt x="105" y="77"/>
                  </a:lnTo>
                  <a:lnTo>
                    <a:pt x="105" y="77"/>
                  </a:lnTo>
                  <a:lnTo>
                    <a:pt x="105" y="74"/>
                  </a:lnTo>
                  <a:lnTo>
                    <a:pt x="105" y="74"/>
                  </a:lnTo>
                  <a:lnTo>
                    <a:pt x="107" y="74"/>
                  </a:lnTo>
                  <a:lnTo>
                    <a:pt x="107" y="74"/>
                  </a:lnTo>
                  <a:lnTo>
                    <a:pt x="107" y="74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11" y="70"/>
                  </a:lnTo>
                  <a:lnTo>
                    <a:pt x="111" y="68"/>
                  </a:lnTo>
                  <a:lnTo>
                    <a:pt x="111" y="68"/>
                  </a:lnTo>
                  <a:lnTo>
                    <a:pt x="111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20" y="68"/>
                  </a:lnTo>
                  <a:lnTo>
                    <a:pt x="122" y="68"/>
                  </a:lnTo>
                  <a:lnTo>
                    <a:pt x="126" y="64"/>
                  </a:lnTo>
                  <a:lnTo>
                    <a:pt x="126" y="64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5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0" name="Freeform 216">
              <a:extLst>
                <a:ext uri="{FF2B5EF4-FFF2-40B4-BE49-F238E27FC236}">
                  <a16:creationId xmlns:a16="http://schemas.microsoft.com/office/drawing/2014/main" id="{7E52B3D0-A130-964C-A7F5-A7AA13D6C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4294" y="2568347"/>
              <a:ext cx="106955" cy="62985"/>
            </a:xfrm>
            <a:custGeom>
              <a:avLst/>
              <a:gdLst>
                <a:gd name="T0" fmla="*/ 86 w 90"/>
                <a:gd name="T1" fmla="*/ 8 h 53"/>
                <a:gd name="T2" fmla="*/ 80 w 90"/>
                <a:gd name="T3" fmla="*/ 6 h 53"/>
                <a:gd name="T4" fmla="*/ 78 w 90"/>
                <a:gd name="T5" fmla="*/ 6 h 53"/>
                <a:gd name="T6" fmla="*/ 74 w 90"/>
                <a:gd name="T7" fmla="*/ 4 h 53"/>
                <a:gd name="T8" fmla="*/ 63 w 90"/>
                <a:gd name="T9" fmla="*/ 2 h 53"/>
                <a:gd name="T10" fmla="*/ 51 w 90"/>
                <a:gd name="T11" fmla="*/ 6 h 53"/>
                <a:gd name="T12" fmla="*/ 45 w 90"/>
                <a:gd name="T13" fmla="*/ 10 h 53"/>
                <a:gd name="T14" fmla="*/ 28 w 90"/>
                <a:gd name="T15" fmla="*/ 8 h 53"/>
                <a:gd name="T16" fmla="*/ 16 w 90"/>
                <a:gd name="T17" fmla="*/ 8 h 53"/>
                <a:gd name="T18" fmla="*/ 6 w 90"/>
                <a:gd name="T19" fmla="*/ 6 h 53"/>
                <a:gd name="T20" fmla="*/ 6 w 90"/>
                <a:gd name="T21" fmla="*/ 4 h 53"/>
                <a:gd name="T22" fmla="*/ 8 w 90"/>
                <a:gd name="T23" fmla="*/ 4 h 53"/>
                <a:gd name="T24" fmla="*/ 4 w 90"/>
                <a:gd name="T25" fmla="*/ 0 h 53"/>
                <a:gd name="T26" fmla="*/ 2 w 90"/>
                <a:gd name="T27" fmla="*/ 2 h 53"/>
                <a:gd name="T28" fmla="*/ 0 w 90"/>
                <a:gd name="T29" fmla="*/ 4 h 53"/>
                <a:gd name="T30" fmla="*/ 0 w 90"/>
                <a:gd name="T31" fmla="*/ 8 h 53"/>
                <a:gd name="T32" fmla="*/ 0 w 90"/>
                <a:gd name="T33" fmla="*/ 10 h 53"/>
                <a:gd name="T34" fmla="*/ 2 w 90"/>
                <a:gd name="T35" fmla="*/ 14 h 53"/>
                <a:gd name="T36" fmla="*/ 6 w 90"/>
                <a:gd name="T37" fmla="*/ 16 h 53"/>
                <a:gd name="T38" fmla="*/ 8 w 90"/>
                <a:gd name="T39" fmla="*/ 20 h 53"/>
                <a:gd name="T40" fmla="*/ 8 w 90"/>
                <a:gd name="T41" fmla="*/ 23 h 53"/>
                <a:gd name="T42" fmla="*/ 2 w 90"/>
                <a:gd name="T43" fmla="*/ 25 h 53"/>
                <a:gd name="T44" fmla="*/ 2 w 90"/>
                <a:gd name="T45" fmla="*/ 27 h 53"/>
                <a:gd name="T46" fmla="*/ 2 w 90"/>
                <a:gd name="T47" fmla="*/ 29 h 53"/>
                <a:gd name="T48" fmla="*/ 2 w 90"/>
                <a:gd name="T49" fmla="*/ 31 h 53"/>
                <a:gd name="T50" fmla="*/ 2 w 90"/>
                <a:gd name="T51" fmla="*/ 35 h 53"/>
                <a:gd name="T52" fmla="*/ 4 w 90"/>
                <a:gd name="T53" fmla="*/ 39 h 53"/>
                <a:gd name="T54" fmla="*/ 8 w 90"/>
                <a:gd name="T55" fmla="*/ 41 h 53"/>
                <a:gd name="T56" fmla="*/ 10 w 90"/>
                <a:gd name="T57" fmla="*/ 45 h 53"/>
                <a:gd name="T58" fmla="*/ 10 w 90"/>
                <a:gd name="T59" fmla="*/ 47 h 53"/>
                <a:gd name="T60" fmla="*/ 12 w 90"/>
                <a:gd name="T61" fmla="*/ 51 h 53"/>
                <a:gd name="T62" fmla="*/ 16 w 90"/>
                <a:gd name="T63" fmla="*/ 51 h 53"/>
                <a:gd name="T64" fmla="*/ 20 w 90"/>
                <a:gd name="T65" fmla="*/ 51 h 53"/>
                <a:gd name="T66" fmla="*/ 24 w 90"/>
                <a:gd name="T67" fmla="*/ 49 h 53"/>
                <a:gd name="T68" fmla="*/ 26 w 90"/>
                <a:gd name="T69" fmla="*/ 49 h 53"/>
                <a:gd name="T70" fmla="*/ 30 w 90"/>
                <a:gd name="T71" fmla="*/ 49 h 53"/>
                <a:gd name="T72" fmla="*/ 35 w 90"/>
                <a:gd name="T73" fmla="*/ 49 h 53"/>
                <a:gd name="T74" fmla="*/ 37 w 90"/>
                <a:gd name="T75" fmla="*/ 51 h 53"/>
                <a:gd name="T76" fmla="*/ 41 w 90"/>
                <a:gd name="T77" fmla="*/ 51 h 53"/>
                <a:gd name="T78" fmla="*/ 47 w 90"/>
                <a:gd name="T79" fmla="*/ 53 h 53"/>
                <a:gd name="T80" fmla="*/ 51 w 90"/>
                <a:gd name="T81" fmla="*/ 51 h 53"/>
                <a:gd name="T82" fmla="*/ 55 w 90"/>
                <a:gd name="T83" fmla="*/ 51 h 53"/>
                <a:gd name="T84" fmla="*/ 57 w 90"/>
                <a:gd name="T85" fmla="*/ 49 h 53"/>
                <a:gd name="T86" fmla="*/ 55 w 90"/>
                <a:gd name="T87" fmla="*/ 45 h 53"/>
                <a:gd name="T88" fmla="*/ 57 w 90"/>
                <a:gd name="T89" fmla="*/ 45 h 53"/>
                <a:gd name="T90" fmla="*/ 59 w 90"/>
                <a:gd name="T91" fmla="*/ 45 h 53"/>
                <a:gd name="T92" fmla="*/ 63 w 90"/>
                <a:gd name="T93" fmla="*/ 43 h 53"/>
                <a:gd name="T94" fmla="*/ 63 w 90"/>
                <a:gd name="T95" fmla="*/ 41 h 53"/>
                <a:gd name="T96" fmla="*/ 67 w 90"/>
                <a:gd name="T97" fmla="*/ 41 h 53"/>
                <a:gd name="T98" fmla="*/ 72 w 90"/>
                <a:gd name="T99" fmla="*/ 39 h 53"/>
                <a:gd name="T100" fmla="*/ 74 w 90"/>
                <a:gd name="T101" fmla="*/ 39 h 53"/>
                <a:gd name="T102" fmla="*/ 78 w 90"/>
                <a:gd name="T103" fmla="*/ 41 h 53"/>
                <a:gd name="T104" fmla="*/ 82 w 90"/>
                <a:gd name="T105" fmla="*/ 41 h 53"/>
                <a:gd name="T106" fmla="*/ 84 w 90"/>
                <a:gd name="T107" fmla="*/ 41 h 53"/>
                <a:gd name="T108" fmla="*/ 80 w 90"/>
                <a:gd name="T109" fmla="*/ 33 h 53"/>
                <a:gd name="T110" fmla="*/ 80 w 90"/>
                <a:gd name="T111" fmla="*/ 27 h 53"/>
                <a:gd name="T112" fmla="*/ 82 w 90"/>
                <a:gd name="T113" fmla="*/ 23 h 53"/>
                <a:gd name="T114" fmla="*/ 82 w 90"/>
                <a:gd name="T115" fmla="*/ 18 h 53"/>
                <a:gd name="T116" fmla="*/ 88 w 90"/>
                <a:gd name="T117" fmla="*/ 1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" h="53">
                  <a:moveTo>
                    <a:pt x="90" y="8"/>
                  </a:moveTo>
                  <a:lnTo>
                    <a:pt x="88" y="10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80" y="6"/>
                  </a:lnTo>
                  <a:lnTo>
                    <a:pt x="80" y="4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6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4"/>
                  </a:lnTo>
                  <a:lnTo>
                    <a:pt x="51" y="6"/>
                  </a:lnTo>
                  <a:lnTo>
                    <a:pt x="49" y="8"/>
                  </a:lnTo>
                  <a:lnTo>
                    <a:pt x="47" y="10"/>
                  </a:lnTo>
                  <a:lnTo>
                    <a:pt x="45" y="10"/>
                  </a:lnTo>
                  <a:lnTo>
                    <a:pt x="41" y="10"/>
                  </a:lnTo>
                  <a:lnTo>
                    <a:pt x="35" y="10"/>
                  </a:lnTo>
                  <a:lnTo>
                    <a:pt x="28" y="8"/>
                  </a:lnTo>
                  <a:lnTo>
                    <a:pt x="26" y="8"/>
                  </a:lnTo>
                  <a:lnTo>
                    <a:pt x="22" y="8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8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3"/>
                  </a:lnTo>
                  <a:lnTo>
                    <a:pt x="6" y="23"/>
                  </a:lnTo>
                  <a:lnTo>
                    <a:pt x="6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0" y="35"/>
                  </a:lnTo>
                  <a:lnTo>
                    <a:pt x="2" y="37"/>
                  </a:lnTo>
                  <a:lnTo>
                    <a:pt x="4" y="39"/>
                  </a:lnTo>
                  <a:lnTo>
                    <a:pt x="6" y="39"/>
                  </a:lnTo>
                  <a:lnTo>
                    <a:pt x="8" y="39"/>
                  </a:lnTo>
                  <a:lnTo>
                    <a:pt x="8" y="41"/>
                  </a:lnTo>
                  <a:lnTo>
                    <a:pt x="8" y="43"/>
                  </a:lnTo>
                  <a:lnTo>
                    <a:pt x="10" y="43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7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4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20" y="51"/>
                  </a:lnTo>
                  <a:lnTo>
                    <a:pt x="22" y="51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8" y="49"/>
                  </a:lnTo>
                  <a:lnTo>
                    <a:pt x="30" y="49"/>
                  </a:lnTo>
                  <a:lnTo>
                    <a:pt x="30" y="49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51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9" y="51"/>
                  </a:lnTo>
                  <a:lnTo>
                    <a:pt x="41" y="51"/>
                  </a:lnTo>
                  <a:lnTo>
                    <a:pt x="43" y="51"/>
                  </a:lnTo>
                  <a:lnTo>
                    <a:pt x="45" y="53"/>
                  </a:lnTo>
                  <a:lnTo>
                    <a:pt x="47" y="53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53" y="53"/>
                  </a:lnTo>
                  <a:lnTo>
                    <a:pt x="55" y="51"/>
                  </a:lnTo>
                  <a:lnTo>
                    <a:pt x="57" y="51"/>
                  </a:lnTo>
                  <a:lnTo>
                    <a:pt x="57" y="49"/>
                  </a:lnTo>
                  <a:lnTo>
                    <a:pt x="57" y="49"/>
                  </a:lnTo>
                  <a:lnTo>
                    <a:pt x="57" y="47"/>
                  </a:lnTo>
                  <a:lnTo>
                    <a:pt x="55" y="47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3"/>
                  </a:lnTo>
                  <a:lnTo>
                    <a:pt x="61" y="43"/>
                  </a:lnTo>
                  <a:lnTo>
                    <a:pt x="63" y="43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7" y="41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72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6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4" y="41"/>
                  </a:lnTo>
                  <a:lnTo>
                    <a:pt x="84" y="39"/>
                  </a:lnTo>
                  <a:lnTo>
                    <a:pt x="82" y="37"/>
                  </a:lnTo>
                  <a:lnTo>
                    <a:pt x="80" y="33"/>
                  </a:lnTo>
                  <a:lnTo>
                    <a:pt x="78" y="33"/>
                  </a:lnTo>
                  <a:lnTo>
                    <a:pt x="76" y="31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3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8" y="16"/>
                  </a:lnTo>
                  <a:lnTo>
                    <a:pt x="90" y="14"/>
                  </a:lnTo>
                  <a:lnTo>
                    <a:pt x="90" y="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1" name="Freeform 221">
              <a:extLst>
                <a:ext uri="{FF2B5EF4-FFF2-40B4-BE49-F238E27FC236}">
                  <a16:creationId xmlns:a16="http://schemas.microsoft.com/office/drawing/2014/main" id="{F3701161-A191-CF41-8C0D-8D7440545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4584" y="3919544"/>
              <a:ext cx="175881" cy="198461"/>
            </a:xfrm>
            <a:custGeom>
              <a:avLst/>
              <a:gdLst>
                <a:gd name="T0" fmla="*/ 144 w 148"/>
                <a:gd name="T1" fmla="*/ 78 h 167"/>
                <a:gd name="T2" fmla="*/ 144 w 148"/>
                <a:gd name="T3" fmla="*/ 74 h 167"/>
                <a:gd name="T4" fmla="*/ 140 w 148"/>
                <a:gd name="T5" fmla="*/ 72 h 167"/>
                <a:gd name="T6" fmla="*/ 127 w 148"/>
                <a:gd name="T7" fmla="*/ 68 h 167"/>
                <a:gd name="T8" fmla="*/ 123 w 148"/>
                <a:gd name="T9" fmla="*/ 62 h 167"/>
                <a:gd name="T10" fmla="*/ 123 w 148"/>
                <a:gd name="T11" fmla="*/ 53 h 167"/>
                <a:gd name="T12" fmla="*/ 123 w 148"/>
                <a:gd name="T13" fmla="*/ 49 h 167"/>
                <a:gd name="T14" fmla="*/ 117 w 148"/>
                <a:gd name="T15" fmla="*/ 47 h 167"/>
                <a:gd name="T16" fmla="*/ 113 w 148"/>
                <a:gd name="T17" fmla="*/ 41 h 167"/>
                <a:gd name="T18" fmla="*/ 101 w 148"/>
                <a:gd name="T19" fmla="*/ 33 h 167"/>
                <a:gd name="T20" fmla="*/ 97 w 148"/>
                <a:gd name="T21" fmla="*/ 23 h 167"/>
                <a:gd name="T22" fmla="*/ 92 w 148"/>
                <a:gd name="T23" fmla="*/ 16 h 167"/>
                <a:gd name="T24" fmla="*/ 88 w 148"/>
                <a:gd name="T25" fmla="*/ 6 h 167"/>
                <a:gd name="T26" fmla="*/ 84 w 148"/>
                <a:gd name="T27" fmla="*/ 2 h 167"/>
                <a:gd name="T28" fmla="*/ 80 w 148"/>
                <a:gd name="T29" fmla="*/ 0 h 167"/>
                <a:gd name="T30" fmla="*/ 72 w 148"/>
                <a:gd name="T31" fmla="*/ 4 h 167"/>
                <a:gd name="T32" fmla="*/ 66 w 148"/>
                <a:gd name="T33" fmla="*/ 6 h 167"/>
                <a:gd name="T34" fmla="*/ 60 w 148"/>
                <a:gd name="T35" fmla="*/ 12 h 167"/>
                <a:gd name="T36" fmla="*/ 58 w 148"/>
                <a:gd name="T37" fmla="*/ 8 h 167"/>
                <a:gd name="T38" fmla="*/ 51 w 148"/>
                <a:gd name="T39" fmla="*/ 4 h 167"/>
                <a:gd name="T40" fmla="*/ 27 w 148"/>
                <a:gd name="T41" fmla="*/ 8 h 167"/>
                <a:gd name="T42" fmla="*/ 16 w 148"/>
                <a:gd name="T43" fmla="*/ 21 h 167"/>
                <a:gd name="T44" fmla="*/ 16 w 148"/>
                <a:gd name="T45" fmla="*/ 51 h 167"/>
                <a:gd name="T46" fmla="*/ 16 w 148"/>
                <a:gd name="T47" fmla="*/ 76 h 167"/>
                <a:gd name="T48" fmla="*/ 0 w 148"/>
                <a:gd name="T49" fmla="*/ 86 h 167"/>
                <a:gd name="T50" fmla="*/ 0 w 148"/>
                <a:gd name="T51" fmla="*/ 107 h 167"/>
                <a:gd name="T52" fmla="*/ 0 w 148"/>
                <a:gd name="T53" fmla="*/ 127 h 167"/>
                <a:gd name="T54" fmla="*/ 6 w 148"/>
                <a:gd name="T55" fmla="*/ 136 h 167"/>
                <a:gd name="T56" fmla="*/ 12 w 148"/>
                <a:gd name="T57" fmla="*/ 148 h 167"/>
                <a:gd name="T58" fmla="*/ 12 w 148"/>
                <a:gd name="T59" fmla="*/ 154 h 167"/>
                <a:gd name="T60" fmla="*/ 8 w 148"/>
                <a:gd name="T61" fmla="*/ 160 h 167"/>
                <a:gd name="T62" fmla="*/ 12 w 148"/>
                <a:gd name="T63" fmla="*/ 164 h 167"/>
                <a:gd name="T64" fmla="*/ 23 w 148"/>
                <a:gd name="T65" fmla="*/ 167 h 167"/>
                <a:gd name="T66" fmla="*/ 27 w 148"/>
                <a:gd name="T67" fmla="*/ 164 h 167"/>
                <a:gd name="T68" fmla="*/ 33 w 148"/>
                <a:gd name="T69" fmla="*/ 160 h 167"/>
                <a:gd name="T70" fmla="*/ 41 w 148"/>
                <a:gd name="T71" fmla="*/ 152 h 167"/>
                <a:gd name="T72" fmla="*/ 43 w 148"/>
                <a:gd name="T73" fmla="*/ 144 h 167"/>
                <a:gd name="T74" fmla="*/ 47 w 148"/>
                <a:gd name="T75" fmla="*/ 138 h 167"/>
                <a:gd name="T76" fmla="*/ 55 w 148"/>
                <a:gd name="T77" fmla="*/ 138 h 167"/>
                <a:gd name="T78" fmla="*/ 62 w 148"/>
                <a:gd name="T79" fmla="*/ 144 h 167"/>
                <a:gd name="T80" fmla="*/ 68 w 148"/>
                <a:gd name="T81" fmla="*/ 146 h 167"/>
                <a:gd name="T82" fmla="*/ 78 w 148"/>
                <a:gd name="T83" fmla="*/ 146 h 167"/>
                <a:gd name="T84" fmla="*/ 84 w 148"/>
                <a:gd name="T85" fmla="*/ 146 h 167"/>
                <a:gd name="T86" fmla="*/ 88 w 148"/>
                <a:gd name="T87" fmla="*/ 138 h 167"/>
                <a:gd name="T88" fmla="*/ 92 w 148"/>
                <a:gd name="T89" fmla="*/ 127 h 167"/>
                <a:gd name="T90" fmla="*/ 101 w 148"/>
                <a:gd name="T91" fmla="*/ 125 h 167"/>
                <a:gd name="T92" fmla="*/ 107 w 148"/>
                <a:gd name="T93" fmla="*/ 117 h 167"/>
                <a:gd name="T94" fmla="*/ 113 w 148"/>
                <a:gd name="T95" fmla="*/ 105 h 167"/>
                <a:gd name="T96" fmla="*/ 117 w 148"/>
                <a:gd name="T97" fmla="*/ 103 h 167"/>
                <a:gd name="T98" fmla="*/ 121 w 148"/>
                <a:gd name="T99" fmla="*/ 99 h 167"/>
                <a:gd name="T100" fmla="*/ 123 w 148"/>
                <a:gd name="T101" fmla="*/ 97 h 167"/>
                <a:gd name="T102" fmla="*/ 127 w 148"/>
                <a:gd name="T103" fmla="*/ 92 h 167"/>
                <a:gd name="T104" fmla="*/ 138 w 148"/>
                <a:gd name="T105" fmla="*/ 86 h 167"/>
                <a:gd name="T106" fmla="*/ 146 w 148"/>
                <a:gd name="T107" fmla="*/ 8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8" h="167">
                  <a:moveTo>
                    <a:pt x="148" y="80"/>
                  </a:moveTo>
                  <a:lnTo>
                    <a:pt x="148" y="78"/>
                  </a:lnTo>
                  <a:lnTo>
                    <a:pt x="146" y="78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44" y="76"/>
                  </a:lnTo>
                  <a:lnTo>
                    <a:pt x="144" y="76"/>
                  </a:lnTo>
                  <a:lnTo>
                    <a:pt x="144" y="74"/>
                  </a:lnTo>
                  <a:lnTo>
                    <a:pt x="144" y="74"/>
                  </a:lnTo>
                  <a:lnTo>
                    <a:pt x="144" y="72"/>
                  </a:lnTo>
                  <a:lnTo>
                    <a:pt x="142" y="72"/>
                  </a:lnTo>
                  <a:lnTo>
                    <a:pt x="140" y="72"/>
                  </a:lnTo>
                  <a:lnTo>
                    <a:pt x="136" y="70"/>
                  </a:lnTo>
                  <a:lnTo>
                    <a:pt x="129" y="70"/>
                  </a:lnTo>
                  <a:lnTo>
                    <a:pt x="127" y="70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5" y="66"/>
                  </a:lnTo>
                  <a:lnTo>
                    <a:pt x="125" y="64"/>
                  </a:lnTo>
                  <a:lnTo>
                    <a:pt x="123" y="62"/>
                  </a:lnTo>
                  <a:lnTo>
                    <a:pt x="123" y="60"/>
                  </a:lnTo>
                  <a:lnTo>
                    <a:pt x="123" y="58"/>
                  </a:lnTo>
                  <a:lnTo>
                    <a:pt x="123" y="55"/>
                  </a:lnTo>
                  <a:lnTo>
                    <a:pt x="123" y="53"/>
                  </a:lnTo>
                  <a:lnTo>
                    <a:pt x="123" y="53"/>
                  </a:lnTo>
                  <a:lnTo>
                    <a:pt x="123" y="51"/>
                  </a:lnTo>
                  <a:lnTo>
                    <a:pt x="123" y="49"/>
                  </a:lnTo>
                  <a:lnTo>
                    <a:pt x="123" y="49"/>
                  </a:lnTo>
                  <a:lnTo>
                    <a:pt x="121" y="49"/>
                  </a:lnTo>
                  <a:lnTo>
                    <a:pt x="119" y="49"/>
                  </a:lnTo>
                  <a:lnTo>
                    <a:pt x="117" y="49"/>
                  </a:lnTo>
                  <a:lnTo>
                    <a:pt x="117" y="47"/>
                  </a:lnTo>
                  <a:lnTo>
                    <a:pt x="117" y="45"/>
                  </a:lnTo>
                  <a:lnTo>
                    <a:pt x="115" y="43"/>
                  </a:lnTo>
                  <a:lnTo>
                    <a:pt x="115" y="41"/>
                  </a:lnTo>
                  <a:lnTo>
                    <a:pt x="113" y="41"/>
                  </a:lnTo>
                  <a:lnTo>
                    <a:pt x="111" y="41"/>
                  </a:lnTo>
                  <a:lnTo>
                    <a:pt x="107" y="39"/>
                  </a:lnTo>
                  <a:lnTo>
                    <a:pt x="105" y="35"/>
                  </a:lnTo>
                  <a:lnTo>
                    <a:pt x="101" y="33"/>
                  </a:lnTo>
                  <a:lnTo>
                    <a:pt x="99" y="31"/>
                  </a:lnTo>
                  <a:lnTo>
                    <a:pt x="99" y="29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1"/>
                  </a:lnTo>
                  <a:lnTo>
                    <a:pt x="94" y="18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90" y="12"/>
                  </a:lnTo>
                  <a:lnTo>
                    <a:pt x="88" y="10"/>
                  </a:lnTo>
                  <a:lnTo>
                    <a:pt x="88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4" y="0"/>
                  </a:lnTo>
                  <a:lnTo>
                    <a:pt x="80" y="0"/>
                  </a:lnTo>
                  <a:lnTo>
                    <a:pt x="78" y="2"/>
                  </a:lnTo>
                  <a:lnTo>
                    <a:pt x="74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4"/>
                  </a:lnTo>
                  <a:lnTo>
                    <a:pt x="68" y="4"/>
                  </a:lnTo>
                  <a:lnTo>
                    <a:pt x="66" y="6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8" y="12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1" y="4"/>
                  </a:lnTo>
                  <a:lnTo>
                    <a:pt x="45" y="4"/>
                  </a:lnTo>
                  <a:lnTo>
                    <a:pt x="41" y="6"/>
                  </a:lnTo>
                  <a:lnTo>
                    <a:pt x="33" y="8"/>
                  </a:lnTo>
                  <a:lnTo>
                    <a:pt x="27" y="8"/>
                  </a:lnTo>
                  <a:lnTo>
                    <a:pt x="21" y="8"/>
                  </a:lnTo>
                  <a:lnTo>
                    <a:pt x="16" y="10"/>
                  </a:lnTo>
                  <a:lnTo>
                    <a:pt x="16" y="12"/>
                  </a:lnTo>
                  <a:lnTo>
                    <a:pt x="16" y="21"/>
                  </a:lnTo>
                  <a:lnTo>
                    <a:pt x="16" y="29"/>
                  </a:lnTo>
                  <a:lnTo>
                    <a:pt x="16" y="35"/>
                  </a:lnTo>
                  <a:lnTo>
                    <a:pt x="16" y="43"/>
                  </a:lnTo>
                  <a:lnTo>
                    <a:pt x="16" y="51"/>
                  </a:lnTo>
                  <a:lnTo>
                    <a:pt x="16" y="58"/>
                  </a:lnTo>
                  <a:lnTo>
                    <a:pt x="16" y="66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0" y="76"/>
                  </a:lnTo>
                  <a:lnTo>
                    <a:pt x="0" y="82"/>
                  </a:lnTo>
                  <a:lnTo>
                    <a:pt x="0" y="86"/>
                  </a:lnTo>
                  <a:lnTo>
                    <a:pt x="0" y="92"/>
                  </a:lnTo>
                  <a:lnTo>
                    <a:pt x="0" y="97"/>
                  </a:lnTo>
                  <a:lnTo>
                    <a:pt x="0" y="103"/>
                  </a:lnTo>
                  <a:lnTo>
                    <a:pt x="0" y="107"/>
                  </a:lnTo>
                  <a:lnTo>
                    <a:pt x="0" y="113"/>
                  </a:lnTo>
                  <a:lnTo>
                    <a:pt x="0" y="119"/>
                  </a:lnTo>
                  <a:lnTo>
                    <a:pt x="0" y="123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0" y="129"/>
                  </a:lnTo>
                  <a:lnTo>
                    <a:pt x="4" y="134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8" y="142"/>
                  </a:lnTo>
                  <a:lnTo>
                    <a:pt x="10" y="146"/>
                  </a:lnTo>
                  <a:lnTo>
                    <a:pt x="12" y="148"/>
                  </a:lnTo>
                  <a:lnTo>
                    <a:pt x="12" y="150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0" y="156"/>
                  </a:lnTo>
                  <a:lnTo>
                    <a:pt x="10" y="156"/>
                  </a:lnTo>
                  <a:lnTo>
                    <a:pt x="8" y="158"/>
                  </a:lnTo>
                  <a:lnTo>
                    <a:pt x="8" y="160"/>
                  </a:lnTo>
                  <a:lnTo>
                    <a:pt x="8" y="164"/>
                  </a:lnTo>
                  <a:lnTo>
                    <a:pt x="10" y="167"/>
                  </a:lnTo>
                  <a:lnTo>
                    <a:pt x="10" y="167"/>
                  </a:lnTo>
                  <a:lnTo>
                    <a:pt x="12" y="164"/>
                  </a:lnTo>
                  <a:lnTo>
                    <a:pt x="14" y="167"/>
                  </a:lnTo>
                  <a:lnTo>
                    <a:pt x="16" y="167"/>
                  </a:lnTo>
                  <a:lnTo>
                    <a:pt x="23" y="167"/>
                  </a:lnTo>
                  <a:lnTo>
                    <a:pt x="23" y="167"/>
                  </a:lnTo>
                  <a:lnTo>
                    <a:pt x="25" y="167"/>
                  </a:lnTo>
                  <a:lnTo>
                    <a:pt x="25" y="167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9" y="162"/>
                  </a:lnTo>
                  <a:lnTo>
                    <a:pt x="29" y="162"/>
                  </a:lnTo>
                  <a:lnTo>
                    <a:pt x="31" y="162"/>
                  </a:lnTo>
                  <a:lnTo>
                    <a:pt x="33" y="160"/>
                  </a:lnTo>
                  <a:lnTo>
                    <a:pt x="35" y="158"/>
                  </a:lnTo>
                  <a:lnTo>
                    <a:pt x="39" y="154"/>
                  </a:lnTo>
                  <a:lnTo>
                    <a:pt x="39" y="154"/>
                  </a:lnTo>
                  <a:lnTo>
                    <a:pt x="41" y="152"/>
                  </a:lnTo>
                  <a:lnTo>
                    <a:pt x="41" y="152"/>
                  </a:lnTo>
                  <a:lnTo>
                    <a:pt x="43" y="148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5" y="140"/>
                  </a:lnTo>
                  <a:lnTo>
                    <a:pt x="45" y="140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9" y="138"/>
                  </a:lnTo>
                  <a:lnTo>
                    <a:pt x="51" y="138"/>
                  </a:lnTo>
                  <a:lnTo>
                    <a:pt x="53" y="138"/>
                  </a:lnTo>
                  <a:lnTo>
                    <a:pt x="55" y="138"/>
                  </a:lnTo>
                  <a:lnTo>
                    <a:pt x="58" y="140"/>
                  </a:lnTo>
                  <a:lnTo>
                    <a:pt x="60" y="142"/>
                  </a:lnTo>
                  <a:lnTo>
                    <a:pt x="62" y="144"/>
                  </a:lnTo>
                  <a:lnTo>
                    <a:pt x="62" y="144"/>
                  </a:lnTo>
                  <a:lnTo>
                    <a:pt x="64" y="144"/>
                  </a:lnTo>
                  <a:lnTo>
                    <a:pt x="66" y="144"/>
                  </a:lnTo>
                  <a:lnTo>
                    <a:pt x="68" y="146"/>
                  </a:lnTo>
                  <a:lnTo>
                    <a:pt x="68" y="146"/>
                  </a:lnTo>
                  <a:lnTo>
                    <a:pt x="72" y="146"/>
                  </a:lnTo>
                  <a:lnTo>
                    <a:pt x="74" y="148"/>
                  </a:lnTo>
                  <a:lnTo>
                    <a:pt x="76" y="148"/>
                  </a:lnTo>
                  <a:lnTo>
                    <a:pt x="78" y="146"/>
                  </a:lnTo>
                  <a:lnTo>
                    <a:pt x="80" y="146"/>
                  </a:lnTo>
                  <a:lnTo>
                    <a:pt x="82" y="146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6" y="144"/>
                  </a:lnTo>
                  <a:lnTo>
                    <a:pt x="88" y="144"/>
                  </a:lnTo>
                  <a:lnTo>
                    <a:pt x="88" y="140"/>
                  </a:lnTo>
                  <a:lnTo>
                    <a:pt x="88" y="138"/>
                  </a:lnTo>
                  <a:lnTo>
                    <a:pt x="90" y="136"/>
                  </a:lnTo>
                  <a:lnTo>
                    <a:pt x="92" y="132"/>
                  </a:lnTo>
                  <a:lnTo>
                    <a:pt x="92" y="127"/>
                  </a:lnTo>
                  <a:lnTo>
                    <a:pt x="92" y="127"/>
                  </a:lnTo>
                  <a:lnTo>
                    <a:pt x="94" y="127"/>
                  </a:lnTo>
                  <a:lnTo>
                    <a:pt x="97" y="125"/>
                  </a:lnTo>
                  <a:lnTo>
                    <a:pt x="101" y="125"/>
                  </a:lnTo>
                  <a:lnTo>
                    <a:pt x="101" y="125"/>
                  </a:lnTo>
                  <a:lnTo>
                    <a:pt x="103" y="123"/>
                  </a:lnTo>
                  <a:lnTo>
                    <a:pt x="105" y="121"/>
                  </a:lnTo>
                  <a:lnTo>
                    <a:pt x="107" y="119"/>
                  </a:lnTo>
                  <a:lnTo>
                    <a:pt x="107" y="117"/>
                  </a:lnTo>
                  <a:lnTo>
                    <a:pt x="111" y="109"/>
                  </a:lnTo>
                  <a:lnTo>
                    <a:pt x="111" y="109"/>
                  </a:lnTo>
                  <a:lnTo>
                    <a:pt x="113" y="107"/>
                  </a:lnTo>
                  <a:lnTo>
                    <a:pt x="113" y="105"/>
                  </a:lnTo>
                  <a:lnTo>
                    <a:pt x="113" y="105"/>
                  </a:lnTo>
                  <a:lnTo>
                    <a:pt x="115" y="105"/>
                  </a:lnTo>
                  <a:lnTo>
                    <a:pt x="115" y="103"/>
                  </a:lnTo>
                  <a:lnTo>
                    <a:pt x="117" y="103"/>
                  </a:lnTo>
                  <a:lnTo>
                    <a:pt x="119" y="103"/>
                  </a:lnTo>
                  <a:lnTo>
                    <a:pt x="119" y="101"/>
                  </a:lnTo>
                  <a:lnTo>
                    <a:pt x="121" y="101"/>
                  </a:lnTo>
                  <a:lnTo>
                    <a:pt x="121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7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5" y="95"/>
                  </a:lnTo>
                  <a:lnTo>
                    <a:pt x="127" y="92"/>
                  </a:lnTo>
                  <a:lnTo>
                    <a:pt x="129" y="90"/>
                  </a:lnTo>
                  <a:lnTo>
                    <a:pt x="133" y="88"/>
                  </a:lnTo>
                  <a:lnTo>
                    <a:pt x="136" y="88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2" y="84"/>
                  </a:lnTo>
                  <a:lnTo>
                    <a:pt x="144" y="82"/>
                  </a:lnTo>
                  <a:lnTo>
                    <a:pt x="146" y="80"/>
                  </a:lnTo>
                  <a:lnTo>
                    <a:pt x="148" y="80"/>
                  </a:lnTo>
                  <a:lnTo>
                    <a:pt x="148" y="8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2" name="Freeform 222">
              <a:extLst>
                <a:ext uri="{FF2B5EF4-FFF2-40B4-BE49-F238E27FC236}">
                  <a16:creationId xmlns:a16="http://schemas.microsoft.com/office/drawing/2014/main" id="{5C08EEB8-427F-3640-B5EF-04C56A612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6644" y="2545767"/>
              <a:ext cx="68926" cy="59419"/>
            </a:xfrm>
            <a:custGeom>
              <a:avLst/>
              <a:gdLst>
                <a:gd name="T0" fmla="*/ 56 w 58"/>
                <a:gd name="T1" fmla="*/ 23 h 50"/>
                <a:gd name="T2" fmla="*/ 58 w 58"/>
                <a:gd name="T3" fmla="*/ 23 h 50"/>
                <a:gd name="T4" fmla="*/ 53 w 58"/>
                <a:gd name="T5" fmla="*/ 19 h 50"/>
                <a:gd name="T6" fmla="*/ 49 w 58"/>
                <a:gd name="T7" fmla="*/ 17 h 50"/>
                <a:gd name="T8" fmla="*/ 49 w 58"/>
                <a:gd name="T9" fmla="*/ 15 h 50"/>
                <a:gd name="T10" fmla="*/ 51 w 58"/>
                <a:gd name="T11" fmla="*/ 11 h 50"/>
                <a:gd name="T12" fmla="*/ 53 w 58"/>
                <a:gd name="T13" fmla="*/ 9 h 50"/>
                <a:gd name="T14" fmla="*/ 49 w 58"/>
                <a:gd name="T15" fmla="*/ 7 h 50"/>
                <a:gd name="T16" fmla="*/ 47 w 58"/>
                <a:gd name="T17" fmla="*/ 9 h 50"/>
                <a:gd name="T18" fmla="*/ 45 w 58"/>
                <a:gd name="T19" fmla="*/ 7 h 50"/>
                <a:gd name="T20" fmla="*/ 43 w 58"/>
                <a:gd name="T21" fmla="*/ 2 h 50"/>
                <a:gd name="T22" fmla="*/ 39 w 58"/>
                <a:gd name="T23" fmla="*/ 2 h 50"/>
                <a:gd name="T24" fmla="*/ 35 w 58"/>
                <a:gd name="T25" fmla="*/ 2 h 50"/>
                <a:gd name="T26" fmla="*/ 31 w 58"/>
                <a:gd name="T27" fmla="*/ 2 h 50"/>
                <a:gd name="T28" fmla="*/ 29 w 58"/>
                <a:gd name="T29" fmla="*/ 0 h 50"/>
                <a:gd name="T30" fmla="*/ 25 w 58"/>
                <a:gd name="T31" fmla="*/ 2 h 50"/>
                <a:gd name="T32" fmla="*/ 23 w 58"/>
                <a:gd name="T33" fmla="*/ 2 h 50"/>
                <a:gd name="T34" fmla="*/ 17 w 58"/>
                <a:gd name="T35" fmla="*/ 0 h 50"/>
                <a:gd name="T36" fmla="*/ 10 w 58"/>
                <a:gd name="T37" fmla="*/ 2 h 50"/>
                <a:gd name="T38" fmla="*/ 6 w 58"/>
                <a:gd name="T39" fmla="*/ 2 h 50"/>
                <a:gd name="T40" fmla="*/ 2 w 58"/>
                <a:gd name="T41" fmla="*/ 0 h 50"/>
                <a:gd name="T42" fmla="*/ 0 w 58"/>
                <a:gd name="T43" fmla="*/ 5 h 50"/>
                <a:gd name="T44" fmla="*/ 2 w 58"/>
                <a:gd name="T45" fmla="*/ 11 h 50"/>
                <a:gd name="T46" fmla="*/ 6 w 58"/>
                <a:gd name="T47" fmla="*/ 15 h 50"/>
                <a:gd name="T48" fmla="*/ 8 w 58"/>
                <a:gd name="T49" fmla="*/ 21 h 50"/>
                <a:gd name="T50" fmla="*/ 12 w 58"/>
                <a:gd name="T51" fmla="*/ 25 h 50"/>
                <a:gd name="T52" fmla="*/ 19 w 58"/>
                <a:gd name="T53" fmla="*/ 29 h 50"/>
                <a:gd name="T54" fmla="*/ 23 w 58"/>
                <a:gd name="T55" fmla="*/ 33 h 50"/>
                <a:gd name="T56" fmla="*/ 25 w 58"/>
                <a:gd name="T57" fmla="*/ 37 h 50"/>
                <a:gd name="T58" fmla="*/ 29 w 58"/>
                <a:gd name="T59" fmla="*/ 42 h 50"/>
                <a:gd name="T60" fmla="*/ 29 w 58"/>
                <a:gd name="T61" fmla="*/ 44 h 50"/>
                <a:gd name="T62" fmla="*/ 33 w 58"/>
                <a:gd name="T63" fmla="*/ 44 h 50"/>
                <a:gd name="T64" fmla="*/ 37 w 58"/>
                <a:gd name="T65" fmla="*/ 48 h 50"/>
                <a:gd name="T66" fmla="*/ 41 w 58"/>
                <a:gd name="T67" fmla="*/ 50 h 50"/>
                <a:gd name="T68" fmla="*/ 43 w 58"/>
                <a:gd name="T69" fmla="*/ 48 h 50"/>
                <a:gd name="T70" fmla="*/ 41 w 58"/>
                <a:gd name="T71" fmla="*/ 46 h 50"/>
                <a:gd name="T72" fmla="*/ 41 w 58"/>
                <a:gd name="T73" fmla="*/ 42 h 50"/>
                <a:gd name="T74" fmla="*/ 43 w 58"/>
                <a:gd name="T75" fmla="*/ 39 h 50"/>
                <a:gd name="T76" fmla="*/ 45 w 58"/>
                <a:gd name="T77" fmla="*/ 37 h 50"/>
                <a:gd name="T78" fmla="*/ 47 w 58"/>
                <a:gd name="T79" fmla="*/ 35 h 50"/>
                <a:gd name="T80" fmla="*/ 49 w 58"/>
                <a:gd name="T81" fmla="*/ 35 h 50"/>
                <a:gd name="T82" fmla="*/ 47 w 58"/>
                <a:gd name="T83" fmla="*/ 33 h 50"/>
                <a:gd name="T84" fmla="*/ 49 w 58"/>
                <a:gd name="T85" fmla="*/ 31 h 50"/>
                <a:gd name="T86" fmla="*/ 51 w 58"/>
                <a:gd name="T87" fmla="*/ 31 h 50"/>
                <a:gd name="T88" fmla="*/ 53 w 58"/>
                <a:gd name="T89" fmla="*/ 31 h 50"/>
                <a:gd name="T90" fmla="*/ 56 w 58"/>
                <a:gd name="T91" fmla="*/ 31 h 50"/>
                <a:gd name="T92" fmla="*/ 56 w 58"/>
                <a:gd name="T93" fmla="*/ 29 h 50"/>
                <a:gd name="T94" fmla="*/ 51 w 58"/>
                <a:gd name="T95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8" h="50">
                  <a:moveTo>
                    <a:pt x="53" y="23"/>
                  </a:moveTo>
                  <a:lnTo>
                    <a:pt x="53" y="23"/>
                  </a:lnTo>
                  <a:lnTo>
                    <a:pt x="56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6" y="23"/>
                  </a:lnTo>
                  <a:lnTo>
                    <a:pt x="56" y="21"/>
                  </a:lnTo>
                  <a:lnTo>
                    <a:pt x="53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49" y="15"/>
                  </a:lnTo>
                  <a:lnTo>
                    <a:pt x="51" y="15"/>
                  </a:lnTo>
                  <a:lnTo>
                    <a:pt x="51" y="13"/>
                  </a:lnTo>
                  <a:lnTo>
                    <a:pt x="51" y="11"/>
                  </a:lnTo>
                  <a:lnTo>
                    <a:pt x="53" y="11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1" y="7"/>
                  </a:lnTo>
                  <a:lnTo>
                    <a:pt x="49" y="7"/>
                  </a:lnTo>
                  <a:lnTo>
                    <a:pt x="49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5" y="9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3" y="5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9" y="2"/>
                  </a:lnTo>
                  <a:lnTo>
                    <a:pt x="29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2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5"/>
                  </a:lnTo>
                  <a:lnTo>
                    <a:pt x="8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8" y="19"/>
                  </a:lnTo>
                  <a:lnTo>
                    <a:pt x="8" y="21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2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9" y="29"/>
                  </a:lnTo>
                  <a:lnTo>
                    <a:pt x="21" y="31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7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3" y="46"/>
                  </a:lnTo>
                  <a:lnTo>
                    <a:pt x="35" y="46"/>
                  </a:lnTo>
                  <a:lnTo>
                    <a:pt x="37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1" y="46"/>
                  </a:lnTo>
                  <a:lnTo>
                    <a:pt x="41" y="44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3" y="42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43" y="37"/>
                  </a:lnTo>
                  <a:lnTo>
                    <a:pt x="45" y="37"/>
                  </a:lnTo>
                  <a:lnTo>
                    <a:pt x="45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9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3" y="27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3" y="23"/>
                  </a:lnTo>
                  <a:lnTo>
                    <a:pt x="53" y="2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3" name="Freeform 230">
              <a:extLst>
                <a:ext uri="{FF2B5EF4-FFF2-40B4-BE49-F238E27FC236}">
                  <a16:creationId xmlns:a16="http://schemas.microsoft.com/office/drawing/2014/main" id="{D3808F0E-7073-7D47-BD27-0A8E6AA46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6671" y="2316409"/>
              <a:ext cx="153302" cy="99825"/>
            </a:xfrm>
            <a:custGeom>
              <a:avLst/>
              <a:gdLst>
                <a:gd name="T0" fmla="*/ 123 w 129"/>
                <a:gd name="T1" fmla="*/ 43 h 84"/>
                <a:gd name="T2" fmla="*/ 115 w 129"/>
                <a:gd name="T3" fmla="*/ 41 h 84"/>
                <a:gd name="T4" fmla="*/ 113 w 129"/>
                <a:gd name="T5" fmla="*/ 35 h 84"/>
                <a:gd name="T6" fmla="*/ 104 w 129"/>
                <a:gd name="T7" fmla="*/ 29 h 84"/>
                <a:gd name="T8" fmla="*/ 98 w 129"/>
                <a:gd name="T9" fmla="*/ 23 h 84"/>
                <a:gd name="T10" fmla="*/ 100 w 129"/>
                <a:gd name="T11" fmla="*/ 17 h 84"/>
                <a:gd name="T12" fmla="*/ 98 w 129"/>
                <a:gd name="T13" fmla="*/ 12 h 84"/>
                <a:gd name="T14" fmla="*/ 96 w 129"/>
                <a:gd name="T15" fmla="*/ 8 h 84"/>
                <a:gd name="T16" fmla="*/ 90 w 129"/>
                <a:gd name="T17" fmla="*/ 6 h 84"/>
                <a:gd name="T18" fmla="*/ 82 w 129"/>
                <a:gd name="T19" fmla="*/ 6 h 84"/>
                <a:gd name="T20" fmla="*/ 78 w 129"/>
                <a:gd name="T21" fmla="*/ 4 h 84"/>
                <a:gd name="T22" fmla="*/ 72 w 129"/>
                <a:gd name="T23" fmla="*/ 2 h 84"/>
                <a:gd name="T24" fmla="*/ 63 w 129"/>
                <a:gd name="T25" fmla="*/ 0 h 84"/>
                <a:gd name="T26" fmla="*/ 59 w 129"/>
                <a:gd name="T27" fmla="*/ 0 h 84"/>
                <a:gd name="T28" fmla="*/ 51 w 129"/>
                <a:gd name="T29" fmla="*/ 6 h 84"/>
                <a:gd name="T30" fmla="*/ 43 w 129"/>
                <a:gd name="T31" fmla="*/ 8 h 84"/>
                <a:gd name="T32" fmla="*/ 39 w 129"/>
                <a:gd name="T33" fmla="*/ 15 h 84"/>
                <a:gd name="T34" fmla="*/ 43 w 129"/>
                <a:gd name="T35" fmla="*/ 17 h 84"/>
                <a:gd name="T36" fmla="*/ 37 w 129"/>
                <a:gd name="T37" fmla="*/ 19 h 84"/>
                <a:gd name="T38" fmla="*/ 31 w 129"/>
                <a:gd name="T39" fmla="*/ 23 h 84"/>
                <a:gd name="T40" fmla="*/ 28 w 129"/>
                <a:gd name="T41" fmla="*/ 29 h 84"/>
                <a:gd name="T42" fmla="*/ 31 w 129"/>
                <a:gd name="T43" fmla="*/ 33 h 84"/>
                <a:gd name="T44" fmla="*/ 28 w 129"/>
                <a:gd name="T45" fmla="*/ 35 h 84"/>
                <a:gd name="T46" fmla="*/ 24 w 129"/>
                <a:gd name="T47" fmla="*/ 33 h 84"/>
                <a:gd name="T48" fmla="*/ 18 w 129"/>
                <a:gd name="T49" fmla="*/ 37 h 84"/>
                <a:gd name="T50" fmla="*/ 10 w 129"/>
                <a:gd name="T51" fmla="*/ 39 h 84"/>
                <a:gd name="T52" fmla="*/ 2 w 129"/>
                <a:gd name="T53" fmla="*/ 39 h 84"/>
                <a:gd name="T54" fmla="*/ 8 w 129"/>
                <a:gd name="T55" fmla="*/ 56 h 84"/>
                <a:gd name="T56" fmla="*/ 2 w 129"/>
                <a:gd name="T57" fmla="*/ 64 h 84"/>
                <a:gd name="T58" fmla="*/ 2 w 129"/>
                <a:gd name="T59" fmla="*/ 68 h 84"/>
                <a:gd name="T60" fmla="*/ 6 w 129"/>
                <a:gd name="T61" fmla="*/ 72 h 84"/>
                <a:gd name="T62" fmla="*/ 6 w 129"/>
                <a:gd name="T63" fmla="*/ 80 h 84"/>
                <a:gd name="T64" fmla="*/ 10 w 129"/>
                <a:gd name="T65" fmla="*/ 78 h 84"/>
                <a:gd name="T66" fmla="*/ 16 w 129"/>
                <a:gd name="T67" fmla="*/ 74 h 84"/>
                <a:gd name="T68" fmla="*/ 26 w 129"/>
                <a:gd name="T69" fmla="*/ 74 h 84"/>
                <a:gd name="T70" fmla="*/ 45 w 129"/>
                <a:gd name="T71" fmla="*/ 74 h 84"/>
                <a:gd name="T72" fmla="*/ 55 w 129"/>
                <a:gd name="T73" fmla="*/ 76 h 84"/>
                <a:gd name="T74" fmla="*/ 63 w 129"/>
                <a:gd name="T75" fmla="*/ 80 h 84"/>
                <a:gd name="T76" fmla="*/ 65 w 129"/>
                <a:gd name="T77" fmla="*/ 80 h 84"/>
                <a:gd name="T78" fmla="*/ 74 w 129"/>
                <a:gd name="T79" fmla="*/ 80 h 84"/>
                <a:gd name="T80" fmla="*/ 78 w 129"/>
                <a:gd name="T81" fmla="*/ 80 h 84"/>
                <a:gd name="T82" fmla="*/ 82 w 129"/>
                <a:gd name="T83" fmla="*/ 78 h 84"/>
                <a:gd name="T84" fmla="*/ 88 w 129"/>
                <a:gd name="T85" fmla="*/ 82 h 84"/>
                <a:gd name="T86" fmla="*/ 98 w 129"/>
                <a:gd name="T87" fmla="*/ 82 h 84"/>
                <a:gd name="T88" fmla="*/ 104 w 129"/>
                <a:gd name="T89" fmla="*/ 84 h 84"/>
                <a:gd name="T90" fmla="*/ 102 w 129"/>
                <a:gd name="T91" fmla="*/ 76 h 84"/>
                <a:gd name="T92" fmla="*/ 111 w 129"/>
                <a:gd name="T93" fmla="*/ 72 h 84"/>
                <a:gd name="T94" fmla="*/ 117 w 129"/>
                <a:gd name="T95" fmla="*/ 68 h 84"/>
                <a:gd name="T96" fmla="*/ 115 w 129"/>
                <a:gd name="T97" fmla="*/ 62 h 84"/>
                <a:gd name="T98" fmla="*/ 113 w 129"/>
                <a:gd name="T99" fmla="*/ 58 h 84"/>
                <a:gd name="T100" fmla="*/ 111 w 129"/>
                <a:gd name="T101" fmla="*/ 52 h 84"/>
                <a:gd name="T102" fmla="*/ 117 w 129"/>
                <a:gd name="T103" fmla="*/ 54 h 84"/>
                <a:gd name="T104" fmla="*/ 127 w 129"/>
                <a:gd name="T105" fmla="*/ 4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9" h="84">
                  <a:moveTo>
                    <a:pt x="129" y="47"/>
                  </a:moveTo>
                  <a:lnTo>
                    <a:pt x="129" y="47"/>
                  </a:lnTo>
                  <a:lnTo>
                    <a:pt x="127" y="47"/>
                  </a:lnTo>
                  <a:lnTo>
                    <a:pt x="125" y="45"/>
                  </a:lnTo>
                  <a:lnTo>
                    <a:pt x="125" y="45"/>
                  </a:lnTo>
                  <a:lnTo>
                    <a:pt x="123" y="43"/>
                  </a:lnTo>
                  <a:lnTo>
                    <a:pt x="125" y="43"/>
                  </a:lnTo>
                  <a:lnTo>
                    <a:pt x="125" y="43"/>
                  </a:lnTo>
                  <a:lnTo>
                    <a:pt x="121" y="41"/>
                  </a:lnTo>
                  <a:lnTo>
                    <a:pt x="117" y="41"/>
                  </a:lnTo>
                  <a:lnTo>
                    <a:pt x="115" y="41"/>
                  </a:lnTo>
                  <a:lnTo>
                    <a:pt x="115" y="41"/>
                  </a:lnTo>
                  <a:lnTo>
                    <a:pt x="115" y="39"/>
                  </a:lnTo>
                  <a:lnTo>
                    <a:pt x="115" y="39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3" y="35"/>
                  </a:lnTo>
                  <a:lnTo>
                    <a:pt x="109" y="33"/>
                  </a:lnTo>
                  <a:lnTo>
                    <a:pt x="106" y="33"/>
                  </a:lnTo>
                  <a:lnTo>
                    <a:pt x="106" y="31"/>
                  </a:lnTo>
                  <a:lnTo>
                    <a:pt x="104" y="29"/>
                  </a:lnTo>
                  <a:lnTo>
                    <a:pt x="104" y="29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2" y="25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1"/>
                  </a:lnTo>
                  <a:lnTo>
                    <a:pt x="100" y="21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17"/>
                  </a:lnTo>
                  <a:lnTo>
                    <a:pt x="98" y="17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2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0" y="6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5" y="0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7" y="2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6"/>
                  </a:lnTo>
                  <a:lnTo>
                    <a:pt x="47" y="6"/>
                  </a:lnTo>
                  <a:lnTo>
                    <a:pt x="45" y="6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10"/>
                  </a:lnTo>
                  <a:lnTo>
                    <a:pt x="41" y="12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41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1" y="19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5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28" y="29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31" y="31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3" y="33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1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6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0" y="35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6" y="37"/>
                  </a:lnTo>
                  <a:lnTo>
                    <a:pt x="14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6" y="39"/>
                  </a:lnTo>
                  <a:lnTo>
                    <a:pt x="4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4" y="43"/>
                  </a:lnTo>
                  <a:lnTo>
                    <a:pt x="6" y="49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8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2"/>
                  </a:lnTo>
                  <a:lnTo>
                    <a:pt x="2" y="64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68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6" y="70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4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0" y="80"/>
                  </a:lnTo>
                  <a:lnTo>
                    <a:pt x="12" y="80"/>
                  </a:lnTo>
                  <a:lnTo>
                    <a:pt x="14" y="78"/>
                  </a:lnTo>
                  <a:lnTo>
                    <a:pt x="14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2" y="74"/>
                  </a:lnTo>
                  <a:lnTo>
                    <a:pt x="24" y="74"/>
                  </a:lnTo>
                  <a:lnTo>
                    <a:pt x="26" y="74"/>
                  </a:lnTo>
                  <a:lnTo>
                    <a:pt x="28" y="74"/>
                  </a:lnTo>
                  <a:lnTo>
                    <a:pt x="33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43" y="74"/>
                  </a:lnTo>
                  <a:lnTo>
                    <a:pt x="45" y="74"/>
                  </a:lnTo>
                  <a:lnTo>
                    <a:pt x="45" y="76"/>
                  </a:lnTo>
                  <a:lnTo>
                    <a:pt x="47" y="76"/>
                  </a:lnTo>
                  <a:lnTo>
                    <a:pt x="49" y="76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5" y="76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63" y="80"/>
                  </a:lnTo>
                  <a:lnTo>
                    <a:pt x="63" y="80"/>
                  </a:lnTo>
                  <a:lnTo>
                    <a:pt x="63" y="82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70" y="80"/>
                  </a:lnTo>
                  <a:lnTo>
                    <a:pt x="70" y="78"/>
                  </a:lnTo>
                  <a:lnTo>
                    <a:pt x="72" y="80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6" y="80"/>
                  </a:lnTo>
                  <a:lnTo>
                    <a:pt x="76" y="82"/>
                  </a:lnTo>
                  <a:lnTo>
                    <a:pt x="78" y="82"/>
                  </a:lnTo>
                  <a:lnTo>
                    <a:pt x="78" y="82"/>
                  </a:lnTo>
                  <a:lnTo>
                    <a:pt x="78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2" y="80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90" y="82"/>
                  </a:lnTo>
                  <a:lnTo>
                    <a:pt x="94" y="82"/>
                  </a:lnTo>
                  <a:lnTo>
                    <a:pt x="96" y="82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100" y="82"/>
                  </a:lnTo>
                  <a:lnTo>
                    <a:pt x="100" y="84"/>
                  </a:lnTo>
                  <a:lnTo>
                    <a:pt x="102" y="84"/>
                  </a:lnTo>
                  <a:lnTo>
                    <a:pt x="102" y="84"/>
                  </a:lnTo>
                  <a:lnTo>
                    <a:pt x="102" y="84"/>
                  </a:lnTo>
                  <a:lnTo>
                    <a:pt x="104" y="84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78"/>
                  </a:lnTo>
                  <a:lnTo>
                    <a:pt x="102" y="76"/>
                  </a:lnTo>
                  <a:lnTo>
                    <a:pt x="104" y="76"/>
                  </a:lnTo>
                  <a:lnTo>
                    <a:pt x="104" y="74"/>
                  </a:lnTo>
                  <a:lnTo>
                    <a:pt x="106" y="74"/>
                  </a:lnTo>
                  <a:lnTo>
                    <a:pt x="106" y="72"/>
                  </a:lnTo>
                  <a:lnTo>
                    <a:pt x="109" y="70"/>
                  </a:lnTo>
                  <a:lnTo>
                    <a:pt x="111" y="72"/>
                  </a:lnTo>
                  <a:lnTo>
                    <a:pt x="111" y="72"/>
                  </a:lnTo>
                  <a:lnTo>
                    <a:pt x="113" y="70"/>
                  </a:lnTo>
                  <a:lnTo>
                    <a:pt x="115" y="70"/>
                  </a:lnTo>
                  <a:lnTo>
                    <a:pt x="119" y="70"/>
                  </a:lnTo>
                  <a:lnTo>
                    <a:pt x="119" y="70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15" y="68"/>
                  </a:lnTo>
                  <a:lnTo>
                    <a:pt x="115" y="66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13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1" y="56"/>
                  </a:lnTo>
                  <a:lnTo>
                    <a:pt x="111" y="56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3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7" y="52"/>
                  </a:lnTo>
                  <a:lnTo>
                    <a:pt x="117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3" y="52"/>
                  </a:lnTo>
                  <a:lnTo>
                    <a:pt x="125" y="52"/>
                  </a:lnTo>
                  <a:lnTo>
                    <a:pt x="125" y="49"/>
                  </a:lnTo>
                  <a:lnTo>
                    <a:pt x="127" y="49"/>
                  </a:lnTo>
                  <a:lnTo>
                    <a:pt x="127" y="49"/>
                  </a:lnTo>
                  <a:lnTo>
                    <a:pt x="129" y="49"/>
                  </a:lnTo>
                  <a:lnTo>
                    <a:pt x="129" y="4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4" name="Freeform 233">
              <a:extLst>
                <a:ext uri="{FF2B5EF4-FFF2-40B4-BE49-F238E27FC236}">
                  <a16:creationId xmlns:a16="http://schemas.microsoft.com/office/drawing/2014/main" id="{C9F0CD4F-6DD9-9E4B-823C-9220481EF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2634" y="2959326"/>
              <a:ext cx="2377" cy="9507"/>
            </a:xfrm>
            <a:custGeom>
              <a:avLst/>
              <a:gdLst>
                <a:gd name="T0" fmla="*/ 2 w 2"/>
                <a:gd name="T1" fmla="*/ 4 h 8"/>
                <a:gd name="T2" fmla="*/ 2 w 2"/>
                <a:gd name="T3" fmla="*/ 2 h 8"/>
                <a:gd name="T4" fmla="*/ 2 w 2"/>
                <a:gd name="T5" fmla="*/ 0 h 8"/>
                <a:gd name="T6" fmla="*/ 2 w 2"/>
                <a:gd name="T7" fmla="*/ 0 h 8"/>
                <a:gd name="T8" fmla="*/ 2 w 2"/>
                <a:gd name="T9" fmla="*/ 0 h 8"/>
                <a:gd name="T10" fmla="*/ 0 w 2"/>
                <a:gd name="T11" fmla="*/ 0 h 8"/>
                <a:gd name="T12" fmla="*/ 0 w 2"/>
                <a:gd name="T13" fmla="*/ 0 h 8"/>
                <a:gd name="T14" fmla="*/ 0 w 2"/>
                <a:gd name="T15" fmla="*/ 2 h 8"/>
                <a:gd name="T16" fmla="*/ 0 w 2"/>
                <a:gd name="T17" fmla="*/ 4 h 8"/>
                <a:gd name="T18" fmla="*/ 2 w 2"/>
                <a:gd name="T19" fmla="*/ 6 h 8"/>
                <a:gd name="T20" fmla="*/ 2 w 2"/>
                <a:gd name="T21" fmla="*/ 8 h 8"/>
                <a:gd name="T22" fmla="*/ 2 w 2"/>
                <a:gd name="T23" fmla="*/ 6 h 8"/>
                <a:gd name="T24" fmla="*/ 2 w 2"/>
                <a:gd name="T2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" h="8">
                  <a:moveTo>
                    <a:pt x="2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5" name="Freeform 235">
              <a:extLst>
                <a:ext uri="{FF2B5EF4-FFF2-40B4-BE49-F238E27FC236}">
                  <a16:creationId xmlns:a16="http://schemas.microsoft.com/office/drawing/2014/main" id="{C14D8303-9E78-3940-88CD-8F8F8C499D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3592" y="2617071"/>
              <a:ext cx="101013" cy="76057"/>
            </a:xfrm>
            <a:custGeom>
              <a:avLst/>
              <a:gdLst>
                <a:gd name="T0" fmla="*/ 19 w 85"/>
                <a:gd name="T1" fmla="*/ 45 h 64"/>
                <a:gd name="T2" fmla="*/ 17 w 85"/>
                <a:gd name="T3" fmla="*/ 41 h 64"/>
                <a:gd name="T4" fmla="*/ 11 w 85"/>
                <a:gd name="T5" fmla="*/ 41 h 64"/>
                <a:gd name="T6" fmla="*/ 7 w 85"/>
                <a:gd name="T7" fmla="*/ 39 h 64"/>
                <a:gd name="T8" fmla="*/ 2 w 85"/>
                <a:gd name="T9" fmla="*/ 39 h 64"/>
                <a:gd name="T10" fmla="*/ 9 w 85"/>
                <a:gd name="T11" fmla="*/ 45 h 64"/>
                <a:gd name="T12" fmla="*/ 13 w 85"/>
                <a:gd name="T13" fmla="*/ 49 h 64"/>
                <a:gd name="T14" fmla="*/ 23 w 85"/>
                <a:gd name="T15" fmla="*/ 54 h 64"/>
                <a:gd name="T16" fmla="*/ 0 w 85"/>
                <a:gd name="T17" fmla="*/ 14 h 64"/>
                <a:gd name="T18" fmla="*/ 2 w 85"/>
                <a:gd name="T19" fmla="*/ 17 h 64"/>
                <a:gd name="T20" fmla="*/ 13 w 85"/>
                <a:gd name="T21" fmla="*/ 35 h 64"/>
                <a:gd name="T22" fmla="*/ 13 w 85"/>
                <a:gd name="T23" fmla="*/ 35 h 64"/>
                <a:gd name="T24" fmla="*/ 76 w 85"/>
                <a:gd name="T25" fmla="*/ 25 h 64"/>
                <a:gd name="T26" fmla="*/ 68 w 85"/>
                <a:gd name="T27" fmla="*/ 21 h 64"/>
                <a:gd name="T28" fmla="*/ 60 w 85"/>
                <a:gd name="T29" fmla="*/ 10 h 64"/>
                <a:gd name="T30" fmla="*/ 50 w 85"/>
                <a:gd name="T31" fmla="*/ 4 h 64"/>
                <a:gd name="T32" fmla="*/ 46 w 85"/>
                <a:gd name="T33" fmla="*/ 10 h 64"/>
                <a:gd name="T34" fmla="*/ 35 w 85"/>
                <a:gd name="T35" fmla="*/ 12 h 64"/>
                <a:gd name="T36" fmla="*/ 29 w 85"/>
                <a:gd name="T37" fmla="*/ 6 h 64"/>
                <a:gd name="T38" fmla="*/ 25 w 85"/>
                <a:gd name="T39" fmla="*/ 2 h 64"/>
                <a:gd name="T40" fmla="*/ 21 w 85"/>
                <a:gd name="T41" fmla="*/ 0 h 64"/>
                <a:gd name="T42" fmla="*/ 17 w 85"/>
                <a:gd name="T43" fmla="*/ 4 h 64"/>
                <a:gd name="T44" fmla="*/ 19 w 85"/>
                <a:gd name="T45" fmla="*/ 6 h 64"/>
                <a:gd name="T46" fmla="*/ 25 w 85"/>
                <a:gd name="T47" fmla="*/ 12 h 64"/>
                <a:gd name="T48" fmla="*/ 23 w 85"/>
                <a:gd name="T49" fmla="*/ 17 h 64"/>
                <a:gd name="T50" fmla="*/ 17 w 85"/>
                <a:gd name="T51" fmla="*/ 14 h 64"/>
                <a:gd name="T52" fmla="*/ 11 w 85"/>
                <a:gd name="T53" fmla="*/ 10 h 64"/>
                <a:gd name="T54" fmla="*/ 0 w 85"/>
                <a:gd name="T55" fmla="*/ 12 h 64"/>
                <a:gd name="T56" fmla="*/ 2 w 85"/>
                <a:gd name="T57" fmla="*/ 14 h 64"/>
                <a:gd name="T58" fmla="*/ 7 w 85"/>
                <a:gd name="T59" fmla="*/ 17 h 64"/>
                <a:gd name="T60" fmla="*/ 11 w 85"/>
                <a:gd name="T61" fmla="*/ 21 h 64"/>
                <a:gd name="T62" fmla="*/ 11 w 85"/>
                <a:gd name="T63" fmla="*/ 25 h 64"/>
                <a:gd name="T64" fmla="*/ 19 w 85"/>
                <a:gd name="T65" fmla="*/ 33 h 64"/>
                <a:gd name="T66" fmla="*/ 17 w 85"/>
                <a:gd name="T67" fmla="*/ 35 h 64"/>
                <a:gd name="T68" fmla="*/ 23 w 85"/>
                <a:gd name="T69" fmla="*/ 41 h 64"/>
                <a:gd name="T70" fmla="*/ 27 w 85"/>
                <a:gd name="T71" fmla="*/ 43 h 64"/>
                <a:gd name="T72" fmla="*/ 29 w 85"/>
                <a:gd name="T73" fmla="*/ 47 h 64"/>
                <a:gd name="T74" fmla="*/ 27 w 85"/>
                <a:gd name="T75" fmla="*/ 49 h 64"/>
                <a:gd name="T76" fmla="*/ 29 w 85"/>
                <a:gd name="T77" fmla="*/ 54 h 64"/>
                <a:gd name="T78" fmla="*/ 37 w 85"/>
                <a:gd name="T79" fmla="*/ 47 h 64"/>
                <a:gd name="T80" fmla="*/ 48 w 85"/>
                <a:gd name="T81" fmla="*/ 39 h 64"/>
                <a:gd name="T82" fmla="*/ 56 w 85"/>
                <a:gd name="T83" fmla="*/ 45 h 64"/>
                <a:gd name="T84" fmla="*/ 54 w 85"/>
                <a:gd name="T85" fmla="*/ 47 h 64"/>
                <a:gd name="T86" fmla="*/ 56 w 85"/>
                <a:gd name="T87" fmla="*/ 51 h 64"/>
                <a:gd name="T88" fmla="*/ 52 w 85"/>
                <a:gd name="T89" fmla="*/ 54 h 64"/>
                <a:gd name="T90" fmla="*/ 56 w 85"/>
                <a:gd name="T91" fmla="*/ 58 h 64"/>
                <a:gd name="T92" fmla="*/ 62 w 85"/>
                <a:gd name="T93" fmla="*/ 64 h 64"/>
                <a:gd name="T94" fmla="*/ 66 w 85"/>
                <a:gd name="T95" fmla="*/ 54 h 64"/>
                <a:gd name="T96" fmla="*/ 68 w 85"/>
                <a:gd name="T97" fmla="*/ 51 h 64"/>
                <a:gd name="T98" fmla="*/ 72 w 85"/>
                <a:gd name="T99" fmla="*/ 45 h 64"/>
                <a:gd name="T100" fmla="*/ 70 w 85"/>
                <a:gd name="T101" fmla="*/ 33 h 64"/>
                <a:gd name="T102" fmla="*/ 80 w 85"/>
                <a:gd name="T103" fmla="*/ 29 h 64"/>
                <a:gd name="T104" fmla="*/ 11 w 85"/>
                <a:gd name="T105" fmla="*/ 25 h 64"/>
                <a:gd name="T106" fmla="*/ 11 w 85"/>
                <a:gd name="T107" fmla="*/ 2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" h="64">
                  <a:moveTo>
                    <a:pt x="23" y="51"/>
                  </a:moveTo>
                  <a:lnTo>
                    <a:pt x="21" y="49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19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3" y="43"/>
                  </a:lnTo>
                  <a:lnTo>
                    <a:pt x="11" y="43"/>
                  </a:lnTo>
                  <a:lnTo>
                    <a:pt x="11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4" y="37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41"/>
                  </a:lnTo>
                  <a:lnTo>
                    <a:pt x="7" y="43"/>
                  </a:lnTo>
                  <a:lnTo>
                    <a:pt x="7" y="45"/>
                  </a:lnTo>
                  <a:lnTo>
                    <a:pt x="9" y="45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3" y="49"/>
                  </a:lnTo>
                  <a:lnTo>
                    <a:pt x="15" y="51"/>
                  </a:lnTo>
                  <a:lnTo>
                    <a:pt x="15" y="54"/>
                  </a:lnTo>
                  <a:lnTo>
                    <a:pt x="21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1"/>
                  </a:lnTo>
                  <a:close/>
                  <a:moveTo>
                    <a:pt x="2" y="17"/>
                  </a:moveTo>
                  <a:lnTo>
                    <a:pt x="2" y="17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7"/>
                  </a:lnTo>
                  <a:close/>
                  <a:moveTo>
                    <a:pt x="13" y="35"/>
                  </a:moveTo>
                  <a:lnTo>
                    <a:pt x="13" y="35"/>
                  </a:lnTo>
                  <a:lnTo>
                    <a:pt x="13" y="33"/>
                  </a:lnTo>
                  <a:lnTo>
                    <a:pt x="13" y="35"/>
                  </a:lnTo>
                  <a:close/>
                  <a:moveTo>
                    <a:pt x="13" y="35"/>
                  </a:moveTo>
                  <a:lnTo>
                    <a:pt x="13" y="35"/>
                  </a:lnTo>
                  <a:lnTo>
                    <a:pt x="13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3" y="35"/>
                  </a:lnTo>
                  <a:close/>
                  <a:moveTo>
                    <a:pt x="82" y="27"/>
                  </a:moveTo>
                  <a:lnTo>
                    <a:pt x="80" y="27"/>
                  </a:lnTo>
                  <a:lnTo>
                    <a:pt x="80" y="27"/>
                  </a:lnTo>
                  <a:lnTo>
                    <a:pt x="78" y="25"/>
                  </a:lnTo>
                  <a:lnTo>
                    <a:pt x="76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2" y="25"/>
                  </a:lnTo>
                  <a:lnTo>
                    <a:pt x="70" y="23"/>
                  </a:lnTo>
                  <a:lnTo>
                    <a:pt x="68" y="21"/>
                  </a:lnTo>
                  <a:lnTo>
                    <a:pt x="64" y="17"/>
                  </a:lnTo>
                  <a:lnTo>
                    <a:pt x="64" y="14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0" y="10"/>
                  </a:lnTo>
                  <a:lnTo>
                    <a:pt x="56" y="6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10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5" y="12"/>
                  </a:lnTo>
                  <a:lnTo>
                    <a:pt x="35" y="10"/>
                  </a:lnTo>
                  <a:lnTo>
                    <a:pt x="33" y="8"/>
                  </a:lnTo>
                  <a:lnTo>
                    <a:pt x="31" y="8"/>
                  </a:lnTo>
                  <a:lnTo>
                    <a:pt x="31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3" y="10"/>
                  </a:lnTo>
                  <a:lnTo>
                    <a:pt x="25" y="10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19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5" y="14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7" y="10"/>
                  </a:lnTo>
                  <a:lnTo>
                    <a:pt x="4" y="8"/>
                  </a:lnTo>
                  <a:lnTo>
                    <a:pt x="4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9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11" y="25"/>
                  </a:lnTo>
                  <a:lnTo>
                    <a:pt x="13" y="27"/>
                  </a:lnTo>
                  <a:lnTo>
                    <a:pt x="15" y="29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5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9" y="37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7" y="41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7" y="47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9" y="49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5" y="49"/>
                  </a:lnTo>
                  <a:lnTo>
                    <a:pt x="37" y="47"/>
                  </a:lnTo>
                  <a:lnTo>
                    <a:pt x="39" y="45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3" y="41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50" y="39"/>
                  </a:lnTo>
                  <a:lnTo>
                    <a:pt x="52" y="41"/>
                  </a:lnTo>
                  <a:lnTo>
                    <a:pt x="56" y="43"/>
                  </a:lnTo>
                  <a:lnTo>
                    <a:pt x="56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9"/>
                  </a:lnTo>
                  <a:lnTo>
                    <a:pt x="56" y="49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60" y="60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6" y="56"/>
                  </a:lnTo>
                  <a:lnTo>
                    <a:pt x="66" y="56"/>
                  </a:lnTo>
                  <a:lnTo>
                    <a:pt x="66" y="54"/>
                  </a:lnTo>
                  <a:lnTo>
                    <a:pt x="66" y="51"/>
                  </a:lnTo>
                  <a:lnTo>
                    <a:pt x="66" y="49"/>
                  </a:lnTo>
                  <a:lnTo>
                    <a:pt x="68" y="49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70" y="51"/>
                  </a:lnTo>
                  <a:lnTo>
                    <a:pt x="70" y="51"/>
                  </a:lnTo>
                  <a:lnTo>
                    <a:pt x="70" y="47"/>
                  </a:lnTo>
                  <a:lnTo>
                    <a:pt x="70" y="45"/>
                  </a:lnTo>
                  <a:lnTo>
                    <a:pt x="72" y="45"/>
                  </a:lnTo>
                  <a:lnTo>
                    <a:pt x="72" y="45"/>
                  </a:lnTo>
                  <a:lnTo>
                    <a:pt x="70" y="43"/>
                  </a:lnTo>
                  <a:lnTo>
                    <a:pt x="70" y="41"/>
                  </a:lnTo>
                  <a:lnTo>
                    <a:pt x="70" y="37"/>
                  </a:lnTo>
                  <a:lnTo>
                    <a:pt x="70" y="33"/>
                  </a:lnTo>
                  <a:lnTo>
                    <a:pt x="72" y="31"/>
                  </a:lnTo>
                  <a:lnTo>
                    <a:pt x="74" y="31"/>
                  </a:lnTo>
                  <a:lnTo>
                    <a:pt x="74" y="29"/>
                  </a:lnTo>
                  <a:lnTo>
                    <a:pt x="76" y="29"/>
                  </a:lnTo>
                  <a:lnTo>
                    <a:pt x="80" y="29"/>
                  </a:lnTo>
                  <a:lnTo>
                    <a:pt x="85" y="31"/>
                  </a:lnTo>
                  <a:lnTo>
                    <a:pt x="82" y="27"/>
                  </a:lnTo>
                  <a:close/>
                  <a:moveTo>
                    <a:pt x="11" y="25"/>
                  </a:moveTo>
                  <a:lnTo>
                    <a:pt x="11" y="25"/>
                  </a:lnTo>
                  <a:lnTo>
                    <a:pt x="11" y="25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6" name="Freeform 236">
              <a:extLst>
                <a:ext uri="{FF2B5EF4-FFF2-40B4-BE49-F238E27FC236}">
                  <a16:creationId xmlns:a16="http://schemas.microsoft.com/office/drawing/2014/main" id="{7ED4EF37-A1A4-B346-A148-76B172467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9689" y="2466145"/>
              <a:ext cx="129534" cy="55854"/>
            </a:xfrm>
            <a:custGeom>
              <a:avLst/>
              <a:gdLst>
                <a:gd name="T0" fmla="*/ 104 w 109"/>
                <a:gd name="T1" fmla="*/ 10 h 47"/>
                <a:gd name="T2" fmla="*/ 107 w 109"/>
                <a:gd name="T3" fmla="*/ 6 h 47"/>
                <a:gd name="T4" fmla="*/ 100 w 109"/>
                <a:gd name="T5" fmla="*/ 4 h 47"/>
                <a:gd name="T6" fmla="*/ 96 w 109"/>
                <a:gd name="T7" fmla="*/ 4 h 47"/>
                <a:gd name="T8" fmla="*/ 86 w 109"/>
                <a:gd name="T9" fmla="*/ 2 h 47"/>
                <a:gd name="T10" fmla="*/ 80 w 109"/>
                <a:gd name="T11" fmla="*/ 2 h 47"/>
                <a:gd name="T12" fmla="*/ 78 w 109"/>
                <a:gd name="T13" fmla="*/ 4 h 47"/>
                <a:gd name="T14" fmla="*/ 74 w 109"/>
                <a:gd name="T15" fmla="*/ 8 h 47"/>
                <a:gd name="T16" fmla="*/ 68 w 109"/>
                <a:gd name="T17" fmla="*/ 8 h 47"/>
                <a:gd name="T18" fmla="*/ 61 w 109"/>
                <a:gd name="T19" fmla="*/ 4 h 47"/>
                <a:gd name="T20" fmla="*/ 61 w 109"/>
                <a:gd name="T21" fmla="*/ 8 h 47"/>
                <a:gd name="T22" fmla="*/ 57 w 109"/>
                <a:gd name="T23" fmla="*/ 8 h 47"/>
                <a:gd name="T24" fmla="*/ 53 w 109"/>
                <a:gd name="T25" fmla="*/ 12 h 47"/>
                <a:gd name="T26" fmla="*/ 47 w 109"/>
                <a:gd name="T27" fmla="*/ 16 h 47"/>
                <a:gd name="T28" fmla="*/ 49 w 109"/>
                <a:gd name="T29" fmla="*/ 22 h 47"/>
                <a:gd name="T30" fmla="*/ 51 w 109"/>
                <a:gd name="T31" fmla="*/ 24 h 47"/>
                <a:gd name="T32" fmla="*/ 47 w 109"/>
                <a:gd name="T33" fmla="*/ 26 h 47"/>
                <a:gd name="T34" fmla="*/ 45 w 109"/>
                <a:gd name="T35" fmla="*/ 24 h 47"/>
                <a:gd name="T36" fmla="*/ 41 w 109"/>
                <a:gd name="T37" fmla="*/ 22 h 47"/>
                <a:gd name="T38" fmla="*/ 39 w 109"/>
                <a:gd name="T39" fmla="*/ 24 h 47"/>
                <a:gd name="T40" fmla="*/ 26 w 109"/>
                <a:gd name="T41" fmla="*/ 26 h 47"/>
                <a:gd name="T42" fmla="*/ 22 w 109"/>
                <a:gd name="T43" fmla="*/ 28 h 47"/>
                <a:gd name="T44" fmla="*/ 20 w 109"/>
                <a:gd name="T45" fmla="*/ 26 h 47"/>
                <a:gd name="T46" fmla="*/ 14 w 109"/>
                <a:gd name="T47" fmla="*/ 26 h 47"/>
                <a:gd name="T48" fmla="*/ 10 w 109"/>
                <a:gd name="T49" fmla="*/ 30 h 47"/>
                <a:gd name="T50" fmla="*/ 8 w 109"/>
                <a:gd name="T51" fmla="*/ 28 h 47"/>
                <a:gd name="T52" fmla="*/ 6 w 109"/>
                <a:gd name="T53" fmla="*/ 26 h 47"/>
                <a:gd name="T54" fmla="*/ 0 w 109"/>
                <a:gd name="T55" fmla="*/ 26 h 47"/>
                <a:gd name="T56" fmla="*/ 2 w 109"/>
                <a:gd name="T57" fmla="*/ 30 h 47"/>
                <a:gd name="T58" fmla="*/ 2 w 109"/>
                <a:gd name="T59" fmla="*/ 32 h 47"/>
                <a:gd name="T60" fmla="*/ 4 w 109"/>
                <a:gd name="T61" fmla="*/ 35 h 47"/>
                <a:gd name="T62" fmla="*/ 10 w 109"/>
                <a:gd name="T63" fmla="*/ 39 h 47"/>
                <a:gd name="T64" fmla="*/ 14 w 109"/>
                <a:gd name="T65" fmla="*/ 39 h 47"/>
                <a:gd name="T66" fmla="*/ 20 w 109"/>
                <a:gd name="T67" fmla="*/ 39 h 47"/>
                <a:gd name="T68" fmla="*/ 24 w 109"/>
                <a:gd name="T69" fmla="*/ 37 h 47"/>
                <a:gd name="T70" fmla="*/ 33 w 109"/>
                <a:gd name="T71" fmla="*/ 37 h 47"/>
                <a:gd name="T72" fmla="*/ 39 w 109"/>
                <a:gd name="T73" fmla="*/ 35 h 47"/>
                <a:gd name="T74" fmla="*/ 41 w 109"/>
                <a:gd name="T75" fmla="*/ 41 h 47"/>
                <a:gd name="T76" fmla="*/ 47 w 109"/>
                <a:gd name="T77" fmla="*/ 43 h 47"/>
                <a:gd name="T78" fmla="*/ 61 w 109"/>
                <a:gd name="T79" fmla="*/ 45 h 47"/>
                <a:gd name="T80" fmla="*/ 70 w 109"/>
                <a:gd name="T81" fmla="*/ 45 h 47"/>
                <a:gd name="T82" fmla="*/ 74 w 109"/>
                <a:gd name="T83" fmla="*/ 47 h 47"/>
                <a:gd name="T84" fmla="*/ 78 w 109"/>
                <a:gd name="T85" fmla="*/ 43 h 47"/>
                <a:gd name="T86" fmla="*/ 86 w 109"/>
                <a:gd name="T87" fmla="*/ 43 h 47"/>
                <a:gd name="T88" fmla="*/ 92 w 109"/>
                <a:gd name="T89" fmla="*/ 41 h 47"/>
                <a:gd name="T90" fmla="*/ 94 w 109"/>
                <a:gd name="T91" fmla="*/ 39 h 47"/>
                <a:gd name="T92" fmla="*/ 100 w 109"/>
                <a:gd name="T93" fmla="*/ 35 h 47"/>
                <a:gd name="T94" fmla="*/ 100 w 109"/>
                <a:gd name="T95" fmla="*/ 32 h 47"/>
                <a:gd name="T96" fmla="*/ 100 w 109"/>
                <a:gd name="T97" fmla="*/ 28 h 47"/>
                <a:gd name="T98" fmla="*/ 102 w 109"/>
                <a:gd name="T99" fmla="*/ 26 h 47"/>
                <a:gd name="T100" fmla="*/ 100 w 109"/>
                <a:gd name="T101" fmla="*/ 22 h 47"/>
                <a:gd name="T102" fmla="*/ 104 w 109"/>
                <a:gd name="T103" fmla="*/ 24 h 47"/>
                <a:gd name="T104" fmla="*/ 109 w 109"/>
                <a:gd name="T105" fmla="*/ 22 h 47"/>
                <a:gd name="T106" fmla="*/ 109 w 109"/>
                <a:gd name="T107" fmla="*/ 1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9" h="47">
                  <a:moveTo>
                    <a:pt x="109" y="16"/>
                  </a:moveTo>
                  <a:lnTo>
                    <a:pt x="109" y="16"/>
                  </a:lnTo>
                  <a:lnTo>
                    <a:pt x="107" y="14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7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2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6" y="4"/>
                  </a:lnTo>
                  <a:lnTo>
                    <a:pt x="94" y="4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88" y="2"/>
                  </a:lnTo>
                  <a:lnTo>
                    <a:pt x="86" y="2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0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4" y="6"/>
                  </a:lnTo>
                  <a:lnTo>
                    <a:pt x="74" y="8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0" y="6"/>
                  </a:lnTo>
                  <a:lnTo>
                    <a:pt x="70" y="8"/>
                  </a:lnTo>
                  <a:lnTo>
                    <a:pt x="68" y="8"/>
                  </a:lnTo>
                  <a:lnTo>
                    <a:pt x="65" y="6"/>
                  </a:lnTo>
                  <a:lnTo>
                    <a:pt x="63" y="6"/>
                  </a:lnTo>
                  <a:lnTo>
                    <a:pt x="63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5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51" y="12"/>
                  </a:lnTo>
                  <a:lnTo>
                    <a:pt x="49" y="14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9" y="18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3" y="24"/>
                  </a:lnTo>
                  <a:lnTo>
                    <a:pt x="31" y="26"/>
                  </a:lnTo>
                  <a:lnTo>
                    <a:pt x="29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0" y="28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8" y="26"/>
                  </a:lnTo>
                  <a:lnTo>
                    <a:pt x="16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6" y="26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6" y="35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6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20" y="39"/>
                  </a:lnTo>
                  <a:lnTo>
                    <a:pt x="20" y="41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5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41" y="39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3" y="41"/>
                  </a:lnTo>
                  <a:lnTo>
                    <a:pt x="45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53" y="43"/>
                  </a:lnTo>
                  <a:lnTo>
                    <a:pt x="55" y="43"/>
                  </a:lnTo>
                  <a:lnTo>
                    <a:pt x="57" y="43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70" y="45"/>
                  </a:lnTo>
                  <a:lnTo>
                    <a:pt x="72" y="45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4" y="47"/>
                  </a:lnTo>
                  <a:lnTo>
                    <a:pt x="74" y="47"/>
                  </a:lnTo>
                  <a:lnTo>
                    <a:pt x="74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80" y="43"/>
                  </a:lnTo>
                  <a:lnTo>
                    <a:pt x="82" y="43"/>
                  </a:lnTo>
                  <a:lnTo>
                    <a:pt x="86" y="43"/>
                  </a:lnTo>
                  <a:lnTo>
                    <a:pt x="88" y="43"/>
                  </a:lnTo>
                  <a:lnTo>
                    <a:pt x="88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92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6" y="37"/>
                  </a:lnTo>
                  <a:lnTo>
                    <a:pt x="98" y="35"/>
                  </a:lnTo>
                  <a:lnTo>
                    <a:pt x="100" y="37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8" y="32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4" y="22"/>
                  </a:lnTo>
                  <a:lnTo>
                    <a:pt x="104" y="24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7" y="22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109" y="20"/>
                  </a:lnTo>
                  <a:lnTo>
                    <a:pt x="109" y="20"/>
                  </a:lnTo>
                  <a:lnTo>
                    <a:pt x="109" y="20"/>
                  </a:lnTo>
                  <a:lnTo>
                    <a:pt x="109" y="20"/>
                  </a:lnTo>
                  <a:lnTo>
                    <a:pt x="109" y="18"/>
                  </a:lnTo>
                  <a:lnTo>
                    <a:pt x="109" y="18"/>
                  </a:lnTo>
                  <a:lnTo>
                    <a:pt x="109" y="1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7" name="Freeform 239">
              <a:extLst>
                <a:ext uri="{FF2B5EF4-FFF2-40B4-BE49-F238E27FC236}">
                  <a16:creationId xmlns:a16="http://schemas.microsoft.com/office/drawing/2014/main" id="{9557A4F1-51EB-074B-B11C-A1B177C340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7448" y="2631331"/>
              <a:ext cx="60608" cy="49912"/>
            </a:xfrm>
            <a:custGeom>
              <a:avLst/>
              <a:gdLst>
                <a:gd name="T0" fmla="*/ 33 w 51"/>
                <a:gd name="T1" fmla="*/ 13 h 42"/>
                <a:gd name="T2" fmla="*/ 33 w 51"/>
                <a:gd name="T3" fmla="*/ 11 h 42"/>
                <a:gd name="T4" fmla="*/ 51 w 51"/>
                <a:gd name="T5" fmla="*/ 35 h 42"/>
                <a:gd name="T6" fmla="*/ 51 w 51"/>
                <a:gd name="T7" fmla="*/ 35 h 42"/>
                <a:gd name="T8" fmla="*/ 49 w 51"/>
                <a:gd name="T9" fmla="*/ 33 h 42"/>
                <a:gd name="T10" fmla="*/ 49 w 51"/>
                <a:gd name="T11" fmla="*/ 31 h 42"/>
                <a:gd name="T12" fmla="*/ 47 w 51"/>
                <a:gd name="T13" fmla="*/ 29 h 42"/>
                <a:gd name="T14" fmla="*/ 43 w 51"/>
                <a:gd name="T15" fmla="*/ 27 h 42"/>
                <a:gd name="T16" fmla="*/ 39 w 51"/>
                <a:gd name="T17" fmla="*/ 23 h 42"/>
                <a:gd name="T18" fmla="*/ 35 w 51"/>
                <a:gd name="T19" fmla="*/ 23 h 42"/>
                <a:gd name="T20" fmla="*/ 35 w 51"/>
                <a:gd name="T21" fmla="*/ 21 h 42"/>
                <a:gd name="T22" fmla="*/ 37 w 51"/>
                <a:gd name="T23" fmla="*/ 23 h 42"/>
                <a:gd name="T24" fmla="*/ 39 w 51"/>
                <a:gd name="T25" fmla="*/ 23 h 42"/>
                <a:gd name="T26" fmla="*/ 41 w 51"/>
                <a:gd name="T27" fmla="*/ 19 h 42"/>
                <a:gd name="T28" fmla="*/ 33 w 51"/>
                <a:gd name="T29" fmla="*/ 13 h 42"/>
                <a:gd name="T30" fmla="*/ 31 w 51"/>
                <a:gd name="T31" fmla="*/ 11 h 42"/>
                <a:gd name="T32" fmla="*/ 33 w 51"/>
                <a:gd name="T33" fmla="*/ 9 h 42"/>
                <a:gd name="T34" fmla="*/ 31 w 51"/>
                <a:gd name="T35" fmla="*/ 5 h 42"/>
                <a:gd name="T36" fmla="*/ 24 w 51"/>
                <a:gd name="T37" fmla="*/ 5 h 42"/>
                <a:gd name="T38" fmla="*/ 24 w 51"/>
                <a:gd name="T39" fmla="*/ 2 h 42"/>
                <a:gd name="T40" fmla="*/ 26 w 51"/>
                <a:gd name="T41" fmla="*/ 2 h 42"/>
                <a:gd name="T42" fmla="*/ 22 w 51"/>
                <a:gd name="T43" fmla="*/ 0 h 42"/>
                <a:gd name="T44" fmla="*/ 20 w 51"/>
                <a:gd name="T45" fmla="*/ 0 h 42"/>
                <a:gd name="T46" fmla="*/ 16 w 51"/>
                <a:gd name="T47" fmla="*/ 0 h 42"/>
                <a:gd name="T48" fmla="*/ 10 w 51"/>
                <a:gd name="T49" fmla="*/ 0 h 42"/>
                <a:gd name="T50" fmla="*/ 6 w 51"/>
                <a:gd name="T51" fmla="*/ 2 h 42"/>
                <a:gd name="T52" fmla="*/ 0 w 51"/>
                <a:gd name="T53" fmla="*/ 2 h 42"/>
                <a:gd name="T54" fmla="*/ 2 w 51"/>
                <a:gd name="T55" fmla="*/ 7 h 42"/>
                <a:gd name="T56" fmla="*/ 6 w 51"/>
                <a:gd name="T57" fmla="*/ 11 h 42"/>
                <a:gd name="T58" fmla="*/ 4 w 51"/>
                <a:gd name="T59" fmla="*/ 15 h 42"/>
                <a:gd name="T60" fmla="*/ 4 w 51"/>
                <a:gd name="T61" fmla="*/ 17 h 42"/>
                <a:gd name="T62" fmla="*/ 6 w 51"/>
                <a:gd name="T63" fmla="*/ 21 h 42"/>
                <a:gd name="T64" fmla="*/ 10 w 51"/>
                <a:gd name="T65" fmla="*/ 23 h 42"/>
                <a:gd name="T66" fmla="*/ 16 w 51"/>
                <a:gd name="T67" fmla="*/ 23 h 42"/>
                <a:gd name="T68" fmla="*/ 22 w 51"/>
                <a:gd name="T69" fmla="*/ 27 h 42"/>
                <a:gd name="T70" fmla="*/ 26 w 51"/>
                <a:gd name="T71" fmla="*/ 25 h 42"/>
                <a:gd name="T72" fmla="*/ 29 w 51"/>
                <a:gd name="T73" fmla="*/ 27 h 42"/>
                <a:gd name="T74" fmla="*/ 31 w 51"/>
                <a:gd name="T75" fmla="*/ 29 h 42"/>
                <a:gd name="T76" fmla="*/ 35 w 51"/>
                <a:gd name="T77" fmla="*/ 31 h 42"/>
                <a:gd name="T78" fmla="*/ 39 w 51"/>
                <a:gd name="T79" fmla="*/ 29 h 42"/>
                <a:gd name="T80" fmla="*/ 39 w 51"/>
                <a:gd name="T81" fmla="*/ 33 h 42"/>
                <a:gd name="T82" fmla="*/ 43 w 51"/>
                <a:gd name="T83" fmla="*/ 35 h 42"/>
                <a:gd name="T84" fmla="*/ 45 w 51"/>
                <a:gd name="T85" fmla="*/ 39 h 42"/>
                <a:gd name="T86" fmla="*/ 47 w 51"/>
                <a:gd name="T87" fmla="*/ 42 h 42"/>
                <a:gd name="T88" fmla="*/ 51 w 51"/>
                <a:gd name="T89" fmla="*/ 39 h 42"/>
                <a:gd name="T90" fmla="*/ 49 w 51"/>
                <a:gd name="T91" fmla="*/ 37 h 42"/>
                <a:gd name="T92" fmla="*/ 51 w 51"/>
                <a:gd name="T93" fmla="*/ 35 h 42"/>
                <a:gd name="T94" fmla="*/ 22 w 51"/>
                <a:gd name="T95" fmla="*/ 5 h 42"/>
                <a:gd name="T96" fmla="*/ 22 w 51"/>
                <a:gd name="T97" fmla="*/ 2 h 42"/>
                <a:gd name="T98" fmla="*/ 24 w 51"/>
                <a:gd name="T99" fmla="*/ 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" h="42">
                  <a:moveTo>
                    <a:pt x="33" y="11"/>
                  </a:moveTo>
                  <a:lnTo>
                    <a:pt x="33" y="11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close/>
                  <a:moveTo>
                    <a:pt x="51" y="35"/>
                  </a:move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49" y="29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1" y="25"/>
                  </a:lnTo>
                  <a:lnTo>
                    <a:pt x="39" y="25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37" y="17"/>
                  </a:lnTo>
                  <a:lnTo>
                    <a:pt x="35" y="15"/>
                  </a:lnTo>
                  <a:lnTo>
                    <a:pt x="33" y="13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3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8" y="21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6" y="23"/>
                  </a:lnTo>
                  <a:lnTo>
                    <a:pt x="18" y="21"/>
                  </a:lnTo>
                  <a:lnTo>
                    <a:pt x="20" y="23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6" y="25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5" y="31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31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41" y="33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7"/>
                  </a:lnTo>
                  <a:lnTo>
                    <a:pt x="45" y="39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7" y="42"/>
                  </a:lnTo>
                  <a:lnTo>
                    <a:pt x="49" y="42"/>
                  </a:lnTo>
                  <a:lnTo>
                    <a:pt x="51" y="42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1" y="37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49" y="35"/>
                  </a:lnTo>
                  <a:lnTo>
                    <a:pt x="51" y="35"/>
                  </a:lnTo>
                  <a:close/>
                  <a:moveTo>
                    <a:pt x="24" y="5"/>
                  </a:moveTo>
                  <a:lnTo>
                    <a:pt x="24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2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8" name="Freeform 243">
              <a:extLst>
                <a:ext uri="{FF2B5EF4-FFF2-40B4-BE49-F238E27FC236}">
                  <a16:creationId xmlns:a16="http://schemas.microsoft.com/office/drawing/2014/main" id="{07F61828-AEE0-4247-81B7-109075C8AD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1282" y="3628389"/>
              <a:ext cx="234112" cy="295909"/>
            </a:xfrm>
            <a:custGeom>
              <a:avLst/>
              <a:gdLst>
                <a:gd name="T0" fmla="*/ 195 w 197"/>
                <a:gd name="T1" fmla="*/ 117 h 249"/>
                <a:gd name="T2" fmla="*/ 189 w 197"/>
                <a:gd name="T3" fmla="*/ 120 h 249"/>
                <a:gd name="T4" fmla="*/ 172 w 197"/>
                <a:gd name="T5" fmla="*/ 122 h 249"/>
                <a:gd name="T6" fmla="*/ 168 w 197"/>
                <a:gd name="T7" fmla="*/ 122 h 249"/>
                <a:gd name="T8" fmla="*/ 168 w 197"/>
                <a:gd name="T9" fmla="*/ 111 h 249"/>
                <a:gd name="T10" fmla="*/ 164 w 197"/>
                <a:gd name="T11" fmla="*/ 97 h 249"/>
                <a:gd name="T12" fmla="*/ 162 w 197"/>
                <a:gd name="T13" fmla="*/ 72 h 249"/>
                <a:gd name="T14" fmla="*/ 162 w 197"/>
                <a:gd name="T15" fmla="*/ 52 h 249"/>
                <a:gd name="T16" fmla="*/ 141 w 197"/>
                <a:gd name="T17" fmla="*/ 52 h 249"/>
                <a:gd name="T18" fmla="*/ 135 w 197"/>
                <a:gd name="T19" fmla="*/ 46 h 249"/>
                <a:gd name="T20" fmla="*/ 123 w 197"/>
                <a:gd name="T21" fmla="*/ 54 h 249"/>
                <a:gd name="T22" fmla="*/ 119 w 197"/>
                <a:gd name="T23" fmla="*/ 64 h 249"/>
                <a:gd name="T24" fmla="*/ 104 w 197"/>
                <a:gd name="T25" fmla="*/ 64 h 249"/>
                <a:gd name="T26" fmla="*/ 94 w 197"/>
                <a:gd name="T27" fmla="*/ 66 h 249"/>
                <a:gd name="T28" fmla="*/ 86 w 197"/>
                <a:gd name="T29" fmla="*/ 54 h 249"/>
                <a:gd name="T30" fmla="*/ 80 w 197"/>
                <a:gd name="T31" fmla="*/ 41 h 249"/>
                <a:gd name="T32" fmla="*/ 78 w 197"/>
                <a:gd name="T33" fmla="*/ 31 h 249"/>
                <a:gd name="T34" fmla="*/ 69 w 197"/>
                <a:gd name="T35" fmla="*/ 25 h 249"/>
                <a:gd name="T36" fmla="*/ 41 w 197"/>
                <a:gd name="T37" fmla="*/ 27 h 249"/>
                <a:gd name="T38" fmla="*/ 24 w 197"/>
                <a:gd name="T39" fmla="*/ 25 h 249"/>
                <a:gd name="T40" fmla="*/ 16 w 197"/>
                <a:gd name="T41" fmla="*/ 29 h 249"/>
                <a:gd name="T42" fmla="*/ 10 w 197"/>
                <a:gd name="T43" fmla="*/ 35 h 249"/>
                <a:gd name="T44" fmla="*/ 24 w 197"/>
                <a:gd name="T45" fmla="*/ 74 h 249"/>
                <a:gd name="T46" fmla="*/ 20 w 197"/>
                <a:gd name="T47" fmla="*/ 83 h 249"/>
                <a:gd name="T48" fmla="*/ 22 w 197"/>
                <a:gd name="T49" fmla="*/ 91 h 249"/>
                <a:gd name="T50" fmla="*/ 28 w 197"/>
                <a:gd name="T51" fmla="*/ 109 h 249"/>
                <a:gd name="T52" fmla="*/ 33 w 197"/>
                <a:gd name="T53" fmla="*/ 130 h 249"/>
                <a:gd name="T54" fmla="*/ 18 w 197"/>
                <a:gd name="T55" fmla="*/ 152 h 249"/>
                <a:gd name="T56" fmla="*/ 4 w 197"/>
                <a:gd name="T57" fmla="*/ 198 h 249"/>
                <a:gd name="T58" fmla="*/ 0 w 197"/>
                <a:gd name="T59" fmla="*/ 210 h 249"/>
                <a:gd name="T60" fmla="*/ 2 w 197"/>
                <a:gd name="T61" fmla="*/ 235 h 249"/>
                <a:gd name="T62" fmla="*/ 12 w 197"/>
                <a:gd name="T63" fmla="*/ 235 h 249"/>
                <a:gd name="T64" fmla="*/ 22 w 197"/>
                <a:gd name="T65" fmla="*/ 231 h 249"/>
                <a:gd name="T66" fmla="*/ 30 w 197"/>
                <a:gd name="T67" fmla="*/ 235 h 249"/>
                <a:gd name="T68" fmla="*/ 41 w 197"/>
                <a:gd name="T69" fmla="*/ 237 h 249"/>
                <a:gd name="T70" fmla="*/ 88 w 197"/>
                <a:gd name="T71" fmla="*/ 237 h 249"/>
                <a:gd name="T72" fmla="*/ 106 w 197"/>
                <a:gd name="T73" fmla="*/ 239 h 249"/>
                <a:gd name="T74" fmla="*/ 117 w 197"/>
                <a:gd name="T75" fmla="*/ 245 h 249"/>
                <a:gd name="T76" fmla="*/ 137 w 197"/>
                <a:gd name="T77" fmla="*/ 247 h 249"/>
                <a:gd name="T78" fmla="*/ 152 w 197"/>
                <a:gd name="T79" fmla="*/ 247 h 249"/>
                <a:gd name="T80" fmla="*/ 172 w 197"/>
                <a:gd name="T81" fmla="*/ 245 h 249"/>
                <a:gd name="T82" fmla="*/ 172 w 197"/>
                <a:gd name="T83" fmla="*/ 229 h 249"/>
                <a:gd name="T84" fmla="*/ 162 w 197"/>
                <a:gd name="T85" fmla="*/ 210 h 249"/>
                <a:gd name="T86" fmla="*/ 164 w 197"/>
                <a:gd name="T87" fmla="*/ 177 h 249"/>
                <a:gd name="T88" fmla="*/ 195 w 197"/>
                <a:gd name="T89" fmla="*/ 157 h 249"/>
                <a:gd name="T90" fmla="*/ 195 w 197"/>
                <a:gd name="T91" fmla="*/ 148 h 249"/>
                <a:gd name="T92" fmla="*/ 197 w 197"/>
                <a:gd name="T93" fmla="*/ 134 h 249"/>
                <a:gd name="T94" fmla="*/ 197 w 197"/>
                <a:gd name="T95" fmla="*/ 128 h 249"/>
                <a:gd name="T96" fmla="*/ 6 w 197"/>
                <a:gd name="T97" fmla="*/ 23 h 249"/>
                <a:gd name="T98" fmla="*/ 12 w 197"/>
                <a:gd name="T99" fmla="*/ 17 h 249"/>
                <a:gd name="T100" fmla="*/ 12 w 197"/>
                <a:gd name="T101" fmla="*/ 11 h 249"/>
                <a:gd name="T102" fmla="*/ 20 w 197"/>
                <a:gd name="T103" fmla="*/ 2 h 249"/>
                <a:gd name="T104" fmla="*/ 14 w 197"/>
                <a:gd name="T105" fmla="*/ 0 h 249"/>
                <a:gd name="T106" fmla="*/ 8 w 197"/>
                <a:gd name="T107" fmla="*/ 6 h 249"/>
                <a:gd name="T108" fmla="*/ 4 w 197"/>
                <a:gd name="T109" fmla="*/ 13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7" h="249">
                  <a:moveTo>
                    <a:pt x="197" y="128"/>
                  </a:moveTo>
                  <a:lnTo>
                    <a:pt x="197" y="126"/>
                  </a:lnTo>
                  <a:lnTo>
                    <a:pt x="197" y="124"/>
                  </a:lnTo>
                  <a:lnTo>
                    <a:pt x="197" y="120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193" y="120"/>
                  </a:lnTo>
                  <a:lnTo>
                    <a:pt x="191" y="120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7" y="120"/>
                  </a:lnTo>
                  <a:lnTo>
                    <a:pt x="182" y="122"/>
                  </a:lnTo>
                  <a:lnTo>
                    <a:pt x="180" y="122"/>
                  </a:lnTo>
                  <a:lnTo>
                    <a:pt x="176" y="122"/>
                  </a:lnTo>
                  <a:lnTo>
                    <a:pt x="174" y="122"/>
                  </a:lnTo>
                  <a:lnTo>
                    <a:pt x="172" y="122"/>
                  </a:lnTo>
                  <a:lnTo>
                    <a:pt x="172" y="122"/>
                  </a:lnTo>
                  <a:lnTo>
                    <a:pt x="170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2"/>
                  </a:lnTo>
                  <a:lnTo>
                    <a:pt x="168" y="120"/>
                  </a:lnTo>
                  <a:lnTo>
                    <a:pt x="166" y="117"/>
                  </a:lnTo>
                  <a:lnTo>
                    <a:pt x="168" y="117"/>
                  </a:lnTo>
                  <a:lnTo>
                    <a:pt x="168" y="115"/>
                  </a:lnTo>
                  <a:lnTo>
                    <a:pt x="168" y="113"/>
                  </a:lnTo>
                  <a:lnTo>
                    <a:pt x="168" y="111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8" y="107"/>
                  </a:lnTo>
                  <a:lnTo>
                    <a:pt x="168" y="103"/>
                  </a:lnTo>
                  <a:lnTo>
                    <a:pt x="166" y="99"/>
                  </a:lnTo>
                  <a:lnTo>
                    <a:pt x="164" y="97"/>
                  </a:lnTo>
                  <a:lnTo>
                    <a:pt x="162" y="95"/>
                  </a:lnTo>
                  <a:lnTo>
                    <a:pt x="162" y="93"/>
                  </a:lnTo>
                  <a:lnTo>
                    <a:pt x="162" y="87"/>
                  </a:lnTo>
                  <a:lnTo>
                    <a:pt x="162" y="83"/>
                  </a:lnTo>
                  <a:lnTo>
                    <a:pt x="162" y="78"/>
                  </a:lnTo>
                  <a:lnTo>
                    <a:pt x="162" y="72"/>
                  </a:lnTo>
                  <a:lnTo>
                    <a:pt x="162" y="66"/>
                  </a:lnTo>
                  <a:lnTo>
                    <a:pt x="162" y="62"/>
                  </a:lnTo>
                  <a:lnTo>
                    <a:pt x="162" y="58"/>
                  </a:lnTo>
                  <a:lnTo>
                    <a:pt x="162" y="54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60" y="52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47" y="52"/>
                  </a:lnTo>
                  <a:lnTo>
                    <a:pt x="141" y="52"/>
                  </a:lnTo>
                  <a:lnTo>
                    <a:pt x="141" y="52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46"/>
                  </a:lnTo>
                  <a:lnTo>
                    <a:pt x="141" y="46"/>
                  </a:lnTo>
                  <a:lnTo>
                    <a:pt x="139" y="46"/>
                  </a:lnTo>
                  <a:lnTo>
                    <a:pt x="135" y="46"/>
                  </a:lnTo>
                  <a:lnTo>
                    <a:pt x="133" y="46"/>
                  </a:lnTo>
                  <a:lnTo>
                    <a:pt x="131" y="46"/>
                  </a:lnTo>
                  <a:lnTo>
                    <a:pt x="127" y="48"/>
                  </a:lnTo>
                  <a:lnTo>
                    <a:pt x="125" y="50"/>
                  </a:lnTo>
                  <a:lnTo>
                    <a:pt x="123" y="52"/>
                  </a:lnTo>
                  <a:lnTo>
                    <a:pt x="123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3" y="58"/>
                  </a:lnTo>
                  <a:lnTo>
                    <a:pt x="123" y="60"/>
                  </a:lnTo>
                  <a:lnTo>
                    <a:pt x="121" y="64"/>
                  </a:lnTo>
                  <a:lnTo>
                    <a:pt x="119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1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4" y="64"/>
                  </a:lnTo>
                  <a:lnTo>
                    <a:pt x="102" y="66"/>
                  </a:lnTo>
                  <a:lnTo>
                    <a:pt x="100" y="66"/>
                  </a:lnTo>
                  <a:lnTo>
                    <a:pt x="100" y="66"/>
                  </a:lnTo>
                  <a:lnTo>
                    <a:pt x="98" y="66"/>
                  </a:lnTo>
                  <a:lnTo>
                    <a:pt x="96" y="66"/>
                  </a:lnTo>
                  <a:lnTo>
                    <a:pt x="94" y="66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0" y="62"/>
                  </a:lnTo>
                  <a:lnTo>
                    <a:pt x="88" y="58"/>
                  </a:lnTo>
                  <a:lnTo>
                    <a:pt x="86" y="56"/>
                  </a:lnTo>
                  <a:lnTo>
                    <a:pt x="86" y="54"/>
                  </a:lnTo>
                  <a:lnTo>
                    <a:pt x="84" y="54"/>
                  </a:lnTo>
                  <a:lnTo>
                    <a:pt x="84" y="52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2" y="46"/>
                  </a:lnTo>
                  <a:lnTo>
                    <a:pt x="80" y="41"/>
                  </a:lnTo>
                  <a:lnTo>
                    <a:pt x="80" y="39"/>
                  </a:lnTo>
                  <a:lnTo>
                    <a:pt x="80" y="37"/>
                  </a:lnTo>
                  <a:lnTo>
                    <a:pt x="80" y="35"/>
                  </a:lnTo>
                  <a:lnTo>
                    <a:pt x="80" y="33"/>
                  </a:lnTo>
                  <a:lnTo>
                    <a:pt x="80" y="31"/>
                  </a:lnTo>
                  <a:lnTo>
                    <a:pt x="78" y="31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6" y="27"/>
                  </a:lnTo>
                  <a:lnTo>
                    <a:pt x="74" y="27"/>
                  </a:lnTo>
                  <a:lnTo>
                    <a:pt x="74" y="25"/>
                  </a:lnTo>
                  <a:lnTo>
                    <a:pt x="69" y="25"/>
                  </a:lnTo>
                  <a:lnTo>
                    <a:pt x="63" y="25"/>
                  </a:lnTo>
                  <a:lnTo>
                    <a:pt x="59" y="25"/>
                  </a:lnTo>
                  <a:lnTo>
                    <a:pt x="53" y="25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1" y="27"/>
                  </a:lnTo>
                  <a:lnTo>
                    <a:pt x="39" y="25"/>
                  </a:lnTo>
                  <a:lnTo>
                    <a:pt x="37" y="25"/>
                  </a:lnTo>
                  <a:lnTo>
                    <a:pt x="35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7"/>
                  </a:lnTo>
                  <a:lnTo>
                    <a:pt x="22" y="25"/>
                  </a:lnTo>
                  <a:lnTo>
                    <a:pt x="20" y="25"/>
                  </a:lnTo>
                  <a:lnTo>
                    <a:pt x="20" y="27"/>
                  </a:lnTo>
                  <a:lnTo>
                    <a:pt x="16" y="29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8" y="29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0" y="35"/>
                  </a:lnTo>
                  <a:lnTo>
                    <a:pt x="12" y="39"/>
                  </a:lnTo>
                  <a:lnTo>
                    <a:pt x="16" y="46"/>
                  </a:lnTo>
                  <a:lnTo>
                    <a:pt x="16" y="52"/>
                  </a:lnTo>
                  <a:lnTo>
                    <a:pt x="20" y="60"/>
                  </a:lnTo>
                  <a:lnTo>
                    <a:pt x="24" y="72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6"/>
                  </a:lnTo>
                  <a:lnTo>
                    <a:pt x="24" y="78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0"/>
                  </a:lnTo>
                  <a:lnTo>
                    <a:pt x="20" y="83"/>
                  </a:lnTo>
                  <a:lnTo>
                    <a:pt x="18" y="83"/>
                  </a:lnTo>
                  <a:lnTo>
                    <a:pt x="18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2" y="93"/>
                  </a:lnTo>
                  <a:lnTo>
                    <a:pt x="22" y="97"/>
                  </a:lnTo>
                  <a:lnTo>
                    <a:pt x="24" y="99"/>
                  </a:lnTo>
                  <a:lnTo>
                    <a:pt x="24" y="101"/>
                  </a:lnTo>
                  <a:lnTo>
                    <a:pt x="26" y="107"/>
                  </a:lnTo>
                  <a:lnTo>
                    <a:pt x="28" y="109"/>
                  </a:lnTo>
                  <a:lnTo>
                    <a:pt x="28" y="111"/>
                  </a:lnTo>
                  <a:lnTo>
                    <a:pt x="30" y="113"/>
                  </a:lnTo>
                  <a:lnTo>
                    <a:pt x="30" y="115"/>
                  </a:lnTo>
                  <a:lnTo>
                    <a:pt x="33" y="120"/>
                  </a:lnTo>
                  <a:lnTo>
                    <a:pt x="33" y="122"/>
                  </a:lnTo>
                  <a:lnTo>
                    <a:pt x="33" y="130"/>
                  </a:lnTo>
                  <a:lnTo>
                    <a:pt x="33" y="134"/>
                  </a:lnTo>
                  <a:lnTo>
                    <a:pt x="30" y="140"/>
                  </a:lnTo>
                  <a:lnTo>
                    <a:pt x="28" y="144"/>
                  </a:lnTo>
                  <a:lnTo>
                    <a:pt x="26" y="148"/>
                  </a:lnTo>
                  <a:lnTo>
                    <a:pt x="22" y="150"/>
                  </a:lnTo>
                  <a:lnTo>
                    <a:pt x="18" y="152"/>
                  </a:lnTo>
                  <a:lnTo>
                    <a:pt x="18" y="157"/>
                  </a:lnTo>
                  <a:lnTo>
                    <a:pt x="12" y="165"/>
                  </a:lnTo>
                  <a:lnTo>
                    <a:pt x="10" y="171"/>
                  </a:lnTo>
                  <a:lnTo>
                    <a:pt x="10" y="175"/>
                  </a:lnTo>
                  <a:lnTo>
                    <a:pt x="8" y="187"/>
                  </a:lnTo>
                  <a:lnTo>
                    <a:pt x="4" y="198"/>
                  </a:lnTo>
                  <a:lnTo>
                    <a:pt x="4" y="204"/>
                  </a:lnTo>
                  <a:lnTo>
                    <a:pt x="2" y="206"/>
                  </a:lnTo>
                  <a:lnTo>
                    <a:pt x="2" y="206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210"/>
                  </a:lnTo>
                  <a:lnTo>
                    <a:pt x="0" y="212"/>
                  </a:lnTo>
                  <a:lnTo>
                    <a:pt x="0" y="220"/>
                  </a:lnTo>
                  <a:lnTo>
                    <a:pt x="0" y="224"/>
                  </a:lnTo>
                  <a:lnTo>
                    <a:pt x="0" y="229"/>
                  </a:lnTo>
                  <a:lnTo>
                    <a:pt x="0" y="235"/>
                  </a:lnTo>
                  <a:lnTo>
                    <a:pt x="2" y="235"/>
                  </a:lnTo>
                  <a:lnTo>
                    <a:pt x="4" y="233"/>
                  </a:lnTo>
                  <a:lnTo>
                    <a:pt x="4" y="233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12" y="235"/>
                  </a:lnTo>
                  <a:lnTo>
                    <a:pt x="14" y="233"/>
                  </a:lnTo>
                  <a:lnTo>
                    <a:pt x="16" y="233"/>
                  </a:lnTo>
                  <a:lnTo>
                    <a:pt x="16" y="231"/>
                  </a:lnTo>
                  <a:lnTo>
                    <a:pt x="18" y="231"/>
                  </a:lnTo>
                  <a:lnTo>
                    <a:pt x="20" y="231"/>
                  </a:lnTo>
                  <a:lnTo>
                    <a:pt x="22" y="231"/>
                  </a:lnTo>
                  <a:lnTo>
                    <a:pt x="22" y="231"/>
                  </a:lnTo>
                  <a:lnTo>
                    <a:pt x="24" y="231"/>
                  </a:lnTo>
                  <a:lnTo>
                    <a:pt x="26" y="231"/>
                  </a:lnTo>
                  <a:lnTo>
                    <a:pt x="28" y="233"/>
                  </a:lnTo>
                  <a:lnTo>
                    <a:pt x="30" y="235"/>
                  </a:lnTo>
                  <a:lnTo>
                    <a:pt x="30" y="235"/>
                  </a:lnTo>
                  <a:lnTo>
                    <a:pt x="33" y="237"/>
                  </a:lnTo>
                  <a:lnTo>
                    <a:pt x="35" y="237"/>
                  </a:lnTo>
                  <a:lnTo>
                    <a:pt x="35" y="237"/>
                  </a:lnTo>
                  <a:lnTo>
                    <a:pt x="35" y="237"/>
                  </a:lnTo>
                  <a:lnTo>
                    <a:pt x="39" y="237"/>
                  </a:lnTo>
                  <a:lnTo>
                    <a:pt x="41" y="237"/>
                  </a:lnTo>
                  <a:lnTo>
                    <a:pt x="45" y="237"/>
                  </a:lnTo>
                  <a:lnTo>
                    <a:pt x="57" y="237"/>
                  </a:lnTo>
                  <a:lnTo>
                    <a:pt x="63" y="237"/>
                  </a:lnTo>
                  <a:lnTo>
                    <a:pt x="69" y="237"/>
                  </a:lnTo>
                  <a:lnTo>
                    <a:pt x="82" y="237"/>
                  </a:lnTo>
                  <a:lnTo>
                    <a:pt x="88" y="237"/>
                  </a:lnTo>
                  <a:lnTo>
                    <a:pt x="94" y="237"/>
                  </a:lnTo>
                  <a:lnTo>
                    <a:pt x="96" y="237"/>
                  </a:lnTo>
                  <a:lnTo>
                    <a:pt x="100" y="237"/>
                  </a:lnTo>
                  <a:lnTo>
                    <a:pt x="104" y="237"/>
                  </a:lnTo>
                  <a:lnTo>
                    <a:pt x="106" y="237"/>
                  </a:lnTo>
                  <a:lnTo>
                    <a:pt x="106" y="239"/>
                  </a:lnTo>
                  <a:lnTo>
                    <a:pt x="106" y="239"/>
                  </a:lnTo>
                  <a:lnTo>
                    <a:pt x="108" y="241"/>
                  </a:lnTo>
                  <a:lnTo>
                    <a:pt x="111" y="243"/>
                  </a:lnTo>
                  <a:lnTo>
                    <a:pt x="113" y="245"/>
                  </a:lnTo>
                  <a:lnTo>
                    <a:pt x="115" y="245"/>
                  </a:lnTo>
                  <a:lnTo>
                    <a:pt x="117" y="245"/>
                  </a:lnTo>
                  <a:lnTo>
                    <a:pt x="117" y="245"/>
                  </a:lnTo>
                  <a:lnTo>
                    <a:pt x="121" y="245"/>
                  </a:lnTo>
                  <a:lnTo>
                    <a:pt x="125" y="247"/>
                  </a:lnTo>
                  <a:lnTo>
                    <a:pt x="129" y="247"/>
                  </a:lnTo>
                  <a:lnTo>
                    <a:pt x="133" y="247"/>
                  </a:lnTo>
                  <a:lnTo>
                    <a:pt x="137" y="247"/>
                  </a:lnTo>
                  <a:lnTo>
                    <a:pt x="139" y="247"/>
                  </a:lnTo>
                  <a:lnTo>
                    <a:pt x="141" y="249"/>
                  </a:lnTo>
                  <a:lnTo>
                    <a:pt x="141" y="249"/>
                  </a:lnTo>
                  <a:lnTo>
                    <a:pt x="145" y="249"/>
                  </a:lnTo>
                  <a:lnTo>
                    <a:pt x="147" y="247"/>
                  </a:lnTo>
                  <a:lnTo>
                    <a:pt x="152" y="247"/>
                  </a:lnTo>
                  <a:lnTo>
                    <a:pt x="152" y="249"/>
                  </a:lnTo>
                  <a:lnTo>
                    <a:pt x="154" y="249"/>
                  </a:lnTo>
                  <a:lnTo>
                    <a:pt x="158" y="247"/>
                  </a:lnTo>
                  <a:lnTo>
                    <a:pt x="162" y="247"/>
                  </a:lnTo>
                  <a:lnTo>
                    <a:pt x="168" y="245"/>
                  </a:lnTo>
                  <a:lnTo>
                    <a:pt x="172" y="245"/>
                  </a:lnTo>
                  <a:lnTo>
                    <a:pt x="180" y="243"/>
                  </a:lnTo>
                  <a:lnTo>
                    <a:pt x="184" y="243"/>
                  </a:lnTo>
                  <a:lnTo>
                    <a:pt x="182" y="239"/>
                  </a:lnTo>
                  <a:lnTo>
                    <a:pt x="178" y="235"/>
                  </a:lnTo>
                  <a:lnTo>
                    <a:pt x="174" y="231"/>
                  </a:lnTo>
                  <a:lnTo>
                    <a:pt x="172" y="229"/>
                  </a:lnTo>
                  <a:lnTo>
                    <a:pt x="170" y="226"/>
                  </a:lnTo>
                  <a:lnTo>
                    <a:pt x="168" y="224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4" y="216"/>
                  </a:lnTo>
                  <a:lnTo>
                    <a:pt x="162" y="210"/>
                  </a:lnTo>
                  <a:lnTo>
                    <a:pt x="162" y="206"/>
                  </a:lnTo>
                  <a:lnTo>
                    <a:pt x="162" y="202"/>
                  </a:lnTo>
                  <a:lnTo>
                    <a:pt x="162" y="196"/>
                  </a:lnTo>
                  <a:lnTo>
                    <a:pt x="162" y="189"/>
                  </a:lnTo>
                  <a:lnTo>
                    <a:pt x="164" y="183"/>
                  </a:lnTo>
                  <a:lnTo>
                    <a:pt x="164" y="177"/>
                  </a:lnTo>
                  <a:lnTo>
                    <a:pt x="164" y="171"/>
                  </a:lnTo>
                  <a:lnTo>
                    <a:pt x="164" y="165"/>
                  </a:lnTo>
                  <a:lnTo>
                    <a:pt x="164" y="159"/>
                  </a:lnTo>
                  <a:lnTo>
                    <a:pt x="164" y="157"/>
                  </a:lnTo>
                  <a:lnTo>
                    <a:pt x="193" y="157"/>
                  </a:lnTo>
                  <a:lnTo>
                    <a:pt x="195" y="157"/>
                  </a:lnTo>
                  <a:lnTo>
                    <a:pt x="195" y="157"/>
                  </a:lnTo>
                  <a:lnTo>
                    <a:pt x="195" y="157"/>
                  </a:lnTo>
                  <a:lnTo>
                    <a:pt x="195" y="152"/>
                  </a:lnTo>
                  <a:lnTo>
                    <a:pt x="195" y="152"/>
                  </a:lnTo>
                  <a:lnTo>
                    <a:pt x="195" y="150"/>
                  </a:lnTo>
                  <a:lnTo>
                    <a:pt x="195" y="148"/>
                  </a:lnTo>
                  <a:lnTo>
                    <a:pt x="195" y="146"/>
                  </a:lnTo>
                  <a:lnTo>
                    <a:pt x="197" y="144"/>
                  </a:lnTo>
                  <a:lnTo>
                    <a:pt x="195" y="140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7" y="134"/>
                  </a:lnTo>
                  <a:lnTo>
                    <a:pt x="195" y="132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7" y="128"/>
                  </a:lnTo>
                  <a:lnTo>
                    <a:pt x="197" y="128"/>
                  </a:lnTo>
                  <a:lnTo>
                    <a:pt x="197" y="128"/>
                  </a:lnTo>
                  <a:close/>
                  <a:moveTo>
                    <a:pt x="4" y="13"/>
                  </a:moveTo>
                  <a:lnTo>
                    <a:pt x="6" y="17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8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2" y="17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4" y="9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9" name="Freeform 244">
              <a:extLst>
                <a:ext uri="{FF2B5EF4-FFF2-40B4-BE49-F238E27FC236}">
                  <a16:creationId xmlns:a16="http://schemas.microsoft.com/office/drawing/2014/main" id="{9EABD320-01EA-6645-A540-0B14AE0ED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8271" y="2602810"/>
              <a:ext cx="4754" cy="4754"/>
            </a:xfrm>
            <a:custGeom>
              <a:avLst/>
              <a:gdLst>
                <a:gd name="T0" fmla="*/ 4 w 4"/>
                <a:gd name="T1" fmla="*/ 0 h 4"/>
                <a:gd name="T2" fmla="*/ 2 w 4"/>
                <a:gd name="T3" fmla="*/ 0 h 4"/>
                <a:gd name="T4" fmla="*/ 2 w 4"/>
                <a:gd name="T5" fmla="*/ 0 h 4"/>
                <a:gd name="T6" fmla="*/ 0 w 4"/>
                <a:gd name="T7" fmla="*/ 0 h 4"/>
                <a:gd name="T8" fmla="*/ 0 w 4"/>
                <a:gd name="T9" fmla="*/ 0 h 4"/>
                <a:gd name="T10" fmla="*/ 0 w 4"/>
                <a:gd name="T11" fmla="*/ 2 h 4"/>
                <a:gd name="T12" fmla="*/ 0 w 4"/>
                <a:gd name="T13" fmla="*/ 2 h 4"/>
                <a:gd name="T14" fmla="*/ 0 w 4"/>
                <a:gd name="T15" fmla="*/ 2 h 4"/>
                <a:gd name="T16" fmla="*/ 0 w 4"/>
                <a:gd name="T17" fmla="*/ 4 h 4"/>
                <a:gd name="T18" fmla="*/ 0 w 4"/>
                <a:gd name="T19" fmla="*/ 4 h 4"/>
                <a:gd name="T20" fmla="*/ 0 w 4"/>
                <a:gd name="T21" fmla="*/ 4 h 4"/>
                <a:gd name="T22" fmla="*/ 2 w 4"/>
                <a:gd name="T23" fmla="*/ 4 h 4"/>
                <a:gd name="T24" fmla="*/ 2 w 4"/>
                <a:gd name="T25" fmla="*/ 4 h 4"/>
                <a:gd name="T26" fmla="*/ 4 w 4"/>
                <a:gd name="T27" fmla="*/ 2 h 4"/>
                <a:gd name="T28" fmla="*/ 4 w 4"/>
                <a:gd name="T29" fmla="*/ 2 h 4"/>
                <a:gd name="T30" fmla="*/ 4 w 4"/>
                <a:gd name="T31" fmla="*/ 2 h 4"/>
                <a:gd name="T32" fmla="*/ 4 w 4"/>
                <a:gd name="T33" fmla="*/ 2 h 4"/>
                <a:gd name="T34" fmla="*/ 4 w 4"/>
                <a:gd name="T35" fmla="*/ 2 h 4"/>
                <a:gd name="T36" fmla="*/ 4 w 4"/>
                <a:gd name="T3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0" name="Freeform 246">
              <a:extLst>
                <a:ext uri="{FF2B5EF4-FFF2-40B4-BE49-F238E27FC236}">
                  <a16:creationId xmlns:a16="http://schemas.microsoft.com/office/drawing/2014/main" id="{A4BB8C5A-204C-5145-A571-7078DCB93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433" y="2721649"/>
              <a:ext cx="386226" cy="396922"/>
            </a:xfrm>
            <a:custGeom>
              <a:avLst/>
              <a:gdLst>
                <a:gd name="T0" fmla="*/ 312 w 325"/>
                <a:gd name="T1" fmla="*/ 233 h 334"/>
                <a:gd name="T2" fmla="*/ 298 w 325"/>
                <a:gd name="T3" fmla="*/ 229 h 334"/>
                <a:gd name="T4" fmla="*/ 288 w 325"/>
                <a:gd name="T5" fmla="*/ 206 h 334"/>
                <a:gd name="T6" fmla="*/ 292 w 325"/>
                <a:gd name="T7" fmla="*/ 194 h 334"/>
                <a:gd name="T8" fmla="*/ 290 w 325"/>
                <a:gd name="T9" fmla="*/ 179 h 334"/>
                <a:gd name="T10" fmla="*/ 292 w 325"/>
                <a:gd name="T11" fmla="*/ 146 h 334"/>
                <a:gd name="T12" fmla="*/ 286 w 325"/>
                <a:gd name="T13" fmla="*/ 130 h 334"/>
                <a:gd name="T14" fmla="*/ 284 w 325"/>
                <a:gd name="T15" fmla="*/ 116 h 334"/>
                <a:gd name="T16" fmla="*/ 280 w 325"/>
                <a:gd name="T17" fmla="*/ 91 h 334"/>
                <a:gd name="T18" fmla="*/ 267 w 325"/>
                <a:gd name="T19" fmla="*/ 77 h 334"/>
                <a:gd name="T20" fmla="*/ 259 w 325"/>
                <a:gd name="T21" fmla="*/ 68 h 334"/>
                <a:gd name="T22" fmla="*/ 257 w 325"/>
                <a:gd name="T23" fmla="*/ 54 h 334"/>
                <a:gd name="T24" fmla="*/ 267 w 325"/>
                <a:gd name="T25" fmla="*/ 46 h 334"/>
                <a:gd name="T26" fmla="*/ 269 w 325"/>
                <a:gd name="T27" fmla="*/ 33 h 334"/>
                <a:gd name="T28" fmla="*/ 267 w 325"/>
                <a:gd name="T29" fmla="*/ 23 h 334"/>
                <a:gd name="T30" fmla="*/ 267 w 325"/>
                <a:gd name="T31" fmla="*/ 11 h 334"/>
                <a:gd name="T32" fmla="*/ 273 w 325"/>
                <a:gd name="T33" fmla="*/ 5 h 334"/>
                <a:gd name="T34" fmla="*/ 259 w 325"/>
                <a:gd name="T35" fmla="*/ 0 h 334"/>
                <a:gd name="T36" fmla="*/ 243 w 325"/>
                <a:gd name="T37" fmla="*/ 0 h 334"/>
                <a:gd name="T38" fmla="*/ 226 w 325"/>
                <a:gd name="T39" fmla="*/ 7 h 334"/>
                <a:gd name="T40" fmla="*/ 199 w 325"/>
                <a:gd name="T41" fmla="*/ 3 h 334"/>
                <a:gd name="T42" fmla="*/ 173 w 325"/>
                <a:gd name="T43" fmla="*/ 9 h 334"/>
                <a:gd name="T44" fmla="*/ 144 w 325"/>
                <a:gd name="T45" fmla="*/ 19 h 334"/>
                <a:gd name="T46" fmla="*/ 128 w 325"/>
                <a:gd name="T47" fmla="*/ 25 h 334"/>
                <a:gd name="T48" fmla="*/ 113 w 325"/>
                <a:gd name="T49" fmla="*/ 37 h 334"/>
                <a:gd name="T50" fmla="*/ 113 w 325"/>
                <a:gd name="T51" fmla="*/ 44 h 334"/>
                <a:gd name="T52" fmla="*/ 115 w 325"/>
                <a:gd name="T53" fmla="*/ 48 h 334"/>
                <a:gd name="T54" fmla="*/ 115 w 325"/>
                <a:gd name="T55" fmla="*/ 60 h 334"/>
                <a:gd name="T56" fmla="*/ 117 w 325"/>
                <a:gd name="T57" fmla="*/ 79 h 334"/>
                <a:gd name="T58" fmla="*/ 124 w 325"/>
                <a:gd name="T59" fmla="*/ 85 h 334"/>
                <a:gd name="T60" fmla="*/ 119 w 325"/>
                <a:gd name="T61" fmla="*/ 93 h 334"/>
                <a:gd name="T62" fmla="*/ 103 w 325"/>
                <a:gd name="T63" fmla="*/ 91 h 334"/>
                <a:gd name="T64" fmla="*/ 95 w 325"/>
                <a:gd name="T65" fmla="*/ 95 h 334"/>
                <a:gd name="T66" fmla="*/ 82 w 325"/>
                <a:gd name="T67" fmla="*/ 99 h 334"/>
                <a:gd name="T68" fmla="*/ 80 w 325"/>
                <a:gd name="T69" fmla="*/ 105 h 334"/>
                <a:gd name="T70" fmla="*/ 82 w 325"/>
                <a:gd name="T71" fmla="*/ 109 h 334"/>
                <a:gd name="T72" fmla="*/ 80 w 325"/>
                <a:gd name="T73" fmla="*/ 114 h 334"/>
                <a:gd name="T74" fmla="*/ 64 w 325"/>
                <a:gd name="T75" fmla="*/ 120 h 334"/>
                <a:gd name="T76" fmla="*/ 52 w 325"/>
                <a:gd name="T77" fmla="*/ 132 h 334"/>
                <a:gd name="T78" fmla="*/ 39 w 325"/>
                <a:gd name="T79" fmla="*/ 134 h 334"/>
                <a:gd name="T80" fmla="*/ 37 w 325"/>
                <a:gd name="T81" fmla="*/ 138 h 334"/>
                <a:gd name="T82" fmla="*/ 27 w 325"/>
                <a:gd name="T83" fmla="*/ 138 h 334"/>
                <a:gd name="T84" fmla="*/ 19 w 325"/>
                <a:gd name="T85" fmla="*/ 142 h 334"/>
                <a:gd name="T86" fmla="*/ 6 w 325"/>
                <a:gd name="T87" fmla="*/ 151 h 334"/>
                <a:gd name="T88" fmla="*/ 2 w 325"/>
                <a:gd name="T89" fmla="*/ 161 h 334"/>
                <a:gd name="T90" fmla="*/ 4 w 325"/>
                <a:gd name="T91" fmla="*/ 181 h 334"/>
                <a:gd name="T92" fmla="*/ 21 w 325"/>
                <a:gd name="T93" fmla="*/ 194 h 334"/>
                <a:gd name="T94" fmla="*/ 39 w 325"/>
                <a:gd name="T95" fmla="*/ 206 h 334"/>
                <a:gd name="T96" fmla="*/ 58 w 325"/>
                <a:gd name="T97" fmla="*/ 220 h 334"/>
                <a:gd name="T98" fmla="*/ 85 w 325"/>
                <a:gd name="T99" fmla="*/ 241 h 334"/>
                <a:gd name="T100" fmla="*/ 115 w 325"/>
                <a:gd name="T101" fmla="*/ 264 h 334"/>
                <a:gd name="T102" fmla="*/ 146 w 325"/>
                <a:gd name="T103" fmla="*/ 288 h 334"/>
                <a:gd name="T104" fmla="*/ 154 w 325"/>
                <a:gd name="T105" fmla="*/ 299 h 334"/>
                <a:gd name="T106" fmla="*/ 163 w 325"/>
                <a:gd name="T107" fmla="*/ 307 h 334"/>
                <a:gd name="T108" fmla="*/ 173 w 325"/>
                <a:gd name="T109" fmla="*/ 313 h 334"/>
                <a:gd name="T110" fmla="*/ 185 w 325"/>
                <a:gd name="T111" fmla="*/ 317 h 334"/>
                <a:gd name="T112" fmla="*/ 187 w 325"/>
                <a:gd name="T113" fmla="*/ 325 h 334"/>
                <a:gd name="T114" fmla="*/ 183 w 325"/>
                <a:gd name="T115" fmla="*/ 329 h 334"/>
                <a:gd name="T116" fmla="*/ 189 w 325"/>
                <a:gd name="T117" fmla="*/ 331 h 334"/>
                <a:gd name="T118" fmla="*/ 210 w 325"/>
                <a:gd name="T119" fmla="*/ 327 h 334"/>
                <a:gd name="T120" fmla="*/ 234 w 325"/>
                <a:gd name="T121" fmla="*/ 317 h 334"/>
                <a:gd name="T122" fmla="*/ 259 w 325"/>
                <a:gd name="T123" fmla="*/ 294 h 334"/>
                <a:gd name="T124" fmla="*/ 308 w 325"/>
                <a:gd name="T125" fmla="*/ 26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5" h="334">
                  <a:moveTo>
                    <a:pt x="323" y="245"/>
                  </a:moveTo>
                  <a:lnTo>
                    <a:pt x="323" y="243"/>
                  </a:lnTo>
                  <a:lnTo>
                    <a:pt x="321" y="239"/>
                  </a:lnTo>
                  <a:lnTo>
                    <a:pt x="319" y="235"/>
                  </a:lnTo>
                  <a:lnTo>
                    <a:pt x="319" y="235"/>
                  </a:lnTo>
                  <a:lnTo>
                    <a:pt x="312" y="233"/>
                  </a:lnTo>
                  <a:lnTo>
                    <a:pt x="304" y="231"/>
                  </a:lnTo>
                  <a:lnTo>
                    <a:pt x="300" y="231"/>
                  </a:lnTo>
                  <a:lnTo>
                    <a:pt x="300" y="231"/>
                  </a:lnTo>
                  <a:lnTo>
                    <a:pt x="300" y="231"/>
                  </a:lnTo>
                  <a:lnTo>
                    <a:pt x="298" y="229"/>
                  </a:lnTo>
                  <a:lnTo>
                    <a:pt x="298" y="229"/>
                  </a:lnTo>
                  <a:lnTo>
                    <a:pt x="296" y="227"/>
                  </a:lnTo>
                  <a:lnTo>
                    <a:pt x="294" y="220"/>
                  </a:lnTo>
                  <a:lnTo>
                    <a:pt x="294" y="218"/>
                  </a:lnTo>
                  <a:lnTo>
                    <a:pt x="294" y="216"/>
                  </a:lnTo>
                  <a:lnTo>
                    <a:pt x="290" y="210"/>
                  </a:lnTo>
                  <a:lnTo>
                    <a:pt x="288" y="206"/>
                  </a:lnTo>
                  <a:lnTo>
                    <a:pt x="286" y="202"/>
                  </a:lnTo>
                  <a:lnTo>
                    <a:pt x="286" y="202"/>
                  </a:lnTo>
                  <a:lnTo>
                    <a:pt x="286" y="200"/>
                  </a:lnTo>
                  <a:lnTo>
                    <a:pt x="286" y="198"/>
                  </a:lnTo>
                  <a:lnTo>
                    <a:pt x="290" y="196"/>
                  </a:lnTo>
                  <a:lnTo>
                    <a:pt x="292" y="194"/>
                  </a:lnTo>
                  <a:lnTo>
                    <a:pt x="292" y="192"/>
                  </a:lnTo>
                  <a:lnTo>
                    <a:pt x="292" y="188"/>
                  </a:lnTo>
                  <a:lnTo>
                    <a:pt x="292" y="188"/>
                  </a:lnTo>
                  <a:lnTo>
                    <a:pt x="292" y="186"/>
                  </a:lnTo>
                  <a:lnTo>
                    <a:pt x="290" y="181"/>
                  </a:lnTo>
                  <a:lnTo>
                    <a:pt x="290" y="179"/>
                  </a:lnTo>
                  <a:lnTo>
                    <a:pt x="292" y="175"/>
                  </a:lnTo>
                  <a:lnTo>
                    <a:pt x="292" y="171"/>
                  </a:lnTo>
                  <a:lnTo>
                    <a:pt x="292" y="167"/>
                  </a:lnTo>
                  <a:lnTo>
                    <a:pt x="292" y="157"/>
                  </a:lnTo>
                  <a:lnTo>
                    <a:pt x="292" y="149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0" y="142"/>
                  </a:lnTo>
                  <a:lnTo>
                    <a:pt x="290" y="138"/>
                  </a:lnTo>
                  <a:lnTo>
                    <a:pt x="288" y="136"/>
                  </a:lnTo>
                  <a:lnTo>
                    <a:pt x="288" y="134"/>
                  </a:lnTo>
                  <a:lnTo>
                    <a:pt x="286" y="130"/>
                  </a:lnTo>
                  <a:lnTo>
                    <a:pt x="284" y="128"/>
                  </a:lnTo>
                  <a:lnTo>
                    <a:pt x="286" y="128"/>
                  </a:lnTo>
                  <a:lnTo>
                    <a:pt x="288" y="126"/>
                  </a:lnTo>
                  <a:lnTo>
                    <a:pt x="286" y="122"/>
                  </a:lnTo>
                  <a:lnTo>
                    <a:pt x="286" y="118"/>
                  </a:lnTo>
                  <a:lnTo>
                    <a:pt x="284" y="116"/>
                  </a:lnTo>
                  <a:lnTo>
                    <a:pt x="284" y="109"/>
                  </a:lnTo>
                  <a:lnTo>
                    <a:pt x="282" y="105"/>
                  </a:lnTo>
                  <a:lnTo>
                    <a:pt x="282" y="101"/>
                  </a:lnTo>
                  <a:lnTo>
                    <a:pt x="280" y="97"/>
                  </a:lnTo>
                  <a:lnTo>
                    <a:pt x="280" y="93"/>
                  </a:lnTo>
                  <a:lnTo>
                    <a:pt x="280" y="91"/>
                  </a:lnTo>
                  <a:lnTo>
                    <a:pt x="277" y="91"/>
                  </a:lnTo>
                  <a:lnTo>
                    <a:pt x="273" y="89"/>
                  </a:lnTo>
                  <a:lnTo>
                    <a:pt x="271" y="87"/>
                  </a:lnTo>
                  <a:lnTo>
                    <a:pt x="269" y="85"/>
                  </a:lnTo>
                  <a:lnTo>
                    <a:pt x="267" y="81"/>
                  </a:lnTo>
                  <a:lnTo>
                    <a:pt x="267" y="77"/>
                  </a:lnTo>
                  <a:lnTo>
                    <a:pt x="265" y="74"/>
                  </a:lnTo>
                  <a:lnTo>
                    <a:pt x="265" y="74"/>
                  </a:lnTo>
                  <a:lnTo>
                    <a:pt x="261" y="72"/>
                  </a:lnTo>
                  <a:lnTo>
                    <a:pt x="259" y="70"/>
                  </a:lnTo>
                  <a:lnTo>
                    <a:pt x="259" y="70"/>
                  </a:lnTo>
                  <a:lnTo>
                    <a:pt x="259" y="68"/>
                  </a:lnTo>
                  <a:lnTo>
                    <a:pt x="257" y="66"/>
                  </a:lnTo>
                  <a:lnTo>
                    <a:pt x="257" y="62"/>
                  </a:lnTo>
                  <a:lnTo>
                    <a:pt x="257" y="60"/>
                  </a:lnTo>
                  <a:lnTo>
                    <a:pt x="257" y="58"/>
                  </a:lnTo>
                  <a:lnTo>
                    <a:pt x="257" y="56"/>
                  </a:lnTo>
                  <a:lnTo>
                    <a:pt x="257" y="54"/>
                  </a:lnTo>
                  <a:lnTo>
                    <a:pt x="259" y="52"/>
                  </a:lnTo>
                  <a:lnTo>
                    <a:pt x="261" y="50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5" y="46"/>
                  </a:lnTo>
                  <a:lnTo>
                    <a:pt x="267" y="46"/>
                  </a:lnTo>
                  <a:lnTo>
                    <a:pt x="267" y="44"/>
                  </a:lnTo>
                  <a:lnTo>
                    <a:pt x="267" y="42"/>
                  </a:lnTo>
                  <a:lnTo>
                    <a:pt x="267" y="40"/>
                  </a:lnTo>
                  <a:lnTo>
                    <a:pt x="269" y="37"/>
                  </a:lnTo>
                  <a:lnTo>
                    <a:pt x="269" y="35"/>
                  </a:lnTo>
                  <a:lnTo>
                    <a:pt x="269" y="33"/>
                  </a:lnTo>
                  <a:lnTo>
                    <a:pt x="269" y="31"/>
                  </a:lnTo>
                  <a:lnTo>
                    <a:pt x="269" y="27"/>
                  </a:lnTo>
                  <a:lnTo>
                    <a:pt x="269" y="27"/>
                  </a:lnTo>
                  <a:lnTo>
                    <a:pt x="269" y="25"/>
                  </a:lnTo>
                  <a:lnTo>
                    <a:pt x="267" y="23"/>
                  </a:lnTo>
                  <a:lnTo>
                    <a:pt x="267" y="23"/>
                  </a:lnTo>
                  <a:lnTo>
                    <a:pt x="269" y="19"/>
                  </a:lnTo>
                  <a:lnTo>
                    <a:pt x="269" y="17"/>
                  </a:lnTo>
                  <a:lnTo>
                    <a:pt x="269" y="13"/>
                  </a:lnTo>
                  <a:lnTo>
                    <a:pt x="269" y="13"/>
                  </a:lnTo>
                  <a:lnTo>
                    <a:pt x="269" y="11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9" y="9"/>
                  </a:lnTo>
                  <a:lnTo>
                    <a:pt x="271" y="7"/>
                  </a:lnTo>
                  <a:lnTo>
                    <a:pt x="271" y="5"/>
                  </a:lnTo>
                  <a:lnTo>
                    <a:pt x="273" y="5"/>
                  </a:lnTo>
                  <a:lnTo>
                    <a:pt x="273" y="3"/>
                  </a:lnTo>
                  <a:lnTo>
                    <a:pt x="273" y="3"/>
                  </a:lnTo>
                  <a:lnTo>
                    <a:pt x="267" y="3"/>
                  </a:lnTo>
                  <a:lnTo>
                    <a:pt x="263" y="5"/>
                  </a:lnTo>
                  <a:lnTo>
                    <a:pt x="261" y="3"/>
                  </a:lnTo>
                  <a:lnTo>
                    <a:pt x="259" y="0"/>
                  </a:lnTo>
                  <a:lnTo>
                    <a:pt x="255" y="0"/>
                  </a:lnTo>
                  <a:lnTo>
                    <a:pt x="253" y="0"/>
                  </a:lnTo>
                  <a:lnTo>
                    <a:pt x="253" y="3"/>
                  </a:lnTo>
                  <a:lnTo>
                    <a:pt x="251" y="3"/>
                  </a:lnTo>
                  <a:lnTo>
                    <a:pt x="249" y="3"/>
                  </a:lnTo>
                  <a:lnTo>
                    <a:pt x="243" y="0"/>
                  </a:lnTo>
                  <a:lnTo>
                    <a:pt x="241" y="0"/>
                  </a:lnTo>
                  <a:lnTo>
                    <a:pt x="238" y="0"/>
                  </a:lnTo>
                  <a:lnTo>
                    <a:pt x="238" y="3"/>
                  </a:lnTo>
                  <a:lnTo>
                    <a:pt x="234" y="5"/>
                  </a:lnTo>
                  <a:lnTo>
                    <a:pt x="230" y="5"/>
                  </a:lnTo>
                  <a:lnTo>
                    <a:pt x="226" y="7"/>
                  </a:lnTo>
                  <a:lnTo>
                    <a:pt x="224" y="9"/>
                  </a:lnTo>
                  <a:lnTo>
                    <a:pt x="222" y="7"/>
                  </a:lnTo>
                  <a:lnTo>
                    <a:pt x="218" y="5"/>
                  </a:lnTo>
                  <a:lnTo>
                    <a:pt x="218" y="5"/>
                  </a:lnTo>
                  <a:lnTo>
                    <a:pt x="216" y="3"/>
                  </a:lnTo>
                  <a:lnTo>
                    <a:pt x="199" y="3"/>
                  </a:lnTo>
                  <a:lnTo>
                    <a:pt x="197" y="5"/>
                  </a:lnTo>
                  <a:lnTo>
                    <a:pt x="187" y="5"/>
                  </a:lnTo>
                  <a:lnTo>
                    <a:pt x="187" y="7"/>
                  </a:lnTo>
                  <a:lnTo>
                    <a:pt x="183" y="9"/>
                  </a:lnTo>
                  <a:lnTo>
                    <a:pt x="179" y="9"/>
                  </a:lnTo>
                  <a:lnTo>
                    <a:pt x="173" y="9"/>
                  </a:lnTo>
                  <a:lnTo>
                    <a:pt x="163" y="11"/>
                  </a:lnTo>
                  <a:lnTo>
                    <a:pt x="158" y="11"/>
                  </a:lnTo>
                  <a:lnTo>
                    <a:pt x="154" y="13"/>
                  </a:lnTo>
                  <a:lnTo>
                    <a:pt x="150" y="15"/>
                  </a:lnTo>
                  <a:lnTo>
                    <a:pt x="148" y="17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38" y="23"/>
                  </a:lnTo>
                  <a:lnTo>
                    <a:pt x="136" y="23"/>
                  </a:lnTo>
                  <a:lnTo>
                    <a:pt x="128" y="25"/>
                  </a:lnTo>
                  <a:lnTo>
                    <a:pt x="126" y="27"/>
                  </a:lnTo>
                  <a:lnTo>
                    <a:pt x="124" y="29"/>
                  </a:lnTo>
                  <a:lnTo>
                    <a:pt x="121" y="31"/>
                  </a:lnTo>
                  <a:lnTo>
                    <a:pt x="119" y="33"/>
                  </a:lnTo>
                  <a:lnTo>
                    <a:pt x="117" y="35"/>
                  </a:lnTo>
                  <a:lnTo>
                    <a:pt x="113" y="37"/>
                  </a:lnTo>
                  <a:lnTo>
                    <a:pt x="111" y="37"/>
                  </a:lnTo>
                  <a:lnTo>
                    <a:pt x="107" y="37"/>
                  </a:lnTo>
                  <a:lnTo>
                    <a:pt x="109" y="37"/>
                  </a:lnTo>
                  <a:lnTo>
                    <a:pt x="109" y="40"/>
                  </a:lnTo>
                  <a:lnTo>
                    <a:pt x="113" y="42"/>
                  </a:lnTo>
                  <a:lnTo>
                    <a:pt x="113" y="44"/>
                  </a:lnTo>
                  <a:lnTo>
                    <a:pt x="113" y="44"/>
                  </a:lnTo>
                  <a:lnTo>
                    <a:pt x="113" y="46"/>
                  </a:lnTo>
                  <a:lnTo>
                    <a:pt x="113" y="46"/>
                  </a:lnTo>
                  <a:lnTo>
                    <a:pt x="113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0"/>
                  </a:lnTo>
                  <a:lnTo>
                    <a:pt x="113" y="50"/>
                  </a:lnTo>
                  <a:lnTo>
                    <a:pt x="115" y="54"/>
                  </a:lnTo>
                  <a:lnTo>
                    <a:pt x="115" y="58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2"/>
                  </a:lnTo>
                  <a:lnTo>
                    <a:pt x="115" y="64"/>
                  </a:lnTo>
                  <a:lnTo>
                    <a:pt x="115" y="70"/>
                  </a:lnTo>
                  <a:lnTo>
                    <a:pt x="115" y="72"/>
                  </a:lnTo>
                  <a:lnTo>
                    <a:pt x="117" y="74"/>
                  </a:lnTo>
                  <a:lnTo>
                    <a:pt x="117" y="79"/>
                  </a:lnTo>
                  <a:lnTo>
                    <a:pt x="117" y="79"/>
                  </a:lnTo>
                  <a:lnTo>
                    <a:pt x="119" y="81"/>
                  </a:lnTo>
                  <a:lnTo>
                    <a:pt x="119" y="81"/>
                  </a:lnTo>
                  <a:lnTo>
                    <a:pt x="121" y="83"/>
                  </a:lnTo>
                  <a:lnTo>
                    <a:pt x="124" y="83"/>
                  </a:lnTo>
                  <a:lnTo>
                    <a:pt x="124" y="85"/>
                  </a:lnTo>
                  <a:lnTo>
                    <a:pt x="121" y="87"/>
                  </a:lnTo>
                  <a:lnTo>
                    <a:pt x="121" y="87"/>
                  </a:lnTo>
                  <a:lnTo>
                    <a:pt x="121" y="89"/>
                  </a:lnTo>
                  <a:lnTo>
                    <a:pt x="121" y="91"/>
                  </a:lnTo>
                  <a:lnTo>
                    <a:pt x="121" y="91"/>
                  </a:lnTo>
                  <a:lnTo>
                    <a:pt x="119" y="93"/>
                  </a:lnTo>
                  <a:lnTo>
                    <a:pt x="117" y="93"/>
                  </a:lnTo>
                  <a:lnTo>
                    <a:pt x="115" y="93"/>
                  </a:lnTo>
                  <a:lnTo>
                    <a:pt x="111" y="91"/>
                  </a:lnTo>
                  <a:lnTo>
                    <a:pt x="107" y="91"/>
                  </a:lnTo>
                  <a:lnTo>
                    <a:pt x="105" y="91"/>
                  </a:lnTo>
                  <a:lnTo>
                    <a:pt x="103" y="91"/>
                  </a:lnTo>
                  <a:lnTo>
                    <a:pt x="101" y="91"/>
                  </a:lnTo>
                  <a:lnTo>
                    <a:pt x="99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5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87" y="99"/>
                  </a:lnTo>
                  <a:lnTo>
                    <a:pt x="85" y="99"/>
                  </a:lnTo>
                  <a:lnTo>
                    <a:pt x="82" y="99"/>
                  </a:lnTo>
                  <a:lnTo>
                    <a:pt x="82" y="99"/>
                  </a:lnTo>
                  <a:lnTo>
                    <a:pt x="80" y="99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5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09"/>
                  </a:lnTo>
                  <a:lnTo>
                    <a:pt x="80" y="109"/>
                  </a:lnTo>
                  <a:lnTo>
                    <a:pt x="82" y="109"/>
                  </a:lnTo>
                  <a:lnTo>
                    <a:pt x="82" y="109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4"/>
                  </a:lnTo>
                  <a:lnTo>
                    <a:pt x="82" y="114"/>
                  </a:lnTo>
                  <a:lnTo>
                    <a:pt x="80" y="114"/>
                  </a:lnTo>
                  <a:lnTo>
                    <a:pt x="78" y="114"/>
                  </a:lnTo>
                  <a:lnTo>
                    <a:pt x="74" y="116"/>
                  </a:lnTo>
                  <a:lnTo>
                    <a:pt x="72" y="118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4" y="120"/>
                  </a:lnTo>
                  <a:lnTo>
                    <a:pt x="62" y="122"/>
                  </a:lnTo>
                  <a:lnTo>
                    <a:pt x="60" y="124"/>
                  </a:lnTo>
                  <a:lnTo>
                    <a:pt x="58" y="128"/>
                  </a:lnTo>
                  <a:lnTo>
                    <a:pt x="56" y="130"/>
                  </a:lnTo>
                  <a:lnTo>
                    <a:pt x="54" y="132"/>
                  </a:lnTo>
                  <a:lnTo>
                    <a:pt x="52" y="132"/>
                  </a:lnTo>
                  <a:lnTo>
                    <a:pt x="50" y="132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41" y="134"/>
                  </a:lnTo>
                  <a:lnTo>
                    <a:pt x="39" y="134"/>
                  </a:lnTo>
                  <a:lnTo>
                    <a:pt x="39" y="134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3" y="138"/>
                  </a:lnTo>
                  <a:lnTo>
                    <a:pt x="31" y="138"/>
                  </a:lnTo>
                  <a:lnTo>
                    <a:pt x="29" y="138"/>
                  </a:lnTo>
                  <a:lnTo>
                    <a:pt x="27" y="138"/>
                  </a:lnTo>
                  <a:lnTo>
                    <a:pt x="27" y="138"/>
                  </a:lnTo>
                  <a:lnTo>
                    <a:pt x="25" y="138"/>
                  </a:lnTo>
                  <a:lnTo>
                    <a:pt x="25" y="140"/>
                  </a:lnTo>
                  <a:lnTo>
                    <a:pt x="23" y="140"/>
                  </a:lnTo>
                  <a:lnTo>
                    <a:pt x="21" y="142"/>
                  </a:lnTo>
                  <a:lnTo>
                    <a:pt x="19" y="142"/>
                  </a:lnTo>
                  <a:lnTo>
                    <a:pt x="19" y="142"/>
                  </a:lnTo>
                  <a:lnTo>
                    <a:pt x="15" y="146"/>
                  </a:lnTo>
                  <a:lnTo>
                    <a:pt x="13" y="146"/>
                  </a:lnTo>
                  <a:lnTo>
                    <a:pt x="9" y="149"/>
                  </a:lnTo>
                  <a:lnTo>
                    <a:pt x="9" y="151"/>
                  </a:lnTo>
                  <a:lnTo>
                    <a:pt x="6" y="151"/>
                  </a:lnTo>
                  <a:lnTo>
                    <a:pt x="4" y="153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9"/>
                  </a:lnTo>
                  <a:lnTo>
                    <a:pt x="2" y="161"/>
                  </a:lnTo>
                  <a:lnTo>
                    <a:pt x="2" y="165"/>
                  </a:lnTo>
                  <a:lnTo>
                    <a:pt x="2" y="169"/>
                  </a:lnTo>
                  <a:lnTo>
                    <a:pt x="2" y="173"/>
                  </a:lnTo>
                  <a:lnTo>
                    <a:pt x="2" y="177"/>
                  </a:lnTo>
                  <a:lnTo>
                    <a:pt x="0" y="179"/>
                  </a:lnTo>
                  <a:lnTo>
                    <a:pt x="4" y="181"/>
                  </a:lnTo>
                  <a:lnTo>
                    <a:pt x="6" y="183"/>
                  </a:lnTo>
                  <a:lnTo>
                    <a:pt x="11" y="186"/>
                  </a:lnTo>
                  <a:lnTo>
                    <a:pt x="13" y="188"/>
                  </a:lnTo>
                  <a:lnTo>
                    <a:pt x="15" y="190"/>
                  </a:lnTo>
                  <a:lnTo>
                    <a:pt x="19" y="192"/>
                  </a:lnTo>
                  <a:lnTo>
                    <a:pt x="21" y="194"/>
                  </a:lnTo>
                  <a:lnTo>
                    <a:pt x="25" y="196"/>
                  </a:lnTo>
                  <a:lnTo>
                    <a:pt x="27" y="198"/>
                  </a:lnTo>
                  <a:lnTo>
                    <a:pt x="29" y="200"/>
                  </a:lnTo>
                  <a:lnTo>
                    <a:pt x="33" y="202"/>
                  </a:lnTo>
                  <a:lnTo>
                    <a:pt x="35" y="204"/>
                  </a:lnTo>
                  <a:lnTo>
                    <a:pt x="39" y="206"/>
                  </a:lnTo>
                  <a:lnTo>
                    <a:pt x="41" y="208"/>
                  </a:lnTo>
                  <a:lnTo>
                    <a:pt x="43" y="210"/>
                  </a:lnTo>
                  <a:lnTo>
                    <a:pt x="48" y="212"/>
                  </a:lnTo>
                  <a:lnTo>
                    <a:pt x="50" y="214"/>
                  </a:lnTo>
                  <a:lnTo>
                    <a:pt x="54" y="216"/>
                  </a:lnTo>
                  <a:lnTo>
                    <a:pt x="58" y="220"/>
                  </a:lnTo>
                  <a:lnTo>
                    <a:pt x="60" y="223"/>
                  </a:lnTo>
                  <a:lnTo>
                    <a:pt x="66" y="227"/>
                  </a:lnTo>
                  <a:lnTo>
                    <a:pt x="70" y="229"/>
                  </a:lnTo>
                  <a:lnTo>
                    <a:pt x="74" y="233"/>
                  </a:lnTo>
                  <a:lnTo>
                    <a:pt x="80" y="237"/>
                  </a:lnTo>
                  <a:lnTo>
                    <a:pt x="85" y="241"/>
                  </a:lnTo>
                  <a:lnTo>
                    <a:pt x="91" y="245"/>
                  </a:lnTo>
                  <a:lnTo>
                    <a:pt x="95" y="249"/>
                  </a:lnTo>
                  <a:lnTo>
                    <a:pt x="99" y="253"/>
                  </a:lnTo>
                  <a:lnTo>
                    <a:pt x="105" y="257"/>
                  </a:lnTo>
                  <a:lnTo>
                    <a:pt x="109" y="260"/>
                  </a:lnTo>
                  <a:lnTo>
                    <a:pt x="115" y="264"/>
                  </a:lnTo>
                  <a:lnTo>
                    <a:pt x="119" y="268"/>
                  </a:lnTo>
                  <a:lnTo>
                    <a:pt x="126" y="272"/>
                  </a:lnTo>
                  <a:lnTo>
                    <a:pt x="130" y="276"/>
                  </a:lnTo>
                  <a:lnTo>
                    <a:pt x="136" y="280"/>
                  </a:lnTo>
                  <a:lnTo>
                    <a:pt x="140" y="284"/>
                  </a:lnTo>
                  <a:lnTo>
                    <a:pt x="146" y="288"/>
                  </a:lnTo>
                  <a:lnTo>
                    <a:pt x="150" y="292"/>
                  </a:lnTo>
                  <a:lnTo>
                    <a:pt x="154" y="294"/>
                  </a:lnTo>
                  <a:lnTo>
                    <a:pt x="154" y="294"/>
                  </a:lnTo>
                  <a:lnTo>
                    <a:pt x="154" y="297"/>
                  </a:lnTo>
                  <a:lnTo>
                    <a:pt x="154" y="299"/>
                  </a:lnTo>
                  <a:lnTo>
                    <a:pt x="154" y="299"/>
                  </a:lnTo>
                  <a:lnTo>
                    <a:pt x="154" y="301"/>
                  </a:lnTo>
                  <a:lnTo>
                    <a:pt x="156" y="301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3" y="307"/>
                  </a:lnTo>
                  <a:lnTo>
                    <a:pt x="163" y="309"/>
                  </a:lnTo>
                  <a:lnTo>
                    <a:pt x="165" y="309"/>
                  </a:lnTo>
                  <a:lnTo>
                    <a:pt x="165" y="309"/>
                  </a:lnTo>
                  <a:lnTo>
                    <a:pt x="171" y="309"/>
                  </a:lnTo>
                  <a:lnTo>
                    <a:pt x="171" y="311"/>
                  </a:lnTo>
                  <a:lnTo>
                    <a:pt x="173" y="313"/>
                  </a:lnTo>
                  <a:lnTo>
                    <a:pt x="175" y="313"/>
                  </a:lnTo>
                  <a:lnTo>
                    <a:pt x="177" y="315"/>
                  </a:lnTo>
                  <a:lnTo>
                    <a:pt x="179" y="315"/>
                  </a:lnTo>
                  <a:lnTo>
                    <a:pt x="181" y="315"/>
                  </a:lnTo>
                  <a:lnTo>
                    <a:pt x="183" y="315"/>
                  </a:lnTo>
                  <a:lnTo>
                    <a:pt x="185" y="317"/>
                  </a:lnTo>
                  <a:lnTo>
                    <a:pt x="185" y="317"/>
                  </a:lnTo>
                  <a:lnTo>
                    <a:pt x="185" y="319"/>
                  </a:lnTo>
                  <a:lnTo>
                    <a:pt x="185" y="319"/>
                  </a:lnTo>
                  <a:lnTo>
                    <a:pt x="185" y="321"/>
                  </a:lnTo>
                  <a:lnTo>
                    <a:pt x="185" y="323"/>
                  </a:lnTo>
                  <a:lnTo>
                    <a:pt x="187" y="325"/>
                  </a:lnTo>
                  <a:lnTo>
                    <a:pt x="187" y="325"/>
                  </a:lnTo>
                  <a:lnTo>
                    <a:pt x="185" y="325"/>
                  </a:lnTo>
                  <a:lnTo>
                    <a:pt x="185" y="327"/>
                  </a:lnTo>
                  <a:lnTo>
                    <a:pt x="185" y="327"/>
                  </a:lnTo>
                  <a:lnTo>
                    <a:pt x="185" y="327"/>
                  </a:lnTo>
                  <a:lnTo>
                    <a:pt x="183" y="329"/>
                  </a:lnTo>
                  <a:lnTo>
                    <a:pt x="185" y="329"/>
                  </a:lnTo>
                  <a:lnTo>
                    <a:pt x="185" y="331"/>
                  </a:lnTo>
                  <a:lnTo>
                    <a:pt x="187" y="331"/>
                  </a:lnTo>
                  <a:lnTo>
                    <a:pt x="187" y="331"/>
                  </a:lnTo>
                  <a:lnTo>
                    <a:pt x="187" y="334"/>
                  </a:lnTo>
                  <a:lnTo>
                    <a:pt x="189" y="331"/>
                  </a:lnTo>
                  <a:lnTo>
                    <a:pt x="189" y="331"/>
                  </a:lnTo>
                  <a:lnTo>
                    <a:pt x="193" y="331"/>
                  </a:lnTo>
                  <a:lnTo>
                    <a:pt x="197" y="331"/>
                  </a:lnTo>
                  <a:lnTo>
                    <a:pt x="202" y="329"/>
                  </a:lnTo>
                  <a:lnTo>
                    <a:pt x="206" y="329"/>
                  </a:lnTo>
                  <a:lnTo>
                    <a:pt x="210" y="327"/>
                  </a:lnTo>
                  <a:lnTo>
                    <a:pt x="214" y="327"/>
                  </a:lnTo>
                  <a:lnTo>
                    <a:pt x="220" y="325"/>
                  </a:lnTo>
                  <a:lnTo>
                    <a:pt x="226" y="325"/>
                  </a:lnTo>
                  <a:lnTo>
                    <a:pt x="228" y="323"/>
                  </a:lnTo>
                  <a:lnTo>
                    <a:pt x="232" y="319"/>
                  </a:lnTo>
                  <a:lnTo>
                    <a:pt x="234" y="317"/>
                  </a:lnTo>
                  <a:lnTo>
                    <a:pt x="238" y="313"/>
                  </a:lnTo>
                  <a:lnTo>
                    <a:pt x="243" y="309"/>
                  </a:lnTo>
                  <a:lnTo>
                    <a:pt x="247" y="305"/>
                  </a:lnTo>
                  <a:lnTo>
                    <a:pt x="251" y="301"/>
                  </a:lnTo>
                  <a:lnTo>
                    <a:pt x="253" y="299"/>
                  </a:lnTo>
                  <a:lnTo>
                    <a:pt x="259" y="294"/>
                  </a:lnTo>
                  <a:lnTo>
                    <a:pt x="267" y="288"/>
                  </a:lnTo>
                  <a:lnTo>
                    <a:pt x="275" y="282"/>
                  </a:lnTo>
                  <a:lnTo>
                    <a:pt x="284" y="278"/>
                  </a:lnTo>
                  <a:lnTo>
                    <a:pt x="292" y="272"/>
                  </a:lnTo>
                  <a:lnTo>
                    <a:pt x="300" y="266"/>
                  </a:lnTo>
                  <a:lnTo>
                    <a:pt x="308" y="262"/>
                  </a:lnTo>
                  <a:lnTo>
                    <a:pt x="317" y="255"/>
                  </a:lnTo>
                  <a:lnTo>
                    <a:pt x="325" y="249"/>
                  </a:lnTo>
                  <a:lnTo>
                    <a:pt x="323" y="24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1" name="Freeform 247">
              <a:extLst>
                <a:ext uri="{FF2B5EF4-FFF2-40B4-BE49-F238E27FC236}">
                  <a16:creationId xmlns:a16="http://schemas.microsoft.com/office/drawing/2014/main" id="{BE64376B-C91F-A547-9F08-EA4B2BDDB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9628" y="2602810"/>
              <a:ext cx="32086" cy="60608"/>
            </a:xfrm>
            <a:custGeom>
              <a:avLst/>
              <a:gdLst>
                <a:gd name="T0" fmla="*/ 27 w 27"/>
                <a:gd name="T1" fmla="*/ 35 h 51"/>
                <a:gd name="T2" fmla="*/ 27 w 27"/>
                <a:gd name="T3" fmla="*/ 33 h 51"/>
                <a:gd name="T4" fmla="*/ 27 w 27"/>
                <a:gd name="T5" fmla="*/ 31 h 51"/>
                <a:gd name="T6" fmla="*/ 23 w 27"/>
                <a:gd name="T7" fmla="*/ 31 h 51"/>
                <a:gd name="T8" fmla="*/ 23 w 27"/>
                <a:gd name="T9" fmla="*/ 29 h 51"/>
                <a:gd name="T10" fmla="*/ 21 w 27"/>
                <a:gd name="T11" fmla="*/ 26 h 51"/>
                <a:gd name="T12" fmla="*/ 19 w 27"/>
                <a:gd name="T13" fmla="*/ 22 h 51"/>
                <a:gd name="T14" fmla="*/ 19 w 27"/>
                <a:gd name="T15" fmla="*/ 20 h 51"/>
                <a:gd name="T16" fmla="*/ 19 w 27"/>
                <a:gd name="T17" fmla="*/ 18 h 51"/>
                <a:gd name="T18" fmla="*/ 19 w 27"/>
                <a:gd name="T19" fmla="*/ 16 h 51"/>
                <a:gd name="T20" fmla="*/ 21 w 27"/>
                <a:gd name="T21" fmla="*/ 14 h 51"/>
                <a:gd name="T22" fmla="*/ 21 w 27"/>
                <a:gd name="T23" fmla="*/ 10 h 51"/>
                <a:gd name="T24" fmla="*/ 19 w 27"/>
                <a:gd name="T25" fmla="*/ 8 h 51"/>
                <a:gd name="T26" fmla="*/ 17 w 27"/>
                <a:gd name="T27" fmla="*/ 6 h 51"/>
                <a:gd name="T28" fmla="*/ 15 w 27"/>
                <a:gd name="T29" fmla="*/ 4 h 51"/>
                <a:gd name="T30" fmla="*/ 13 w 27"/>
                <a:gd name="T31" fmla="*/ 2 h 51"/>
                <a:gd name="T32" fmla="*/ 11 w 27"/>
                <a:gd name="T33" fmla="*/ 2 h 51"/>
                <a:gd name="T34" fmla="*/ 9 w 27"/>
                <a:gd name="T35" fmla="*/ 2 h 51"/>
                <a:gd name="T36" fmla="*/ 7 w 27"/>
                <a:gd name="T37" fmla="*/ 2 h 51"/>
                <a:gd name="T38" fmla="*/ 7 w 27"/>
                <a:gd name="T39" fmla="*/ 0 h 51"/>
                <a:gd name="T40" fmla="*/ 7 w 27"/>
                <a:gd name="T41" fmla="*/ 0 h 51"/>
                <a:gd name="T42" fmla="*/ 5 w 27"/>
                <a:gd name="T43" fmla="*/ 2 h 51"/>
                <a:gd name="T44" fmla="*/ 3 w 27"/>
                <a:gd name="T45" fmla="*/ 6 h 51"/>
                <a:gd name="T46" fmla="*/ 0 w 27"/>
                <a:gd name="T47" fmla="*/ 8 h 51"/>
                <a:gd name="T48" fmla="*/ 3 w 27"/>
                <a:gd name="T49" fmla="*/ 10 h 51"/>
                <a:gd name="T50" fmla="*/ 3 w 27"/>
                <a:gd name="T51" fmla="*/ 12 h 51"/>
                <a:gd name="T52" fmla="*/ 3 w 27"/>
                <a:gd name="T53" fmla="*/ 14 h 51"/>
                <a:gd name="T54" fmla="*/ 5 w 27"/>
                <a:gd name="T55" fmla="*/ 14 h 51"/>
                <a:gd name="T56" fmla="*/ 5 w 27"/>
                <a:gd name="T57" fmla="*/ 18 h 51"/>
                <a:gd name="T58" fmla="*/ 5 w 27"/>
                <a:gd name="T59" fmla="*/ 22 h 51"/>
                <a:gd name="T60" fmla="*/ 5 w 27"/>
                <a:gd name="T61" fmla="*/ 24 h 51"/>
                <a:gd name="T62" fmla="*/ 5 w 27"/>
                <a:gd name="T63" fmla="*/ 31 h 51"/>
                <a:gd name="T64" fmla="*/ 3 w 27"/>
                <a:gd name="T65" fmla="*/ 35 h 51"/>
                <a:gd name="T66" fmla="*/ 5 w 27"/>
                <a:gd name="T67" fmla="*/ 39 h 51"/>
                <a:gd name="T68" fmla="*/ 5 w 27"/>
                <a:gd name="T69" fmla="*/ 41 h 51"/>
                <a:gd name="T70" fmla="*/ 3 w 27"/>
                <a:gd name="T71" fmla="*/ 39 h 51"/>
                <a:gd name="T72" fmla="*/ 3 w 27"/>
                <a:gd name="T73" fmla="*/ 41 h 51"/>
                <a:gd name="T74" fmla="*/ 5 w 27"/>
                <a:gd name="T75" fmla="*/ 43 h 51"/>
                <a:gd name="T76" fmla="*/ 13 w 27"/>
                <a:gd name="T77" fmla="*/ 47 h 51"/>
                <a:gd name="T78" fmla="*/ 13 w 27"/>
                <a:gd name="T79" fmla="*/ 51 h 51"/>
                <a:gd name="T80" fmla="*/ 15 w 27"/>
                <a:gd name="T81" fmla="*/ 51 h 51"/>
                <a:gd name="T82" fmla="*/ 17 w 27"/>
                <a:gd name="T83" fmla="*/ 51 h 51"/>
                <a:gd name="T84" fmla="*/ 17 w 27"/>
                <a:gd name="T85" fmla="*/ 51 h 51"/>
                <a:gd name="T86" fmla="*/ 17 w 27"/>
                <a:gd name="T87" fmla="*/ 49 h 51"/>
                <a:gd name="T88" fmla="*/ 19 w 27"/>
                <a:gd name="T89" fmla="*/ 49 h 51"/>
                <a:gd name="T90" fmla="*/ 19 w 27"/>
                <a:gd name="T91" fmla="*/ 49 h 51"/>
                <a:gd name="T92" fmla="*/ 17 w 27"/>
                <a:gd name="T93" fmla="*/ 47 h 51"/>
                <a:gd name="T94" fmla="*/ 19 w 27"/>
                <a:gd name="T95" fmla="*/ 45 h 51"/>
                <a:gd name="T96" fmla="*/ 19 w 27"/>
                <a:gd name="T97" fmla="*/ 47 h 51"/>
                <a:gd name="T98" fmla="*/ 21 w 27"/>
                <a:gd name="T99" fmla="*/ 45 h 51"/>
                <a:gd name="T100" fmla="*/ 23 w 27"/>
                <a:gd name="T101" fmla="*/ 45 h 51"/>
                <a:gd name="T102" fmla="*/ 23 w 27"/>
                <a:gd name="T103" fmla="*/ 43 h 51"/>
                <a:gd name="T104" fmla="*/ 23 w 27"/>
                <a:gd name="T105" fmla="*/ 41 h 51"/>
                <a:gd name="T106" fmla="*/ 25 w 27"/>
                <a:gd name="T107" fmla="*/ 39 h 51"/>
                <a:gd name="T108" fmla="*/ 27 w 27"/>
                <a:gd name="T109" fmla="*/ 39 h 51"/>
                <a:gd name="T110" fmla="*/ 27 w 27"/>
                <a:gd name="T111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" h="51">
                  <a:moveTo>
                    <a:pt x="27" y="35"/>
                  </a:moveTo>
                  <a:lnTo>
                    <a:pt x="27" y="35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5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29"/>
                  </a:lnTo>
                  <a:lnTo>
                    <a:pt x="21" y="29"/>
                  </a:lnTo>
                  <a:lnTo>
                    <a:pt x="21" y="26"/>
                  </a:lnTo>
                  <a:lnTo>
                    <a:pt x="19" y="24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0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21" y="10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7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4"/>
                  </a:lnTo>
                  <a:lnTo>
                    <a:pt x="5" y="26"/>
                  </a:lnTo>
                  <a:lnTo>
                    <a:pt x="5" y="31"/>
                  </a:lnTo>
                  <a:lnTo>
                    <a:pt x="3" y="33"/>
                  </a:lnTo>
                  <a:lnTo>
                    <a:pt x="3" y="35"/>
                  </a:lnTo>
                  <a:lnTo>
                    <a:pt x="3" y="37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41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3" y="47"/>
                  </a:lnTo>
                  <a:lnTo>
                    <a:pt x="13" y="49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9" y="45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5"/>
                  </a:lnTo>
                  <a:lnTo>
                    <a:pt x="21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3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7" y="39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2" name="Freeform 248">
              <a:extLst>
                <a:ext uri="{FF2B5EF4-FFF2-40B4-BE49-F238E27FC236}">
                  <a16:creationId xmlns:a16="http://schemas.microsoft.com/office/drawing/2014/main" id="{225936D2-71AB-0E4C-A469-92244962F1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5368" y="2230845"/>
              <a:ext cx="17826" cy="7130"/>
            </a:xfrm>
            <a:custGeom>
              <a:avLst/>
              <a:gdLst>
                <a:gd name="T0" fmla="*/ 15 w 15"/>
                <a:gd name="T1" fmla="*/ 6 h 6"/>
                <a:gd name="T2" fmla="*/ 12 w 15"/>
                <a:gd name="T3" fmla="*/ 4 h 6"/>
                <a:gd name="T4" fmla="*/ 12 w 15"/>
                <a:gd name="T5" fmla="*/ 6 h 6"/>
                <a:gd name="T6" fmla="*/ 12 w 15"/>
                <a:gd name="T7" fmla="*/ 6 h 6"/>
                <a:gd name="T8" fmla="*/ 12 w 15"/>
                <a:gd name="T9" fmla="*/ 6 h 6"/>
                <a:gd name="T10" fmla="*/ 12 w 15"/>
                <a:gd name="T11" fmla="*/ 6 h 6"/>
                <a:gd name="T12" fmla="*/ 15 w 15"/>
                <a:gd name="T13" fmla="*/ 6 h 6"/>
                <a:gd name="T14" fmla="*/ 15 w 15"/>
                <a:gd name="T15" fmla="*/ 6 h 6"/>
                <a:gd name="T16" fmla="*/ 15 w 15"/>
                <a:gd name="T17" fmla="*/ 6 h 6"/>
                <a:gd name="T18" fmla="*/ 15 w 15"/>
                <a:gd name="T19" fmla="*/ 6 h 6"/>
                <a:gd name="T20" fmla="*/ 2 w 15"/>
                <a:gd name="T21" fmla="*/ 2 h 6"/>
                <a:gd name="T22" fmla="*/ 0 w 15"/>
                <a:gd name="T23" fmla="*/ 2 h 6"/>
                <a:gd name="T24" fmla="*/ 0 w 15"/>
                <a:gd name="T25" fmla="*/ 4 h 6"/>
                <a:gd name="T26" fmla="*/ 0 w 15"/>
                <a:gd name="T27" fmla="*/ 4 h 6"/>
                <a:gd name="T28" fmla="*/ 2 w 15"/>
                <a:gd name="T29" fmla="*/ 4 h 6"/>
                <a:gd name="T30" fmla="*/ 2 w 15"/>
                <a:gd name="T31" fmla="*/ 4 h 6"/>
                <a:gd name="T32" fmla="*/ 2 w 15"/>
                <a:gd name="T33" fmla="*/ 4 h 6"/>
                <a:gd name="T34" fmla="*/ 2 w 15"/>
                <a:gd name="T35" fmla="*/ 4 h 6"/>
                <a:gd name="T36" fmla="*/ 2 w 15"/>
                <a:gd name="T37" fmla="*/ 4 h 6"/>
                <a:gd name="T38" fmla="*/ 2 w 15"/>
                <a:gd name="T39" fmla="*/ 2 h 6"/>
                <a:gd name="T40" fmla="*/ 8 w 15"/>
                <a:gd name="T41" fmla="*/ 2 h 6"/>
                <a:gd name="T42" fmla="*/ 8 w 15"/>
                <a:gd name="T43" fmla="*/ 2 h 6"/>
                <a:gd name="T44" fmla="*/ 8 w 15"/>
                <a:gd name="T45" fmla="*/ 0 h 6"/>
                <a:gd name="T46" fmla="*/ 6 w 15"/>
                <a:gd name="T47" fmla="*/ 0 h 6"/>
                <a:gd name="T48" fmla="*/ 6 w 15"/>
                <a:gd name="T49" fmla="*/ 0 h 6"/>
                <a:gd name="T50" fmla="*/ 6 w 15"/>
                <a:gd name="T51" fmla="*/ 0 h 6"/>
                <a:gd name="T52" fmla="*/ 6 w 15"/>
                <a:gd name="T53" fmla="*/ 0 h 6"/>
                <a:gd name="T54" fmla="*/ 4 w 15"/>
                <a:gd name="T55" fmla="*/ 0 h 6"/>
                <a:gd name="T56" fmla="*/ 4 w 15"/>
                <a:gd name="T57" fmla="*/ 0 h 6"/>
                <a:gd name="T58" fmla="*/ 4 w 15"/>
                <a:gd name="T59" fmla="*/ 0 h 6"/>
                <a:gd name="T60" fmla="*/ 4 w 15"/>
                <a:gd name="T61" fmla="*/ 0 h 6"/>
                <a:gd name="T62" fmla="*/ 4 w 15"/>
                <a:gd name="T63" fmla="*/ 0 h 6"/>
                <a:gd name="T64" fmla="*/ 4 w 15"/>
                <a:gd name="T65" fmla="*/ 2 h 6"/>
                <a:gd name="T66" fmla="*/ 4 w 15"/>
                <a:gd name="T67" fmla="*/ 2 h 6"/>
                <a:gd name="T68" fmla="*/ 4 w 15"/>
                <a:gd name="T69" fmla="*/ 2 h 6"/>
                <a:gd name="T70" fmla="*/ 4 w 15"/>
                <a:gd name="T71" fmla="*/ 2 h 6"/>
                <a:gd name="T72" fmla="*/ 4 w 15"/>
                <a:gd name="T73" fmla="*/ 2 h 6"/>
                <a:gd name="T74" fmla="*/ 4 w 15"/>
                <a:gd name="T75" fmla="*/ 2 h 6"/>
                <a:gd name="T76" fmla="*/ 2 w 15"/>
                <a:gd name="T77" fmla="*/ 2 h 6"/>
                <a:gd name="T78" fmla="*/ 2 w 15"/>
                <a:gd name="T79" fmla="*/ 2 h 6"/>
                <a:gd name="T80" fmla="*/ 4 w 15"/>
                <a:gd name="T81" fmla="*/ 4 h 6"/>
                <a:gd name="T82" fmla="*/ 4 w 15"/>
                <a:gd name="T83" fmla="*/ 4 h 6"/>
                <a:gd name="T84" fmla="*/ 8 w 15"/>
                <a:gd name="T85" fmla="*/ 4 h 6"/>
                <a:gd name="T86" fmla="*/ 8 w 15"/>
                <a:gd name="T87" fmla="*/ 4 h 6"/>
                <a:gd name="T88" fmla="*/ 8 w 15"/>
                <a:gd name="T89" fmla="*/ 4 h 6"/>
                <a:gd name="T90" fmla="*/ 8 w 15"/>
                <a:gd name="T91" fmla="*/ 4 h 6"/>
                <a:gd name="T92" fmla="*/ 8 w 15"/>
                <a:gd name="T93" fmla="*/ 2 h 6"/>
                <a:gd name="T94" fmla="*/ 8 w 15"/>
                <a:gd name="T95" fmla="*/ 4 h 6"/>
                <a:gd name="T96" fmla="*/ 10 w 15"/>
                <a:gd name="T97" fmla="*/ 4 h 6"/>
                <a:gd name="T98" fmla="*/ 10 w 15"/>
                <a:gd name="T99" fmla="*/ 2 h 6"/>
                <a:gd name="T100" fmla="*/ 10 w 15"/>
                <a:gd name="T101" fmla="*/ 2 h 6"/>
                <a:gd name="T102" fmla="*/ 8 w 15"/>
                <a:gd name="T10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" h="6">
                  <a:moveTo>
                    <a:pt x="15" y="6"/>
                  </a:moveTo>
                  <a:lnTo>
                    <a:pt x="12" y="4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close/>
                  <a:moveTo>
                    <a:pt x="2" y="2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close/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2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8C314DDD-02D1-B741-9E21-22EB45EFC175}"/>
              </a:ext>
            </a:extLst>
          </p:cNvPr>
          <p:cNvGrpSpPr/>
          <p:nvPr/>
        </p:nvGrpSpPr>
        <p:grpSpPr>
          <a:xfrm>
            <a:off x="4259462" y="2497989"/>
            <a:ext cx="3268914" cy="2773104"/>
            <a:chOff x="3631216" y="2333529"/>
            <a:chExt cx="2808161" cy="2382235"/>
          </a:xfrm>
          <a:solidFill>
            <a:srgbClr val="4476FF"/>
          </a:solidFill>
        </p:grpSpPr>
        <p:sp>
          <p:nvSpPr>
            <p:cNvPr id="134" name="Freeform 9">
              <a:extLst>
                <a:ext uri="{FF2B5EF4-FFF2-40B4-BE49-F238E27FC236}">
                  <a16:creationId xmlns:a16="http://schemas.microsoft.com/office/drawing/2014/main" id="{4164FF89-6324-B245-8722-A82E36298C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7262" y="3822579"/>
              <a:ext cx="43970" cy="23768"/>
            </a:xfrm>
            <a:custGeom>
              <a:avLst/>
              <a:gdLst>
                <a:gd name="T0" fmla="*/ 0 w 37"/>
                <a:gd name="T1" fmla="*/ 18 h 20"/>
                <a:gd name="T2" fmla="*/ 0 w 37"/>
                <a:gd name="T3" fmla="*/ 18 h 20"/>
                <a:gd name="T4" fmla="*/ 0 w 37"/>
                <a:gd name="T5" fmla="*/ 18 h 20"/>
                <a:gd name="T6" fmla="*/ 0 w 37"/>
                <a:gd name="T7" fmla="*/ 20 h 20"/>
                <a:gd name="T8" fmla="*/ 2 w 37"/>
                <a:gd name="T9" fmla="*/ 20 h 20"/>
                <a:gd name="T10" fmla="*/ 2 w 37"/>
                <a:gd name="T11" fmla="*/ 20 h 20"/>
                <a:gd name="T12" fmla="*/ 2 w 37"/>
                <a:gd name="T13" fmla="*/ 20 h 20"/>
                <a:gd name="T14" fmla="*/ 2 w 37"/>
                <a:gd name="T15" fmla="*/ 20 h 20"/>
                <a:gd name="T16" fmla="*/ 0 w 37"/>
                <a:gd name="T17" fmla="*/ 18 h 20"/>
                <a:gd name="T18" fmla="*/ 37 w 37"/>
                <a:gd name="T19" fmla="*/ 0 h 20"/>
                <a:gd name="T20" fmla="*/ 37 w 37"/>
                <a:gd name="T21" fmla="*/ 0 h 20"/>
                <a:gd name="T22" fmla="*/ 35 w 37"/>
                <a:gd name="T23" fmla="*/ 2 h 20"/>
                <a:gd name="T24" fmla="*/ 35 w 37"/>
                <a:gd name="T25" fmla="*/ 2 h 20"/>
                <a:gd name="T26" fmla="*/ 35 w 37"/>
                <a:gd name="T27" fmla="*/ 2 h 20"/>
                <a:gd name="T28" fmla="*/ 37 w 37"/>
                <a:gd name="T29" fmla="*/ 0 h 20"/>
                <a:gd name="T30" fmla="*/ 37 w 37"/>
                <a:gd name="T3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20"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18"/>
                  </a:lnTo>
                  <a:close/>
                  <a:moveTo>
                    <a:pt x="37" y="0"/>
                  </a:moveTo>
                  <a:lnTo>
                    <a:pt x="37" y="0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5" name="Freeform 10">
              <a:extLst>
                <a:ext uri="{FF2B5EF4-FFF2-40B4-BE49-F238E27FC236}">
                  <a16:creationId xmlns:a16="http://schemas.microsoft.com/office/drawing/2014/main" id="{F99D880C-DBBB-1345-830B-445B5D6856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5923" y="3025171"/>
              <a:ext cx="165186" cy="320865"/>
            </a:xfrm>
            <a:custGeom>
              <a:avLst/>
              <a:gdLst>
                <a:gd name="T0" fmla="*/ 55 w 139"/>
                <a:gd name="T1" fmla="*/ 237 h 270"/>
                <a:gd name="T2" fmla="*/ 55 w 139"/>
                <a:gd name="T3" fmla="*/ 239 h 270"/>
                <a:gd name="T4" fmla="*/ 82 w 139"/>
                <a:gd name="T5" fmla="*/ 48 h 270"/>
                <a:gd name="T6" fmla="*/ 78 w 139"/>
                <a:gd name="T7" fmla="*/ 46 h 270"/>
                <a:gd name="T8" fmla="*/ 88 w 139"/>
                <a:gd name="T9" fmla="*/ 41 h 270"/>
                <a:gd name="T10" fmla="*/ 137 w 139"/>
                <a:gd name="T11" fmla="*/ 196 h 270"/>
                <a:gd name="T12" fmla="*/ 135 w 139"/>
                <a:gd name="T13" fmla="*/ 175 h 270"/>
                <a:gd name="T14" fmla="*/ 127 w 139"/>
                <a:gd name="T15" fmla="*/ 153 h 270"/>
                <a:gd name="T16" fmla="*/ 113 w 139"/>
                <a:gd name="T17" fmla="*/ 132 h 270"/>
                <a:gd name="T18" fmla="*/ 104 w 139"/>
                <a:gd name="T19" fmla="*/ 128 h 270"/>
                <a:gd name="T20" fmla="*/ 82 w 139"/>
                <a:gd name="T21" fmla="*/ 103 h 270"/>
                <a:gd name="T22" fmla="*/ 70 w 139"/>
                <a:gd name="T23" fmla="*/ 89 h 270"/>
                <a:gd name="T24" fmla="*/ 65 w 139"/>
                <a:gd name="T25" fmla="*/ 70 h 270"/>
                <a:gd name="T26" fmla="*/ 78 w 139"/>
                <a:gd name="T27" fmla="*/ 46 h 270"/>
                <a:gd name="T28" fmla="*/ 82 w 139"/>
                <a:gd name="T29" fmla="*/ 44 h 270"/>
                <a:gd name="T30" fmla="*/ 92 w 139"/>
                <a:gd name="T31" fmla="*/ 33 h 270"/>
                <a:gd name="T32" fmla="*/ 82 w 139"/>
                <a:gd name="T33" fmla="*/ 29 h 270"/>
                <a:gd name="T34" fmla="*/ 74 w 139"/>
                <a:gd name="T35" fmla="*/ 25 h 270"/>
                <a:gd name="T36" fmla="*/ 70 w 139"/>
                <a:gd name="T37" fmla="*/ 13 h 270"/>
                <a:gd name="T38" fmla="*/ 63 w 139"/>
                <a:gd name="T39" fmla="*/ 9 h 270"/>
                <a:gd name="T40" fmla="*/ 51 w 139"/>
                <a:gd name="T41" fmla="*/ 4 h 270"/>
                <a:gd name="T42" fmla="*/ 41 w 139"/>
                <a:gd name="T43" fmla="*/ 2 h 270"/>
                <a:gd name="T44" fmla="*/ 33 w 139"/>
                <a:gd name="T45" fmla="*/ 11 h 270"/>
                <a:gd name="T46" fmla="*/ 22 w 139"/>
                <a:gd name="T47" fmla="*/ 11 h 270"/>
                <a:gd name="T48" fmla="*/ 16 w 139"/>
                <a:gd name="T49" fmla="*/ 13 h 270"/>
                <a:gd name="T50" fmla="*/ 6 w 139"/>
                <a:gd name="T51" fmla="*/ 11 h 270"/>
                <a:gd name="T52" fmla="*/ 0 w 139"/>
                <a:gd name="T53" fmla="*/ 19 h 270"/>
                <a:gd name="T54" fmla="*/ 10 w 139"/>
                <a:gd name="T55" fmla="*/ 29 h 270"/>
                <a:gd name="T56" fmla="*/ 14 w 139"/>
                <a:gd name="T57" fmla="*/ 33 h 270"/>
                <a:gd name="T58" fmla="*/ 28 w 139"/>
                <a:gd name="T59" fmla="*/ 48 h 270"/>
                <a:gd name="T60" fmla="*/ 43 w 139"/>
                <a:gd name="T61" fmla="*/ 50 h 270"/>
                <a:gd name="T62" fmla="*/ 45 w 139"/>
                <a:gd name="T63" fmla="*/ 56 h 270"/>
                <a:gd name="T64" fmla="*/ 47 w 139"/>
                <a:gd name="T65" fmla="*/ 66 h 270"/>
                <a:gd name="T66" fmla="*/ 37 w 139"/>
                <a:gd name="T67" fmla="*/ 72 h 270"/>
                <a:gd name="T68" fmla="*/ 49 w 139"/>
                <a:gd name="T69" fmla="*/ 83 h 270"/>
                <a:gd name="T70" fmla="*/ 59 w 139"/>
                <a:gd name="T71" fmla="*/ 93 h 270"/>
                <a:gd name="T72" fmla="*/ 72 w 139"/>
                <a:gd name="T73" fmla="*/ 107 h 270"/>
                <a:gd name="T74" fmla="*/ 84 w 139"/>
                <a:gd name="T75" fmla="*/ 122 h 270"/>
                <a:gd name="T76" fmla="*/ 90 w 139"/>
                <a:gd name="T77" fmla="*/ 128 h 270"/>
                <a:gd name="T78" fmla="*/ 96 w 139"/>
                <a:gd name="T79" fmla="*/ 138 h 270"/>
                <a:gd name="T80" fmla="*/ 104 w 139"/>
                <a:gd name="T81" fmla="*/ 148 h 270"/>
                <a:gd name="T82" fmla="*/ 104 w 139"/>
                <a:gd name="T83" fmla="*/ 161 h 270"/>
                <a:gd name="T84" fmla="*/ 109 w 139"/>
                <a:gd name="T85" fmla="*/ 179 h 270"/>
                <a:gd name="T86" fmla="*/ 106 w 139"/>
                <a:gd name="T87" fmla="*/ 202 h 270"/>
                <a:gd name="T88" fmla="*/ 94 w 139"/>
                <a:gd name="T89" fmla="*/ 208 h 270"/>
                <a:gd name="T90" fmla="*/ 86 w 139"/>
                <a:gd name="T91" fmla="*/ 212 h 270"/>
                <a:gd name="T92" fmla="*/ 84 w 139"/>
                <a:gd name="T93" fmla="*/ 222 h 270"/>
                <a:gd name="T94" fmla="*/ 84 w 139"/>
                <a:gd name="T95" fmla="*/ 229 h 270"/>
                <a:gd name="T96" fmla="*/ 74 w 139"/>
                <a:gd name="T97" fmla="*/ 229 h 270"/>
                <a:gd name="T98" fmla="*/ 65 w 139"/>
                <a:gd name="T99" fmla="*/ 235 h 270"/>
                <a:gd name="T100" fmla="*/ 67 w 139"/>
                <a:gd name="T101" fmla="*/ 241 h 270"/>
                <a:gd name="T102" fmla="*/ 70 w 139"/>
                <a:gd name="T103" fmla="*/ 259 h 270"/>
                <a:gd name="T104" fmla="*/ 90 w 139"/>
                <a:gd name="T105" fmla="*/ 255 h 270"/>
                <a:gd name="T106" fmla="*/ 96 w 139"/>
                <a:gd name="T107" fmla="*/ 251 h 270"/>
                <a:gd name="T108" fmla="*/ 98 w 139"/>
                <a:gd name="T109" fmla="*/ 245 h 270"/>
                <a:gd name="T110" fmla="*/ 98 w 139"/>
                <a:gd name="T111" fmla="*/ 239 h 270"/>
                <a:gd name="T112" fmla="*/ 102 w 139"/>
                <a:gd name="T113" fmla="*/ 237 h 270"/>
                <a:gd name="T114" fmla="*/ 109 w 139"/>
                <a:gd name="T115" fmla="*/ 237 h 270"/>
                <a:gd name="T116" fmla="*/ 129 w 139"/>
                <a:gd name="T117" fmla="*/ 222 h 270"/>
                <a:gd name="T118" fmla="*/ 135 w 139"/>
                <a:gd name="T119" fmla="*/ 210 h 270"/>
                <a:gd name="T120" fmla="*/ 137 w 139"/>
                <a:gd name="T121" fmla="*/ 20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9" h="270">
                  <a:moveTo>
                    <a:pt x="98" y="268"/>
                  </a:moveTo>
                  <a:lnTo>
                    <a:pt x="98" y="270"/>
                  </a:lnTo>
                  <a:lnTo>
                    <a:pt x="98" y="270"/>
                  </a:lnTo>
                  <a:lnTo>
                    <a:pt x="100" y="268"/>
                  </a:lnTo>
                  <a:lnTo>
                    <a:pt x="100" y="268"/>
                  </a:lnTo>
                  <a:lnTo>
                    <a:pt x="100" y="268"/>
                  </a:lnTo>
                  <a:lnTo>
                    <a:pt x="98" y="268"/>
                  </a:lnTo>
                  <a:close/>
                  <a:moveTo>
                    <a:pt x="55" y="239"/>
                  </a:moveTo>
                  <a:lnTo>
                    <a:pt x="55" y="237"/>
                  </a:lnTo>
                  <a:lnTo>
                    <a:pt x="55" y="237"/>
                  </a:lnTo>
                  <a:lnTo>
                    <a:pt x="55" y="237"/>
                  </a:lnTo>
                  <a:lnTo>
                    <a:pt x="53" y="237"/>
                  </a:lnTo>
                  <a:lnTo>
                    <a:pt x="53" y="237"/>
                  </a:lnTo>
                  <a:lnTo>
                    <a:pt x="53" y="239"/>
                  </a:lnTo>
                  <a:lnTo>
                    <a:pt x="53" y="241"/>
                  </a:lnTo>
                  <a:lnTo>
                    <a:pt x="55" y="243"/>
                  </a:lnTo>
                  <a:lnTo>
                    <a:pt x="55" y="243"/>
                  </a:lnTo>
                  <a:lnTo>
                    <a:pt x="55" y="243"/>
                  </a:lnTo>
                  <a:lnTo>
                    <a:pt x="55" y="241"/>
                  </a:lnTo>
                  <a:lnTo>
                    <a:pt x="55" y="239"/>
                  </a:lnTo>
                  <a:close/>
                  <a:moveTo>
                    <a:pt x="104" y="237"/>
                  </a:moveTo>
                  <a:lnTo>
                    <a:pt x="104" y="237"/>
                  </a:lnTo>
                  <a:lnTo>
                    <a:pt x="104" y="239"/>
                  </a:lnTo>
                  <a:lnTo>
                    <a:pt x="106" y="237"/>
                  </a:lnTo>
                  <a:lnTo>
                    <a:pt x="106" y="237"/>
                  </a:lnTo>
                  <a:lnTo>
                    <a:pt x="106" y="237"/>
                  </a:lnTo>
                  <a:lnTo>
                    <a:pt x="104" y="237"/>
                  </a:lnTo>
                  <a:close/>
                  <a:moveTo>
                    <a:pt x="80" y="46"/>
                  </a:moveTo>
                  <a:lnTo>
                    <a:pt x="80" y="46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0" y="46"/>
                  </a:lnTo>
                  <a:close/>
                  <a:moveTo>
                    <a:pt x="78" y="44"/>
                  </a:moveTo>
                  <a:lnTo>
                    <a:pt x="78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4"/>
                  </a:lnTo>
                  <a:close/>
                  <a:moveTo>
                    <a:pt x="88" y="44"/>
                  </a:move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0" y="44"/>
                  </a:lnTo>
                  <a:lnTo>
                    <a:pt x="90" y="41"/>
                  </a:lnTo>
                  <a:lnTo>
                    <a:pt x="88" y="41"/>
                  </a:lnTo>
                  <a:lnTo>
                    <a:pt x="88" y="44"/>
                  </a:lnTo>
                  <a:close/>
                  <a:moveTo>
                    <a:pt x="88" y="39"/>
                  </a:moveTo>
                  <a:lnTo>
                    <a:pt x="88" y="37"/>
                  </a:lnTo>
                  <a:lnTo>
                    <a:pt x="86" y="37"/>
                  </a:lnTo>
                  <a:lnTo>
                    <a:pt x="86" y="41"/>
                  </a:lnTo>
                  <a:lnTo>
                    <a:pt x="88" y="41"/>
                  </a:lnTo>
                  <a:lnTo>
                    <a:pt x="90" y="39"/>
                  </a:lnTo>
                  <a:lnTo>
                    <a:pt x="88" y="39"/>
                  </a:lnTo>
                  <a:close/>
                  <a:moveTo>
                    <a:pt x="137" y="194"/>
                  </a:moveTo>
                  <a:lnTo>
                    <a:pt x="137" y="196"/>
                  </a:lnTo>
                  <a:lnTo>
                    <a:pt x="139" y="198"/>
                  </a:lnTo>
                  <a:lnTo>
                    <a:pt x="139" y="194"/>
                  </a:lnTo>
                  <a:lnTo>
                    <a:pt x="137" y="190"/>
                  </a:lnTo>
                  <a:lnTo>
                    <a:pt x="137" y="190"/>
                  </a:lnTo>
                  <a:lnTo>
                    <a:pt x="135" y="185"/>
                  </a:lnTo>
                  <a:lnTo>
                    <a:pt x="135" y="183"/>
                  </a:lnTo>
                  <a:lnTo>
                    <a:pt x="135" y="181"/>
                  </a:lnTo>
                  <a:lnTo>
                    <a:pt x="133" y="179"/>
                  </a:lnTo>
                  <a:lnTo>
                    <a:pt x="133" y="173"/>
                  </a:lnTo>
                  <a:lnTo>
                    <a:pt x="135" y="175"/>
                  </a:lnTo>
                  <a:lnTo>
                    <a:pt x="135" y="173"/>
                  </a:lnTo>
                  <a:lnTo>
                    <a:pt x="133" y="171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1" y="167"/>
                  </a:lnTo>
                  <a:lnTo>
                    <a:pt x="131" y="165"/>
                  </a:lnTo>
                  <a:lnTo>
                    <a:pt x="129" y="161"/>
                  </a:lnTo>
                  <a:lnTo>
                    <a:pt x="129" y="159"/>
                  </a:lnTo>
                  <a:lnTo>
                    <a:pt x="127" y="157"/>
                  </a:lnTo>
                  <a:lnTo>
                    <a:pt x="127" y="153"/>
                  </a:lnTo>
                  <a:lnTo>
                    <a:pt x="125" y="148"/>
                  </a:lnTo>
                  <a:lnTo>
                    <a:pt x="123" y="146"/>
                  </a:lnTo>
                  <a:lnTo>
                    <a:pt x="123" y="144"/>
                  </a:lnTo>
                  <a:lnTo>
                    <a:pt x="121" y="144"/>
                  </a:lnTo>
                  <a:lnTo>
                    <a:pt x="119" y="142"/>
                  </a:lnTo>
                  <a:lnTo>
                    <a:pt x="117" y="138"/>
                  </a:lnTo>
                  <a:lnTo>
                    <a:pt x="115" y="136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13" y="132"/>
                  </a:lnTo>
                  <a:lnTo>
                    <a:pt x="113" y="132"/>
                  </a:lnTo>
                  <a:lnTo>
                    <a:pt x="113" y="132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09" y="128"/>
                  </a:lnTo>
                  <a:lnTo>
                    <a:pt x="109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4" y="128"/>
                  </a:lnTo>
                  <a:lnTo>
                    <a:pt x="104" y="126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2"/>
                  </a:lnTo>
                  <a:lnTo>
                    <a:pt x="96" y="120"/>
                  </a:lnTo>
                  <a:lnTo>
                    <a:pt x="94" y="118"/>
                  </a:lnTo>
                  <a:lnTo>
                    <a:pt x="92" y="116"/>
                  </a:lnTo>
                  <a:lnTo>
                    <a:pt x="88" y="111"/>
                  </a:lnTo>
                  <a:lnTo>
                    <a:pt x="86" y="109"/>
                  </a:lnTo>
                  <a:lnTo>
                    <a:pt x="82" y="103"/>
                  </a:lnTo>
                  <a:lnTo>
                    <a:pt x="78" y="103"/>
                  </a:lnTo>
                  <a:lnTo>
                    <a:pt x="78" y="101"/>
                  </a:lnTo>
                  <a:lnTo>
                    <a:pt x="80" y="103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78" y="97"/>
                  </a:lnTo>
                  <a:lnTo>
                    <a:pt x="76" y="93"/>
                  </a:lnTo>
                  <a:lnTo>
                    <a:pt x="74" y="93"/>
                  </a:lnTo>
                  <a:lnTo>
                    <a:pt x="72" y="91"/>
                  </a:lnTo>
                  <a:lnTo>
                    <a:pt x="70" y="89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5" y="85"/>
                  </a:lnTo>
                  <a:lnTo>
                    <a:pt x="65" y="83"/>
                  </a:lnTo>
                  <a:lnTo>
                    <a:pt x="63" y="81"/>
                  </a:lnTo>
                  <a:lnTo>
                    <a:pt x="63" y="78"/>
                  </a:lnTo>
                  <a:lnTo>
                    <a:pt x="65" y="76"/>
                  </a:lnTo>
                  <a:lnTo>
                    <a:pt x="65" y="74"/>
                  </a:lnTo>
                  <a:lnTo>
                    <a:pt x="65" y="72"/>
                  </a:lnTo>
                  <a:lnTo>
                    <a:pt x="65" y="70"/>
                  </a:lnTo>
                  <a:lnTo>
                    <a:pt x="65" y="68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70" y="62"/>
                  </a:lnTo>
                  <a:lnTo>
                    <a:pt x="74" y="58"/>
                  </a:lnTo>
                  <a:lnTo>
                    <a:pt x="74" y="56"/>
                  </a:lnTo>
                  <a:lnTo>
                    <a:pt x="76" y="54"/>
                  </a:lnTo>
                  <a:lnTo>
                    <a:pt x="74" y="52"/>
                  </a:lnTo>
                  <a:lnTo>
                    <a:pt x="78" y="48"/>
                  </a:lnTo>
                  <a:lnTo>
                    <a:pt x="78" y="46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4" y="44"/>
                  </a:lnTo>
                  <a:lnTo>
                    <a:pt x="86" y="41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6" y="37"/>
                  </a:lnTo>
                  <a:lnTo>
                    <a:pt x="88" y="37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92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2" y="31"/>
                  </a:lnTo>
                  <a:lnTo>
                    <a:pt x="90" y="31"/>
                  </a:lnTo>
                  <a:lnTo>
                    <a:pt x="88" y="31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4" y="31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0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6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2" y="25"/>
                  </a:lnTo>
                  <a:lnTo>
                    <a:pt x="72" y="23"/>
                  </a:lnTo>
                  <a:lnTo>
                    <a:pt x="72" y="21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0" y="17"/>
                  </a:lnTo>
                  <a:lnTo>
                    <a:pt x="70" y="15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2" y="13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0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5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3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2"/>
                  </a:lnTo>
                  <a:lnTo>
                    <a:pt x="49" y="2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4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5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6" y="15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7"/>
                  </a:lnTo>
                  <a:lnTo>
                    <a:pt x="12" y="17"/>
                  </a:lnTo>
                  <a:lnTo>
                    <a:pt x="12" y="15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2" y="21"/>
                  </a:lnTo>
                  <a:lnTo>
                    <a:pt x="6" y="23"/>
                  </a:lnTo>
                  <a:lnTo>
                    <a:pt x="6" y="25"/>
                  </a:lnTo>
                  <a:lnTo>
                    <a:pt x="8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3"/>
                  </a:lnTo>
                  <a:lnTo>
                    <a:pt x="14" y="35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9"/>
                  </a:lnTo>
                  <a:lnTo>
                    <a:pt x="18" y="46"/>
                  </a:lnTo>
                  <a:lnTo>
                    <a:pt x="20" y="46"/>
                  </a:lnTo>
                  <a:lnTo>
                    <a:pt x="24" y="48"/>
                  </a:lnTo>
                  <a:lnTo>
                    <a:pt x="26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7" y="44"/>
                  </a:lnTo>
                  <a:lnTo>
                    <a:pt x="39" y="46"/>
                  </a:lnTo>
                  <a:lnTo>
                    <a:pt x="41" y="48"/>
                  </a:lnTo>
                  <a:lnTo>
                    <a:pt x="43" y="48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2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3" y="54"/>
                  </a:lnTo>
                  <a:lnTo>
                    <a:pt x="45" y="54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8"/>
                  </a:lnTo>
                  <a:lnTo>
                    <a:pt x="47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4"/>
                  </a:lnTo>
                  <a:lnTo>
                    <a:pt x="47" y="66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1" y="66"/>
                  </a:lnTo>
                  <a:lnTo>
                    <a:pt x="39" y="66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7" y="68"/>
                  </a:lnTo>
                  <a:lnTo>
                    <a:pt x="37" y="68"/>
                  </a:lnTo>
                  <a:lnTo>
                    <a:pt x="37" y="70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35" y="72"/>
                  </a:lnTo>
                  <a:lnTo>
                    <a:pt x="35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9" y="76"/>
                  </a:lnTo>
                  <a:lnTo>
                    <a:pt x="45" y="81"/>
                  </a:lnTo>
                  <a:lnTo>
                    <a:pt x="47" y="81"/>
                  </a:lnTo>
                  <a:lnTo>
                    <a:pt x="47" y="83"/>
                  </a:lnTo>
                  <a:lnTo>
                    <a:pt x="49" y="83"/>
                  </a:lnTo>
                  <a:lnTo>
                    <a:pt x="55" y="85"/>
                  </a:lnTo>
                  <a:lnTo>
                    <a:pt x="57" y="85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59" y="93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3" y="95"/>
                  </a:lnTo>
                  <a:lnTo>
                    <a:pt x="63" y="97"/>
                  </a:lnTo>
                  <a:lnTo>
                    <a:pt x="65" y="97"/>
                  </a:lnTo>
                  <a:lnTo>
                    <a:pt x="65" y="99"/>
                  </a:lnTo>
                  <a:lnTo>
                    <a:pt x="67" y="101"/>
                  </a:lnTo>
                  <a:lnTo>
                    <a:pt x="67" y="103"/>
                  </a:lnTo>
                  <a:lnTo>
                    <a:pt x="70" y="103"/>
                  </a:lnTo>
                  <a:lnTo>
                    <a:pt x="72" y="107"/>
                  </a:lnTo>
                  <a:lnTo>
                    <a:pt x="74" y="107"/>
                  </a:lnTo>
                  <a:lnTo>
                    <a:pt x="74" y="109"/>
                  </a:lnTo>
                  <a:lnTo>
                    <a:pt x="78" y="111"/>
                  </a:lnTo>
                  <a:lnTo>
                    <a:pt x="80" y="113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2" y="118"/>
                  </a:lnTo>
                  <a:lnTo>
                    <a:pt x="84" y="118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6" y="124"/>
                  </a:lnTo>
                  <a:lnTo>
                    <a:pt x="86" y="124"/>
                  </a:lnTo>
                  <a:lnTo>
                    <a:pt x="86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90" y="124"/>
                  </a:lnTo>
                  <a:lnTo>
                    <a:pt x="90" y="126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2" y="128"/>
                  </a:lnTo>
                  <a:lnTo>
                    <a:pt x="94" y="130"/>
                  </a:lnTo>
                  <a:lnTo>
                    <a:pt x="96" y="132"/>
                  </a:lnTo>
                  <a:lnTo>
                    <a:pt x="98" y="132"/>
                  </a:lnTo>
                  <a:lnTo>
                    <a:pt x="98" y="134"/>
                  </a:lnTo>
                  <a:lnTo>
                    <a:pt x="98" y="134"/>
                  </a:lnTo>
                  <a:lnTo>
                    <a:pt x="100" y="134"/>
                  </a:lnTo>
                  <a:lnTo>
                    <a:pt x="100" y="136"/>
                  </a:lnTo>
                  <a:lnTo>
                    <a:pt x="98" y="136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8" y="140"/>
                  </a:lnTo>
                  <a:lnTo>
                    <a:pt x="98" y="142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2" y="146"/>
                  </a:lnTo>
                  <a:lnTo>
                    <a:pt x="104" y="146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4" y="150"/>
                  </a:lnTo>
                  <a:lnTo>
                    <a:pt x="104" y="153"/>
                  </a:lnTo>
                  <a:lnTo>
                    <a:pt x="102" y="153"/>
                  </a:lnTo>
                  <a:lnTo>
                    <a:pt x="102" y="153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7"/>
                  </a:lnTo>
                  <a:lnTo>
                    <a:pt x="104" y="159"/>
                  </a:lnTo>
                  <a:lnTo>
                    <a:pt x="104" y="159"/>
                  </a:lnTo>
                  <a:lnTo>
                    <a:pt x="104" y="161"/>
                  </a:lnTo>
                  <a:lnTo>
                    <a:pt x="104" y="163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9"/>
                  </a:lnTo>
                  <a:lnTo>
                    <a:pt x="102" y="169"/>
                  </a:lnTo>
                  <a:lnTo>
                    <a:pt x="102" y="171"/>
                  </a:lnTo>
                  <a:lnTo>
                    <a:pt x="104" y="171"/>
                  </a:lnTo>
                  <a:lnTo>
                    <a:pt x="104" y="175"/>
                  </a:lnTo>
                  <a:lnTo>
                    <a:pt x="106" y="177"/>
                  </a:lnTo>
                  <a:lnTo>
                    <a:pt x="109" y="179"/>
                  </a:lnTo>
                  <a:lnTo>
                    <a:pt x="109" y="181"/>
                  </a:lnTo>
                  <a:lnTo>
                    <a:pt x="106" y="185"/>
                  </a:lnTo>
                  <a:lnTo>
                    <a:pt x="106" y="190"/>
                  </a:lnTo>
                  <a:lnTo>
                    <a:pt x="106" y="192"/>
                  </a:lnTo>
                  <a:lnTo>
                    <a:pt x="109" y="192"/>
                  </a:lnTo>
                  <a:lnTo>
                    <a:pt x="109" y="196"/>
                  </a:lnTo>
                  <a:lnTo>
                    <a:pt x="109" y="198"/>
                  </a:lnTo>
                  <a:lnTo>
                    <a:pt x="109" y="200"/>
                  </a:lnTo>
                  <a:lnTo>
                    <a:pt x="109" y="202"/>
                  </a:lnTo>
                  <a:lnTo>
                    <a:pt x="106" y="202"/>
                  </a:lnTo>
                  <a:lnTo>
                    <a:pt x="106" y="204"/>
                  </a:lnTo>
                  <a:lnTo>
                    <a:pt x="106" y="202"/>
                  </a:lnTo>
                  <a:lnTo>
                    <a:pt x="104" y="202"/>
                  </a:lnTo>
                  <a:lnTo>
                    <a:pt x="104" y="202"/>
                  </a:lnTo>
                  <a:lnTo>
                    <a:pt x="102" y="202"/>
                  </a:lnTo>
                  <a:lnTo>
                    <a:pt x="100" y="204"/>
                  </a:lnTo>
                  <a:lnTo>
                    <a:pt x="100" y="206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4" y="208"/>
                  </a:lnTo>
                  <a:lnTo>
                    <a:pt x="92" y="208"/>
                  </a:lnTo>
                  <a:lnTo>
                    <a:pt x="92" y="208"/>
                  </a:lnTo>
                  <a:lnTo>
                    <a:pt x="92" y="210"/>
                  </a:lnTo>
                  <a:lnTo>
                    <a:pt x="92" y="212"/>
                  </a:lnTo>
                  <a:lnTo>
                    <a:pt x="92" y="214"/>
                  </a:lnTo>
                  <a:lnTo>
                    <a:pt x="92" y="214"/>
                  </a:lnTo>
                  <a:lnTo>
                    <a:pt x="90" y="214"/>
                  </a:lnTo>
                  <a:lnTo>
                    <a:pt x="88" y="212"/>
                  </a:lnTo>
                  <a:lnTo>
                    <a:pt x="86" y="212"/>
                  </a:lnTo>
                  <a:lnTo>
                    <a:pt x="86" y="212"/>
                  </a:lnTo>
                  <a:lnTo>
                    <a:pt x="84" y="214"/>
                  </a:lnTo>
                  <a:lnTo>
                    <a:pt x="84" y="214"/>
                  </a:lnTo>
                  <a:lnTo>
                    <a:pt x="84" y="214"/>
                  </a:lnTo>
                  <a:lnTo>
                    <a:pt x="82" y="214"/>
                  </a:lnTo>
                  <a:lnTo>
                    <a:pt x="82" y="214"/>
                  </a:lnTo>
                  <a:lnTo>
                    <a:pt x="82" y="216"/>
                  </a:lnTo>
                  <a:lnTo>
                    <a:pt x="84" y="216"/>
                  </a:lnTo>
                  <a:lnTo>
                    <a:pt x="84" y="218"/>
                  </a:lnTo>
                  <a:lnTo>
                    <a:pt x="84" y="220"/>
                  </a:lnTo>
                  <a:lnTo>
                    <a:pt x="84" y="222"/>
                  </a:lnTo>
                  <a:lnTo>
                    <a:pt x="88" y="224"/>
                  </a:lnTo>
                  <a:lnTo>
                    <a:pt x="88" y="224"/>
                  </a:lnTo>
                  <a:lnTo>
                    <a:pt x="88" y="227"/>
                  </a:lnTo>
                  <a:lnTo>
                    <a:pt x="88" y="229"/>
                  </a:lnTo>
                  <a:lnTo>
                    <a:pt x="88" y="231"/>
                  </a:lnTo>
                  <a:lnTo>
                    <a:pt x="88" y="231"/>
                  </a:lnTo>
                  <a:lnTo>
                    <a:pt x="86" y="229"/>
                  </a:lnTo>
                  <a:lnTo>
                    <a:pt x="86" y="229"/>
                  </a:lnTo>
                  <a:lnTo>
                    <a:pt x="84" y="229"/>
                  </a:lnTo>
                  <a:lnTo>
                    <a:pt x="84" y="229"/>
                  </a:lnTo>
                  <a:lnTo>
                    <a:pt x="84" y="227"/>
                  </a:lnTo>
                  <a:lnTo>
                    <a:pt x="82" y="227"/>
                  </a:lnTo>
                  <a:lnTo>
                    <a:pt x="82" y="227"/>
                  </a:lnTo>
                  <a:lnTo>
                    <a:pt x="80" y="227"/>
                  </a:lnTo>
                  <a:lnTo>
                    <a:pt x="78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4" y="229"/>
                  </a:lnTo>
                  <a:lnTo>
                    <a:pt x="72" y="229"/>
                  </a:lnTo>
                  <a:lnTo>
                    <a:pt x="70" y="229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67" y="235"/>
                  </a:lnTo>
                  <a:lnTo>
                    <a:pt x="67" y="235"/>
                  </a:lnTo>
                  <a:lnTo>
                    <a:pt x="65" y="235"/>
                  </a:lnTo>
                  <a:lnTo>
                    <a:pt x="63" y="235"/>
                  </a:lnTo>
                  <a:lnTo>
                    <a:pt x="63" y="237"/>
                  </a:lnTo>
                  <a:lnTo>
                    <a:pt x="61" y="237"/>
                  </a:lnTo>
                  <a:lnTo>
                    <a:pt x="61" y="237"/>
                  </a:lnTo>
                  <a:lnTo>
                    <a:pt x="63" y="239"/>
                  </a:lnTo>
                  <a:lnTo>
                    <a:pt x="65" y="239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7" y="241"/>
                  </a:lnTo>
                  <a:lnTo>
                    <a:pt x="67" y="241"/>
                  </a:lnTo>
                  <a:lnTo>
                    <a:pt x="70" y="243"/>
                  </a:lnTo>
                  <a:lnTo>
                    <a:pt x="72" y="243"/>
                  </a:lnTo>
                  <a:lnTo>
                    <a:pt x="72" y="243"/>
                  </a:lnTo>
                  <a:lnTo>
                    <a:pt x="74" y="245"/>
                  </a:lnTo>
                  <a:lnTo>
                    <a:pt x="74" y="245"/>
                  </a:lnTo>
                  <a:lnTo>
                    <a:pt x="74" y="247"/>
                  </a:lnTo>
                  <a:lnTo>
                    <a:pt x="72" y="247"/>
                  </a:lnTo>
                  <a:lnTo>
                    <a:pt x="70" y="247"/>
                  </a:lnTo>
                  <a:lnTo>
                    <a:pt x="70" y="251"/>
                  </a:lnTo>
                  <a:lnTo>
                    <a:pt x="70" y="259"/>
                  </a:lnTo>
                  <a:lnTo>
                    <a:pt x="70" y="266"/>
                  </a:lnTo>
                  <a:lnTo>
                    <a:pt x="72" y="268"/>
                  </a:lnTo>
                  <a:lnTo>
                    <a:pt x="70" y="270"/>
                  </a:lnTo>
                  <a:lnTo>
                    <a:pt x="72" y="270"/>
                  </a:lnTo>
                  <a:lnTo>
                    <a:pt x="76" y="270"/>
                  </a:lnTo>
                  <a:lnTo>
                    <a:pt x="76" y="268"/>
                  </a:lnTo>
                  <a:lnTo>
                    <a:pt x="78" y="266"/>
                  </a:lnTo>
                  <a:lnTo>
                    <a:pt x="80" y="264"/>
                  </a:lnTo>
                  <a:lnTo>
                    <a:pt x="80" y="261"/>
                  </a:lnTo>
                  <a:lnTo>
                    <a:pt x="90" y="255"/>
                  </a:lnTo>
                  <a:lnTo>
                    <a:pt x="92" y="255"/>
                  </a:lnTo>
                  <a:lnTo>
                    <a:pt x="92" y="253"/>
                  </a:lnTo>
                  <a:lnTo>
                    <a:pt x="90" y="251"/>
                  </a:lnTo>
                  <a:lnTo>
                    <a:pt x="90" y="251"/>
                  </a:lnTo>
                  <a:lnTo>
                    <a:pt x="84" y="245"/>
                  </a:lnTo>
                  <a:lnTo>
                    <a:pt x="86" y="245"/>
                  </a:lnTo>
                  <a:lnTo>
                    <a:pt x="92" y="251"/>
                  </a:lnTo>
                  <a:lnTo>
                    <a:pt x="94" y="253"/>
                  </a:lnTo>
                  <a:lnTo>
                    <a:pt x="96" y="253"/>
                  </a:lnTo>
                  <a:lnTo>
                    <a:pt x="96" y="251"/>
                  </a:lnTo>
                  <a:lnTo>
                    <a:pt x="96" y="251"/>
                  </a:lnTo>
                  <a:lnTo>
                    <a:pt x="96" y="249"/>
                  </a:lnTo>
                  <a:lnTo>
                    <a:pt x="96" y="247"/>
                  </a:lnTo>
                  <a:lnTo>
                    <a:pt x="90" y="241"/>
                  </a:lnTo>
                  <a:lnTo>
                    <a:pt x="90" y="241"/>
                  </a:lnTo>
                  <a:lnTo>
                    <a:pt x="94" y="245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8" y="247"/>
                  </a:lnTo>
                  <a:lnTo>
                    <a:pt x="98" y="245"/>
                  </a:lnTo>
                  <a:lnTo>
                    <a:pt x="98" y="245"/>
                  </a:lnTo>
                  <a:lnTo>
                    <a:pt x="98" y="243"/>
                  </a:lnTo>
                  <a:lnTo>
                    <a:pt x="100" y="243"/>
                  </a:lnTo>
                  <a:lnTo>
                    <a:pt x="100" y="241"/>
                  </a:lnTo>
                  <a:lnTo>
                    <a:pt x="98" y="241"/>
                  </a:lnTo>
                  <a:lnTo>
                    <a:pt x="96" y="241"/>
                  </a:lnTo>
                  <a:lnTo>
                    <a:pt x="94" y="239"/>
                  </a:lnTo>
                  <a:lnTo>
                    <a:pt x="94" y="239"/>
                  </a:lnTo>
                  <a:lnTo>
                    <a:pt x="98" y="239"/>
                  </a:lnTo>
                  <a:lnTo>
                    <a:pt x="98" y="239"/>
                  </a:lnTo>
                  <a:lnTo>
                    <a:pt x="100" y="239"/>
                  </a:lnTo>
                  <a:lnTo>
                    <a:pt x="100" y="237"/>
                  </a:lnTo>
                  <a:lnTo>
                    <a:pt x="98" y="237"/>
                  </a:lnTo>
                  <a:lnTo>
                    <a:pt x="98" y="237"/>
                  </a:lnTo>
                  <a:lnTo>
                    <a:pt x="96" y="237"/>
                  </a:lnTo>
                  <a:lnTo>
                    <a:pt x="96" y="237"/>
                  </a:lnTo>
                  <a:lnTo>
                    <a:pt x="98" y="235"/>
                  </a:lnTo>
                  <a:lnTo>
                    <a:pt x="100" y="237"/>
                  </a:lnTo>
                  <a:lnTo>
                    <a:pt x="102" y="237"/>
                  </a:lnTo>
                  <a:lnTo>
                    <a:pt x="102" y="237"/>
                  </a:lnTo>
                  <a:lnTo>
                    <a:pt x="102" y="237"/>
                  </a:lnTo>
                  <a:lnTo>
                    <a:pt x="102" y="233"/>
                  </a:lnTo>
                  <a:lnTo>
                    <a:pt x="102" y="233"/>
                  </a:lnTo>
                  <a:lnTo>
                    <a:pt x="102" y="233"/>
                  </a:lnTo>
                  <a:lnTo>
                    <a:pt x="102" y="235"/>
                  </a:lnTo>
                  <a:lnTo>
                    <a:pt x="104" y="235"/>
                  </a:lnTo>
                  <a:lnTo>
                    <a:pt x="106" y="237"/>
                  </a:lnTo>
                  <a:lnTo>
                    <a:pt x="106" y="237"/>
                  </a:lnTo>
                  <a:lnTo>
                    <a:pt x="106" y="237"/>
                  </a:lnTo>
                  <a:lnTo>
                    <a:pt x="109" y="237"/>
                  </a:lnTo>
                  <a:lnTo>
                    <a:pt x="111" y="235"/>
                  </a:lnTo>
                  <a:lnTo>
                    <a:pt x="113" y="235"/>
                  </a:lnTo>
                  <a:lnTo>
                    <a:pt x="117" y="231"/>
                  </a:lnTo>
                  <a:lnTo>
                    <a:pt x="119" y="231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3" y="227"/>
                  </a:lnTo>
                  <a:lnTo>
                    <a:pt x="125" y="224"/>
                  </a:lnTo>
                  <a:lnTo>
                    <a:pt x="127" y="222"/>
                  </a:lnTo>
                  <a:lnTo>
                    <a:pt x="129" y="222"/>
                  </a:lnTo>
                  <a:lnTo>
                    <a:pt x="131" y="220"/>
                  </a:lnTo>
                  <a:lnTo>
                    <a:pt x="133" y="220"/>
                  </a:lnTo>
                  <a:lnTo>
                    <a:pt x="133" y="218"/>
                  </a:lnTo>
                  <a:lnTo>
                    <a:pt x="133" y="216"/>
                  </a:lnTo>
                  <a:lnTo>
                    <a:pt x="135" y="214"/>
                  </a:lnTo>
                  <a:lnTo>
                    <a:pt x="135" y="214"/>
                  </a:lnTo>
                  <a:lnTo>
                    <a:pt x="137" y="212"/>
                  </a:lnTo>
                  <a:lnTo>
                    <a:pt x="137" y="212"/>
                  </a:lnTo>
                  <a:lnTo>
                    <a:pt x="135" y="210"/>
                  </a:lnTo>
                  <a:lnTo>
                    <a:pt x="135" y="210"/>
                  </a:lnTo>
                  <a:lnTo>
                    <a:pt x="135" y="208"/>
                  </a:lnTo>
                  <a:lnTo>
                    <a:pt x="135" y="208"/>
                  </a:lnTo>
                  <a:lnTo>
                    <a:pt x="137" y="208"/>
                  </a:lnTo>
                  <a:lnTo>
                    <a:pt x="137" y="208"/>
                  </a:lnTo>
                  <a:lnTo>
                    <a:pt x="137" y="210"/>
                  </a:lnTo>
                  <a:lnTo>
                    <a:pt x="137" y="208"/>
                  </a:lnTo>
                  <a:lnTo>
                    <a:pt x="137" y="208"/>
                  </a:lnTo>
                  <a:lnTo>
                    <a:pt x="135" y="206"/>
                  </a:lnTo>
                  <a:lnTo>
                    <a:pt x="135" y="200"/>
                  </a:lnTo>
                  <a:lnTo>
                    <a:pt x="137" y="200"/>
                  </a:lnTo>
                  <a:lnTo>
                    <a:pt x="135" y="196"/>
                  </a:lnTo>
                  <a:lnTo>
                    <a:pt x="135" y="196"/>
                  </a:lnTo>
                  <a:lnTo>
                    <a:pt x="137" y="19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6" name="Freeform 13">
              <a:extLst>
                <a:ext uri="{FF2B5EF4-FFF2-40B4-BE49-F238E27FC236}">
                  <a16:creationId xmlns:a16="http://schemas.microsoft.com/office/drawing/2014/main" id="{460C089F-7E53-D44C-BDEF-3003405113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4919" y="3832086"/>
              <a:ext cx="39217" cy="143795"/>
            </a:xfrm>
            <a:custGeom>
              <a:avLst/>
              <a:gdLst>
                <a:gd name="T0" fmla="*/ 29 w 33"/>
                <a:gd name="T1" fmla="*/ 119 h 121"/>
                <a:gd name="T2" fmla="*/ 31 w 33"/>
                <a:gd name="T3" fmla="*/ 121 h 121"/>
                <a:gd name="T4" fmla="*/ 27 w 33"/>
                <a:gd name="T5" fmla="*/ 105 h 121"/>
                <a:gd name="T6" fmla="*/ 25 w 33"/>
                <a:gd name="T7" fmla="*/ 107 h 121"/>
                <a:gd name="T8" fmla="*/ 27 w 33"/>
                <a:gd name="T9" fmla="*/ 109 h 121"/>
                <a:gd name="T10" fmla="*/ 27 w 33"/>
                <a:gd name="T11" fmla="*/ 105 h 121"/>
                <a:gd name="T12" fmla="*/ 27 w 33"/>
                <a:gd name="T13" fmla="*/ 92 h 121"/>
                <a:gd name="T14" fmla="*/ 25 w 33"/>
                <a:gd name="T15" fmla="*/ 90 h 121"/>
                <a:gd name="T16" fmla="*/ 22 w 33"/>
                <a:gd name="T17" fmla="*/ 97 h 121"/>
                <a:gd name="T18" fmla="*/ 29 w 33"/>
                <a:gd name="T19" fmla="*/ 97 h 121"/>
                <a:gd name="T20" fmla="*/ 20 w 33"/>
                <a:gd name="T21" fmla="*/ 72 h 121"/>
                <a:gd name="T22" fmla="*/ 18 w 33"/>
                <a:gd name="T23" fmla="*/ 72 h 121"/>
                <a:gd name="T24" fmla="*/ 14 w 33"/>
                <a:gd name="T25" fmla="*/ 74 h 121"/>
                <a:gd name="T26" fmla="*/ 16 w 33"/>
                <a:gd name="T27" fmla="*/ 74 h 121"/>
                <a:gd name="T28" fmla="*/ 18 w 33"/>
                <a:gd name="T29" fmla="*/ 76 h 121"/>
                <a:gd name="T30" fmla="*/ 20 w 33"/>
                <a:gd name="T31" fmla="*/ 74 h 121"/>
                <a:gd name="T32" fmla="*/ 22 w 33"/>
                <a:gd name="T33" fmla="*/ 57 h 121"/>
                <a:gd name="T34" fmla="*/ 20 w 33"/>
                <a:gd name="T35" fmla="*/ 55 h 121"/>
                <a:gd name="T36" fmla="*/ 18 w 33"/>
                <a:gd name="T37" fmla="*/ 55 h 121"/>
                <a:gd name="T38" fmla="*/ 18 w 33"/>
                <a:gd name="T39" fmla="*/ 57 h 121"/>
                <a:gd name="T40" fmla="*/ 22 w 33"/>
                <a:gd name="T41" fmla="*/ 57 h 121"/>
                <a:gd name="T42" fmla="*/ 18 w 33"/>
                <a:gd name="T43" fmla="*/ 47 h 121"/>
                <a:gd name="T44" fmla="*/ 16 w 33"/>
                <a:gd name="T45" fmla="*/ 47 h 121"/>
                <a:gd name="T46" fmla="*/ 22 w 33"/>
                <a:gd name="T47" fmla="*/ 49 h 121"/>
                <a:gd name="T48" fmla="*/ 22 w 33"/>
                <a:gd name="T49" fmla="*/ 47 h 121"/>
                <a:gd name="T50" fmla="*/ 18 w 33"/>
                <a:gd name="T51" fmla="*/ 47 h 121"/>
                <a:gd name="T52" fmla="*/ 12 w 33"/>
                <a:gd name="T53" fmla="*/ 47 h 121"/>
                <a:gd name="T54" fmla="*/ 10 w 33"/>
                <a:gd name="T55" fmla="*/ 45 h 121"/>
                <a:gd name="T56" fmla="*/ 8 w 33"/>
                <a:gd name="T57" fmla="*/ 41 h 121"/>
                <a:gd name="T58" fmla="*/ 6 w 33"/>
                <a:gd name="T59" fmla="*/ 41 h 121"/>
                <a:gd name="T60" fmla="*/ 6 w 33"/>
                <a:gd name="T61" fmla="*/ 45 h 121"/>
                <a:gd name="T62" fmla="*/ 8 w 33"/>
                <a:gd name="T63" fmla="*/ 47 h 121"/>
                <a:gd name="T64" fmla="*/ 8 w 33"/>
                <a:gd name="T65" fmla="*/ 51 h 121"/>
                <a:gd name="T66" fmla="*/ 10 w 33"/>
                <a:gd name="T67" fmla="*/ 51 h 121"/>
                <a:gd name="T68" fmla="*/ 14 w 33"/>
                <a:gd name="T69" fmla="*/ 49 h 121"/>
                <a:gd name="T70" fmla="*/ 8 w 33"/>
                <a:gd name="T71" fmla="*/ 37 h 121"/>
                <a:gd name="T72" fmla="*/ 6 w 33"/>
                <a:gd name="T73" fmla="*/ 37 h 121"/>
                <a:gd name="T74" fmla="*/ 22 w 33"/>
                <a:gd name="T75" fmla="*/ 43 h 121"/>
                <a:gd name="T76" fmla="*/ 22 w 33"/>
                <a:gd name="T77" fmla="*/ 33 h 121"/>
                <a:gd name="T78" fmla="*/ 22 w 33"/>
                <a:gd name="T79" fmla="*/ 41 h 121"/>
                <a:gd name="T80" fmla="*/ 16 w 33"/>
                <a:gd name="T81" fmla="*/ 33 h 121"/>
                <a:gd name="T82" fmla="*/ 20 w 33"/>
                <a:gd name="T83" fmla="*/ 29 h 121"/>
                <a:gd name="T84" fmla="*/ 25 w 33"/>
                <a:gd name="T85" fmla="*/ 31 h 121"/>
                <a:gd name="T86" fmla="*/ 25 w 33"/>
                <a:gd name="T87" fmla="*/ 25 h 121"/>
                <a:gd name="T88" fmla="*/ 25 w 33"/>
                <a:gd name="T89" fmla="*/ 31 h 121"/>
                <a:gd name="T90" fmla="*/ 8 w 33"/>
                <a:gd name="T91" fmla="*/ 33 h 121"/>
                <a:gd name="T92" fmla="*/ 8 w 33"/>
                <a:gd name="T93" fmla="*/ 27 h 121"/>
                <a:gd name="T94" fmla="*/ 8 w 33"/>
                <a:gd name="T95" fmla="*/ 22 h 121"/>
                <a:gd name="T96" fmla="*/ 6 w 33"/>
                <a:gd name="T97" fmla="*/ 27 h 121"/>
                <a:gd name="T98" fmla="*/ 2 w 33"/>
                <a:gd name="T99" fmla="*/ 27 h 121"/>
                <a:gd name="T100" fmla="*/ 2 w 33"/>
                <a:gd name="T101" fmla="*/ 18 h 121"/>
                <a:gd name="T102" fmla="*/ 0 w 33"/>
                <a:gd name="T103" fmla="*/ 22 h 121"/>
                <a:gd name="T104" fmla="*/ 0 w 33"/>
                <a:gd name="T105" fmla="*/ 35 h 121"/>
                <a:gd name="T106" fmla="*/ 2 w 33"/>
                <a:gd name="T107" fmla="*/ 37 h 121"/>
                <a:gd name="T108" fmla="*/ 8 w 33"/>
                <a:gd name="T109" fmla="*/ 33 h 121"/>
                <a:gd name="T110" fmla="*/ 18 w 33"/>
                <a:gd name="T111" fmla="*/ 10 h 121"/>
                <a:gd name="T112" fmla="*/ 16 w 33"/>
                <a:gd name="T113" fmla="*/ 10 h 121"/>
                <a:gd name="T114" fmla="*/ 16 w 33"/>
                <a:gd name="T115" fmla="*/ 12 h 121"/>
                <a:gd name="T116" fmla="*/ 18 w 33"/>
                <a:gd name="T117" fmla="*/ 4 h 121"/>
                <a:gd name="T118" fmla="*/ 18 w 33"/>
                <a:gd name="T119" fmla="*/ 2 h 121"/>
                <a:gd name="T120" fmla="*/ 16 w 33"/>
                <a:gd name="T121" fmla="*/ 2 h 121"/>
                <a:gd name="T122" fmla="*/ 18 w 33"/>
                <a:gd name="T123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" h="121">
                  <a:moveTo>
                    <a:pt x="31" y="119"/>
                  </a:moveTo>
                  <a:lnTo>
                    <a:pt x="31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31" y="121"/>
                  </a:lnTo>
                  <a:lnTo>
                    <a:pt x="31" y="121"/>
                  </a:lnTo>
                  <a:lnTo>
                    <a:pt x="33" y="119"/>
                  </a:lnTo>
                  <a:lnTo>
                    <a:pt x="31" y="119"/>
                  </a:lnTo>
                  <a:close/>
                  <a:moveTo>
                    <a:pt x="27" y="105"/>
                  </a:moveTo>
                  <a:lnTo>
                    <a:pt x="27" y="105"/>
                  </a:lnTo>
                  <a:lnTo>
                    <a:pt x="25" y="105"/>
                  </a:lnTo>
                  <a:lnTo>
                    <a:pt x="25" y="107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7" y="109"/>
                  </a:lnTo>
                  <a:lnTo>
                    <a:pt x="29" y="107"/>
                  </a:lnTo>
                  <a:lnTo>
                    <a:pt x="27" y="107"/>
                  </a:lnTo>
                  <a:lnTo>
                    <a:pt x="27" y="105"/>
                  </a:lnTo>
                  <a:close/>
                  <a:moveTo>
                    <a:pt x="27" y="94"/>
                  </a:moveTo>
                  <a:lnTo>
                    <a:pt x="29" y="94"/>
                  </a:lnTo>
                  <a:lnTo>
                    <a:pt x="27" y="92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5" y="90"/>
                  </a:lnTo>
                  <a:lnTo>
                    <a:pt x="25" y="92"/>
                  </a:lnTo>
                  <a:lnTo>
                    <a:pt x="22" y="94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9" y="97"/>
                  </a:lnTo>
                  <a:lnTo>
                    <a:pt x="29" y="94"/>
                  </a:lnTo>
                  <a:lnTo>
                    <a:pt x="27" y="94"/>
                  </a:lnTo>
                  <a:close/>
                  <a:moveTo>
                    <a:pt x="20" y="72"/>
                  </a:move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8" y="76"/>
                  </a:lnTo>
                  <a:lnTo>
                    <a:pt x="20" y="76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2"/>
                  </a:lnTo>
                  <a:close/>
                  <a:moveTo>
                    <a:pt x="22" y="57"/>
                  </a:moveTo>
                  <a:lnTo>
                    <a:pt x="22" y="57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3"/>
                  </a:lnTo>
                  <a:lnTo>
                    <a:pt x="18" y="53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0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57"/>
                  </a:lnTo>
                  <a:close/>
                  <a:moveTo>
                    <a:pt x="18" y="47"/>
                  </a:moveTo>
                  <a:lnTo>
                    <a:pt x="18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8" y="49"/>
                  </a:lnTo>
                  <a:lnTo>
                    <a:pt x="20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18" y="47"/>
                  </a:lnTo>
                  <a:close/>
                  <a:moveTo>
                    <a:pt x="14" y="49"/>
                  </a:moveTo>
                  <a:lnTo>
                    <a:pt x="12" y="49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8" y="45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4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7"/>
                  </a:lnTo>
                  <a:lnTo>
                    <a:pt x="8" y="4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10" y="51"/>
                  </a:lnTo>
                  <a:lnTo>
                    <a:pt x="12" y="51"/>
                  </a:lnTo>
                  <a:lnTo>
                    <a:pt x="14" y="51"/>
                  </a:lnTo>
                  <a:lnTo>
                    <a:pt x="14" y="49"/>
                  </a:lnTo>
                  <a:lnTo>
                    <a:pt x="14" y="49"/>
                  </a:lnTo>
                  <a:close/>
                  <a:moveTo>
                    <a:pt x="6" y="39"/>
                  </a:moveTo>
                  <a:lnTo>
                    <a:pt x="8" y="37"/>
                  </a:lnTo>
                  <a:lnTo>
                    <a:pt x="8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9"/>
                  </a:lnTo>
                  <a:close/>
                  <a:moveTo>
                    <a:pt x="22" y="43"/>
                  </a:moveTo>
                  <a:lnTo>
                    <a:pt x="22" y="43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7"/>
                  </a:lnTo>
                  <a:lnTo>
                    <a:pt x="22" y="41"/>
                  </a:lnTo>
                  <a:lnTo>
                    <a:pt x="22" y="43"/>
                  </a:lnTo>
                  <a:close/>
                  <a:moveTo>
                    <a:pt x="16" y="33"/>
                  </a:moveTo>
                  <a:lnTo>
                    <a:pt x="16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20" y="29"/>
                  </a:lnTo>
                  <a:lnTo>
                    <a:pt x="18" y="31"/>
                  </a:lnTo>
                  <a:lnTo>
                    <a:pt x="16" y="33"/>
                  </a:lnTo>
                  <a:close/>
                  <a:moveTo>
                    <a:pt x="25" y="31"/>
                  </a:moveTo>
                  <a:lnTo>
                    <a:pt x="25" y="29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2" y="31"/>
                  </a:lnTo>
                  <a:lnTo>
                    <a:pt x="25" y="31"/>
                  </a:lnTo>
                  <a:lnTo>
                    <a:pt x="25" y="31"/>
                  </a:lnTo>
                  <a:close/>
                  <a:moveTo>
                    <a:pt x="8" y="33"/>
                  </a:moveTo>
                  <a:lnTo>
                    <a:pt x="8" y="33"/>
                  </a:lnTo>
                  <a:lnTo>
                    <a:pt x="8" y="31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5"/>
                  </a:lnTo>
                  <a:lnTo>
                    <a:pt x="8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7"/>
                  </a:lnTo>
                  <a:lnTo>
                    <a:pt x="2" y="37"/>
                  </a:lnTo>
                  <a:lnTo>
                    <a:pt x="4" y="35"/>
                  </a:lnTo>
                  <a:lnTo>
                    <a:pt x="6" y="35"/>
                  </a:lnTo>
                  <a:lnTo>
                    <a:pt x="8" y="33"/>
                  </a:lnTo>
                  <a:close/>
                  <a:moveTo>
                    <a:pt x="16" y="12"/>
                  </a:moveTo>
                  <a:lnTo>
                    <a:pt x="18" y="10"/>
                  </a:lnTo>
                  <a:lnTo>
                    <a:pt x="18" y="10"/>
                  </a:lnTo>
                  <a:lnTo>
                    <a:pt x="16" y="8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18" y="4"/>
                  </a:move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8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7" name="Freeform 27">
              <a:extLst>
                <a:ext uri="{FF2B5EF4-FFF2-40B4-BE49-F238E27FC236}">
                  <a16:creationId xmlns:a16="http://schemas.microsoft.com/office/drawing/2014/main" id="{1A3241FA-B277-4749-A146-ABD5122905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7465" y="3939041"/>
              <a:ext cx="41594" cy="64173"/>
            </a:xfrm>
            <a:custGeom>
              <a:avLst/>
              <a:gdLst>
                <a:gd name="T0" fmla="*/ 4 w 35"/>
                <a:gd name="T1" fmla="*/ 52 h 54"/>
                <a:gd name="T2" fmla="*/ 4 w 35"/>
                <a:gd name="T3" fmla="*/ 52 h 54"/>
                <a:gd name="T4" fmla="*/ 4 w 35"/>
                <a:gd name="T5" fmla="*/ 54 h 54"/>
                <a:gd name="T6" fmla="*/ 6 w 35"/>
                <a:gd name="T7" fmla="*/ 50 h 54"/>
                <a:gd name="T8" fmla="*/ 6 w 35"/>
                <a:gd name="T9" fmla="*/ 50 h 54"/>
                <a:gd name="T10" fmla="*/ 4 w 35"/>
                <a:gd name="T11" fmla="*/ 52 h 54"/>
                <a:gd name="T12" fmla="*/ 2 w 35"/>
                <a:gd name="T13" fmla="*/ 48 h 54"/>
                <a:gd name="T14" fmla="*/ 2 w 35"/>
                <a:gd name="T15" fmla="*/ 48 h 54"/>
                <a:gd name="T16" fmla="*/ 2 w 35"/>
                <a:gd name="T17" fmla="*/ 48 h 54"/>
                <a:gd name="T18" fmla="*/ 2 w 35"/>
                <a:gd name="T19" fmla="*/ 48 h 54"/>
                <a:gd name="T20" fmla="*/ 2 w 35"/>
                <a:gd name="T21" fmla="*/ 48 h 54"/>
                <a:gd name="T22" fmla="*/ 0 w 35"/>
                <a:gd name="T23" fmla="*/ 48 h 54"/>
                <a:gd name="T24" fmla="*/ 0 w 35"/>
                <a:gd name="T25" fmla="*/ 46 h 54"/>
                <a:gd name="T26" fmla="*/ 0 w 35"/>
                <a:gd name="T27" fmla="*/ 46 h 54"/>
                <a:gd name="T28" fmla="*/ 0 w 35"/>
                <a:gd name="T29" fmla="*/ 46 h 54"/>
                <a:gd name="T30" fmla="*/ 0 w 35"/>
                <a:gd name="T31" fmla="*/ 48 h 54"/>
                <a:gd name="T32" fmla="*/ 2 w 35"/>
                <a:gd name="T33" fmla="*/ 50 h 54"/>
                <a:gd name="T34" fmla="*/ 2 w 35"/>
                <a:gd name="T35" fmla="*/ 50 h 54"/>
                <a:gd name="T36" fmla="*/ 4 w 35"/>
                <a:gd name="T37" fmla="*/ 48 h 54"/>
                <a:gd name="T38" fmla="*/ 4 w 35"/>
                <a:gd name="T39" fmla="*/ 48 h 54"/>
                <a:gd name="T40" fmla="*/ 2 w 35"/>
                <a:gd name="T41" fmla="*/ 48 h 54"/>
                <a:gd name="T42" fmla="*/ 2 w 35"/>
                <a:gd name="T43" fmla="*/ 48 h 54"/>
                <a:gd name="T44" fmla="*/ 33 w 35"/>
                <a:gd name="T45" fmla="*/ 0 h 54"/>
                <a:gd name="T46" fmla="*/ 33 w 35"/>
                <a:gd name="T47" fmla="*/ 0 h 54"/>
                <a:gd name="T48" fmla="*/ 30 w 35"/>
                <a:gd name="T49" fmla="*/ 0 h 54"/>
                <a:gd name="T50" fmla="*/ 30 w 35"/>
                <a:gd name="T51" fmla="*/ 2 h 54"/>
                <a:gd name="T52" fmla="*/ 33 w 35"/>
                <a:gd name="T53" fmla="*/ 2 h 54"/>
                <a:gd name="T54" fmla="*/ 33 w 35"/>
                <a:gd name="T55" fmla="*/ 2 h 54"/>
                <a:gd name="T56" fmla="*/ 33 w 35"/>
                <a:gd name="T57" fmla="*/ 0 h 54"/>
                <a:gd name="T58" fmla="*/ 33 w 35"/>
                <a:gd name="T59" fmla="*/ 0 h 54"/>
                <a:gd name="T60" fmla="*/ 35 w 35"/>
                <a:gd name="T61" fmla="*/ 0 h 54"/>
                <a:gd name="T62" fmla="*/ 33 w 35"/>
                <a:gd name="T6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" h="54">
                  <a:moveTo>
                    <a:pt x="4" y="52"/>
                  </a:moveTo>
                  <a:lnTo>
                    <a:pt x="4" y="52"/>
                  </a:lnTo>
                  <a:lnTo>
                    <a:pt x="4" y="54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4" y="52"/>
                  </a:lnTo>
                  <a:close/>
                  <a:moveTo>
                    <a:pt x="2" y="48"/>
                  </a:move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2" y="48"/>
                  </a:lnTo>
                  <a:close/>
                  <a:moveTo>
                    <a:pt x="33" y="0"/>
                  </a:moveTo>
                  <a:lnTo>
                    <a:pt x="33" y="0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5" y="0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8" name="Freeform 29">
              <a:extLst>
                <a:ext uri="{FF2B5EF4-FFF2-40B4-BE49-F238E27FC236}">
                  <a16:creationId xmlns:a16="http://schemas.microsoft.com/office/drawing/2014/main" id="{51E7D569-6882-5A4A-B5F4-B6D64033A8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7490" y="3089344"/>
              <a:ext cx="163998" cy="322053"/>
            </a:xfrm>
            <a:custGeom>
              <a:avLst/>
              <a:gdLst>
                <a:gd name="T0" fmla="*/ 45 w 138"/>
                <a:gd name="T1" fmla="*/ 236 h 271"/>
                <a:gd name="T2" fmla="*/ 31 w 138"/>
                <a:gd name="T3" fmla="*/ 224 h 271"/>
                <a:gd name="T4" fmla="*/ 33 w 138"/>
                <a:gd name="T5" fmla="*/ 226 h 271"/>
                <a:gd name="T6" fmla="*/ 57 w 138"/>
                <a:gd name="T7" fmla="*/ 201 h 271"/>
                <a:gd name="T8" fmla="*/ 57 w 138"/>
                <a:gd name="T9" fmla="*/ 195 h 271"/>
                <a:gd name="T10" fmla="*/ 96 w 138"/>
                <a:gd name="T11" fmla="*/ 160 h 271"/>
                <a:gd name="T12" fmla="*/ 92 w 138"/>
                <a:gd name="T13" fmla="*/ 154 h 271"/>
                <a:gd name="T14" fmla="*/ 138 w 138"/>
                <a:gd name="T15" fmla="*/ 86 h 271"/>
                <a:gd name="T16" fmla="*/ 127 w 138"/>
                <a:gd name="T17" fmla="*/ 78 h 271"/>
                <a:gd name="T18" fmla="*/ 115 w 138"/>
                <a:gd name="T19" fmla="*/ 51 h 271"/>
                <a:gd name="T20" fmla="*/ 94 w 138"/>
                <a:gd name="T21" fmla="*/ 37 h 271"/>
                <a:gd name="T22" fmla="*/ 90 w 138"/>
                <a:gd name="T23" fmla="*/ 43 h 271"/>
                <a:gd name="T24" fmla="*/ 84 w 138"/>
                <a:gd name="T25" fmla="*/ 45 h 271"/>
                <a:gd name="T26" fmla="*/ 70 w 138"/>
                <a:gd name="T27" fmla="*/ 43 h 271"/>
                <a:gd name="T28" fmla="*/ 60 w 138"/>
                <a:gd name="T29" fmla="*/ 51 h 271"/>
                <a:gd name="T30" fmla="*/ 57 w 138"/>
                <a:gd name="T31" fmla="*/ 35 h 271"/>
                <a:gd name="T32" fmla="*/ 57 w 138"/>
                <a:gd name="T33" fmla="*/ 14 h 271"/>
                <a:gd name="T34" fmla="*/ 45 w 138"/>
                <a:gd name="T35" fmla="*/ 8 h 271"/>
                <a:gd name="T36" fmla="*/ 41 w 138"/>
                <a:gd name="T37" fmla="*/ 0 h 271"/>
                <a:gd name="T38" fmla="*/ 33 w 138"/>
                <a:gd name="T39" fmla="*/ 2 h 271"/>
                <a:gd name="T40" fmla="*/ 27 w 138"/>
                <a:gd name="T41" fmla="*/ 6 h 271"/>
                <a:gd name="T42" fmla="*/ 21 w 138"/>
                <a:gd name="T43" fmla="*/ 12 h 271"/>
                <a:gd name="T44" fmla="*/ 6 w 138"/>
                <a:gd name="T45" fmla="*/ 12 h 271"/>
                <a:gd name="T46" fmla="*/ 4 w 138"/>
                <a:gd name="T47" fmla="*/ 33 h 271"/>
                <a:gd name="T48" fmla="*/ 4 w 138"/>
                <a:gd name="T49" fmla="*/ 39 h 271"/>
                <a:gd name="T50" fmla="*/ 10 w 138"/>
                <a:gd name="T51" fmla="*/ 51 h 271"/>
                <a:gd name="T52" fmla="*/ 25 w 138"/>
                <a:gd name="T53" fmla="*/ 74 h 271"/>
                <a:gd name="T54" fmla="*/ 25 w 138"/>
                <a:gd name="T55" fmla="*/ 84 h 271"/>
                <a:gd name="T56" fmla="*/ 18 w 138"/>
                <a:gd name="T57" fmla="*/ 96 h 271"/>
                <a:gd name="T58" fmla="*/ 37 w 138"/>
                <a:gd name="T59" fmla="*/ 121 h 271"/>
                <a:gd name="T60" fmla="*/ 41 w 138"/>
                <a:gd name="T61" fmla="*/ 140 h 271"/>
                <a:gd name="T62" fmla="*/ 47 w 138"/>
                <a:gd name="T63" fmla="*/ 158 h 271"/>
                <a:gd name="T64" fmla="*/ 35 w 138"/>
                <a:gd name="T65" fmla="*/ 179 h 271"/>
                <a:gd name="T66" fmla="*/ 31 w 138"/>
                <a:gd name="T67" fmla="*/ 203 h 271"/>
                <a:gd name="T68" fmla="*/ 35 w 138"/>
                <a:gd name="T69" fmla="*/ 222 h 271"/>
                <a:gd name="T70" fmla="*/ 47 w 138"/>
                <a:gd name="T71" fmla="*/ 234 h 271"/>
                <a:gd name="T72" fmla="*/ 55 w 138"/>
                <a:gd name="T73" fmla="*/ 249 h 271"/>
                <a:gd name="T74" fmla="*/ 70 w 138"/>
                <a:gd name="T75" fmla="*/ 255 h 271"/>
                <a:gd name="T76" fmla="*/ 78 w 138"/>
                <a:gd name="T77" fmla="*/ 263 h 271"/>
                <a:gd name="T78" fmla="*/ 80 w 138"/>
                <a:gd name="T79" fmla="*/ 267 h 271"/>
                <a:gd name="T80" fmla="*/ 92 w 138"/>
                <a:gd name="T81" fmla="*/ 265 h 271"/>
                <a:gd name="T82" fmla="*/ 78 w 138"/>
                <a:gd name="T83" fmla="*/ 249 h 271"/>
                <a:gd name="T84" fmla="*/ 62 w 138"/>
                <a:gd name="T85" fmla="*/ 232 h 271"/>
                <a:gd name="T86" fmla="*/ 68 w 138"/>
                <a:gd name="T87" fmla="*/ 242 h 271"/>
                <a:gd name="T88" fmla="*/ 57 w 138"/>
                <a:gd name="T89" fmla="*/ 216 h 271"/>
                <a:gd name="T90" fmla="*/ 45 w 138"/>
                <a:gd name="T91" fmla="*/ 201 h 271"/>
                <a:gd name="T92" fmla="*/ 47 w 138"/>
                <a:gd name="T93" fmla="*/ 170 h 271"/>
                <a:gd name="T94" fmla="*/ 53 w 138"/>
                <a:gd name="T95" fmla="*/ 140 h 271"/>
                <a:gd name="T96" fmla="*/ 66 w 138"/>
                <a:gd name="T97" fmla="*/ 127 h 271"/>
                <a:gd name="T98" fmla="*/ 70 w 138"/>
                <a:gd name="T99" fmla="*/ 142 h 271"/>
                <a:gd name="T100" fmla="*/ 90 w 138"/>
                <a:gd name="T101" fmla="*/ 146 h 271"/>
                <a:gd name="T102" fmla="*/ 101 w 138"/>
                <a:gd name="T103" fmla="*/ 160 h 271"/>
                <a:gd name="T104" fmla="*/ 92 w 138"/>
                <a:gd name="T105" fmla="*/ 138 h 271"/>
                <a:gd name="T106" fmla="*/ 92 w 138"/>
                <a:gd name="T107" fmla="*/ 123 h 271"/>
                <a:gd name="T108" fmla="*/ 107 w 138"/>
                <a:gd name="T109" fmla="*/ 109 h 271"/>
                <a:gd name="T110" fmla="*/ 127 w 138"/>
                <a:gd name="T111" fmla="*/ 109 h 271"/>
                <a:gd name="T112" fmla="*/ 133 w 138"/>
                <a:gd name="T113" fmla="*/ 11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8" h="271">
                  <a:moveTo>
                    <a:pt x="53" y="253"/>
                  </a:moveTo>
                  <a:lnTo>
                    <a:pt x="53" y="255"/>
                  </a:lnTo>
                  <a:lnTo>
                    <a:pt x="55" y="255"/>
                  </a:lnTo>
                  <a:lnTo>
                    <a:pt x="55" y="253"/>
                  </a:lnTo>
                  <a:lnTo>
                    <a:pt x="53" y="251"/>
                  </a:lnTo>
                  <a:lnTo>
                    <a:pt x="53" y="253"/>
                  </a:lnTo>
                  <a:close/>
                  <a:moveTo>
                    <a:pt x="43" y="234"/>
                  </a:moveTo>
                  <a:lnTo>
                    <a:pt x="43" y="234"/>
                  </a:lnTo>
                  <a:lnTo>
                    <a:pt x="43" y="236"/>
                  </a:lnTo>
                  <a:lnTo>
                    <a:pt x="45" y="236"/>
                  </a:lnTo>
                  <a:lnTo>
                    <a:pt x="45" y="236"/>
                  </a:lnTo>
                  <a:lnTo>
                    <a:pt x="45" y="234"/>
                  </a:lnTo>
                  <a:lnTo>
                    <a:pt x="43" y="234"/>
                  </a:lnTo>
                  <a:close/>
                  <a:moveTo>
                    <a:pt x="37" y="228"/>
                  </a:moveTo>
                  <a:lnTo>
                    <a:pt x="37" y="228"/>
                  </a:lnTo>
                  <a:lnTo>
                    <a:pt x="37" y="226"/>
                  </a:lnTo>
                  <a:lnTo>
                    <a:pt x="35" y="226"/>
                  </a:lnTo>
                  <a:lnTo>
                    <a:pt x="37" y="228"/>
                  </a:lnTo>
                  <a:close/>
                  <a:moveTo>
                    <a:pt x="33" y="226"/>
                  </a:moveTo>
                  <a:lnTo>
                    <a:pt x="31" y="224"/>
                  </a:lnTo>
                  <a:lnTo>
                    <a:pt x="31" y="224"/>
                  </a:lnTo>
                  <a:lnTo>
                    <a:pt x="31" y="228"/>
                  </a:lnTo>
                  <a:lnTo>
                    <a:pt x="31" y="232"/>
                  </a:lnTo>
                  <a:lnTo>
                    <a:pt x="33" y="232"/>
                  </a:lnTo>
                  <a:lnTo>
                    <a:pt x="33" y="230"/>
                  </a:lnTo>
                  <a:lnTo>
                    <a:pt x="33" y="230"/>
                  </a:lnTo>
                  <a:lnTo>
                    <a:pt x="33" y="228"/>
                  </a:lnTo>
                  <a:lnTo>
                    <a:pt x="33" y="228"/>
                  </a:lnTo>
                  <a:lnTo>
                    <a:pt x="33" y="226"/>
                  </a:lnTo>
                  <a:lnTo>
                    <a:pt x="33" y="226"/>
                  </a:lnTo>
                  <a:close/>
                  <a:moveTo>
                    <a:pt x="31" y="207"/>
                  </a:moveTo>
                  <a:lnTo>
                    <a:pt x="31" y="205"/>
                  </a:lnTo>
                  <a:lnTo>
                    <a:pt x="31" y="207"/>
                  </a:lnTo>
                  <a:lnTo>
                    <a:pt x="29" y="207"/>
                  </a:lnTo>
                  <a:lnTo>
                    <a:pt x="29" y="207"/>
                  </a:lnTo>
                  <a:lnTo>
                    <a:pt x="31" y="207"/>
                  </a:lnTo>
                  <a:lnTo>
                    <a:pt x="31" y="207"/>
                  </a:lnTo>
                  <a:close/>
                  <a:moveTo>
                    <a:pt x="55" y="199"/>
                  </a:moveTo>
                  <a:lnTo>
                    <a:pt x="55" y="199"/>
                  </a:lnTo>
                  <a:lnTo>
                    <a:pt x="57" y="201"/>
                  </a:lnTo>
                  <a:lnTo>
                    <a:pt x="57" y="201"/>
                  </a:lnTo>
                  <a:lnTo>
                    <a:pt x="57" y="199"/>
                  </a:lnTo>
                  <a:lnTo>
                    <a:pt x="57" y="197"/>
                  </a:lnTo>
                  <a:lnTo>
                    <a:pt x="57" y="199"/>
                  </a:lnTo>
                  <a:lnTo>
                    <a:pt x="55" y="197"/>
                  </a:lnTo>
                  <a:lnTo>
                    <a:pt x="55" y="199"/>
                  </a:lnTo>
                  <a:close/>
                  <a:moveTo>
                    <a:pt x="57" y="197"/>
                  </a:moveTo>
                  <a:lnTo>
                    <a:pt x="57" y="195"/>
                  </a:lnTo>
                  <a:lnTo>
                    <a:pt x="57" y="195"/>
                  </a:lnTo>
                  <a:lnTo>
                    <a:pt x="57" y="195"/>
                  </a:lnTo>
                  <a:lnTo>
                    <a:pt x="57" y="195"/>
                  </a:lnTo>
                  <a:lnTo>
                    <a:pt x="57" y="195"/>
                  </a:lnTo>
                  <a:lnTo>
                    <a:pt x="57" y="195"/>
                  </a:lnTo>
                  <a:lnTo>
                    <a:pt x="57" y="197"/>
                  </a:lnTo>
                  <a:close/>
                  <a:moveTo>
                    <a:pt x="96" y="160"/>
                  </a:moveTo>
                  <a:lnTo>
                    <a:pt x="94" y="160"/>
                  </a:lnTo>
                  <a:lnTo>
                    <a:pt x="96" y="162"/>
                  </a:lnTo>
                  <a:lnTo>
                    <a:pt x="96" y="160"/>
                  </a:lnTo>
                  <a:lnTo>
                    <a:pt x="96" y="160"/>
                  </a:lnTo>
                  <a:lnTo>
                    <a:pt x="96" y="160"/>
                  </a:lnTo>
                  <a:close/>
                  <a:moveTo>
                    <a:pt x="92" y="152"/>
                  </a:moveTo>
                  <a:lnTo>
                    <a:pt x="90" y="152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4"/>
                  </a:lnTo>
                  <a:lnTo>
                    <a:pt x="92" y="154"/>
                  </a:lnTo>
                  <a:lnTo>
                    <a:pt x="92" y="154"/>
                  </a:lnTo>
                  <a:lnTo>
                    <a:pt x="92" y="154"/>
                  </a:lnTo>
                  <a:lnTo>
                    <a:pt x="92" y="154"/>
                  </a:lnTo>
                  <a:lnTo>
                    <a:pt x="92" y="154"/>
                  </a:lnTo>
                  <a:lnTo>
                    <a:pt x="92" y="152"/>
                  </a:lnTo>
                  <a:close/>
                  <a:moveTo>
                    <a:pt x="138" y="99"/>
                  </a:moveTo>
                  <a:lnTo>
                    <a:pt x="138" y="96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8" y="92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8" y="86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3" y="84"/>
                  </a:lnTo>
                  <a:lnTo>
                    <a:pt x="133" y="82"/>
                  </a:lnTo>
                  <a:lnTo>
                    <a:pt x="133" y="82"/>
                  </a:lnTo>
                  <a:lnTo>
                    <a:pt x="133" y="80"/>
                  </a:lnTo>
                  <a:lnTo>
                    <a:pt x="131" y="80"/>
                  </a:lnTo>
                  <a:lnTo>
                    <a:pt x="129" y="78"/>
                  </a:lnTo>
                  <a:lnTo>
                    <a:pt x="127" y="78"/>
                  </a:lnTo>
                  <a:lnTo>
                    <a:pt x="127" y="76"/>
                  </a:lnTo>
                  <a:lnTo>
                    <a:pt x="125" y="74"/>
                  </a:lnTo>
                  <a:lnTo>
                    <a:pt x="123" y="72"/>
                  </a:lnTo>
                  <a:lnTo>
                    <a:pt x="121" y="68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21" y="57"/>
                  </a:lnTo>
                  <a:lnTo>
                    <a:pt x="119" y="53"/>
                  </a:lnTo>
                  <a:lnTo>
                    <a:pt x="117" y="51"/>
                  </a:lnTo>
                  <a:lnTo>
                    <a:pt x="115" y="51"/>
                  </a:lnTo>
                  <a:lnTo>
                    <a:pt x="113" y="49"/>
                  </a:lnTo>
                  <a:lnTo>
                    <a:pt x="111" y="47"/>
                  </a:lnTo>
                  <a:lnTo>
                    <a:pt x="109" y="43"/>
                  </a:lnTo>
                  <a:lnTo>
                    <a:pt x="107" y="39"/>
                  </a:lnTo>
                  <a:lnTo>
                    <a:pt x="105" y="37"/>
                  </a:lnTo>
                  <a:lnTo>
                    <a:pt x="105" y="39"/>
                  </a:lnTo>
                  <a:lnTo>
                    <a:pt x="103" y="37"/>
                  </a:lnTo>
                  <a:lnTo>
                    <a:pt x="99" y="37"/>
                  </a:lnTo>
                  <a:lnTo>
                    <a:pt x="96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2" y="37"/>
                  </a:lnTo>
                  <a:lnTo>
                    <a:pt x="94" y="37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41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6" y="45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4" y="47"/>
                  </a:lnTo>
                  <a:lnTo>
                    <a:pt x="84" y="45"/>
                  </a:lnTo>
                  <a:lnTo>
                    <a:pt x="84" y="45"/>
                  </a:lnTo>
                  <a:lnTo>
                    <a:pt x="84" y="45"/>
                  </a:lnTo>
                  <a:lnTo>
                    <a:pt x="82" y="43"/>
                  </a:lnTo>
                  <a:lnTo>
                    <a:pt x="80" y="43"/>
                  </a:lnTo>
                  <a:lnTo>
                    <a:pt x="78" y="41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4" y="41"/>
                  </a:lnTo>
                  <a:lnTo>
                    <a:pt x="74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0" y="43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6" y="49"/>
                  </a:lnTo>
                  <a:lnTo>
                    <a:pt x="64" y="51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0" y="53"/>
                  </a:lnTo>
                  <a:lnTo>
                    <a:pt x="60" y="51"/>
                  </a:lnTo>
                  <a:lnTo>
                    <a:pt x="57" y="51"/>
                  </a:lnTo>
                  <a:lnTo>
                    <a:pt x="60" y="47"/>
                  </a:lnTo>
                  <a:lnTo>
                    <a:pt x="60" y="43"/>
                  </a:lnTo>
                  <a:lnTo>
                    <a:pt x="60" y="41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7"/>
                  </a:lnTo>
                  <a:lnTo>
                    <a:pt x="57" y="37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60" y="35"/>
                  </a:lnTo>
                  <a:lnTo>
                    <a:pt x="60" y="33"/>
                  </a:lnTo>
                  <a:lnTo>
                    <a:pt x="60" y="29"/>
                  </a:lnTo>
                  <a:lnTo>
                    <a:pt x="62" y="27"/>
                  </a:lnTo>
                  <a:lnTo>
                    <a:pt x="60" y="24"/>
                  </a:lnTo>
                  <a:lnTo>
                    <a:pt x="60" y="22"/>
                  </a:lnTo>
                  <a:lnTo>
                    <a:pt x="57" y="18"/>
                  </a:lnTo>
                  <a:lnTo>
                    <a:pt x="57" y="16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1" y="14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49" y="16"/>
                  </a:lnTo>
                  <a:lnTo>
                    <a:pt x="47" y="14"/>
                  </a:lnTo>
                  <a:lnTo>
                    <a:pt x="45" y="14"/>
                  </a:lnTo>
                  <a:lnTo>
                    <a:pt x="45" y="12"/>
                  </a:lnTo>
                  <a:lnTo>
                    <a:pt x="45" y="8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2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4" y="27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7"/>
                  </a:lnTo>
                  <a:lnTo>
                    <a:pt x="2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41"/>
                  </a:lnTo>
                  <a:lnTo>
                    <a:pt x="6" y="43"/>
                  </a:lnTo>
                  <a:lnTo>
                    <a:pt x="6" y="4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8" y="49"/>
                  </a:lnTo>
                  <a:lnTo>
                    <a:pt x="10" y="51"/>
                  </a:lnTo>
                  <a:lnTo>
                    <a:pt x="12" y="55"/>
                  </a:lnTo>
                  <a:lnTo>
                    <a:pt x="14" y="57"/>
                  </a:lnTo>
                  <a:lnTo>
                    <a:pt x="16" y="59"/>
                  </a:lnTo>
                  <a:lnTo>
                    <a:pt x="21" y="62"/>
                  </a:lnTo>
                  <a:lnTo>
                    <a:pt x="21" y="64"/>
                  </a:lnTo>
                  <a:lnTo>
                    <a:pt x="21" y="68"/>
                  </a:lnTo>
                  <a:lnTo>
                    <a:pt x="23" y="68"/>
                  </a:lnTo>
                  <a:lnTo>
                    <a:pt x="23" y="70"/>
                  </a:lnTo>
                  <a:lnTo>
                    <a:pt x="23" y="72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7" y="72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7" y="78"/>
                  </a:lnTo>
                  <a:lnTo>
                    <a:pt x="25" y="80"/>
                  </a:lnTo>
                  <a:lnTo>
                    <a:pt x="25" y="82"/>
                  </a:lnTo>
                  <a:lnTo>
                    <a:pt x="25" y="84"/>
                  </a:lnTo>
                  <a:lnTo>
                    <a:pt x="25" y="88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3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18" y="94"/>
                  </a:lnTo>
                  <a:lnTo>
                    <a:pt x="18" y="96"/>
                  </a:lnTo>
                  <a:lnTo>
                    <a:pt x="21" y="99"/>
                  </a:lnTo>
                  <a:lnTo>
                    <a:pt x="21" y="103"/>
                  </a:lnTo>
                  <a:lnTo>
                    <a:pt x="23" y="105"/>
                  </a:lnTo>
                  <a:lnTo>
                    <a:pt x="25" y="107"/>
                  </a:lnTo>
                  <a:lnTo>
                    <a:pt x="27" y="109"/>
                  </a:lnTo>
                  <a:lnTo>
                    <a:pt x="27" y="111"/>
                  </a:lnTo>
                  <a:lnTo>
                    <a:pt x="31" y="113"/>
                  </a:lnTo>
                  <a:lnTo>
                    <a:pt x="33" y="117"/>
                  </a:lnTo>
                  <a:lnTo>
                    <a:pt x="35" y="119"/>
                  </a:lnTo>
                  <a:lnTo>
                    <a:pt x="37" y="121"/>
                  </a:lnTo>
                  <a:lnTo>
                    <a:pt x="37" y="123"/>
                  </a:lnTo>
                  <a:lnTo>
                    <a:pt x="37" y="125"/>
                  </a:lnTo>
                  <a:lnTo>
                    <a:pt x="39" y="127"/>
                  </a:lnTo>
                  <a:lnTo>
                    <a:pt x="39" y="131"/>
                  </a:lnTo>
                  <a:lnTo>
                    <a:pt x="39" y="131"/>
                  </a:lnTo>
                  <a:lnTo>
                    <a:pt x="37" y="133"/>
                  </a:lnTo>
                  <a:lnTo>
                    <a:pt x="39" y="136"/>
                  </a:lnTo>
                  <a:lnTo>
                    <a:pt x="39" y="136"/>
                  </a:lnTo>
                  <a:lnTo>
                    <a:pt x="39" y="138"/>
                  </a:lnTo>
                  <a:lnTo>
                    <a:pt x="41" y="140"/>
                  </a:lnTo>
                  <a:lnTo>
                    <a:pt x="41" y="142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5" y="148"/>
                  </a:lnTo>
                  <a:lnTo>
                    <a:pt x="45" y="150"/>
                  </a:lnTo>
                  <a:lnTo>
                    <a:pt x="47" y="152"/>
                  </a:lnTo>
                  <a:lnTo>
                    <a:pt x="47" y="158"/>
                  </a:lnTo>
                  <a:lnTo>
                    <a:pt x="47" y="158"/>
                  </a:lnTo>
                  <a:lnTo>
                    <a:pt x="47" y="160"/>
                  </a:lnTo>
                  <a:lnTo>
                    <a:pt x="47" y="160"/>
                  </a:lnTo>
                  <a:lnTo>
                    <a:pt x="45" y="160"/>
                  </a:lnTo>
                  <a:lnTo>
                    <a:pt x="45" y="162"/>
                  </a:lnTo>
                  <a:lnTo>
                    <a:pt x="45" y="164"/>
                  </a:lnTo>
                  <a:lnTo>
                    <a:pt x="43" y="170"/>
                  </a:lnTo>
                  <a:lnTo>
                    <a:pt x="39" y="175"/>
                  </a:lnTo>
                  <a:lnTo>
                    <a:pt x="37" y="177"/>
                  </a:lnTo>
                  <a:lnTo>
                    <a:pt x="37" y="177"/>
                  </a:lnTo>
                  <a:lnTo>
                    <a:pt x="35" y="179"/>
                  </a:lnTo>
                  <a:lnTo>
                    <a:pt x="35" y="179"/>
                  </a:lnTo>
                  <a:lnTo>
                    <a:pt x="37" y="181"/>
                  </a:lnTo>
                  <a:lnTo>
                    <a:pt x="37" y="183"/>
                  </a:lnTo>
                  <a:lnTo>
                    <a:pt x="37" y="185"/>
                  </a:lnTo>
                  <a:lnTo>
                    <a:pt x="35" y="185"/>
                  </a:lnTo>
                  <a:lnTo>
                    <a:pt x="35" y="187"/>
                  </a:lnTo>
                  <a:lnTo>
                    <a:pt x="33" y="193"/>
                  </a:lnTo>
                  <a:lnTo>
                    <a:pt x="33" y="199"/>
                  </a:lnTo>
                  <a:lnTo>
                    <a:pt x="33" y="199"/>
                  </a:lnTo>
                  <a:lnTo>
                    <a:pt x="31" y="203"/>
                  </a:lnTo>
                  <a:lnTo>
                    <a:pt x="31" y="210"/>
                  </a:lnTo>
                  <a:lnTo>
                    <a:pt x="29" y="214"/>
                  </a:lnTo>
                  <a:lnTo>
                    <a:pt x="29" y="218"/>
                  </a:lnTo>
                  <a:lnTo>
                    <a:pt x="31" y="220"/>
                  </a:lnTo>
                  <a:lnTo>
                    <a:pt x="31" y="224"/>
                  </a:lnTo>
                  <a:lnTo>
                    <a:pt x="33" y="224"/>
                  </a:lnTo>
                  <a:lnTo>
                    <a:pt x="33" y="224"/>
                  </a:lnTo>
                  <a:lnTo>
                    <a:pt x="35" y="222"/>
                  </a:lnTo>
                  <a:lnTo>
                    <a:pt x="35" y="222"/>
                  </a:lnTo>
                  <a:lnTo>
                    <a:pt x="35" y="222"/>
                  </a:lnTo>
                  <a:lnTo>
                    <a:pt x="37" y="222"/>
                  </a:lnTo>
                  <a:lnTo>
                    <a:pt x="37" y="222"/>
                  </a:lnTo>
                  <a:lnTo>
                    <a:pt x="39" y="226"/>
                  </a:lnTo>
                  <a:lnTo>
                    <a:pt x="41" y="226"/>
                  </a:lnTo>
                  <a:lnTo>
                    <a:pt x="43" y="228"/>
                  </a:lnTo>
                  <a:lnTo>
                    <a:pt x="43" y="230"/>
                  </a:lnTo>
                  <a:lnTo>
                    <a:pt x="43" y="232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7" y="234"/>
                  </a:lnTo>
                  <a:lnTo>
                    <a:pt x="47" y="236"/>
                  </a:lnTo>
                  <a:lnTo>
                    <a:pt x="49" y="238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53" y="238"/>
                  </a:lnTo>
                  <a:lnTo>
                    <a:pt x="51" y="242"/>
                  </a:lnTo>
                  <a:lnTo>
                    <a:pt x="53" y="242"/>
                  </a:lnTo>
                  <a:lnTo>
                    <a:pt x="53" y="242"/>
                  </a:lnTo>
                  <a:lnTo>
                    <a:pt x="55" y="245"/>
                  </a:lnTo>
                  <a:lnTo>
                    <a:pt x="55" y="249"/>
                  </a:lnTo>
                  <a:lnTo>
                    <a:pt x="57" y="251"/>
                  </a:lnTo>
                  <a:lnTo>
                    <a:pt x="62" y="257"/>
                  </a:lnTo>
                  <a:lnTo>
                    <a:pt x="62" y="255"/>
                  </a:lnTo>
                  <a:lnTo>
                    <a:pt x="64" y="253"/>
                  </a:lnTo>
                  <a:lnTo>
                    <a:pt x="64" y="251"/>
                  </a:lnTo>
                  <a:lnTo>
                    <a:pt x="64" y="251"/>
                  </a:lnTo>
                  <a:lnTo>
                    <a:pt x="64" y="251"/>
                  </a:lnTo>
                  <a:lnTo>
                    <a:pt x="66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4" y="257"/>
                  </a:lnTo>
                  <a:lnTo>
                    <a:pt x="74" y="257"/>
                  </a:lnTo>
                  <a:lnTo>
                    <a:pt x="74" y="259"/>
                  </a:lnTo>
                  <a:lnTo>
                    <a:pt x="76" y="259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78" y="261"/>
                  </a:lnTo>
                  <a:lnTo>
                    <a:pt x="78" y="263"/>
                  </a:lnTo>
                  <a:lnTo>
                    <a:pt x="78" y="265"/>
                  </a:lnTo>
                  <a:lnTo>
                    <a:pt x="76" y="267"/>
                  </a:lnTo>
                  <a:lnTo>
                    <a:pt x="76" y="269"/>
                  </a:lnTo>
                  <a:lnTo>
                    <a:pt x="78" y="269"/>
                  </a:lnTo>
                  <a:lnTo>
                    <a:pt x="78" y="269"/>
                  </a:lnTo>
                  <a:lnTo>
                    <a:pt x="78" y="271"/>
                  </a:lnTo>
                  <a:lnTo>
                    <a:pt x="80" y="271"/>
                  </a:lnTo>
                  <a:lnTo>
                    <a:pt x="80" y="269"/>
                  </a:lnTo>
                  <a:lnTo>
                    <a:pt x="80" y="269"/>
                  </a:lnTo>
                  <a:lnTo>
                    <a:pt x="80" y="267"/>
                  </a:lnTo>
                  <a:lnTo>
                    <a:pt x="84" y="267"/>
                  </a:lnTo>
                  <a:lnTo>
                    <a:pt x="86" y="265"/>
                  </a:lnTo>
                  <a:lnTo>
                    <a:pt x="86" y="265"/>
                  </a:lnTo>
                  <a:lnTo>
                    <a:pt x="86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8" y="269"/>
                  </a:lnTo>
                  <a:lnTo>
                    <a:pt x="90" y="267"/>
                  </a:lnTo>
                  <a:lnTo>
                    <a:pt x="90" y="267"/>
                  </a:lnTo>
                  <a:lnTo>
                    <a:pt x="92" y="265"/>
                  </a:lnTo>
                  <a:lnTo>
                    <a:pt x="92" y="265"/>
                  </a:lnTo>
                  <a:lnTo>
                    <a:pt x="94" y="263"/>
                  </a:lnTo>
                  <a:lnTo>
                    <a:pt x="94" y="261"/>
                  </a:lnTo>
                  <a:lnTo>
                    <a:pt x="94" y="259"/>
                  </a:lnTo>
                  <a:lnTo>
                    <a:pt x="88" y="255"/>
                  </a:lnTo>
                  <a:lnTo>
                    <a:pt x="86" y="251"/>
                  </a:lnTo>
                  <a:lnTo>
                    <a:pt x="84" y="249"/>
                  </a:lnTo>
                  <a:lnTo>
                    <a:pt x="82" y="247"/>
                  </a:lnTo>
                  <a:lnTo>
                    <a:pt x="80" y="247"/>
                  </a:lnTo>
                  <a:lnTo>
                    <a:pt x="78" y="249"/>
                  </a:lnTo>
                  <a:lnTo>
                    <a:pt x="76" y="249"/>
                  </a:lnTo>
                  <a:lnTo>
                    <a:pt x="72" y="247"/>
                  </a:lnTo>
                  <a:lnTo>
                    <a:pt x="72" y="245"/>
                  </a:lnTo>
                  <a:lnTo>
                    <a:pt x="70" y="242"/>
                  </a:lnTo>
                  <a:lnTo>
                    <a:pt x="68" y="242"/>
                  </a:lnTo>
                  <a:lnTo>
                    <a:pt x="66" y="242"/>
                  </a:lnTo>
                  <a:lnTo>
                    <a:pt x="66" y="240"/>
                  </a:lnTo>
                  <a:lnTo>
                    <a:pt x="62" y="236"/>
                  </a:lnTo>
                  <a:lnTo>
                    <a:pt x="62" y="234"/>
                  </a:lnTo>
                  <a:lnTo>
                    <a:pt x="62" y="232"/>
                  </a:lnTo>
                  <a:lnTo>
                    <a:pt x="64" y="232"/>
                  </a:lnTo>
                  <a:lnTo>
                    <a:pt x="64" y="232"/>
                  </a:lnTo>
                  <a:lnTo>
                    <a:pt x="64" y="234"/>
                  </a:lnTo>
                  <a:lnTo>
                    <a:pt x="64" y="234"/>
                  </a:lnTo>
                  <a:lnTo>
                    <a:pt x="64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40"/>
                  </a:lnTo>
                  <a:lnTo>
                    <a:pt x="68" y="242"/>
                  </a:lnTo>
                  <a:lnTo>
                    <a:pt x="68" y="240"/>
                  </a:lnTo>
                  <a:lnTo>
                    <a:pt x="66" y="238"/>
                  </a:lnTo>
                  <a:lnTo>
                    <a:pt x="64" y="222"/>
                  </a:lnTo>
                  <a:lnTo>
                    <a:pt x="62" y="220"/>
                  </a:lnTo>
                  <a:lnTo>
                    <a:pt x="62" y="218"/>
                  </a:lnTo>
                  <a:lnTo>
                    <a:pt x="62" y="218"/>
                  </a:lnTo>
                  <a:lnTo>
                    <a:pt x="62" y="220"/>
                  </a:lnTo>
                  <a:lnTo>
                    <a:pt x="60" y="220"/>
                  </a:lnTo>
                  <a:lnTo>
                    <a:pt x="60" y="218"/>
                  </a:lnTo>
                  <a:lnTo>
                    <a:pt x="57" y="216"/>
                  </a:lnTo>
                  <a:lnTo>
                    <a:pt x="57" y="216"/>
                  </a:lnTo>
                  <a:lnTo>
                    <a:pt x="55" y="207"/>
                  </a:lnTo>
                  <a:lnTo>
                    <a:pt x="55" y="205"/>
                  </a:lnTo>
                  <a:lnTo>
                    <a:pt x="55" y="203"/>
                  </a:lnTo>
                  <a:lnTo>
                    <a:pt x="53" y="203"/>
                  </a:lnTo>
                  <a:lnTo>
                    <a:pt x="47" y="205"/>
                  </a:lnTo>
                  <a:lnTo>
                    <a:pt x="47" y="205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5" y="201"/>
                  </a:lnTo>
                  <a:lnTo>
                    <a:pt x="43" y="197"/>
                  </a:lnTo>
                  <a:lnTo>
                    <a:pt x="43" y="195"/>
                  </a:lnTo>
                  <a:lnTo>
                    <a:pt x="43" y="191"/>
                  </a:lnTo>
                  <a:lnTo>
                    <a:pt x="43" y="187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3"/>
                  </a:lnTo>
                  <a:lnTo>
                    <a:pt x="45" y="181"/>
                  </a:lnTo>
                  <a:lnTo>
                    <a:pt x="47" y="175"/>
                  </a:lnTo>
                  <a:lnTo>
                    <a:pt x="47" y="170"/>
                  </a:lnTo>
                  <a:lnTo>
                    <a:pt x="47" y="168"/>
                  </a:lnTo>
                  <a:lnTo>
                    <a:pt x="49" y="164"/>
                  </a:lnTo>
                  <a:lnTo>
                    <a:pt x="49" y="160"/>
                  </a:lnTo>
                  <a:lnTo>
                    <a:pt x="51" y="158"/>
                  </a:lnTo>
                  <a:lnTo>
                    <a:pt x="51" y="154"/>
                  </a:lnTo>
                  <a:lnTo>
                    <a:pt x="53" y="152"/>
                  </a:lnTo>
                  <a:lnTo>
                    <a:pt x="53" y="150"/>
                  </a:lnTo>
                  <a:lnTo>
                    <a:pt x="53" y="148"/>
                  </a:lnTo>
                  <a:lnTo>
                    <a:pt x="53" y="142"/>
                  </a:lnTo>
                  <a:lnTo>
                    <a:pt x="53" y="140"/>
                  </a:lnTo>
                  <a:lnTo>
                    <a:pt x="53" y="136"/>
                  </a:lnTo>
                  <a:lnTo>
                    <a:pt x="53" y="131"/>
                  </a:lnTo>
                  <a:lnTo>
                    <a:pt x="51" y="131"/>
                  </a:lnTo>
                  <a:lnTo>
                    <a:pt x="51" y="129"/>
                  </a:lnTo>
                  <a:lnTo>
                    <a:pt x="53" y="127"/>
                  </a:lnTo>
                  <a:lnTo>
                    <a:pt x="55" y="127"/>
                  </a:lnTo>
                  <a:lnTo>
                    <a:pt x="60" y="125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6" y="127"/>
                  </a:lnTo>
                  <a:lnTo>
                    <a:pt x="68" y="127"/>
                  </a:lnTo>
                  <a:lnTo>
                    <a:pt x="68" y="129"/>
                  </a:lnTo>
                  <a:lnTo>
                    <a:pt x="68" y="129"/>
                  </a:lnTo>
                  <a:lnTo>
                    <a:pt x="68" y="131"/>
                  </a:lnTo>
                  <a:lnTo>
                    <a:pt x="68" y="136"/>
                  </a:lnTo>
                  <a:lnTo>
                    <a:pt x="68" y="140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70" y="142"/>
                  </a:lnTo>
                  <a:lnTo>
                    <a:pt x="76" y="142"/>
                  </a:lnTo>
                  <a:lnTo>
                    <a:pt x="80" y="142"/>
                  </a:lnTo>
                  <a:lnTo>
                    <a:pt x="82" y="142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6" y="144"/>
                  </a:lnTo>
                  <a:lnTo>
                    <a:pt x="88" y="146"/>
                  </a:lnTo>
                  <a:lnTo>
                    <a:pt x="90" y="148"/>
                  </a:lnTo>
                  <a:lnTo>
                    <a:pt x="90" y="148"/>
                  </a:lnTo>
                  <a:lnTo>
                    <a:pt x="90" y="146"/>
                  </a:lnTo>
                  <a:lnTo>
                    <a:pt x="90" y="150"/>
                  </a:lnTo>
                  <a:lnTo>
                    <a:pt x="92" y="150"/>
                  </a:lnTo>
                  <a:lnTo>
                    <a:pt x="94" y="152"/>
                  </a:lnTo>
                  <a:lnTo>
                    <a:pt x="94" y="150"/>
                  </a:lnTo>
                  <a:lnTo>
                    <a:pt x="94" y="150"/>
                  </a:lnTo>
                  <a:lnTo>
                    <a:pt x="96" y="152"/>
                  </a:lnTo>
                  <a:lnTo>
                    <a:pt x="99" y="154"/>
                  </a:lnTo>
                  <a:lnTo>
                    <a:pt x="99" y="156"/>
                  </a:lnTo>
                  <a:lnTo>
                    <a:pt x="101" y="158"/>
                  </a:lnTo>
                  <a:lnTo>
                    <a:pt x="101" y="160"/>
                  </a:lnTo>
                  <a:lnTo>
                    <a:pt x="103" y="160"/>
                  </a:lnTo>
                  <a:lnTo>
                    <a:pt x="101" y="158"/>
                  </a:lnTo>
                  <a:lnTo>
                    <a:pt x="99" y="152"/>
                  </a:lnTo>
                  <a:lnTo>
                    <a:pt x="96" y="150"/>
                  </a:lnTo>
                  <a:lnTo>
                    <a:pt x="96" y="146"/>
                  </a:lnTo>
                  <a:lnTo>
                    <a:pt x="99" y="146"/>
                  </a:lnTo>
                  <a:lnTo>
                    <a:pt x="96" y="144"/>
                  </a:lnTo>
                  <a:lnTo>
                    <a:pt x="94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6"/>
                  </a:lnTo>
                  <a:lnTo>
                    <a:pt x="90" y="133"/>
                  </a:lnTo>
                  <a:lnTo>
                    <a:pt x="90" y="131"/>
                  </a:lnTo>
                  <a:lnTo>
                    <a:pt x="90" y="129"/>
                  </a:lnTo>
                  <a:lnTo>
                    <a:pt x="88" y="125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2" y="125"/>
                  </a:lnTo>
                  <a:lnTo>
                    <a:pt x="92" y="123"/>
                  </a:lnTo>
                  <a:lnTo>
                    <a:pt x="92" y="123"/>
                  </a:lnTo>
                  <a:lnTo>
                    <a:pt x="92" y="123"/>
                  </a:lnTo>
                  <a:lnTo>
                    <a:pt x="94" y="119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6" y="115"/>
                  </a:lnTo>
                  <a:lnTo>
                    <a:pt x="99" y="113"/>
                  </a:lnTo>
                  <a:lnTo>
                    <a:pt x="101" y="111"/>
                  </a:lnTo>
                  <a:lnTo>
                    <a:pt x="103" y="111"/>
                  </a:lnTo>
                  <a:lnTo>
                    <a:pt x="105" y="111"/>
                  </a:lnTo>
                  <a:lnTo>
                    <a:pt x="107" y="109"/>
                  </a:lnTo>
                  <a:lnTo>
                    <a:pt x="107" y="109"/>
                  </a:lnTo>
                  <a:lnTo>
                    <a:pt x="111" y="111"/>
                  </a:lnTo>
                  <a:lnTo>
                    <a:pt x="111" y="111"/>
                  </a:lnTo>
                  <a:lnTo>
                    <a:pt x="113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7" y="111"/>
                  </a:lnTo>
                  <a:lnTo>
                    <a:pt x="121" y="111"/>
                  </a:lnTo>
                  <a:lnTo>
                    <a:pt x="123" y="111"/>
                  </a:lnTo>
                  <a:lnTo>
                    <a:pt x="127" y="109"/>
                  </a:lnTo>
                  <a:lnTo>
                    <a:pt x="127" y="109"/>
                  </a:lnTo>
                  <a:lnTo>
                    <a:pt x="129" y="111"/>
                  </a:lnTo>
                  <a:lnTo>
                    <a:pt x="129" y="111"/>
                  </a:lnTo>
                  <a:lnTo>
                    <a:pt x="131" y="113"/>
                  </a:lnTo>
                  <a:lnTo>
                    <a:pt x="131" y="113"/>
                  </a:lnTo>
                  <a:lnTo>
                    <a:pt x="131" y="113"/>
                  </a:lnTo>
                  <a:lnTo>
                    <a:pt x="133" y="113"/>
                  </a:lnTo>
                  <a:lnTo>
                    <a:pt x="133" y="111"/>
                  </a:lnTo>
                  <a:lnTo>
                    <a:pt x="133" y="111"/>
                  </a:lnTo>
                  <a:lnTo>
                    <a:pt x="133" y="111"/>
                  </a:lnTo>
                  <a:lnTo>
                    <a:pt x="136" y="109"/>
                  </a:lnTo>
                  <a:lnTo>
                    <a:pt x="138" y="109"/>
                  </a:lnTo>
                  <a:lnTo>
                    <a:pt x="138" y="107"/>
                  </a:lnTo>
                  <a:lnTo>
                    <a:pt x="138" y="107"/>
                  </a:lnTo>
                  <a:lnTo>
                    <a:pt x="138" y="105"/>
                  </a:lnTo>
                  <a:lnTo>
                    <a:pt x="138" y="103"/>
                  </a:lnTo>
                  <a:lnTo>
                    <a:pt x="138" y="101"/>
                  </a:lnTo>
                  <a:lnTo>
                    <a:pt x="138" y="9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9" name="Freeform 31">
              <a:extLst>
                <a:ext uri="{FF2B5EF4-FFF2-40B4-BE49-F238E27FC236}">
                  <a16:creationId xmlns:a16="http://schemas.microsoft.com/office/drawing/2014/main" id="{F7CEB531-56DE-0D41-8291-0E3E89FB0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2891" y="2640133"/>
              <a:ext cx="148548" cy="92694"/>
            </a:xfrm>
            <a:custGeom>
              <a:avLst/>
              <a:gdLst>
                <a:gd name="T0" fmla="*/ 45 w 125"/>
                <a:gd name="T1" fmla="*/ 20 h 78"/>
                <a:gd name="T2" fmla="*/ 41 w 125"/>
                <a:gd name="T3" fmla="*/ 2 h 78"/>
                <a:gd name="T4" fmla="*/ 41 w 125"/>
                <a:gd name="T5" fmla="*/ 0 h 78"/>
                <a:gd name="T6" fmla="*/ 121 w 125"/>
                <a:gd name="T7" fmla="*/ 59 h 78"/>
                <a:gd name="T8" fmla="*/ 117 w 125"/>
                <a:gd name="T9" fmla="*/ 51 h 78"/>
                <a:gd name="T10" fmla="*/ 111 w 125"/>
                <a:gd name="T11" fmla="*/ 43 h 78"/>
                <a:gd name="T12" fmla="*/ 103 w 125"/>
                <a:gd name="T13" fmla="*/ 43 h 78"/>
                <a:gd name="T14" fmla="*/ 97 w 125"/>
                <a:gd name="T15" fmla="*/ 37 h 78"/>
                <a:gd name="T16" fmla="*/ 97 w 125"/>
                <a:gd name="T17" fmla="*/ 32 h 78"/>
                <a:gd name="T18" fmla="*/ 91 w 125"/>
                <a:gd name="T19" fmla="*/ 26 h 78"/>
                <a:gd name="T20" fmla="*/ 82 w 125"/>
                <a:gd name="T21" fmla="*/ 28 h 78"/>
                <a:gd name="T22" fmla="*/ 74 w 125"/>
                <a:gd name="T23" fmla="*/ 30 h 78"/>
                <a:gd name="T24" fmla="*/ 66 w 125"/>
                <a:gd name="T25" fmla="*/ 30 h 78"/>
                <a:gd name="T26" fmla="*/ 62 w 125"/>
                <a:gd name="T27" fmla="*/ 26 h 78"/>
                <a:gd name="T28" fmla="*/ 60 w 125"/>
                <a:gd name="T29" fmla="*/ 24 h 78"/>
                <a:gd name="T30" fmla="*/ 54 w 125"/>
                <a:gd name="T31" fmla="*/ 28 h 78"/>
                <a:gd name="T32" fmla="*/ 45 w 125"/>
                <a:gd name="T33" fmla="*/ 24 h 78"/>
                <a:gd name="T34" fmla="*/ 39 w 125"/>
                <a:gd name="T35" fmla="*/ 24 h 78"/>
                <a:gd name="T36" fmla="*/ 29 w 125"/>
                <a:gd name="T37" fmla="*/ 24 h 78"/>
                <a:gd name="T38" fmla="*/ 27 w 125"/>
                <a:gd name="T39" fmla="*/ 18 h 78"/>
                <a:gd name="T40" fmla="*/ 29 w 125"/>
                <a:gd name="T41" fmla="*/ 18 h 78"/>
                <a:gd name="T42" fmla="*/ 35 w 125"/>
                <a:gd name="T43" fmla="*/ 14 h 78"/>
                <a:gd name="T44" fmla="*/ 45 w 125"/>
                <a:gd name="T45" fmla="*/ 18 h 78"/>
                <a:gd name="T46" fmla="*/ 49 w 125"/>
                <a:gd name="T47" fmla="*/ 14 h 78"/>
                <a:gd name="T48" fmla="*/ 43 w 125"/>
                <a:gd name="T49" fmla="*/ 12 h 78"/>
                <a:gd name="T50" fmla="*/ 39 w 125"/>
                <a:gd name="T51" fmla="*/ 10 h 78"/>
                <a:gd name="T52" fmla="*/ 43 w 125"/>
                <a:gd name="T53" fmla="*/ 6 h 78"/>
                <a:gd name="T54" fmla="*/ 39 w 125"/>
                <a:gd name="T55" fmla="*/ 0 h 78"/>
                <a:gd name="T56" fmla="*/ 33 w 125"/>
                <a:gd name="T57" fmla="*/ 4 h 78"/>
                <a:gd name="T58" fmla="*/ 25 w 125"/>
                <a:gd name="T59" fmla="*/ 4 h 78"/>
                <a:gd name="T60" fmla="*/ 25 w 125"/>
                <a:gd name="T61" fmla="*/ 12 h 78"/>
                <a:gd name="T62" fmla="*/ 21 w 125"/>
                <a:gd name="T63" fmla="*/ 14 h 78"/>
                <a:gd name="T64" fmla="*/ 21 w 125"/>
                <a:gd name="T65" fmla="*/ 16 h 78"/>
                <a:gd name="T66" fmla="*/ 19 w 125"/>
                <a:gd name="T67" fmla="*/ 18 h 78"/>
                <a:gd name="T68" fmla="*/ 19 w 125"/>
                <a:gd name="T69" fmla="*/ 18 h 78"/>
                <a:gd name="T70" fmla="*/ 17 w 125"/>
                <a:gd name="T71" fmla="*/ 20 h 78"/>
                <a:gd name="T72" fmla="*/ 15 w 125"/>
                <a:gd name="T73" fmla="*/ 26 h 78"/>
                <a:gd name="T74" fmla="*/ 2 w 125"/>
                <a:gd name="T75" fmla="*/ 24 h 78"/>
                <a:gd name="T76" fmla="*/ 0 w 125"/>
                <a:gd name="T77" fmla="*/ 30 h 78"/>
                <a:gd name="T78" fmla="*/ 8 w 125"/>
                <a:gd name="T79" fmla="*/ 34 h 78"/>
                <a:gd name="T80" fmla="*/ 13 w 125"/>
                <a:gd name="T81" fmla="*/ 37 h 78"/>
                <a:gd name="T82" fmla="*/ 19 w 125"/>
                <a:gd name="T83" fmla="*/ 49 h 78"/>
                <a:gd name="T84" fmla="*/ 19 w 125"/>
                <a:gd name="T85" fmla="*/ 55 h 78"/>
                <a:gd name="T86" fmla="*/ 15 w 125"/>
                <a:gd name="T87" fmla="*/ 69 h 78"/>
                <a:gd name="T88" fmla="*/ 23 w 125"/>
                <a:gd name="T89" fmla="*/ 71 h 78"/>
                <a:gd name="T90" fmla="*/ 29 w 125"/>
                <a:gd name="T91" fmla="*/ 67 h 78"/>
                <a:gd name="T92" fmla="*/ 31 w 125"/>
                <a:gd name="T93" fmla="*/ 65 h 78"/>
                <a:gd name="T94" fmla="*/ 37 w 125"/>
                <a:gd name="T95" fmla="*/ 69 h 78"/>
                <a:gd name="T96" fmla="*/ 39 w 125"/>
                <a:gd name="T97" fmla="*/ 61 h 78"/>
                <a:gd name="T98" fmla="*/ 49 w 125"/>
                <a:gd name="T99" fmla="*/ 61 h 78"/>
                <a:gd name="T100" fmla="*/ 49 w 125"/>
                <a:gd name="T101" fmla="*/ 55 h 78"/>
                <a:gd name="T102" fmla="*/ 56 w 125"/>
                <a:gd name="T103" fmla="*/ 45 h 78"/>
                <a:gd name="T104" fmla="*/ 66 w 125"/>
                <a:gd name="T105" fmla="*/ 55 h 78"/>
                <a:gd name="T106" fmla="*/ 70 w 125"/>
                <a:gd name="T107" fmla="*/ 57 h 78"/>
                <a:gd name="T108" fmla="*/ 72 w 125"/>
                <a:gd name="T109" fmla="*/ 76 h 78"/>
                <a:gd name="T110" fmla="*/ 82 w 125"/>
                <a:gd name="T111" fmla="*/ 74 h 78"/>
                <a:gd name="T112" fmla="*/ 99 w 125"/>
                <a:gd name="T113" fmla="*/ 63 h 78"/>
                <a:gd name="T114" fmla="*/ 105 w 125"/>
                <a:gd name="T115" fmla="*/ 65 h 78"/>
                <a:gd name="T116" fmla="*/ 107 w 125"/>
                <a:gd name="T117" fmla="*/ 67 h 78"/>
                <a:gd name="T118" fmla="*/ 115 w 125"/>
                <a:gd name="T119" fmla="*/ 65 h 78"/>
                <a:gd name="T120" fmla="*/ 121 w 125"/>
                <a:gd name="T121" fmla="*/ 6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5" h="78">
                  <a:moveTo>
                    <a:pt x="45" y="20"/>
                  </a:moveTo>
                  <a:lnTo>
                    <a:pt x="45" y="18"/>
                  </a:lnTo>
                  <a:lnTo>
                    <a:pt x="43" y="18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5" y="20"/>
                  </a:lnTo>
                  <a:close/>
                  <a:moveTo>
                    <a:pt x="41" y="2"/>
                  </a:moveTo>
                  <a:lnTo>
                    <a:pt x="41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41" y="0"/>
                  </a:lnTo>
                  <a:lnTo>
                    <a:pt x="41" y="2"/>
                  </a:lnTo>
                  <a:close/>
                  <a:moveTo>
                    <a:pt x="123" y="63"/>
                  </a:moveTo>
                  <a:lnTo>
                    <a:pt x="121" y="63"/>
                  </a:lnTo>
                  <a:lnTo>
                    <a:pt x="121" y="61"/>
                  </a:lnTo>
                  <a:lnTo>
                    <a:pt x="121" y="61"/>
                  </a:lnTo>
                  <a:lnTo>
                    <a:pt x="121" y="59"/>
                  </a:lnTo>
                  <a:lnTo>
                    <a:pt x="121" y="57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5"/>
                  </a:lnTo>
                  <a:lnTo>
                    <a:pt x="117" y="53"/>
                  </a:lnTo>
                  <a:lnTo>
                    <a:pt x="117" y="51"/>
                  </a:lnTo>
                  <a:lnTo>
                    <a:pt x="115" y="51"/>
                  </a:lnTo>
                  <a:lnTo>
                    <a:pt x="115" y="49"/>
                  </a:lnTo>
                  <a:lnTo>
                    <a:pt x="115" y="47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1" y="43"/>
                  </a:lnTo>
                  <a:lnTo>
                    <a:pt x="107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3" y="43"/>
                  </a:lnTo>
                  <a:lnTo>
                    <a:pt x="103" y="43"/>
                  </a:lnTo>
                  <a:lnTo>
                    <a:pt x="103" y="43"/>
                  </a:lnTo>
                  <a:lnTo>
                    <a:pt x="101" y="43"/>
                  </a:lnTo>
                  <a:lnTo>
                    <a:pt x="99" y="43"/>
                  </a:lnTo>
                  <a:lnTo>
                    <a:pt x="99" y="41"/>
                  </a:lnTo>
                  <a:lnTo>
                    <a:pt x="97" y="39"/>
                  </a:lnTo>
                  <a:lnTo>
                    <a:pt x="97" y="39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4"/>
                  </a:lnTo>
                  <a:lnTo>
                    <a:pt x="97" y="34"/>
                  </a:lnTo>
                  <a:lnTo>
                    <a:pt x="97" y="32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3" y="28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6" y="28"/>
                  </a:lnTo>
                  <a:lnTo>
                    <a:pt x="84" y="28"/>
                  </a:lnTo>
                  <a:lnTo>
                    <a:pt x="82" y="28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6" y="28"/>
                  </a:lnTo>
                  <a:lnTo>
                    <a:pt x="74" y="28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28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4" y="28"/>
                  </a:lnTo>
                  <a:lnTo>
                    <a:pt x="52" y="28"/>
                  </a:lnTo>
                  <a:lnTo>
                    <a:pt x="49" y="28"/>
                  </a:lnTo>
                  <a:lnTo>
                    <a:pt x="49" y="26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39" y="24"/>
                  </a:lnTo>
                  <a:lnTo>
                    <a:pt x="37" y="24"/>
                  </a:lnTo>
                  <a:lnTo>
                    <a:pt x="35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1" y="24"/>
                  </a:lnTo>
                  <a:lnTo>
                    <a:pt x="29" y="24"/>
                  </a:lnTo>
                  <a:lnTo>
                    <a:pt x="29" y="26"/>
                  </a:lnTo>
                  <a:lnTo>
                    <a:pt x="27" y="22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6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3" y="16"/>
                  </a:lnTo>
                  <a:lnTo>
                    <a:pt x="35" y="14"/>
                  </a:lnTo>
                  <a:lnTo>
                    <a:pt x="37" y="16"/>
                  </a:lnTo>
                  <a:lnTo>
                    <a:pt x="39" y="16"/>
                  </a:lnTo>
                  <a:lnTo>
                    <a:pt x="41" y="16"/>
                  </a:lnTo>
                  <a:lnTo>
                    <a:pt x="43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7" y="16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1" y="8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5" y="6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1" y="2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5" y="4"/>
                  </a:lnTo>
                  <a:lnTo>
                    <a:pt x="33" y="4"/>
                  </a:lnTo>
                  <a:lnTo>
                    <a:pt x="31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3" y="12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15" y="14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7" y="16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2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5" y="24"/>
                  </a:lnTo>
                  <a:lnTo>
                    <a:pt x="15" y="26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0" y="24"/>
                  </a:lnTo>
                  <a:lnTo>
                    <a:pt x="6" y="24"/>
                  </a:lnTo>
                  <a:lnTo>
                    <a:pt x="4" y="24"/>
                  </a:lnTo>
                  <a:lnTo>
                    <a:pt x="2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3" y="34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41"/>
                  </a:lnTo>
                  <a:lnTo>
                    <a:pt x="13" y="43"/>
                  </a:lnTo>
                  <a:lnTo>
                    <a:pt x="15" y="45"/>
                  </a:lnTo>
                  <a:lnTo>
                    <a:pt x="15" y="47"/>
                  </a:lnTo>
                  <a:lnTo>
                    <a:pt x="17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9" y="53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7" y="57"/>
                  </a:lnTo>
                  <a:lnTo>
                    <a:pt x="17" y="59"/>
                  </a:lnTo>
                  <a:lnTo>
                    <a:pt x="15" y="61"/>
                  </a:lnTo>
                  <a:lnTo>
                    <a:pt x="15" y="63"/>
                  </a:lnTo>
                  <a:lnTo>
                    <a:pt x="15" y="67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7" y="71"/>
                  </a:lnTo>
                  <a:lnTo>
                    <a:pt x="19" y="74"/>
                  </a:lnTo>
                  <a:lnTo>
                    <a:pt x="21" y="74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3" y="65"/>
                  </a:lnTo>
                  <a:lnTo>
                    <a:pt x="33" y="67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39" y="67"/>
                  </a:lnTo>
                  <a:lnTo>
                    <a:pt x="39" y="67"/>
                  </a:lnTo>
                  <a:lnTo>
                    <a:pt x="39" y="65"/>
                  </a:lnTo>
                  <a:lnTo>
                    <a:pt x="39" y="63"/>
                  </a:lnTo>
                  <a:lnTo>
                    <a:pt x="39" y="61"/>
                  </a:lnTo>
                  <a:lnTo>
                    <a:pt x="41" y="61"/>
                  </a:lnTo>
                  <a:lnTo>
                    <a:pt x="43" y="61"/>
                  </a:lnTo>
                  <a:lnTo>
                    <a:pt x="45" y="61"/>
                  </a:lnTo>
                  <a:lnTo>
                    <a:pt x="47" y="61"/>
                  </a:lnTo>
                  <a:lnTo>
                    <a:pt x="47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59"/>
                  </a:lnTo>
                  <a:lnTo>
                    <a:pt x="49" y="57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3"/>
                  </a:lnTo>
                  <a:lnTo>
                    <a:pt x="52" y="53"/>
                  </a:lnTo>
                  <a:lnTo>
                    <a:pt x="52" y="51"/>
                  </a:lnTo>
                  <a:lnTo>
                    <a:pt x="54" y="47"/>
                  </a:lnTo>
                  <a:lnTo>
                    <a:pt x="54" y="45"/>
                  </a:lnTo>
                  <a:lnTo>
                    <a:pt x="56" y="45"/>
                  </a:lnTo>
                  <a:lnTo>
                    <a:pt x="60" y="47"/>
                  </a:lnTo>
                  <a:lnTo>
                    <a:pt x="62" y="49"/>
                  </a:lnTo>
                  <a:lnTo>
                    <a:pt x="64" y="51"/>
                  </a:lnTo>
                  <a:lnTo>
                    <a:pt x="64" y="53"/>
                  </a:lnTo>
                  <a:lnTo>
                    <a:pt x="64" y="55"/>
                  </a:lnTo>
                  <a:lnTo>
                    <a:pt x="66" y="55"/>
                  </a:lnTo>
                  <a:lnTo>
                    <a:pt x="66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70" y="55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70" y="61"/>
                  </a:lnTo>
                  <a:lnTo>
                    <a:pt x="70" y="63"/>
                  </a:lnTo>
                  <a:lnTo>
                    <a:pt x="70" y="67"/>
                  </a:lnTo>
                  <a:lnTo>
                    <a:pt x="70" y="69"/>
                  </a:lnTo>
                  <a:lnTo>
                    <a:pt x="72" y="71"/>
                  </a:lnTo>
                  <a:lnTo>
                    <a:pt x="72" y="76"/>
                  </a:lnTo>
                  <a:lnTo>
                    <a:pt x="74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8" y="78"/>
                  </a:lnTo>
                  <a:lnTo>
                    <a:pt x="80" y="76"/>
                  </a:lnTo>
                  <a:lnTo>
                    <a:pt x="82" y="74"/>
                  </a:lnTo>
                  <a:lnTo>
                    <a:pt x="84" y="74"/>
                  </a:lnTo>
                  <a:lnTo>
                    <a:pt x="88" y="71"/>
                  </a:lnTo>
                  <a:lnTo>
                    <a:pt x="91" y="69"/>
                  </a:lnTo>
                  <a:lnTo>
                    <a:pt x="93" y="67"/>
                  </a:lnTo>
                  <a:lnTo>
                    <a:pt x="97" y="65"/>
                  </a:lnTo>
                  <a:lnTo>
                    <a:pt x="99" y="63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3" y="63"/>
                  </a:lnTo>
                  <a:lnTo>
                    <a:pt x="103" y="63"/>
                  </a:lnTo>
                  <a:lnTo>
                    <a:pt x="103" y="65"/>
                  </a:lnTo>
                  <a:lnTo>
                    <a:pt x="105" y="65"/>
                  </a:lnTo>
                  <a:lnTo>
                    <a:pt x="105" y="65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5" y="67"/>
                  </a:lnTo>
                  <a:lnTo>
                    <a:pt x="107" y="67"/>
                  </a:lnTo>
                  <a:lnTo>
                    <a:pt x="109" y="65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3" y="65"/>
                  </a:lnTo>
                  <a:lnTo>
                    <a:pt x="115" y="65"/>
                  </a:lnTo>
                  <a:lnTo>
                    <a:pt x="115" y="65"/>
                  </a:lnTo>
                  <a:lnTo>
                    <a:pt x="117" y="65"/>
                  </a:lnTo>
                  <a:lnTo>
                    <a:pt x="119" y="65"/>
                  </a:lnTo>
                  <a:lnTo>
                    <a:pt x="121" y="67"/>
                  </a:lnTo>
                  <a:lnTo>
                    <a:pt x="121" y="67"/>
                  </a:lnTo>
                  <a:lnTo>
                    <a:pt x="121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5" y="65"/>
                  </a:lnTo>
                  <a:lnTo>
                    <a:pt x="125" y="65"/>
                  </a:lnTo>
                  <a:lnTo>
                    <a:pt x="123" y="6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0" name="Freeform 32">
              <a:extLst>
                <a:ext uri="{FF2B5EF4-FFF2-40B4-BE49-F238E27FC236}">
                  <a16:creationId xmlns:a16="http://schemas.microsoft.com/office/drawing/2014/main" id="{7A22AA71-CD4E-C640-B29B-91865CB7FD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0644" y="2981201"/>
              <a:ext cx="66550" cy="73680"/>
            </a:xfrm>
            <a:custGeom>
              <a:avLst/>
              <a:gdLst>
                <a:gd name="T0" fmla="*/ 0 w 56"/>
                <a:gd name="T1" fmla="*/ 15 h 62"/>
                <a:gd name="T2" fmla="*/ 2 w 56"/>
                <a:gd name="T3" fmla="*/ 17 h 62"/>
                <a:gd name="T4" fmla="*/ 2 w 56"/>
                <a:gd name="T5" fmla="*/ 15 h 62"/>
                <a:gd name="T6" fmla="*/ 56 w 56"/>
                <a:gd name="T7" fmla="*/ 19 h 62"/>
                <a:gd name="T8" fmla="*/ 56 w 56"/>
                <a:gd name="T9" fmla="*/ 13 h 62"/>
                <a:gd name="T10" fmla="*/ 56 w 56"/>
                <a:gd name="T11" fmla="*/ 9 h 62"/>
                <a:gd name="T12" fmla="*/ 56 w 56"/>
                <a:gd name="T13" fmla="*/ 7 h 62"/>
                <a:gd name="T14" fmla="*/ 54 w 56"/>
                <a:gd name="T15" fmla="*/ 4 h 62"/>
                <a:gd name="T16" fmla="*/ 51 w 56"/>
                <a:gd name="T17" fmla="*/ 2 h 62"/>
                <a:gd name="T18" fmla="*/ 49 w 56"/>
                <a:gd name="T19" fmla="*/ 0 h 62"/>
                <a:gd name="T20" fmla="*/ 47 w 56"/>
                <a:gd name="T21" fmla="*/ 2 h 62"/>
                <a:gd name="T22" fmla="*/ 43 w 56"/>
                <a:gd name="T23" fmla="*/ 4 h 62"/>
                <a:gd name="T24" fmla="*/ 41 w 56"/>
                <a:gd name="T25" fmla="*/ 7 h 62"/>
                <a:gd name="T26" fmla="*/ 39 w 56"/>
                <a:gd name="T27" fmla="*/ 11 h 62"/>
                <a:gd name="T28" fmla="*/ 37 w 56"/>
                <a:gd name="T29" fmla="*/ 15 h 62"/>
                <a:gd name="T30" fmla="*/ 33 w 56"/>
                <a:gd name="T31" fmla="*/ 31 h 62"/>
                <a:gd name="T32" fmla="*/ 33 w 56"/>
                <a:gd name="T33" fmla="*/ 35 h 62"/>
                <a:gd name="T34" fmla="*/ 33 w 56"/>
                <a:gd name="T35" fmla="*/ 39 h 62"/>
                <a:gd name="T36" fmla="*/ 33 w 56"/>
                <a:gd name="T37" fmla="*/ 41 h 62"/>
                <a:gd name="T38" fmla="*/ 35 w 56"/>
                <a:gd name="T39" fmla="*/ 44 h 62"/>
                <a:gd name="T40" fmla="*/ 39 w 56"/>
                <a:gd name="T41" fmla="*/ 50 h 62"/>
                <a:gd name="T42" fmla="*/ 39 w 56"/>
                <a:gd name="T43" fmla="*/ 52 h 62"/>
                <a:gd name="T44" fmla="*/ 41 w 56"/>
                <a:gd name="T45" fmla="*/ 54 h 62"/>
                <a:gd name="T46" fmla="*/ 45 w 56"/>
                <a:gd name="T47" fmla="*/ 56 h 62"/>
                <a:gd name="T48" fmla="*/ 47 w 56"/>
                <a:gd name="T49" fmla="*/ 60 h 62"/>
                <a:gd name="T50" fmla="*/ 49 w 56"/>
                <a:gd name="T51" fmla="*/ 62 h 62"/>
                <a:gd name="T52" fmla="*/ 49 w 56"/>
                <a:gd name="T53" fmla="*/ 58 h 62"/>
                <a:gd name="T54" fmla="*/ 49 w 56"/>
                <a:gd name="T55" fmla="*/ 54 h 62"/>
                <a:gd name="T56" fmla="*/ 49 w 56"/>
                <a:gd name="T57" fmla="*/ 50 h 62"/>
                <a:gd name="T58" fmla="*/ 54 w 56"/>
                <a:gd name="T59" fmla="*/ 44 h 62"/>
                <a:gd name="T60" fmla="*/ 54 w 56"/>
                <a:gd name="T61" fmla="*/ 39 h 62"/>
                <a:gd name="T62" fmla="*/ 54 w 56"/>
                <a:gd name="T63" fmla="*/ 31 h 62"/>
                <a:gd name="T64" fmla="*/ 54 w 56"/>
                <a:gd name="T65" fmla="*/ 23 h 62"/>
                <a:gd name="T66" fmla="*/ 56 w 56"/>
                <a:gd name="T67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6" h="62">
                  <a:moveTo>
                    <a:pt x="2" y="17"/>
                  </a:moveTo>
                  <a:lnTo>
                    <a:pt x="0" y="15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7"/>
                  </a:lnTo>
                  <a:close/>
                  <a:moveTo>
                    <a:pt x="56" y="19"/>
                  </a:moveTo>
                  <a:lnTo>
                    <a:pt x="56" y="15"/>
                  </a:lnTo>
                  <a:lnTo>
                    <a:pt x="56" y="13"/>
                  </a:lnTo>
                  <a:lnTo>
                    <a:pt x="56" y="11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7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3" y="4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9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37" y="15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3" y="35"/>
                  </a:lnTo>
                  <a:lnTo>
                    <a:pt x="33" y="37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41"/>
                  </a:lnTo>
                  <a:lnTo>
                    <a:pt x="35" y="41"/>
                  </a:lnTo>
                  <a:lnTo>
                    <a:pt x="35" y="44"/>
                  </a:lnTo>
                  <a:lnTo>
                    <a:pt x="37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41" y="52"/>
                  </a:lnTo>
                  <a:lnTo>
                    <a:pt x="41" y="54"/>
                  </a:lnTo>
                  <a:lnTo>
                    <a:pt x="43" y="54"/>
                  </a:lnTo>
                  <a:lnTo>
                    <a:pt x="45" y="56"/>
                  </a:lnTo>
                  <a:lnTo>
                    <a:pt x="45" y="58"/>
                  </a:lnTo>
                  <a:lnTo>
                    <a:pt x="47" y="60"/>
                  </a:lnTo>
                  <a:lnTo>
                    <a:pt x="47" y="62"/>
                  </a:lnTo>
                  <a:lnTo>
                    <a:pt x="49" y="62"/>
                  </a:lnTo>
                  <a:lnTo>
                    <a:pt x="49" y="60"/>
                  </a:lnTo>
                  <a:lnTo>
                    <a:pt x="49" y="58"/>
                  </a:lnTo>
                  <a:lnTo>
                    <a:pt x="49" y="56"/>
                  </a:lnTo>
                  <a:lnTo>
                    <a:pt x="49" y="54"/>
                  </a:lnTo>
                  <a:lnTo>
                    <a:pt x="49" y="52"/>
                  </a:lnTo>
                  <a:lnTo>
                    <a:pt x="49" y="50"/>
                  </a:lnTo>
                  <a:lnTo>
                    <a:pt x="51" y="48"/>
                  </a:lnTo>
                  <a:lnTo>
                    <a:pt x="54" y="44"/>
                  </a:lnTo>
                  <a:lnTo>
                    <a:pt x="54" y="41"/>
                  </a:lnTo>
                  <a:lnTo>
                    <a:pt x="54" y="39"/>
                  </a:lnTo>
                  <a:lnTo>
                    <a:pt x="56" y="35"/>
                  </a:lnTo>
                  <a:lnTo>
                    <a:pt x="54" y="31"/>
                  </a:lnTo>
                  <a:lnTo>
                    <a:pt x="56" y="27"/>
                  </a:lnTo>
                  <a:lnTo>
                    <a:pt x="54" y="23"/>
                  </a:lnTo>
                  <a:lnTo>
                    <a:pt x="56" y="23"/>
                  </a:lnTo>
                  <a:lnTo>
                    <a:pt x="56" y="1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1" name="Freeform 49">
              <a:extLst>
                <a:ext uri="{FF2B5EF4-FFF2-40B4-BE49-F238E27FC236}">
                  <a16:creationId xmlns:a16="http://schemas.microsoft.com/office/drawing/2014/main" id="{8FE236BB-99A8-014C-BB46-1AD5F3163D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7813" y="3318703"/>
              <a:ext cx="41594" cy="85564"/>
            </a:xfrm>
            <a:custGeom>
              <a:avLst/>
              <a:gdLst>
                <a:gd name="T0" fmla="*/ 2 w 35"/>
                <a:gd name="T1" fmla="*/ 17 h 72"/>
                <a:gd name="T2" fmla="*/ 2 w 35"/>
                <a:gd name="T3" fmla="*/ 14 h 72"/>
                <a:gd name="T4" fmla="*/ 0 w 35"/>
                <a:gd name="T5" fmla="*/ 14 h 72"/>
                <a:gd name="T6" fmla="*/ 2 w 35"/>
                <a:gd name="T7" fmla="*/ 4 h 72"/>
                <a:gd name="T8" fmla="*/ 2 w 35"/>
                <a:gd name="T9" fmla="*/ 4 h 72"/>
                <a:gd name="T10" fmla="*/ 2 w 35"/>
                <a:gd name="T11" fmla="*/ 2 h 72"/>
                <a:gd name="T12" fmla="*/ 0 w 35"/>
                <a:gd name="T13" fmla="*/ 2 h 72"/>
                <a:gd name="T14" fmla="*/ 2 w 35"/>
                <a:gd name="T15" fmla="*/ 4 h 72"/>
                <a:gd name="T16" fmla="*/ 35 w 35"/>
                <a:gd name="T17" fmla="*/ 45 h 72"/>
                <a:gd name="T18" fmla="*/ 33 w 35"/>
                <a:gd name="T19" fmla="*/ 41 h 72"/>
                <a:gd name="T20" fmla="*/ 33 w 35"/>
                <a:gd name="T21" fmla="*/ 39 h 72"/>
                <a:gd name="T22" fmla="*/ 33 w 35"/>
                <a:gd name="T23" fmla="*/ 39 h 72"/>
                <a:gd name="T24" fmla="*/ 27 w 35"/>
                <a:gd name="T25" fmla="*/ 31 h 72"/>
                <a:gd name="T26" fmla="*/ 27 w 35"/>
                <a:gd name="T27" fmla="*/ 27 h 72"/>
                <a:gd name="T28" fmla="*/ 25 w 35"/>
                <a:gd name="T29" fmla="*/ 25 h 72"/>
                <a:gd name="T30" fmla="*/ 25 w 35"/>
                <a:gd name="T31" fmla="*/ 25 h 72"/>
                <a:gd name="T32" fmla="*/ 25 w 35"/>
                <a:gd name="T33" fmla="*/ 23 h 72"/>
                <a:gd name="T34" fmla="*/ 21 w 35"/>
                <a:gd name="T35" fmla="*/ 17 h 72"/>
                <a:gd name="T36" fmla="*/ 19 w 35"/>
                <a:gd name="T37" fmla="*/ 14 h 72"/>
                <a:gd name="T38" fmla="*/ 14 w 35"/>
                <a:gd name="T39" fmla="*/ 8 h 72"/>
                <a:gd name="T40" fmla="*/ 8 w 35"/>
                <a:gd name="T41" fmla="*/ 2 h 72"/>
                <a:gd name="T42" fmla="*/ 4 w 35"/>
                <a:gd name="T43" fmla="*/ 0 h 72"/>
                <a:gd name="T44" fmla="*/ 2 w 35"/>
                <a:gd name="T45" fmla="*/ 2 h 72"/>
                <a:gd name="T46" fmla="*/ 4 w 35"/>
                <a:gd name="T47" fmla="*/ 2 h 72"/>
                <a:gd name="T48" fmla="*/ 8 w 35"/>
                <a:gd name="T49" fmla="*/ 4 h 72"/>
                <a:gd name="T50" fmla="*/ 10 w 35"/>
                <a:gd name="T51" fmla="*/ 6 h 72"/>
                <a:gd name="T52" fmla="*/ 8 w 35"/>
                <a:gd name="T53" fmla="*/ 8 h 72"/>
                <a:gd name="T54" fmla="*/ 6 w 35"/>
                <a:gd name="T55" fmla="*/ 6 h 72"/>
                <a:gd name="T56" fmla="*/ 6 w 35"/>
                <a:gd name="T57" fmla="*/ 8 h 72"/>
                <a:gd name="T58" fmla="*/ 6 w 35"/>
                <a:gd name="T59" fmla="*/ 12 h 72"/>
                <a:gd name="T60" fmla="*/ 2 w 35"/>
                <a:gd name="T61" fmla="*/ 19 h 72"/>
                <a:gd name="T62" fmla="*/ 4 w 35"/>
                <a:gd name="T63" fmla="*/ 21 h 72"/>
                <a:gd name="T64" fmla="*/ 2 w 35"/>
                <a:gd name="T65" fmla="*/ 27 h 72"/>
                <a:gd name="T66" fmla="*/ 2 w 35"/>
                <a:gd name="T67" fmla="*/ 33 h 72"/>
                <a:gd name="T68" fmla="*/ 0 w 35"/>
                <a:gd name="T69" fmla="*/ 33 h 72"/>
                <a:gd name="T70" fmla="*/ 0 w 35"/>
                <a:gd name="T71" fmla="*/ 31 h 72"/>
                <a:gd name="T72" fmla="*/ 2 w 35"/>
                <a:gd name="T73" fmla="*/ 37 h 72"/>
                <a:gd name="T74" fmla="*/ 4 w 35"/>
                <a:gd name="T75" fmla="*/ 56 h 72"/>
                <a:gd name="T76" fmla="*/ 6 w 35"/>
                <a:gd name="T77" fmla="*/ 64 h 72"/>
                <a:gd name="T78" fmla="*/ 10 w 35"/>
                <a:gd name="T79" fmla="*/ 70 h 72"/>
                <a:gd name="T80" fmla="*/ 19 w 35"/>
                <a:gd name="T81" fmla="*/ 72 h 72"/>
                <a:gd name="T82" fmla="*/ 27 w 35"/>
                <a:gd name="T83" fmla="*/ 68 h 72"/>
                <a:gd name="T84" fmla="*/ 33 w 35"/>
                <a:gd name="T85" fmla="*/ 64 h 72"/>
                <a:gd name="T86" fmla="*/ 35 w 35"/>
                <a:gd name="T87" fmla="*/ 60 h 72"/>
                <a:gd name="T88" fmla="*/ 35 w 35"/>
                <a:gd name="T89" fmla="*/ 54 h 72"/>
                <a:gd name="T90" fmla="*/ 35 w 35"/>
                <a:gd name="T91" fmla="*/ 4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" h="72">
                  <a:moveTo>
                    <a:pt x="2" y="14"/>
                  </a:moveTo>
                  <a:lnTo>
                    <a:pt x="2" y="17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35" y="47"/>
                  </a:moveTo>
                  <a:lnTo>
                    <a:pt x="35" y="45"/>
                  </a:lnTo>
                  <a:lnTo>
                    <a:pt x="35" y="43"/>
                  </a:lnTo>
                  <a:lnTo>
                    <a:pt x="33" y="41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29" y="33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27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19" y="17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8" y="4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6" y="8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4" y="14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0" y="33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7"/>
                  </a:lnTo>
                  <a:lnTo>
                    <a:pt x="2" y="41"/>
                  </a:lnTo>
                  <a:lnTo>
                    <a:pt x="4" y="56"/>
                  </a:lnTo>
                  <a:lnTo>
                    <a:pt x="4" y="60"/>
                  </a:lnTo>
                  <a:lnTo>
                    <a:pt x="6" y="64"/>
                  </a:lnTo>
                  <a:lnTo>
                    <a:pt x="8" y="68"/>
                  </a:lnTo>
                  <a:lnTo>
                    <a:pt x="10" y="70"/>
                  </a:lnTo>
                  <a:lnTo>
                    <a:pt x="14" y="72"/>
                  </a:lnTo>
                  <a:lnTo>
                    <a:pt x="19" y="72"/>
                  </a:lnTo>
                  <a:lnTo>
                    <a:pt x="23" y="70"/>
                  </a:lnTo>
                  <a:lnTo>
                    <a:pt x="27" y="68"/>
                  </a:lnTo>
                  <a:lnTo>
                    <a:pt x="29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0"/>
                  </a:lnTo>
                  <a:lnTo>
                    <a:pt x="35" y="58"/>
                  </a:lnTo>
                  <a:lnTo>
                    <a:pt x="35" y="54"/>
                  </a:lnTo>
                  <a:lnTo>
                    <a:pt x="35" y="52"/>
                  </a:lnTo>
                  <a:lnTo>
                    <a:pt x="35" y="4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2" name="Freeform 52">
              <a:extLst>
                <a:ext uri="{FF2B5EF4-FFF2-40B4-BE49-F238E27FC236}">
                  <a16:creationId xmlns:a16="http://schemas.microsoft.com/office/drawing/2014/main" id="{8B69AA22-C7A4-0249-9887-CA212FF203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8875" y="2691234"/>
              <a:ext cx="83187" cy="118839"/>
            </a:xfrm>
            <a:custGeom>
              <a:avLst/>
              <a:gdLst>
                <a:gd name="T0" fmla="*/ 29 w 70"/>
                <a:gd name="T1" fmla="*/ 96 h 100"/>
                <a:gd name="T2" fmla="*/ 31 w 70"/>
                <a:gd name="T3" fmla="*/ 100 h 100"/>
                <a:gd name="T4" fmla="*/ 39 w 70"/>
                <a:gd name="T5" fmla="*/ 96 h 100"/>
                <a:gd name="T6" fmla="*/ 31 w 70"/>
                <a:gd name="T7" fmla="*/ 78 h 100"/>
                <a:gd name="T8" fmla="*/ 21 w 70"/>
                <a:gd name="T9" fmla="*/ 74 h 100"/>
                <a:gd name="T10" fmla="*/ 21 w 70"/>
                <a:gd name="T11" fmla="*/ 78 h 100"/>
                <a:gd name="T12" fmla="*/ 21 w 70"/>
                <a:gd name="T13" fmla="*/ 74 h 100"/>
                <a:gd name="T14" fmla="*/ 44 w 70"/>
                <a:gd name="T15" fmla="*/ 72 h 100"/>
                <a:gd name="T16" fmla="*/ 19 w 70"/>
                <a:gd name="T17" fmla="*/ 72 h 100"/>
                <a:gd name="T18" fmla="*/ 48 w 70"/>
                <a:gd name="T19" fmla="*/ 70 h 100"/>
                <a:gd name="T20" fmla="*/ 46 w 70"/>
                <a:gd name="T21" fmla="*/ 72 h 100"/>
                <a:gd name="T22" fmla="*/ 48 w 70"/>
                <a:gd name="T23" fmla="*/ 70 h 100"/>
                <a:gd name="T24" fmla="*/ 54 w 70"/>
                <a:gd name="T25" fmla="*/ 70 h 100"/>
                <a:gd name="T26" fmla="*/ 9 w 70"/>
                <a:gd name="T27" fmla="*/ 37 h 100"/>
                <a:gd name="T28" fmla="*/ 9 w 70"/>
                <a:gd name="T29" fmla="*/ 37 h 100"/>
                <a:gd name="T30" fmla="*/ 68 w 70"/>
                <a:gd name="T31" fmla="*/ 20 h 100"/>
                <a:gd name="T32" fmla="*/ 0 w 70"/>
                <a:gd name="T33" fmla="*/ 14 h 100"/>
                <a:gd name="T34" fmla="*/ 2 w 70"/>
                <a:gd name="T35" fmla="*/ 18 h 100"/>
                <a:gd name="T36" fmla="*/ 60 w 70"/>
                <a:gd name="T37" fmla="*/ 47 h 100"/>
                <a:gd name="T38" fmla="*/ 58 w 70"/>
                <a:gd name="T39" fmla="*/ 45 h 100"/>
                <a:gd name="T40" fmla="*/ 54 w 70"/>
                <a:gd name="T41" fmla="*/ 35 h 100"/>
                <a:gd name="T42" fmla="*/ 35 w 70"/>
                <a:gd name="T43" fmla="*/ 12 h 100"/>
                <a:gd name="T44" fmla="*/ 23 w 70"/>
                <a:gd name="T45" fmla="*/ 4 h 100"/>
                <a:gd name="T46" fmla="*/ 17 w 70"/>
                <a:gd name="T47" fmla="*/ 6 h 100"/>
                <a:gd name="T48" fmla="*/ 7 w 70"/>
                <a:gd name="T49" fmla="*/ 6 h 100"/>
                <a:gd name="T50" fmla="*/ 5 w 70"/>
                <a:gd name="T51" fmla="*/ 10 h 100"/>
                <a:gd name="T52" fmla="*/ 2 w 70"/>
                <a:gd name="T53" fmla="*/ 16 h 100"/>
                <a:gd name="T54" fmla="*/ 7 w 70"/>
                <a:gd name="T55" fmla="*/ 18 h 100"/>
                <a:gd name="T56" fmla="*/ 11 w 70"/>
                <a:gd name="T57" fmla="*/ 26 h 100"/>
                <a:gd name="T58" fmla="*/ 15 w 70"/>
                <a:gd name="T59" fmla="*/ 31 h 100"/>
                <a:gd name="T60" fmla="*/ 11 w 70"/>
                <a:gd name="T61" fmla="*/ 31 h 100"/>
                <a:gd name="T62" fmla="*/ 5 w 70"/>
                <a:gd name="T63" fmla="*/ 33 h 100"/>
                <a:gd name="T64" fmla="*/ 9 w 70"/>
                <a:gd name="T65" fmla="*/ 35 h 100"/>
                <a:gd name="T66" fmla="*/ 13 w 70"/>
                <a:gd name="T67" fmla="*/ 41 h 100"/>
                <a:gd name="T68" fmla="*/ 19 w 70"/>
                <a:gd name="T69" fmla="*/ 47 h 100"/>
                <a:gd name="T70" fmla="*/ 21 w 70"/>
                <a:gd name="T71" fmla="*/ 53 h 100"/>
                <a:gd name="T72" fmla="*/ 19 w 70"/>
                <a:gd name="T73" fmla="*/ 55 h 100"/>
                <a:gd name="T74" fmla="*/ 19 w 70"/>
                <a:gd name="T75" fmla="*/ 61 h 100"/>
                <a:gd name="T76" fmla="*/ 23 w 70"/>
                <a:gd name="T77" fmla="*/ 70 h 100"/>
                <a:gd name="T78" fmla="*/ 23 w 70"/>
                <a:gd name="T79" fmla="*/ 72 h 100"/>
                <a:gd name="T80" fmla="*/ 21 w 70"/>
                <a:gd name="T81" fmla="*/ 72 h 100"/>
                <a:gd name="T82" fmla="*/ 27 w 70"/>
                <a:gd name="T83" fmla="*/ 80 h 100"/>
                <a:gd name="T84" fmla="*/ 31 w 70"/>
                <a:gd name="T85" fmla="*/ 76 h 100"/>
                <a:gd name="T86" fmla="*/ 37 w 70"/>
                <a:gd name="T87" fmla="*/ 74 h 100"/>
                <a:gd name="T88" fmla="*/ 39 w 70"/>
                <a:gd name="T89" fmla="*/ 76 h 100"/>
                <a:gd name="T90" fmla="*/ 37 w 70"/>
                <a:gd name="T91" fmla="*/ 70 h 100"/>
                <a:gd name="T92" fmla="*/ 44 w 70"/>
                <a:gd name="T93" fmla="*/ 72 h 100"/>
                <a:gd name="T94" fmla="*/ 44 w 70"/>
                <a:gd name="T95" fmla="*/ 68 h 100"/>
                <a:gd name="T96" fmla="*/ 50 w 70"/>
                <a:gd name="T97" fmla="*/ 68 h 100"/>
                <a:gd name="T98" fmla="*/ 52 w 70"/>
                <a:gd name="T99" fmla="*/ 65 h 100"/>
                <a:gd name="T100" fmla="*/ 60 w 70"/>
                <a:gd name="T101" fmla="*/ 63 h 100"/>
                <a:gd name="T102" fmla="*/ 62 w 70"/>
                <a:gd name="T103" fmla="*/ 4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0" h="100">
                  <a:moveTo>
                    <a:pt x="39" y="94"/>
                  </a:moveTo>
                  <a:lnTo>
                    <a:pt x="37" y="94"/>
                  </a:lnTo>
                  <a:lnTo>
                    <a:pt x="35" y="94"/>
                  </a:lnTo>
                  <a:lnTo>
                    <a:pt x="31" y="94"/>
                  </a:lnTo>
                  <a:lnTo>
                    <a:pt x="29" y="96"/>
                  </a:lnTo>
                  <a:lnTo>
                    <a:pt x="29" y="98"/>
                  </a:lnTo>
                  <a:lnTo>
                    <a:pt x="29" y="98"/>
                  </a:lnTo>
                  <a:lnTo>
                    <a:pt x="31" y="98"/>
                  </a:lnTo>
                  <a:lnTo>
                    <a:pt x="31" y="100"/>
                  </a:lnTo>
                  <a:lnTo>
                    <a:pt x="31" y="100"/>
                  </a:lnTo>
                  <a:lnTo>
                    <a:pt x="31" y="98"/>
                  </a:lnTo>
                  <a:lnTo>
                    <a:pt x="35" y="98"/>
                  </a:lnTo>
                  <a:lnTo>
                    <a:pt x="37" y="98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4"/>
                  </a:lnTo>
                  <a:close/>
                  <a:moveTo>
                    <a:pt x="29" y="80"/>
                  </a:moveTo>
                  <a:lnTo>
                    <a:pt x="31" y="80"/>
                  </a:lnTo>
                  <a:lnTo>
                    <a:pt x="31" y="78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29" y="80"/>
                  </a:lnTo>
                  <a:close/>
                  <a:moveTo>
                    <a:pt x="21" y="74"/>
                  </a:moveTo>
                  <a:lnTo>
                    <a:pt x="21" y="76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5" y="76"/>
                  </a:lnTo>
                  <a:lnTo>
                    <a:pt x="23" y="76"/>
                  </a:lnTo>
                  <a:lnTo>
                    <a:pt x="21" y="74"/>
                  </a:lnTo>
                  <a:close/>
                  <a:moveTo>
                    <a:pt x="44" y="72"/>
                  </a:moveTo>
                  <a:lnTo>
                    <a:pt x="44" y="74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4" y="72"/>
                  </a:lnTo>
                  <a:close/>
                  <a:moveTo>
                    <a:pt x="17" y="68"/>
                  </a:moveTo>
                  <a:lnTo>
                    <a:pt x="15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17" y="68"/>
                  </a:lnTo>
                  <a:close/>
                  <a:moveTo>
                    <a:pt x="48" y="70"/>
                  </a:moveTo>
                  <a:lnTo>
                    <a:pt x="46" y="70"/>
                  </a:lnTo>
                  <a:lnTo>
                    <a:pt x="44" y="68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0"/>
                  </a:lnTo>
                  <a:lnTo>
                    <a:pt x="48" y="70"/>
                  </a:lnTo>
                  <a:close/>
                  <a:moveTo>
                    <a:pt x="56" y="65"/>
                  </a:moveTo>
                  <a:lnTo>
                    <a:pt x="54" y="68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8" y="72"/>
                  </a:lnTo>
                  <a:lnTo>
                    <a:pt x="58" y="70"/>
                  </a:lnTo>
                  <a:lnTo>
                    <a:pt x="56" y="65"/>
                  </a:lnTo>
                  <a:lnTo>
                    <a:pt x="56" y="65"/>
                  </a:lnTo>
                  <a:close/>
                  <a:moveTo>
                    <a:pt x="9" y="37"/>
                  </a:moveTo>
                  <a:lnTo>
                    <a:pt x="9" y="37"/>
                  </a:lnTo>
                  <a:lnTo>
                    <a:pt x="9" y="39"/>
                  </a:lnTo>
                  <a:lnTo>
                    <a:pt x="11" y="41"/>
                  </a:lnTo>
                  <a:lnTo>
                    <a:pt x="11" y="39"/>
                  </a:lnTo>
                  <a:lnTo>
                    <a:pt x="9" y="37"/>
                  </a:lnTo>
                  <a:close/>
                  <a:moveTo>
                    <a:pt x="70" y="20"/>
                  </a:moveTo>
                  <a:lnTo>
                    <a:pt x="70" y="18"/>
                  </a:lnTo>
                  <a:lnTo>
                    <a:pt x="68" y="18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close/>
                  <a:moveTo>
                    <a:pt x="0" y="14"/>
                  </a:moveTo>
                  <a:lnTo>
                    <a:pt x="0" y="14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0" y="14"/>
                  </a:lnTo>
                  <a:close/>
                  <a:moveTo>
                    <a:pt x="62" y="49"/>
                  </a:moveTo>
                  <a:lnTo>
                    <a:pt x="62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8" y="47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6" y="39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2" y="31"/>
                  </a:lnTo>
                  <a:lnTo>
                    <a:pt x="52" y="28"/>
                  </a:lnTo>
                  <a:lnTo>
                    <a:pt x="48" y="24"/>
                  </a:lnTo>
                  <a:lnTo>
                    <a:pt x="41" y="16"/>
                  </a:lnTo>
                  <a:lnTo>
                    <a:pt x="35" y="12"/>
                  </a:lnTo>
                  <a:lnTo>
                    <a:pt x="29" y="8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2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3" y="6"/>
                  </a:lnTo>
                  <a:lnTo>
                    <a:pt x="9" y="4"/>
                  </a:lnTo>
                  <a:lnTo>
                    <a:pt x="7" y="6"/>
                  </a:lnTo>
                  <a:lnTo>
                    <a:pt x="7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10"/>
                  </a:lnTo>
                  <a:lnTo>
                    <a:pt x="2" y="12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6"/>
                  </a:lnTo>
                  <a:lnTo>
                    <a:pt x="5" y="18"/>
                  </a:lnTo>
                  <a:lnTo>
                    <a:pt x="7" y="18"/>
                  </a:lnTo>
                  <a:lnTo>
                    <a:pt x="7" y="20"/>
                  </a:lnTo>
                  <a:lnTo>
                    <a:pt x="7" y="22"/>
                  </a:lnTo>
                  <a:lnTo>
                    <a:pt x="9" y="24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3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3" y="31"/>
                  </a:lnTo>
                  <a:lnTo>
                    <a:pt x="11" y="31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9" y="37"/>
                  </a:lnTo>
                  <a:lnTo>
                    <a:pt x="9" y="35"/>
                  </a:lnTo>
                  <a:lnTo>
                    <a:pt x="11" y="35"/>
                  </a:lnTo>
                  <a:lnTo>
                    <a:pt x="11" y="37"/>
                  </a:lnTo>
                  <a:lnTo>
                    <a:pt x="13" y="39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5" y="43"/>
                  </a:lnTo>
                  <a:lnTo>
                    <a:pt x="15" y="45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9" y="47"/>
                  </a:lnTo>
                  <a:lnTo>
                    <a:pt x="17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1"/>
                  </a:lnTo>
                  <a:lnTo>
                    <a:pt x="21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9" y="55"/>
                  </a:lnTo>
                  <a:lnTo>
                    <a:pt x="21" y="55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61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5"/>
                  </a:lnTo>
                  <a:lnTo>
                    <a:pt x="21" y="68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2"/>
                  </a:lnTo>
                  <a:lnTo>
                    <a:pt x="23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3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3" y="74"/>
                  </a:lnTo>
                  <a:lnTo>
                    <a:pt x="25" y="76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9" y="78"/>
                  </a:lnTo>
                  <a:lnTo>
                    <a:pt x="29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3" y="78"/>
                  </a:lnTo>
                  <a:lnTo>
                    <a:pt x="33" y="74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7" y="74"/>
                  </a:lnTo>
                  <a:lnTo>
                    <a:pt x="35" y="74"/>
                  </a:lnTo>
                  <a:lnTo>
                    <a:pt x="35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4"/>
                  </a:lnTo>
                  <a:lnTo>
                    <a:pt x="39" y="72"/>
                  </a:lnTo>
                  <a:lnTo>
                    <a:pt x="37" y="72"/>
                  </a:lnTo>
                  <a:lnTo>
                    <a:pt x="37" y="70"/>
                  </a:lnTo>
                  <a:lnTo>
                    <a:pt x="37" y="70"/>
                  </a:lnTo>
                  <a:lnTo>
                    <a:pt x="39" y="70"/>
                  </a:lnTo>
                  <a:lnTo>
                    <a:pt x="39" y="72"/>
                  </a:lnTo>
                  <a:lnTo>
                    <a:pt x="41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1" y="70"/>
                  </a:lnTo>
                  <a:lnTo>
                    <a:pt x="41" y="70"/>
                  </a:lnTo>
                  <a:lnTo>
                    <a:pt x="41" y="68"/>
                  </a:lnTo>
                  <a:lnTo>
                    <a:pt x="41" y="68"/>
                  </a:lnTo>
                  <a:lnTo>
                    <a:pt x="44" y="68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50" y="68"/>
                  </a:lnTo>
                  <a:lnTo>
                    <a:pt x="52" y="70"/>
                  </a:lnTo>
                  <a:lnTo>
                    <a:pt x="54" y="70"/>
                  </a:lnTo>
                  <a:lnTo>
                    <a:pt x="52" y="68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4" y="63"/>
                  </a:lnTo>
                  <a:lnTo>
                    <a:pt x="56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2" y="63"/>
                  </a:lnTo>
                  <a:lnTo>
                    <a:pt x="64" y="61"/>
                  </a:lnTo>
                  <a:lnTo>
                    <a:pt x="64" y="57"/>
                  </a:lnTo>
                  <a:lnTo>
                    <a:pt x="62" y="53"/>
                  </a:lnTo>
                  <a:lnTo>
                    <a:pt x="62" y="4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3" name="Freeform 56">
              <a:extLst>
                <a:ext uri="{FF2B5EF4-FFF2-40B4-BE49-F238E27FC236}">
                  <a16:creationId xmlns:a16="http://schemas.microsoft.com/office/drawing/2014/main" id="{42523D23-9DF4-D34E-AB2D-314F5872E7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7154" y="3677596"/>
              <a:ext cx="204403" cy="115274"/>
            </a:xfrm>
            <a:custGeom>
              <a:avLst/>
              <a:gdLst>
                <a:gd name="T0" fmla="*/ 172 w 172"/>
                <a:gd name="T1" fmla="*/ 93 h 97"/>
                <a:gd name="T2" fmla="*/ 61 w 172"/>
                <a:gd name="T3" fmla="*/ 91 h 97"/>
                <a:gd name="T4" fmla="*/ 66 w 172"/>
                <a:gd name="T5" fmla="*/ 93 h 97"/>
                <a:gd name="T6" fmla="*/ 70 w 172"/>
                <a:gd name="T7" fmla="*/ 95 h 97"/>
                <a:gd name="T8" fmla="*/ 158 w 172"/>
                <a:gd name="T9" fmla="*/ 76 h 97"/>
                <a:gd name="T10" fmla="*/ 160 w 172"/>
                <a:gd name="T11" fmla="*/ 76 h 97"/>
                <a:gd name="T12" fmla="*/ 162 w 172"/>
                <a:gd name="T13" fmla="*/ 74 h 97"/>
                <a:gd name="T14" fmla="*/ 94 w 172"/>
                <a:gd name="T15" fmla="*/ 70 h 97"/>
                <a:gd name="T16" fmla="*/ 86 w 172"/>
                <a:gd name="T17" fmla="*/ 66 h 97"/>
                <a:gd name="T18" fmla="*/ 88 w 172"/>
                <a:gd name="T19" fmla="*/ 72 h 97"/>
                <a:gd name="T20" fmla="*/ 98 w 172"/>
                <a:gd name="T21" fmla="*/ 78 h 97"/>
                <a:gd name="T22" fmla="*/ 88 w 172"/>
                <a:gd name="T23" fmla="*/ 56 h 97"/>
                <a:gd name="T24" fmla="*/ 90 w 172"/>
                <a:gd name="T25" fmla="*/ 56 h 97"/>
                <a:gd name="T26" fmla="*/ 76 w 172"/>
                <a:gd name="T27" fmla="*/ 58 h 97"/>
                <a:gd name="T28" fmla="*/ 61 w 172"/>
                <a:gd name="T29" fmla="*/ 50 h 97"/>
                <a:gd name="T30" fmla="*/ 61 w 172"/>
                <a:gd name="T31" fmla="*/ 56 h 97"/>
                <a:gd name="T32" fmla="*/ 74 w 172"/>
                <a:gd name="T33" fmla="*/ 60 h 97"/>
                <a:gd name="T34" fmla="*/ 78 w 172"/>
                <a:gd name="T35" fmla="*/ 58 h 97"/>
                <a:gd name="T36" fmla="*/ 72 w 172"/>
                <a:gd name="T37" fmla="*/ 48 h 97"/>
                <a:gd name="T38" fmla="*/ 68 w 172"/>
                <a:gd name="T39" fmla="*/ 46 h 97"/>
                <a:gd name="T40" fmla="*/ 51 w 172"/>
                <a:gd name="T41" fmla="*/ 46 h 97"/>
                <a:gd name="T42" fmla="*/ 55 w 172"/>
                <a:gd name="T43" fmla="*/ 46 h 97"/>
                <a:gd name="T44" fmla="*/ 27 w 172"/>
                <a:gd name="T45" fmla="*/ 39 h 97"/>
                <a:gd name="T46" fmla="*/ 39 w 172"/>
                <a:gd name="T47" fmla="*/ 39 h 97"/>
                <a:gd name="T48" fmla="*/ 39 w 172"/>
                <a:gd name="T49" fmla="*/ 39 h 97"/>
                <a:gd name="T50" fmla="*/ 35 w 172"/>
                <a:gd name="T51" fmla="*/ 35 h 97"/>
                <a:gd name="T52" fmla="*/ 35 w 172"/>
                <a:gd name="T53" fmla="*/ 39 h 97"/>
                <a:gd name="T54" fmla="*/ 22 w 172"/>
                <a:gd name="T55" fmla="*/ 37 h 97"/>
                <a:gd name="T56" fmla="*/ 27 w 172"/>
                <a:gd name="T57" fmla="*/ 35 h 97"/>
                <a:gd name="T58" fmla="*/ 61 w 172"/>
                <a:gd name="T59" fmla="*/ 33 h 97"/>
                <a:gd name="T60" fmla="*/ 61 w 172"/>
                <a:gd name="T61" fmla="*/ 33 h 97"/>
                <a:gd name="T62" fmla="*/ 86 w 172"/>
                <a:gd name="T63" fmla="*/ 48 h 97"/>
                <a:gd name="T64" fmla="*/ 82 w 172"/>
                <a:gd name="T65" fmla="*/ 41 h 97"/>
                <a:gd name="T66" fmla="*/ 80 w 172"/>
                <a:gd name="T67" fmla="*/ 31 h 97"/>
                <a:gd name="T68" fmla="*/ 80 w 172"/>
                <a:gd name="T69" fmla="*/ 44 h 97"/>
                <a:gd name="T70" fmla="*/ 35 w 172"/>
                <a:gd name="T71" fmla="*/ 35 h 97"/>
                <a:gd name="T72" fmla="*/ 29 w 172"/>
                <a:gd name="T73" fmla="*/ 25 h 97"/>
                <a:gd name="T74" fmla="*/ 24 w 172"/>
                <a:gd name="T75" fmla="*/ 31 h 97"/>
                <a:gd name="T76" fmla="*/ 29 w 172"/>
                <a:gd name="T77" fmla="*/ 33 h 97"/>
                <a:gd name="T78" fmla="*/ 35 w 172"/>
                <a:gd name="T79" fmla="*/ 35 h 97"/>
                <a:gd name="T80" fmla="*/ 14 w 172"/>
                <a:gd name="T81" fmla="*/ 27 h 97"/>
                <a:gd name="T82" fmla="*/ 22 w 172"/>
                <a:gd name="T83" fmla="*/ 23 h 97"/>
                <a:gd name="T84" fmla="*/ 22 w 172"/>
                <a:gd name="T85" fmla="*/ 29 h 97"/>
                <a:gd name="T86" fmla="*/ 12 w 172"/>
                <a:gd name="T87" fmla="*/ 21 h 97"/>
                <a:gd name="T88" fmla="*/ 16 w 172"/>
                <a:gd name="T89" fmla="*/ 23 h 97"/>
                <a:gd name="T90" fmla="*/ 66 w 172"/>
                <a:gd name="T91" fmla="*/ 35 h 97"/>
                <a:gd name="T92" fmla="*/ 59 w 172"/>
                <a:gd name="T93" fmla="*/ 25 h 97"/>
                <a:gd name="T94" fmla="*/ 51 w 172"/>
                <a:gd name="T95" fmla="*/ 21 h 97"/>
                <a:gd name="T96" fmla="*/ 47 w 172"/>
                <a:gd name="T97" fmla="*/ 23 h 97"/>
                <a:gd name="T98" fmla="*/ 55 w 172"/>
                <a:gd name="T99" fmla="*/ 29 h 97"/>
                <a:gd name="T100" fmla="*/ 0 w 172"/>
                <a:gd name="T101" fmla="*/ 9 h 97"/>
                <a:gd name="T102" fmla="*/ 16 w 172"/>
                <a:gd name="T103" fmla="*/ 7 h 97"/>
                <a:gd name="T104" fmla="*/ 27 w 172"/>
                <a:gd name="T105" fmla="*/ 15 h 97"/>
                <a:gd name="T106" fmla="*/ 27 w 172"/>
                <a:gd name="T107" fmla="*/ 13 h 97"/>
                <a:gd name="T108" fmla="*/ 16 w 172"/>
                <a:gd name="T10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" h="97">
                  <a:moveTo>
                    <a:pt x="172" y="93"/>
                  </a:moveTo>
                  <a:lnTo>
                    <a:pt x="172" y="91"/>
                  </a:lnTo>
                  <a:lnTo>
                    <a:pt x="170" y="91"/>
                  </a:lnTo>
                  <a:lnTo>
                    <a:pt x="170" y="93"/>
                  </a:lnTo>
                  <a:lnTo>
                    <a:pt x="170" y="93"/>
                  </a:lnTo>
                  <a:lnTo>
                    <a:pt x="172" y="93"/>
                  </a:lnTo>
                  <a:lnTo>
                    <a:pt x="172" y="93"/>
                  </a:lnTo>
                  <a:lnTo>
                    <a:pt x="172" y="93"/>
                  </a:lnTo>
                  <a:close/>
                  <a:moveTo>
                    <a:pt x="68" y="93"/>
                  </a:moveTo>
                  <a:lnTo>
                    <a:pt x="63" y="91"/>
                  </a:lnTo>
                  <a:lnTo>
                    <a:pt x="61" y="89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6" y="93"/>
                  </a:lnTo>
                  <a:lnTo>
                    <a:pt x="68" y="95"/>
                  </a:lnTo>
                  <a:lnTo>
                    <a:pt x="68" y="95"/>
                  </a:lnTo>
                  <a:lnTo>
                    <a:pt x="68" y="97"/>
                  </a:lnTo>
                  <a:lnTo>
                    <a:pt x="70" y="97"/>
                  </a:lnTo>
                  <a:lnTo>
                    <a:pt x="70" y="95"/>
                  </a:lnTo>
                  <a:lnTo>
                    <a:pt x="70" y="95"/>
                  </a:lnTo>
                  <a:lnTo>
                    <a:pt x="68" y="93"/>
                  </a:lnTo>
                  <a:close/>
                  <a:moveTo>
                    <a:pt x="162" y="74"/>
                  </a:moveTo>
                  <a:lnTo>
                    <a:pt x="160" y="74"/>
                  </a:lnTo>
                  <a:lnTo>
                    <a:pt x="158" y="74"/>
                  </a:lnTo>
                  <a:lnTo>
                    <a:pt x="158" y="76"/>
                  </a:lnTo>
                  <a:lnTo>
                    <a:pt x="158" y="76"/>
                  </a:lnTo>
                  <a:lnTo>
                    <a:pt x="156" y="76"/>
                  </a:lnTo>
                  <a:lnTo>
                    <a:pt x="156" y="76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0" y="76"/>
                  </a:lnTo>
                  <a:lnTo>
                    <a:pt x="160" y="76"/>
                  </a:lnTo>
                  <a:lnTo>
                    <a:pt x="162" y="76"/>
                  </a:lnTo>
                  <a:lnTo>
                    <a:pt x="162" y="76"/>
                  </a:lnTo>
                  <a:lnTo>
                    <a:pt x="162" y="76"/>
                  </a:lnTo>
                  <a:lnTo>
                    <a:pt x="162" y="74"/>
                  </a:lnTo>
                  <a:close/>
                  <a:moveTo>
                    <a:pt x="100" y="76"/>
                  </a:moveTo>
                  <a:lnTo>
                    <a:pt x="98" y="72"/>
                  </a:lnTo>
                  <a:lnTo>
                    <a:pt x="98" y="70"/>
                  </a:lnTo>
                  <a:lnTo>
                    <a:pt x="96" y="72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2" y="70"/>
                  </a:lnTo>
                  <a:lnTo>
                    <a:pt x="92" y="70"/>
                  </a:lnTo>
                  <a:lnTo>
                    <a:pt x="90" y="68"/>
                  </a:lnTo>
                  <a:lnTo>
                    <a:pt x="88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8"/>
                  </a:lnTo>
                  <a:lnTo>
                    <a:pt x="86" y="68"/>
                  </a:lnTo>
                  <a:lnTo>
                    <a:pt x="86" y="68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4" y="76"/>
                  </a:lnTo>
                  <a:lnTo>
                    <a:pt x="96" y="76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2" y="78"/>
                  </a:lnTo>
                  <a:lnTo>
                    <a:pt x="100" y="76"/>
                  </a:lnTo>
                  <a:lnTo>
                    <a:pt x="100" y="76"/>
                  </a:lnTo>
                  <a:close/>
                  <a:moveTo>
                    <a:pt x="88" y="54"/>
                  </a:moveTo>
                  <a:lnTo>
                    <a:pt x="88" y="56"/>
                  </a:lnTo>
                  <a:lnTo>
                    <a:pt x="88" y="56"/>
                  </a:lnTo>
                  <a:lnTo>
                    <a:pt x="88" y="58"/>
                  </a:lnTo>
                  <a:lnTo>
                    <a:pt x="90" y="58"/>
                  </a:lnTo>
                  <a:lnTo>
                    <a:pt x="90" y="58"/>
                  </a:lnTo>
                  <a:lnTo>
                    <a:pt x="90" y="58"/>
                  </a:lnTo>
                  <a:lnTo>
                    <a:pt x="90" y="56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4"/>
                  </a:lnTo>
                  <a:close/>
                  <a:moveTo>
                    <a:pt x="78" y="58"/>
                  </a:moveTo>
                  <a:lnTo>
                    <a:pt x="76" y="58"/>
                  </a:lnTo>
                  <a:lnTo>
                    <a:pt x="76" y="56"/>
                  </a:lnTo>
                  <a:lnTo>
                    <a:pt x="74" y="54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6" y="52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61" y="56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3" y="58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4" y="60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78" y="58"/>
                  </a:lnTo>
                  <a:lnTo>
                    <a:pt x="78" y="58"/>
                  </a:lnTo>
                  <a:close/>
                  <a:moveTo>
                    <a:pt x="70" y="46"/>
                  </a:move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4" y="48"/>
                  </a:lnTo>
                  <a:lnTo>
                    <a:pt x="72" y="46"/>
                  </a:lnTo>
                  <a:lnTo>
                    <a:pt x="72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70" y="46"/>
                  </a:lnTo>
                  <a:close/>
                  <a:moveTo>
                    <a:pt x="53" y="44"/>
                  </a:moveTo>
                  <a:lnTo>
                    <a:pt x="53" y="44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3" y="46"/>
                  </a:lnTo>
                  <a:lnTo>
                    <a:pt x="53" y="48"/>
                  </a:lnTo>
                  <a:lnTo>
                    <a:pt x="53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4"/>
                  </a:lnTo>
                  <a:close/>
                  <a:moveTo>
                    <a:pt x="29" y="39"/>
                  </a:moveTo>
                  <a:lnTo>
                    <a:pt x="29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9" y="39"/>
                  </a:lnTo>
                  <a:lnTo>
                    <a:pt x="29" y="41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close/>
                  <a:moveTo>
                    <a:pt x="39" y="39"/>
                  </a:moveTo>
                  <a:lnTo>
                    <a:pt x="37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39"/>
                  </a:lnTo>
                  <a:lnTo>
                    <a:pt x="39" y="39"/>
                  </a:lnTo>
                  <a:close/>
                  <a:moveTo>
                    <a:pt x="37" y="37"/>
                  </a:moveTo>
                  <a:lnTo>
                    <a:pt x="37" y="37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3" y="37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7" y="39"/>
                  </a:lnTo>
                  <a:lnTo>
                    <a:pt x="37" y="37"/>
                  </a:lnTo>
                  <a:lnTo>
                    <a:pt x="37" y="37"/>
                  </a:lnTo>
                  <a:close/>
                  <a:moveTo>
                    <a:pt x="24" y="33"/>
                  </a:moveTo>
                  <a:lnTo>
                    <a:pt x="22" y="35"/>
                  </a:lnTo>
                  <a:lnTo>
                    <a:pt x="22" y="37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4" y="33"/>
                  </a:lnTo>
                  <a:close/>
                  <a:moveTo>
                    <a:pt x="61" y="33"/>
                  </a:moveTo>
                  <a:lnTo>
                    <a:pt x="61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3" y="35"/>
                  </a:lnTo>
                  <a:lnTo>
                    <a:pt x="61" y="33"/>
                  </a:lnTo>
                  <a:lnTo>
                    <a:pt x="61" y="33"/>
                  </a:lnTo>
                  <a:close/>
                  <a:moveTo>
                    <a:pt x="88" y="56"/>
                  </a:moveTo>
                  <a:lnTo>
                    <a:pt x="88" y="56"/>
                  </a:lnTo>
                  <a:lnTo>
                    <a:pt x="88" y="56"/>
                  </a:lnTo>
                  <a:lnTo>
                    <a:pt x="88" y="54"/>
                  </a:lnTo>
                  <a:lnTo>
                    <a:pt x="86" y="50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6" y="46"/>
                  </a:lnTo>
                  <a:lnTo>
                    <a:pt x="86" y="44"/>
                  </a:lnTo>
                  <a:lnTo>
                    <a:pt x="84" y="41"/>
                  </a:lnTo>
                  <a:lnTo>
                    <a:pt x="84" y="41"/>
                  </a:lnTo>
                  <a:lnTo>
                    <a:pt x="82" y="41"/>
                  </a:lnTo>
                  <a:lnTo>
                    <a:pt x="82" y="39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3"/>
                  </a:lnTo>
                  <a:lnTo>
                    <a:pt x="80" y="35"/>
                  </a:lnTo>
                  <a:lnTo>
                    <a:pt x="78" y="37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2" y="50"/>
                  </a:lnTo>
                  <a:lnTo>
                    <a:pt x="84" y="50"/>
                  </a:lnTo>
                  <a:lnTo>
                    <a:pt x="86" y="52"/>
                  </a:lnTo>
                  <a:lnTo>
                    <a:pt x="88" y="56"/>
                  </a:lnTo>
                  <a:close/>
                  <a:moveTo>
                    <a:pt x="35" y="35"/>
                  </a:moveTo>
                  <a:lnTo>
                    <a:pt x="33" y="31"/>
                  </a:lnTo>
                  <a:lnTo>
                    <a:pt x="33" y="31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29" y="25"/>
                  </a:lnTo>
                  <a:lnTo>
                    <a:pt x="27" y="25"/>
                  </a:lnTo>
                  <a:lnTo>
                    <a:pt x="27" y="27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2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5" y="35"/>
                  </a:lnTo>
                  <a:close/>
                  <a:moveTo>
                    <a:pt x="12" y="25"/>
                  </a:moveTo>
                  <a:lnTo>
                    <a:pt x="12" y="27"/>
                  </a:lnTo>
                  <a:lnTo>
                    <a:pt x="12" y="27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4" y="25"/>
                  </a:lnTo>
                  <a:lnTo>
                    <a:pt x="12" y="25"/>
                  </a:lnTo>
                  <a:close/>
                  <a:moveTo>
                    <a:pt x="22" y="27"/>
                  </a:moveTo>
                  <a:lnTo>
                    <a:pt x="22" y="27"/>
                  </a:lnTo>
                  <a:lnTo>
                    <a:pt x="22" y="25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0" y="23"/>
                  </a:lnTo>
                  <a:lnTo>
                    <a:pt x="20" y="25"/>
                  </a:lnTo>
                  <a:lnTo>
                    <a:pt x="20" y="27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2" y="27"/>
                  </a:lnTo>
                  <a:lnTo>
                    <a:pt x="22" y="27"/>
                  </a:lnTo>
                  <a:close/>
                  <a:moveTo>
                    <a:pt x="14" y="19"/>
                  </a:moveTo>
                  <a:lnTo>
                    <a:pt x="14" y="19"/>
                  </a:lnTo>
                  <a:lnTo>
                    <a:pt x="12" y="19"/>
                  </a:lnTo>
                  <a:lnTo>
                    <a:pt x="12" y="21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5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6" y="21"/>
                  </a:lnTo>
                  <a:lnTo>
                    <a:pt x="18" y="21"/>
                  </a:lnTo>
                  <a:lnTo>
                    <a:pt x="16" y="21"/>
                  </a:lnTo>
                  <a:lnTo>
                    <a:pt x="14" y="19"/>
                  </a:lnTo>
                  <a:close/>
                  <a:moveTo>
                    <a:pt x="63" y="35"/>
                  </a:move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3"/>
                  </a:lnTo>
                  <a:lnTo>
                    <a:pt x="66" y="31"/>
                  </a:lnTo>
                  <a:lnTo>
                    <a:pt x="59" y="27"/>
                  </a:lnTo>
                  <a:lnTo>
                    <a:pt x="59" y="25"/>
                  </a:lnTo>
                  <a:lnTo>
                    <a:pt x="57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1" y="21"/>
                  </a:lnTo>
                  <a:lnTo>
                    <a:pt x="49" y="19"/>
                  </a:lnTo>
                  <a:lnTo>
                    <a:pt x="45" y="17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7" y="21"/>
                  </a:lnTo>
                  <a:lnTo>
                    <a:pt x="47" y="23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51" y="25"/>
                  </a:lnTo>
                  <a:lnTo>
                    <a:pt x="51" y="27"/>
                  </a:lnTo>
                  <a:lnTo>
                    <a:pt x="53" y="27"/>
                  </a:lnTo>
                  <a:lnTo>
                    <a:pt x="55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61" y="33"/>
                  </a:lnTo>
                  <a:lnTo>
                    <a:pt x="63" y="35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2" y="11"/>
                  </a:lnTo>
                  <a:lnTo>
                    <a:pt x="2" y="9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9"/>
                  </a:lnTo>
                  <a:close/>
                  <a:moveTo>
                    <a:pt x="16" y="7"/>
                  </a:moveTo>
                  <a:lnTo>
                    <a:pt x="20" y="11"/>
                  </a:lnTo>
                  <a:lnTo>
                    <a:pt x="22" y="13"/>
                  </a:lnTo>
                  <a:lnTo>
                    <a:pt x="24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4" name="Freeform 59">
              <a:extLst>
                <a:ext uri="{FF2B5EF4-FFF2-40B4-BE49-F238E27FC236}">
                  <a16:creationId xmlns:a16="http://schemas.microsoft.com/office/drawing/2014/main" id="{BB72BC2B-F1D9-644F-947F-03450462D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3662" y="3501714"/>
              <a:ext cx="4754" cy="4754"/>
            </a:xfrm>
            <a:custGeom>
              <a:avLst/>
              <a:gdLst>
                <a:gd name="T0" fmla="*/ 4 w 4"/>
                <a:gd name="T1" fmla="*/ 2 h 4"/>
                <a:gd name="T2" fmla="*/ 4 w 4"/>
                <a:gd name="T3" fmla="*/ 0 h 4"/>
                <a:gd name="T4" fmla="*/ 2 w 4"/>
                <a:gd name="T5" fmla="*/ 0 h 4"/>
                <a:gd name="T6" fmla="*/ 0 w 4"/>
                <a:gd name="T7" fmla="*/ 0 h 4"/>
                <a:gd name="T8" fmla="*/ 0 w 4"/>
                <a:gd name="T9" fmla="*/ 2 h 4"/>
                <a:gd name="T10" fmla="*/ 2 w 4"/>
                <a:gd name="T11" fmla="*/ 4 h 4"/>
                <a:gd name="T12" fmla="*/ 4 w 4"/>
                <a:gd name="T13" fmla="*/ 2 h 4"/>
                <a:gd name="T14" fmla="*/ 4 w 4"/>
                <a:gd name="T15" fmla="*/ 2 h 4"/>
                <a:gd name="T16" fmla="*/ 4 w 4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5" name="Freeform 66">
              <a:extLst>
                <a:ext uri="{FF2B5EF4-FFF2-40B4-BE49-F238E27FC236}">
                  <a16:creationId xmlns:a16="http://schemas.microsoft.com/office/drawing/2014/main" id="{9D13E632-9330-CD4C-8279-9F47C21F7F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95406" y="3827333"/>
              <a:ext cx="21391" cy="11884"/>
            </a:xfrm>
            <a:custGeom>
              <a:avLst/>
              <a:gdLst>
                <a:gd name="T0" fmla="*/ 18 w 18"/>
                <a:gd name="T1" fmla="*/ 10 h 10"/>
                <a:gd name="T2" fmla="*/ 18 w 18"/>
                <a:gd name="T3" fmla="*/ 10 h 10"/>
                <a:gd name="T4" fmla="*/ 16 w 18"/>
                <a:gd name="T5" fmla="*/ 10 h 10"/>
                <a:gd name="T6" fmla="*/ 16 w 18"/>
                <a:gd name="T7" fmla="*/ 8 h 10"/>
                <a:gd name="T8" fmla="*/ 12 w 18"/>
                <a:gd name="T9" fmla="*/ 6 h 10"/>
                <a:gd name="T10" fmla="*/ 10 w 18"/>
                <a:gd name="T11" fmla="*/ 6 h 10"/>
                <a:gd name="T12" fmla="*/ 10 w 18"/>
                <a:gd name="T13" fmla="*/ 8 h 10"/>
                <a:gd name="T14" fmla="*/ 10 w 18"/>
                <a:gd name="T15" fmla="*/ 8 h 10"/>
                <a:gd name="T16" fmla="*/ 12 w 18"/>
                <a:gd name="T17" fmla="*/ 10 h 10"/>
                <a:gd name="T18" fmla="*/ 12 w 18"/>
                <a:gd name="T19" fmla="*/ 10 h 10"/>
                <a:gd name="T20" fmla="*/ 14 w 18"/>
                <a:gd name="T21" fmla="*/ 10 h 10"/>
                <a:gd name="T22" fmla="*/ 18 w 18"/>
                <a:gd name="T23" fmla="*/ 10 h 10"/>
                <a:gd name="T24" fmla="*/ 18 w 18"/>
                <a:gd name="T25" fmla="*/ 10 h 10"/>
                <a:gd name="T26" fmla="*/ 18 w 18"/>
                <a:gd name="T27" fmla="*/ 10 h 10"/>
                <a:gd name="T28" fmla="*/ 6 w 18"/>
                <a:gd name="T29" fmla="*/ 0 h 10"/>
                <a:gd name="T30" fmla="*/ 4 w 18"/>
                <a:gd name="T31" fmla="*/ 0 h 10"/>
                <a:gd name="T32" fmla="*/ 0 w 18"/>
                <a:gd name="T33" fmla="*/ 2 h 10"/>
                <a:gd name="T34" fmla="*/ 0 w 18"/>
                <a:gd name="T35" fmla="*/ 2 h 10"/>
                <a:gd name="T36" fmla="*/ 0 w 18"/>
                <a:gd name="T37" fmla="*/ 2 h 10"/>
                <a:gd name="T38" fmla="*/ 0 w 18"/>
                <a:gd name="T39" fmla="*/ 4 h 10"/>
                <a:gd name="T40" fmla="*/ 2 w 18"/>
                <a:gd name="T41" fmla="*/ 6 h 10"/>
                <a:gd name="T42" fmla="*/ 2 w 18"/>
                <a:gd name="T43" fmla="*/ 6 h 10"/>
                <a:gd name="T44" fmla="*/ 6 w 18"/>
                <a:gd name="T45" fmla="*/ 6 h 10"/>
                <a:gd name="T46" fmla="*/ 6 w 18"/>
                <a:gd name="T47" fmla="*/ 6 h 10"/>
                <a:gd name="T48" fmla="*/ 8 w 18"/>
                <a:gd name="T49" fmla="*/ 4 h 10"/>
                <a:gd name="T50" fmla="*/ 8 w 18"/>
                <a:gd name="T51" fmla="*/ 2 h 10"/>
                <a:gd name="T52" fmla="*/ 6 w 18"/>
                <a:gd name="T5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" h="10">
                  <a:moveTo>
                    <a:pt x="18" y="10"/>
                  </a:moveTo>
                  <a:lnTo>
                    <a:pt x="18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close/>
                  <a:moveTo>
                    <a:pt x="6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6" name="Freeform 76">
              <a:extLst>
                <a:ext uri="{FF2B5EF4-FFF2-40B4-BE49-F238E27FC236}">
                  <a16:creationId xmlns:a16="http://schemas.microsoft.com/office/drawing/2014/main" id="{9BABEFBC-61E3-074F-9E50-C4797F0EFD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3223" y="3079837"/>
              <a:ext cx="185389" cy="344632"/>
            </a:xfrm>
            <a:custGeom>
              <a:avLst/>
              <a:gdLst>
                <a:gd name="T0" fmla="*/ 69 w 156"/>
                <a:gd name="T1" fmla="*/ 271 h 290"/>
                <a:gd name="T2" fmla="*/ 82 w 156"/>
                <a:gd name="T3" fmla="*/ 265 h 290"/>
                <a:gd name="T4" fmla="*/ 96 w 156"/>
                <a:gd name="T5" fmla="*/ 246 h 290"/>
                <a:gd name="T6" fmla="*/ 123 w 156"/>
                <a:gd name="T7" fmla="*/ 213 h 290"/>
                <a:gd name="T8" fmla="*/ 143 w 156"/>
                <a:gd name="T9" fmla="*/ 203 h 290"/>
                <a:gd name="T10" fmla="*/ 149 w 156"/>
                <a:gd name="T11" fmla="*/ 220 h 290"/>
                <a:gd name="T12" fmla="*/ 131 w 156"/>
                <a:gd name="T13" fmla="*/ 220 h 290"/>
                <a:gd name="T14" fmla="*/ 108 w 156"/>
                <a:gd name="T15" fmla="*/ 234 h 290"/>
                <a:gd name="T16" fmla="*/ 96 w 156"/>
                <a:gd name="T17" fmla="*/ 232 h 290"/>
                <a:gd name="T18" fmla="*/ 88 w 156"/>
                <a:gd name="T19" fmla="*/ 246 h 290"/>
                <a:gd name="T20" fmla="*/ 104 w 156"/>
                <a:gd name="T21" fmla="*/ 240 h 290"/>
                <a:gd name="T22" fmla="*/ 117 w 156"/>
                <a:gd name="T23" fmla="*/ 261 h 290"/>
                <a:gd name="T24" fmla="*/ 141 w 156"/>
                <a:gd name="T25" fmla="*/ 275 h 290"/>
                <a:gd name="T26" fmla="*/ 147 w 156"/>
                <a:gd name="T27" fmla="*/ 257 h 290"/>
                <a:gd name="T28" fmla="*/ 145 w 156"/>
                <a:gd name="T29" fmla="*/ 201 h 290"/>
                <a:gd name="T30" fmla="*/ 110 w 156"/>
                <a:gd name="T31" fmla="*/ 205 h 290"/>
                <a:gd name="T32" fmla="*/ 135 w 156"/>
                <a:gd name="T33" fmla="*/ 191 h 290"/>
                <a:gd name="T34" fmla="*/ 45 w 156"/>
                <a:gd name="T35" fmla="*/ 189 h 290"/>
                <a:gd name="T36" fmla="*/ 88 w 156"/>
                <a:gd name="T37" fmla="*/ 187 h 290"/>
                <a:gd name="T38" fmla="*/ 100 w 156"/>
                <a:gd name="T39" fmla="*/ 211 h 290"/>
                <a:gd name="T40" fmla="*/ 92 w 156"/>
                <a:gd name="T41" fmla="*/ 183 h 290"/>
                <a:gd name="T42" fmla="*/ 110 w 156"/>
                <a:gd name="T43" fmla="*/ 176 h 290"/>
                <a:gd name="T44" fmla="*/ 104 w 156"/>
                <a:gd name="T45" fmla="*/ 199 h 290"/>
                <a:gd name="T46" fmla="*/ 37 w 156"/>
                <a:gd name="T47" fmla="*/ 174 h 290"/>
                <a:gd name="T48" fmla="*/ 16 w 156"/>
                <a:gd name="T49" fmla="*/ 211 h 290"/>
                <a:gd name="T50" fmla="*/ 12 w 156"/>
                <a:gd name="T51" fmla="*/ 222 h 290"/>
                <a:gd name="T52" fmla="*/ 37 w 156"/>
                <a:gd name="T53" fmla="*/ 193 h 290"/>
                <a:gd name="T54" fmla="*/ 131 w 156"/>
                <a:gd name="T55" fmla="*/ 193 h 290"/>
                <a:gd name="T56" fmla="*/ 117 w 156"/>
                <a:gd name="T57" fmla="*/ 172 h 290"/>
                <a:gd name="T58" fmla="*/ 123 w 156"/>
                <a:gd name="T59" fmla="*/ 197 h 290"/>
                <a:gd name="T60" fmla="*/ 121 w 156"/>
                <a:gd name="T61" fmla="*/ 168 h 290"/>
                <a:gd name="T62" fmla="*/ 94 w 156"/>
                <a:gd name="T63" fmla="*/ 170 h 290"/>
                <a:gd name="T64" fmla="*/ 78 w 156"/>
                <a:gd name="T65" fmla="*/ 178 h 290"/>
                <a:gd name="T66" fmla="*/ 43 w 156"/>
                <a:gd name="T67" fmla="*/ 166 h 290"/>
                <a:gd name="T68" fmla="*/ 41 w 156"/>
                <a:gd name="T69" fmla="*/ 158 h 290"/>
                <a:gd name="T70" fmla="*/ 82 w 156"/>
                <a:gd name="T71" fmla="*/ 152 h 290"/>
                <a:gd name="T72" fmla="*/ 129 w 156"/>
                <a:gd name="T73" fmla="*/ 178 h 290"/>
                <a:gd name="T74" fmla="*/ 131 w 156"/>
                <a:gd name="T75" fmla="*/ 158 h 290"/>
                <a:gd name="T76" fmla="*/ 100 w 156"/>
                <a:gd name="T77" fmla="*/ 158 h 290"/>
                <a:gd name="T78" fmla="*/ 94 w 156"/>
                <a:gd name="T79" fmla="*/ 154 h 290"/>
                <a:gd name="T80" fmla="*/ 74 w 156"/>
                <a:gd name="T81" fmla="*/ 156 h 290"/>
                <a:gd name="T82" fmla="*/ 90 w 156"/>
                <a:gd name="T83" fmla="*/ 144 h 290"/>
                <a:gd name="T84" fmla="*/ 55 w 156"/>
                <a:gd name="T85" fmla="*/ 135 h 290"/>
                <a:gd name="T86" fmla="*/ 55 w 156"/>
                <a:gd name="T87" fmla="*/ 148 h 290"/>
                <a:gd name="T88" fmla="*/ 71 w 156"/>
                <a:gd name="T89" fmla="*/ 133 h 290"/>
                <a:gd name="T90" fmla="*/ 41 w 156"/>
                <a:gd name="T91" fmla="*/ 127 h 290"/>
                <a:gd name="T92" fmla="*/ 69 w 156"/>
                <a:gd name="T93" fmla="*/ 121 h 290"/>
                <a:gd name="T94" fmla="*/ 67 w 156"/>
                <a:gd name="T95" fmla="*/ 111 h 290"/>
                <a:gd name="T96" fmla="*/ 45 w 156"/>
                <a:gd name="T97" fmla="*/ 117 h 290"/>
                <a:gd name="T98" fmla="*/ 51 w 156"/>
                <a:gd name="T99" fmla="*/ 127 h 290"/>
                <a:gd name="T100" fmla="*/ 82 w 156"/>
                <a:gd name="T101" fmla="*/ 139 h 290"/>
                <a:gd name="T102" fmla="*/ 94 w 156"/>
                <a:gd name="T103" fmla="*/ 139 h 290"/>
                <a:gd name="T104" fmla="*/ 102 w 156"/>
                <a:gd name="T105" fmla="*/ 141 h 290"/>
                <a:gd name="T106" fmla="*/ 92 w 156"/>
                <a:gd name="T107" fmla="*/ 127 h 290"/>
                <a:gd name="T108" fmla="*/ 76 w 156"/>
                <a:gd name="T109" fmla="*/ 125 h 290"/>
                <a:gd name="T110" fmla="*/ 59 w 156"/>
                <a:gd name="T111" fmla="*/ 98 h 290"/>
                <a:gd name="T112" fmla="*/ 69 w 156"/>
                <a:gd name="T113" fmla="*/ 65 h 290"/>
                <a:gd name="T114" fmla="*/ 55 w 156"/>
                <a:gd name="T115" fmla="*/ 45 h 290"/>
                <a:gd name="T116" fmla="*/ 37 w 156"/>
                <a:gd name="T117" fmla="*/ 74 h 290"/>
                <a:gd name="T118" fmla="*/ 55 w 156"/>
                <a:gd name="T119" fmla="*/ 37 h 290"/>
                <a:gd name="T120" fmla="*/ 49 w 156"/>
                <a:gd name="T121" fmla="*/ 2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6" h="290">
                  <a:moveTo>
                    <a:pt x="55" y="283"/>
                  </a:moveTo>
                  <a:lnTo>
                    <a:pt x="55" y="283"/>
                  </a:lnTo>
                  <a:lnTo>
                    <a:pt x="53" y="285"/>
                  </a:lnTo>
                  <a:lnTo>
                    <a:pt x="51" y="285"/>
                  </a:lnTo>
                  <a:lnTo>
                    <a:pt x="49" y="287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51" y="290"/>
                  </a:lnTo>
                  <a:lnTo>
                    <a:pt x="51" y="287"/>
                  </a:lnTo>
                  <a:lnTo>
                    <a:pt x="53" y="287"/>
                  </a:lnTo>
                  <a:lnTo>
                    <a:pt x="53" y="285"/>
                  </a:lnTo>
                  <a:lnTo>
                    <a:pt x="55" y="287"/>
                  </a:lnTo>
                  <a:lnTo>
                    <a:pt x="55" y="287"/>
                  </a:lnTo>
                  <a:lnTo>
                    <a:pt x="55" y="287"/>
                  </a:lnTo>
                  <a:lnTo>
                    <a:pt x="55" y="285"/>
                  </a:lnTo>
                  <a:lnTo>
                    <a:pt x="55" y="285"/>
                  </a:lnTo>
                  <a:lnTo>
                    <a:pt x="55" y="283"/>
                  </a:lnTo>
                  <a:close/>
                  <a:moveTo>
                    <a:pt x="71" y="271"/>
                  </a:moveTo>
                  <a:lnTo>
                    <a:pt x="71" y="271"/>
                  </a:lnTo>
                  <a:lnTo>
                    <a:pt x="69" y="271"/>
                  </a:lnTo>
                  <a:lnTo>
                    <a:pt x="67" y="271"/>
                  </a:lnTo>
                  <a:lnTo>
                    <a:pt x="65" y="271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7" y="273"/>
                  </a:lnTo>
                  <a:lnTo>
                    <a:pt x="69" y="273"/>
                  </a:lnTo>
                  <a:lnTo>
                    <a:pt x="71" y="273"/>
                  </a:lnTo>
                  <a:lnTo>
                    <a:pt x="71" y="275"/>
                  </a:lnTo>
                  <a:lnTo>
                    <a:pt x="74" y="273"/>
                  </a:lnTo>
                  <a:lnTo>
                    <a:pt x="74" y="273"/>
                  </a:lnTo>
                  <a:lnTo>
                    <a:pt x="74" y="271"/>
                  </a:lnTo>
                  <a:lnTo>
                    <a:pt x="71" y="271"/>
                  </a:lnTo>
                  <a:close/>
                  <a:moveTo>
                    <a:pt x="84" y="259"/>
                  </a:moveTo>
                  <a:lnTo>
                    <a:pt x="82" y="259"/>
                  </a:lnTo>
                  <a:lnTo>
                    <a:pt x="80" y="261"/>
                  </a:lnTo>
                  <a:lnTo>
                    <a:pt x="80" y="261"/>
                  </a:lnTo>
                  <a:lnTo>
                    <a:pt x="80" y="261"/>
                  </a:lnTo>
                  <a:lnTo>
                    <a:pt x="82" y="263"/>
                  </a:lnTo>
                  <a:lnTo>
                    <a:pt x="82" y="265"/>
                  </a:lnTo>
                  <a:lnTo>
                    <a:pt x="82" y="265"/>
                  </a:lnTo>
                  <a:lnTo>
                    <a:pt x="84" y="265"/>
                  </a:lnTo>
                  <a:lnTo>
                    <a:pt x="86" y="263"/>
                  </a:lnTo>
                  <a:lnTo>
                    <a:pt x="86" y="261"/>
                  </a:lnTo>
                  <a:lnTo>
                    <a:pt x="88" y="261"/>
                  </a:lnTo>
                  <a:lnTo>
                    <a:pt x="88" y="261"/>
                  </a:lnTo>
                  <a:lnTo>
                    <a:pt x="84" y="259"/>
                  </a:lnTo>
                  <a:close/>
                  <a:moveTo>
                    <a:pt x="141" y="250"/>
                  </a:moveTo>
                  <a:lnTo>
                    <a:pt x="141" y="253"/>
                  </a:lnTo>
                  <a:lnTo>
                    <a:pt x="141" y="253"/>
                  </a:lnTo>
                  <a:lnTo>
                    <a:pt x="143" y="255"/>
                  </a:lnTo>
                  <a:lnTo>
                    <a:pt x="143" y="255"/>
                  </a:lnTo>
                  <a:lnTo>
                    <a:pt x="143" y="250"/>
                  </a:lnTo>
                  <a:lnTo>
                    <a:pt x="141" y="250"/>
                  </a:lnTo>
                  <a:close/>
                  <a:moveTo>
                    <a:pt x="96" y="246"/>
                  </a:moveTo>
                  <a:lnTo>
                    <a:pt x="96" y="246"/>
                  </a:lnTo>
                  <a:lnTo>
                    <a:pt x="94" y="246"/>
                  </a:lnTo>
                  <a:lnTo>
                    <a:pt x="94" y="246"/>
                  </a:lnTo>
                  <a:lnTo>
                    <a:pt x="94" y="248"/>
                  </a:lnTo>
                  <a:lnTo>
                    <a:pt x="96" y="248"/>
                  </a:lnTo>
                  <a:lnTo>
                    <a:pt x="96" y="246"/>
                  </a:lnTo>
                  <a:lnTo>
                    <a:pt x="96" y="246"/>
                  </a:lnTo>
                  <a:lnTo>
                    <a:pt x="96" y="246"/>
                  </a:lnTo>
                  <a:lnTo>
                    <a:pt x="96" y="246"/>
                  </a:lnTo>
                  <a:close/>
                  <a:moveTo>
                    <a:pt x="0" y="234"/>
                  </a:moveTo>
                  <a:lnTo>
                    <a:pt x="0" y="234"/>
                  </a:lnTo>
                  <a:lnTo>
                    <a:pt x="0" y="238"/>
                  </a:lnTo>
                  <a:lnTo>
                    <a:pt x="2" y="238"/>
                  </a:lnTo>
                  <a:lnTo>
                    <a:pt x="2" y="238"/>
                  </a:lnTo>
                  <a:lnTo>
                    <a:pt x="2" y="234"/>
                  </a:lnTo>
                  <a:lnTo>
                    <a:pt x="0" y="234"/>
                  </a:lnTo>
                  <a:close/>
                  <a:moveTo>
                    <a:pt x="6" y="230"/>
                  </a:moveTo>
                  <a:lnTo>
                    <a:pt x="4" y="230"/>
                  </a:lnTo>
                  <a:lnTo>
                    <a:pt x="4" y="230"/>
                  </a:lnTo>
                  <a:lnTo>
                    <a:pt x="4" y="232"/>
                  </a:lnTo>
                  <a:lnTo>
                    <a:pt x="6" y="232"/>
                  </a:lnTo>
                  <a:lnTo>
                    <a:pt x="6" y="230"/>
                  </a:lnTo>
                  <a:lnTo>
                    <a:pt x="6" y="230"/>
                  </a:lnTo>
                  <a:close/>
                  <a:moveTo>
                    <a:pt x="123" y="213"/>
                  </a:moveTo>
                  <a:lnTo>
                    <a:pt x="123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5" y="215"/>
                  </a:lnTo>
                  <a:lnTo>
                    <a:pt x="125" y="213"/>
                  </a:lnTo>
                  <a:lnTo>
                    <a:pt x="125" y="213"/>
                  </a:lnTo>
                  <a:lnTo>
                    <a:pt x="123" y="213"/>
                  </a:lnTo>
                  <a:lnTo>
                    <a:pt x="123" y="213"/>
                  </a:lnTo>
                  <a:close/>
                  <a:moveTo>
                    <a:pt x="106" y="211"/>
                  </a:moveTo>
                  <a:lnTo>
                    <a:pt x="106" y="211"/>
                  </a:lnTo>
                  <a:lnTo>
                    <a:pt x="104" y="213"/>
                  </a:lnTo>
                  <a:lnTo>
                    <a:pt x="104" y="213"/>
                  </a:lnTo>
                  <a:lnTo>
                    <a:pt x="104" y="213"/>
                  </a:lnTo>
                  <a:lnTo>
                    <a:pt x="104" y="215"/>
                  </a:lnTo>
                  <a:lnTo>
                    <a:pt x="106" y="215"/>
                  </a:lnTo>
                  <a:lnTo>
                    <a:pt x="106" y="213"/>
                  </a:lnTo>
                  <a:lnTo>
                    <a:pt x="106" y="213"/>
                  </a:lnTo>
                  <a:lnTo>
                    <a:pt x="106" y="211"/>
                  </a:lnTo>
                  <a:close/>
                  <a:moveTo>
                    <a:pt x="143" y="205"/>
                  </a:moveTo>
                  <a:lnTo>
                    <a:pt x="143" y="205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41" y="205"/>
                  </a:lnTo>
                  <a:lnTo>
                    <a:pt x="143" y="207"/>
                  </a:lnTo>
                  <a:lnTo>
                    <a:pt x="143" y="205"/>
                  </a:lnTo>
                  <a:close/>
                  <a:moveTo>
                    <a:pt x="156" y="244"/>
                  </a:moveTo>
                  <a:lnTo>
                    <a:pt x="156" y="240"/>
                  </a:lnTo>
                  <a:lnTo>
                    <a:pt x="156" y="240"/>
                  </a:lnTo>
                  <a:lnTo>
                    <a:pt x="154" y="240"/>
                  </a:lnTo>
                  <a:lnTo>
                    <a:pt x="154" y="238"/>
                  </a:lnTo>
                  <a:lnTo>
                    <a:pt x="154" y="236"/>
                  </a:lnTo>
                  <a:lnTo>
                    <a:pt x="154" y="232"/>
                  </a:lnTo>
                  <a:lnTo>
                    <a:pt x="154" y="232"/>
                  </a:lnTo>
                  <a:lnTo>
                    <a:pt x="152" y="230"/>
                  </a:lnTo>
                  <a:lnTo>
                    <a:pt x="152" y="226"/>
                  </a:lnTo>
                  <a:lnTo>
                    <a:pt x="149" y="226"/>
                  </a:lnTo>
                  <a:lnTo>
                    <a:pt x="147" y="226"/>
                  </a:lnTo>
                  <a:lnTo>
                    <a:pt x="147" y="224"/>
                  </a:lnTo>
                  <a:lnTo>
                    <a:pt x="147" y="224"/>
                  </a:lnTo>
                  <a:lnTo>
                    <a:pt x="147" y="222"/>
                  </a:lnTo>
                  <a:lnTo>
                    <a:pt x="149" y="222"/>
                  </a:lnTo>
                  <a:lnTo>
                    <a:pt x="149" y="220"/>
                  </a:lnTo>
                  <a:lnTo>
                    <a:pt x="149" y="218"/>
                  </a:lnTo>
                  <a:lnTo>
                    <a:pt x="147" y="215"/>
                  </a:lnTo>
                  <a:lnTo>
                    <a:pt x="147" y="215"/>
                  </a:lnTo>
                  <a:lnTo>
                    <a:pt x="147" y="211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43" y="209"/>
                  </a:lnTo>
                  <a:lnTo>
                    <a:pt x="141" y="207"/>
                  </a:lnTo>
                  <a:lnTo>
                    <a:pt x="137" y="205"/>
                  </a:lnTo>
                  <a:lnTo>
                    <a:pt x="135" y="203"/>
                  </a:lnTo>
                  <a:lnTo>
                    <a:pt x="135" y="203"/>
                  </a:lnTo>
                  <a:lnTo>
                    <a:pt x="133" y="205"/>
                  </a:lnTo>
                  <a:lnTo>
                    <a:pt x="135" y="211"/>
                  </a:lnTo>
                  <a:lnTo>
                    <a:pt x="137" y="213"/>
                  </a:lnTo>
                  <a:lnTo>
                    <a:pt x="137" y="218"/>
                  </a:lnTo>
                  <a:lnTo>
                    <a:pt x="135" y="218"/>
                  </a:lnTo>
                  <a:lnTo>
                    <a:pt x="133" y="215"/>
                  </a:lnTo>
                  <a:lnTo>
                    <a:pt x="131" y="215"/>
                  </a:lnTo>
                  <a:lnTo>
                    <a:pt x="131" y="218"/>
                  </a:lnTo>
                  <a:lnTo>
                    <a:pt x="131" y="220"/>
                  </a:lnTo>
                  <a:lnTo>
                    <a:pt x="129" y="220"/>
                  </a:lnTo>
                  <a:lnTo>
                    <a:pt x="127" y="218"/>
                  </a:lnTo>
                  <a:lnTo>
                    <a:pt x="127" y="218"/>
                  </a:lnTo>
                  <a:lnTo>
                    <a:pt x="125" y="218"/>
                  </a:lnTo>
                  <a:lnTo>
                    <a:pt x="125" y="220"/>
                  </a:lnTo>
                  <a:lnTo>
                    <a:pt x="125" y="222"/>
                  </a:lnTo>
                  <a:lnTo>
                    <a:pt x="125" y="226"/>
                  </a:lnTo>
                  <a:lnTo>
                    <a:pt x="123" y="226"/>
                  </a:lnTo>
                  <a:lnTo>
                    <a:pt x="121" y="224"/>
                  </a:lnTo>
                  <a:lnTo>
                    <a:pt x="119" y="224"/>
                  </a:lnTo>
                  <a:lnTo>
                    <a:pt x="119" y="226"/>
                  </a:lnTo>
                  <a:lnTo>
                    <a:pt x="119" y="226"/>
                  </a:lnTo>
                  <a:lnTo>
                    <a:pt x="117" y="228"/>
                  </a:lnTo>
                  <a:lnTo>
                    <a:pt x="117" y="230"/>
                  </a:lnTo>
                  <a:lnTo>
                    <a:pt x="117" y="232"/>
                  </a:lnTo>
                  <a:lnTo>
                    <a:pt x="117" y="232"/>
                  </a:lnTo>
                  <a:lnTo>
                    <a:pt x="113" y="232"/>
                  </a:lnTo>
                  <a:lnTo>
                    <a:pt x="113" y="232"/>
                  </a:lnTo>
                  <a:lnTo>
                    <a:pt x="110" y="234"/>
                  </a:lnTo>
                  <a:lnTo>
                    <a:pt x="108" y="234"/>
                  </a:lnTo>
                  <a:lnTo>
                    <a:pt x="110" y="232"/>
                  </a:lnTo>
                  <a:lnTo>
                    <a:pt x="110" y="232"/>
                  </a:lnTo>
                  <a:lnTo>
                    <a:pt x="110" y="228"/>
                  </a:lnTo>
                  <a:lnTo>
                    <a:pt x="110" y="228"/>
                  </a:lnTo>
                  <a:lnTo>
                    <a:pt x="108" y="226"/>
                  </a:lnTo>
                  <a:lnTo>
                    <a:pt x="108" y="224"/>
                  </a:lnTo>
                  <a:lnTo>
                    <a:pt x="106" y="224"/>
                  </a:lnTo>
                  <a:lnTo>
                    <a:pt x="104" y="224"/>
                  </a:lnTo>
                  <a:lnTo>
                    <a:pt x="104" y="222"/>
                  </a:lnTo>
                  <a:lnTo>
                    <a:pt x="102" y="224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8" y="228"/>
                  </a:lnTo>
                  <a:lnTo>
                    <a:pt x="96" y="228"/>
                  </a:lnTo>
                  <a:lnTo>
                    <a:pt x="96" y="228"/>
                  </a:lnTo>
                  <a:lnTo>
                    <a:pt x="96" y="230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4" y="232"/>
                  </a:lnTo>
                  <a:lnTo>
                    <a:pt x="92" y="232"/>
                  </a:lnTo>
                  <a:lnTo>
                    <a:pt x="90" y="234"/>
                  </a:lnTo>
                  <a:lnTo>
                    <a:pt x="88" y="234"/>
                  </a:lnTo>
                  <a:lnTo>
                    <a:pt x="86" y="234"/>
                  </a:lnTo>
                  <a:lnTo>
                    <a:pt x="86" y="236"/>
                  </a:lnTo>
                  <a:lnTo>
                    <a:pt x="84" y="238"/>
                  </a:lnTo>
                  <a:lnTo>
                    <a:pt x="84" y="240"/>
                  </a:lnTo>
                  <a:lnTo>
                    <a:pt x="84" y="242"/>
                  </a:lnTo>
                  <a:lnTo>
                    <a:pt x="82" y="246"/>
                  </a:lnTo>
                  <a:lnTo>
                    <a:pt x="82" y="248"/>
                  </a:lnTo>
                  <a:lnTo>
                    <a:pt x="82" y="250"/>
                  </a:lnTo>
                  <a:lnTo>
                    <a:pt x="80" y="253"/>
                  </a:lnTo>
                  <a:lnTo>
                    <a:pt x="82" y="255"/>
                  </a:lnTo>
                  <a:lnTo>
                    <a:pt x="82" y="255"/>
                  </a:lnTo>
                  <a:lnTo>
                    <a:pt x="84" y="255"/>
                  </a:lnTo>
                  <a:lnTo>
                    <a:pt x="84" y="255"/>
                  </a:lnTo>
                  <a:lnTo>
                    <a:pt x="86" y="253"/>
                  </a:lnTo>
                  <a:lnTo>
                    <a:pt x="86" y="250"/>
                  </a:lnTo>
                  <a:lnTo>
                    <a:pt x="88" y="246"/>
                  </a:lnTo>
                  <a:lnTo>
                    <a:pt x="88" y="244"/>
                  </a:lnTo>
                  <a:lnTo>
                    <a:pt x="90" y="242"/>
                  </a:lnTo>
                  <a:lnTo>
                    <a:pt x="90" y="242"/>
                  </a:lnTo>
                  <a:lnTo>
                    <a:pt x="92" y="240"/>
                  </a:lnTo>
                  <a:lnTo>
                    <a:pt x="92" y="240"/>
                  </a:lnTo>
                  <a:lnTo>
                    <a:pt x="94" y="240"/>
                  </a:lnTo>
                  <a:lnTo>
                    <a:pt x="94" y="244"/>
                  </a:lnTo>
                  <a:lnTo>
                    <a:pt x="96" y="244"/>
                  </a:lnTo>
                  <a:lnTo>
                    <a:pt x="96" y="244"/>
                  </a:lnTo>
                  <a:lnTo>
                    <a:pt x="98" y="244"/>
                  </a:lnTo>
                  <a:lnTo>
                    <a:pt x="98" y="242"/>
                  </a:lnTo>
                  <a:lnTo>
                    <a:pt x="98" y="240"/>
                  </a:lnTo>
                  <a:lnTo>
                    <a:pt x="100" y="242"/>
                  </a:lnTo>
                  <a:lnTo>
                    <a:pt x="100" y="242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2" y="244"/>
                  </a:lnTo>
                  <a:lnTo>
                    <a:pt x="104" y="246"/>
                  </a:lnTo>
                  <a:lnTo>
                    <a:pt x="104" y="242"/>
                  </a:lnTo>
                  <a:lnTo>
                    <a:pt x="104" y="240"/>
                  </a:lnTo>
                  <a:lnTo>
                    <a:pt x="104" y="240"/>
                  </a:lnTo>
                  <a:lnTo>
                    <a:pt x="106" y="238"/>
                  </a:lnTo>
                  <a:lnTo>
                    <a:pt x="106" y="238"/>
                  </a:lnTo>
                  <a:lnTo>
                    <a:pt x="106" y="238"/>
                  </a:lnTo>
                  <a:lnTo>
                    <a:pt x="108" y="238"/>
                  </a:lnTo>
                  <a:lnTo>
                    <a:pt x="108" y="240"/>
                  </a:lnTo>
                  <a:lnTo>
                    <a:pt x="110" y="240"/>
                  </a:lnTo>
                  <a:lnTo>
                    <a:pt x="113" y="242"/>
                  </a:lnTo>
                  <a:lnTo>
                    <a:pt x="115" y="242"/>
                  </a:lnTo>
                  <a:lnTo>
                    <a:pt x="117" y="246"/>
                  </a:lnTo>
                  <a:lnTo>
                    <a:pt x="117" y="246"/>
                  </a:lnTo>
                  <a:lnTo>
                    <a:pt x="117" y="248"/>
                  </a:lnTo>
                  <a:lnTo>
                    <a:pt x="117" y="248"/>
                  </a:lnTo>
                  <a:lnTo>
                    <a:pt x="117" y="250"/>
                  </a:lnTo>
                  <a:lnTo>
                    <a:pt x="117" y="250"/>
                  </a:lnTo>
                  <a:lnTo>
                    <a:pt x="115" y="253"/>
                  </a:lnTo>
                  <a:lnTo>
                    <a:pt x="115" y="255"/>
                  </a:lnTo>
                  <a:lnTo>
                    <a:pt x="115" y="255"/>
                  </a:lnTo>
                  <a:lnTo>
                    <a:pt x="115" y="257"/>
                  </a:lnTo>
                  <a:lnTo>
                    <a:pt x="117" y="261"/>
                  </a:lnTo>
                  <a:lnTo>
                    <a:pt x="117" y="263"/>
                  </a:lnTo>
                  <a:lnTo>
                    <a:pt x="117" y="265"/>
                  </a:lnTo>
                  <a:lnTo>
                    <a:pt x="119" y="267"/>
                  </a:lnTo>
                  <a:lnTo>
                    <a:pt x="123" y="269"/>
                  </a:lnTo>
                  <a:lnTo>
                    <a:pt x="125" y="271"/>
                  </a:lnTo>
                  <a:lnTo>
                    <a:pt x="131" y="275"/>
                  </a:lnTo>
                  <a:lnTo>
                    <a:pt x="131" y="275"/>
                  </a:lnTo>
                  <a:lnTo>
                    <a:pt x="133" y="275"/>
                  </a:lnTo>
                  <a:lnTo>
                    <a:pt x="133" y="273"/>
                  </a:lnTo>
                  <a:lnTo>
                    <a:pt x="135" y="271"/>
                  </a:lnTo>
                  <a:lnTo>
                    <a:pt x="135" y="271"/>
                  </a:lnTo>
                  <a:lnTo>
                    <a:pt x="135" y="271"/>
                  </a:lnTo>
                  <a:lnTo>
                    <a:pt x="135" y="271"/>
                  </a:lnTo>
                  <a:lnTo>
                    <a:pt x="135" y="273"/>
                  </a:lnTo>
                  <a:lnTo>
                    <a:pt x="135" y="275"/>
                  </a:lnTo>
                  <a:lnTo>
                    <a:pt x="135" y="277"/>
                  </a:lnTo>
                  <a:lnTo>
                    <a:pt x="137" y="279"/>
                  </a:lnTo>
                  <a:lnTo>
                    <a:pt x="137" y="279"/>
                  </a:lnTo>
                  <a:lnTo>
                    <a:pt x="139" y="277"/>
                  </a:lnTo>
                  <a:lnTo>
                    <a:pt x="141" y="275"/>
                  </a:lnTo>
                  <a:lnTo>
                    <a:pt x="143" y="273"/>
                  </a:lnTo>
                  <a:lnTo>
                    <a:pt x="143" y="267"/>
                  </a:lnTo>
                  <a:lnTo>
                    <a:pt x="141" y="263"/>
                  </a:lnTo>
                  <a:lnTo>
                    <a:pt x="141" y="263"/>
                  </a:lnTo>
                  <a:lnTo>
                    <a:pt x="139" y="261"/>
                  </a:lnTo>
                  <a:lnTo>
                    <a:pt x="137" y="261"/>
                  </a:lnTo>
                  <a:lnTo>
                    <a:pt x="137" y="259"/>
                  </a:lnTo>
                  <a:lnTo>
                    <a:pt x="137" y="257"/>
                  </a:lnTo>
                  <a:lnTo>
                    <a:pt x="139" y="255"/>
                  </a:lnTo>
                  <a:lnTo>
                    <a:pt x="139" y="253"/>
                  </a:lnTo>
                  <a:lnTo>
                    <a:pt x="141" y="253"/>
                  </a:lnTo>
                  <a:lnTo>
                    <a:pt x="141" y="250"/>
                  </a:lnTo>
                  <a:lnTo>
                    <a:pt x="141" y="250"/>
                  </a:lnTo>
                  <a:lnTo>
                    <a:pt x="141" y="248"/>
                  </a:lnTo>
                  <a:lnTo>
                    <a:pt x="143" y="248"/>
                  </a:lnTo>
                  <a:lnTo>
                    <a:pt x="143" y="248"/>
                  </a:lnTo>
                  <a:lnTo>
                    <a:pt x="145" y="250"/>
                  </a:lnTo>
                  <a:lnTo>
                    <a:pt x="145" y="253"/>
                  </a:lnTo>
                  <a:lnTo>
                    <a:pt x="147" y="255"/>
                  </a:lnTo>
                  <a:lnTo>
                    <a:pt x="147" y="257"/>
                  </a:lnTo>
                  <a:lnTo>
                    <a:pt x="147" y="259"/>
                  </a:lnTo>
                  <a:lnTo>
                    <a:pt x="149" y="263"/>
                  </a:lnTo>
                  <a:lnTo>
                    <a:pt x="149" y="265"/>
                  </a:lnTo>
                  <a:lnTo>
                    <a:pt x="152" y="267"/>
                  </a:lnTo>
                  <a:lnTo>
                    <a:pt x="152" y="263"/>
                  </a:lnTo>
                  <a:lnTo>
                    <a:pt x="152" y="259"/>
                  </a:lnTo>
                  <a:lnTo>
                    <a:pt x="149" y="257"/>
                  </a:lnTo>
                  <a:lnTo>
                    <a:pt x="149" y="257"/>
                  </a:lnTo>
                  <a:lnTo>
                    <a:pt x="152" y="257"/>
                  </a:lnTo>
                  <a:lnTo>
                    <a:pt x="154" y="253"/>
                  </a:lnTo>
                  <a:lnTo>
                    <a:pt x="156" y="250"/>
                  </a:lnTo>
                  <a:lnTo>
                    <a:pt x="156" y="248"/>
                  </a:lnTo>
                  <a:lnTo>
                    <a:pt x="156" y="248"/>
                  </a:lnTo>
                  <a:lnTo>
                    <a:pt x="156" y="244"/>
                  </a:lnTo>
                  <a:close/>
                  <a:moveTo>
                    <a:pt x="143" y="203"/>
                  </a:moveTo>
                  <a:lnTo>
                    <a:pt x="143" y="203"/>
                  </a:lnTo>
                  <a:lnTo>
                    <a:pt x="145" y="203"/>
                  </a:lnTo>
                  <a:lnTo>
                    <a:pt x="145" y="203"/>
                  </a:lnTo>
                  <a:lnTo>
                    <a:pt x="145" y="201"/>
                  </a:lnTo>
                  <a:lnTo>
                    <a:pt x="145" y="201"/>
                  </a:lnTo>
                  <a:lnTo>
                    <a:pt x="145" y="199"/>
                  </a:lnTo>
                  <a:lnTo>
                    <a:pt x="143" y="197"/>
                  </a:lnTo>
                  <a:lnTo>
                    <a:pt x="143" y="199"/>
                  </a:lnTo>
                  <a:lnTo>
                    <a:pt x="143" y="201"/>
                  </a:lnTo>
                  <a:lnTo>
                    <a:pt x="143" y="203"/>
                  </a:lnTo>
                  <a:close/>
                  <a:moveTo>
                    <a:pt x="131" y="199"/>
                  </a:moveTo>
                  <a:lnTo>
                    <a:pt x="131" y="199"/>
                  </a:lnTo>
                  <a:lnTo>
                    <a:pt x="131" y="197"/>
                  </a:lnTo>
                  <a:lnTo>
                    <a:pt x="129" y="195"/>
                  </a:lnTo>
                  <a:lnTo>
                    <a:pt x="129" y="195"/>
                  </a:lnTo>
                  <a:lnTo>
                    <a:pt x="129" y="197"/>
                  </a:lnTo>
                  <a:lnTo>
                    <a:pt x="131" y="199"/>
                  </a:lnTo>
                  <a:close/>
                  <a:moveTo>
                    <a:pt x="113" y="197"/>
                  </a:moveTo>
                  <a:lnTo>
                    <a:pt x="113" y="199"/>
                  </a:lnTo>
                  <a:lnTo>
                    <a:pt x="108" y="199"/>
                  </a:lnTo>
                  <a:lnTo>
                    <a:pt x="108" y="201"/>
                  </a:lnTo>
                  <a:lnTo>
                    <a:pt x="108" y="201"/>
                  </a:lnTo>
                  <a:lnTo>
                    <a:pt x="108" y="203"/>
                  </a:lnTo>
                  <a:lnTo>
                    <a:pt x="108" y="205"/>
                  </a:lnTo>
                  <a:lnTo>
                    <a:pt x="110" y="205"/>
                  </a:lnTo>
                  <a:lnTo>
                    <a:pt x="113" y="205"/>
                  </a:lnTo>
                  <a:lnTo>
                    <a:pt x="117" y="205"/>
                  </a:lnTo>
                  <a:lnTo>
                    <a:pt x="117" y="205"/>
                  </a:lnTo>
                  <a:lnTo>
                    <a:pt x="119" y="203"/>
                  </a:lnTo>
                  <a:lnTo>
                    <a:pt x="119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21" y="201"/>
                  </a:lnTo>
                  <a:lnTo>
                    <a:pt x="121" y="201"/>
                  </a:lnTo>
                  <a:lnTo>
                    <a:pt x="121" y="199"/>
                  </a:lnTo>
                  <a:lnTo>
                    <a:pt x="119" y="197"/>
                  </a:lnTo>
                  <a:lnTo>
                    <a:pt x="117" y="197"/>
                  </a:lnTo>
                  <a:lnTo>
                    <a:pt x="117" y="197"/>
                  </a:lnTo>
                  <a:lnTo>
                    <a:pt x="117" y="195"/>
                  </a:lnTo>
                  <a:lnTo>
                    <a:pt x="117" y="195"/>
                  </a:lnTo>
                  <a:lnTo>
                    <a:pt x="113" y="197"/>
                  </a:lnTo>
                  <a:lnTo>
                    <a:pt x="113" y="197"/>
                  </a:lnTo>
                  <a:close/>
                  <a:moveTo>
                    <a:pt x="137" y="191"/>
                  </a:moveTo>
                  <a:lnTo>
                    <a:pt x="137" y="191"/>
                  </a:lnTo>
                  <a:lnTo>
                    <a:pt x="135" y="191"/>
                  </a:lnTo>
                  <a:lnTo>
                    <a:pt x="135" y="193"/>
                  </a:lnTo>
                  <a:lnTo>
                    <a:pt x="135" y="193"/>
                  </a:lnTo>
                  <a:lnTo>
                    <a:pt x="135" y="195"/>
                  </a:lnTo>
                  <a:lnTo>
                    <a:pt x="135" y="197"/>
                  </a:lnTo>
                  <a:lnTo>
                    <a:pt x="135" y="197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37" y="201"/>
                  </a:lnTo>
                  <a:lnTo>
                    <a:pt x="137" y="201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37" y="197"/>
                  </a:lnTo>
                  <a:lnTo>
                    <a:pt x="137" y="195"/>
                  </a:lnTo>
                  <a:lnTo>
                    <a:pt x="137" y="191"/>
                  </a:lnTo>
                  <a:lnTo>
                    <a:pt x="137" y="191"/>
                  </a:lnTo>
                  <a:close/>
                  <a:moveTo>
                    <a:pt x="43" y="187"/>
                  </a:moveTo>
                  <a:lnTo>
                    <a:pt x="41" y="189"/>
                  </a:lnTo>
                  <a:lnTo>
                    <a:pt x="43" y="191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5" y="187"/>
                  </a:lnTo>
                  <a:lnTo>
                    <a:pt x="43" y="187"/>
                  </a:lnTo>
                  <a:close/>
                  <a:moveTo>
                    <a:pt x="117" y="187"/>
                  </a:moveTo>
                  <a:lnTo>
                    <a:pt x="115" y="187"/>
                  </a:lnTo>
                  <a:lnTo>
                    <a:pt x="115" y="185"/>
                  </a:lnTo>
                  <a:lnTo>
                    <a:pt x="115" y="187"/>
                  </a:lnTo>
                  <a:lnTo>
                    <a:pt x="115" y="187"/>
                  </a:lnTo>
                  <a:lnTo>
                    <a:pt x="117" y="187"/>
                  </a:lnTo>
                  <a:lnTo>
                    <a:pt x="117" y="187"/>
                  </a:lnTo>
                  <a:close/>
                  <a:moveTo>
                    <a:pt x="88" y="191"/>
                  </a:moveTo>
                  <a:lnTo>
                    <a:pt x="88" y="191"/>
                  </a:lnTo>
                  <a:lnTo>
                    <a:pt x="88" y="191"/>
                  </a:lnTo>
                  <a:lnTo>
                    <a:pt x="88" y="189"/>
                  </a:lnTo>
                  <a:lnTo>
                    <a:pt x="90" y="187"/>
                  </a:lnTo>
                  <a:lnTo>
                    <a:pt x="90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7"/>
                  </a:lnTo>
                  <a:lnTo>
                    <a:pt x="86" y="187"/>
                  </a:lnTo>
                  <a:lnTo>
                    <a:pt x="86" y="189"/>
                  </a:lnTo>
                  <a:lnTo>
                    <a:pt x="86" y="191"/>
                  </a:lnTo>
                  <a:lnTo>
                    <a:pt x="88" y="191"/>
                  </a:lnTo>
                  <a:close/>
                  <a:moveTo>
                    <a:pt x="86" y="201"/>
                  </a:moveTo>
                  <a:lnTo>
                    <a:pt x="86" y="203"/>
                  </a:lnTo>
                  <a:lnTo>
                    <a:pt x="88" y="207"/>
                  </a:lnTo>
                  <a:lnTo>
                    <a:pt x="90" y="209"/>
                  </a:lnTo>
                  <a:lnTo>
                    <a:pt x="90" y="209"/>
                  </a:lnTo>
                  <a:lnTo>
                    <a:pt x="92" y="209"/>
                  </a:lnTo>
                  <a:lnTo>
                    <a:pt x="94" y="211"/>
                  </a:lnTo>
                  <a:lnTo>
                    <a:pt x="94" y="215"/>
                  </a:lnTo>
                  <a:lnTo>
                    <a:pt x="96" y="215"/>
                  </a:lnTo>
                  <a:lnTo>
                    <a:pt x="96" y="215"/>
                  </a:lnTo>
                  <a:lnTo>
                    <a:pt x="98" y="215"/>
                  </a:lnTo>
                  <a:lnTo>
                    <a:pt x="98" y="215"/>
                  </a:lnTo>
                  <a:lnTo>
                    <a:pt x="100" y="215"/>
                  </a:lnTo>
                  <a:lnTo>
                    <a:pt x="100" y="213"/>
                  </a:lnTo>
                  <a:lnTo>
                    <a:pt x="100" y="211"/>
                  </a:lnTo>
                  <a:lnTo>
                    <a:pt x="100" y="211"/>
                  </a:lnTo>
                  <a:lnTo>
                    <a:pt x="100" y="209"/>
                  </a:lnTo>
                  <a:lnTo>
                    <a:pt x="98" y="205"/>
                  </a:lnTo>
                  <a:lnTo>
                    <a:pt x="98" y="205"/>
                  </a:lnTo>
                  <a:lnTo>
                    <a:pt x="98" y="203"/>
                  </a:lnTo>
                  <a:lnTo>
                    <a:pt x="98" y="201"/>
                  </a:lnTo>
                  <a:lnTo>
                    <a:pt x="98" y="199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100" y="193"/>
                  </a:lnTo>
                  <a:lnTo>
                    <a:pt x="100" y="191"/>
                  </a:lnTo>
                  <a:lnTo>
                    <a:pt x="102" y="189"/>
                  </a:lnTo>
                  <a:lnTo>
                    <a:pt x="102" y="187"/>
                  </a:lnTo>
                  <a:lnTo>
                    <a:pt x="102" y="185"/>
                  </a:lnTo>
                  <a:lnTo>
                    <a:pt x="102" y="183"/>
                  </a:lnTo>
                  <a:lnTo>
                    <a:pt x="102" y="183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4" y="183"/>
                  </a:lnTo>
                  <a:lnTo>
                    <a:pt x="92" y="183"/>
                  </a:lnTo>
                  <a:lnTo>
                    <a:pt x="92" y="183"/>
                  </a:lnTo>
                  <a:lnTo>
                    <a:pt x="92" y="185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2" y="189"/>
                  </a:lnTo>
                  <a:lnTo>
                    <a:pt x="90" y="189"/>
                  </a:lnTo>
                  <a:lnTo>
                    <a:pt x="92" y="191"/>
                  </a:lnTo>
                  <a:lnTo>
                    <a:pt x="92" y="193"/>
                  </a:lnTo>
                  <a:lnTo>
                    <a:pt x="92" y="197"/>
                  </a:lnTo>
                  <a:lnTo>
                    <a:pt x="92" y="197"/>
                  </a:lnTo>
                  <a:lnTo>
                    <a:pt x="90" y="199"/>
                  </a:lnTo>
                  <a:lnTo>
                    <a:pt x="88" y="199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86" y="201"/>
                  </a:lnTo>
                  <a:lnTo>
                    <a:pt x="86" y="201"/>
                  </a:lnTo>
                  <a:close/>
                  <a:moveTo>
                    <a:pt x="110" y="181"/>
                  </a:moveTo>
                  <a:lnTo>
                    <a:pt x="110" y="181"/>
                  </a:lnTo>
                  <a:lnTo>
                    <a:pt x="110" y="178"/>
                  </a:lnTo>
                  <a:lnTo>
                    <a:pt x="108" y="178"/>
                  </a:lnTo>
                  <a:lnTo>
                    <a:pt x="110" y="176"/>
                  </a:lnTo>
                  <a:lnTo>
                    <a:pt x="108" y="174"/>
                  </a:lnTo>
                  <a:lnTo>
                    <a:pt x="108" y="176"/>
                  </a:lnTo>
                  <a:lnTo>
                    <a:pt x="108" y="178"/>
                  </a:lnTo>
                  <a:lnTo>
                    <a:pt x="108" y="178"/>
                  </a:lnTo>
                  <a:lnTo>
                    <a:pt x="108" y="178"/>
                  </a:lnTo>
                  <a:lnTo>
                    <a:pt x="108" y="181"/>
                  </a:lnTo>
                  <a:lnTo>
                    <a:pt x="106" y="185"/>
                  </a:lnTo>
                  <a:lnTo>
                    <a:pt x="104" y="189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2" y="195"/>
                  </a:lnTo>
                  <a:lnTo>
                    <a:pt x="100" y="199"/>
                  </a:lnTo>
                  <a:lnTo>
                    <a:pt x="100" y="201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9"/>
                  </a:lnTo>
                  <a:lnTo>
                    <a:pt x="102" y="209"/>
                  </a:lnTo>
                  <a:lnTo>
                    <a:pt x="102" y="205"/>
                  </a:lnTo>
                  <a:lnTo>
                    <a:pt x="104" y="199"/>
                  </a:lnTo>
                  <a:lnTo>
                    <a:pt x="104" y="199"/>
                  </a:lnTo>
                  <a:lnTo>
                    <a:pt x="106" y="197"/>
                  </a:lnTo>
                  <a:lnTo>
                    <a:pt x="106" y="195"/>
                  </a:lnTo>
                  <a:lnTo>
                    <a:pt x="108" y="193"/>
                  </a:lnTo>
                  <a:lnTo>
                    <a:pt x="108" y="193"/>
                  </a:lnTo>
                  <a:lnTo>
                    <a:pt x="110" y="191"/>
                  </a:lnTo>
                  <a:lnTo>
                    <a:pt x="110" y="189"/>
                  </a:lnTo>
                  <a:lnTo>
                    <a:pt x="110" y="185"/>
                  </a:lnTo>
                  <a:lnTo>
                    <a:pt x="110" y="181"/>
                  </a:lnTo>
                  <a:close/>
                  <a:moveTo>
                    <a:pt x="104" y="174"/>
                  </a:moveTo>
                  <a:lnTo>
                    <a:pt x="104" y="176"/>
                  </a:lnTo>
                  <a:lnTo>
                    <a:pt x="104" y="176"/>
                  </a:lnTo>
                  <a:lnTo>
                    <a:pt x="106" y="176"/>
                  </a:lnTo>
                  <a:lnTo>
                    <a:pt x="104" y="174"/>
                  </a:lnTo>
                  <a:lnTo>
                    <a:pt x="104" y="174"/>
                  </a:lnTo>
                  <a:close/>
                  <a:moveTo>
                    <a:pt x="39" y="185"/>
                  </a:moveTo>
                  <a:lnTo>
                    <a:pt x="37" y="181"/>
                  </a:lnTo>
                  <a:lnTo>
                    <a:pt x="37" y="178"/>
                  </a:lnTo>
                  <a:lnTo>
                    <a:pt x="37" y="178"/>
                  </a:lnTo>
                  <a:lnTo>
                    <a:pt x="37" y="176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35" y="174"/>
                  </a:lnTo>
                  <a:lnTo>
                    <a:pt x="35" y="181"/>
                  </a:lnTo>
                  <a:lnTo>
                    <a:pt x="32" y="181"/>
                  </a:lnTo>
                  <a:lnTo>
                    <a:pt x="32" y="183"/>
                  </a:lnTo>
                  <a:lnTo>
                    <a:pt x="35" y="185"/>
                  </a:lnTo>
                  <a:lnTo>
                    <a:pt x="35" y="187"/>
                  </a:lnTo>
                  <a:lnTo>
                    <a:pt x="35" y="189"/>
                  </a:lnTo>
                  <a:lnTo>
                    <a:pt x="32" y="189"/>
                  </a:lnTo>
                  <a:lnTo>
                    <a:pt x="32" y="191"/>
                  </a:lnTo>
                  <a:lnTo>
                    <a:pt x="32" y="191"/>
                  </a:lnTo>
                  <a:lnTo>
                    <a:pt x="30" y="191"/>
                  </a:lnTo>
                  <a:lnTo>
                    <a:pt x="30" y="193"/>
                  </a:lnTo>
                  <a:lnTo>
                    <a:pt x="26" y="197"/>
                  </a:lnTo>
                  <a:lnTo>
                    <a:pt x="26" y="197"/>
                  </a:lnTo>
                  <a:lnTo>
                    <a:pt x="26" y="197"/>
                  </a:lnTo>
                  <a:lnTo>
                    <a:pt x="22" y="203"/>
                  </a:lnTo>
                  <a:lnTo>
                    <a:pt x="20" y="205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1"/>
                  </a:lnTo>
                  <a:lnTo>
                    <a:pt x="14" y="211"/>
                  </a:lnTo>
                  <a:lnTo>
                    <a:pt x="14" y="213"/>
                  </a:lnTo>
                  <a:lnTo>
                    <a:pt x="12" y="215"/>
                  </a:lnTo>
                  <a:lnTo>
                    <a:pt x="8" y="218"/>
                  </a:lnTo>
                  <a:lnTo>
                    <a:pt x="8" y="220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4" y="226"/>
                  </a:lnTo>
                  <a:lnTo>
                    <a:pt x="4" y="228"/>
                  </a:lnTo>
                  <a:lnTo>
                    <a:pt x="4" y="228"/>
                  </a:lnTo>
                  <a:lnTo>
                    <a:pt x="6" y="228"/>
                  </a:lnTo>
                  <a:lnTo>
                    <a:pt x="6" y="226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8" y="224"/>
                  </a:lnTo>
                  <a:lnTo>
                    <a:pt x="10" y="224"/>
                  </a:lnTo>
                  <a:lnTo>
                    <a:pt x="12" y="222"/>
                  </a:lnTo>
                  <a:lnTo>
                    <a:pt x="14" y="220"/>
                  </a:lnTo>
                  <a:lnTo>
                    <a:pt x="16" y="220"/>
                  </a:lnTo>
                  <a:lnTo>
                    <a:pt x="16" y="218"/>
                  </a:lnTo>
                  <a:lnTo>
                    <a:pt x="18" y="215"/>
                  </a:lnTo>
                  <a:lnTo>
                    <a:pt x="18" y="213"/>
                  </a:lnTo>
                  <a:lnTo>
                    <a:pt x="20" y="213"/>
                  </a:lnTo>
                  <a:lnTo>
                    <a:pt x="22" y="211"/>
                  </a:lnTo>
                  <a:lnTo>
                    <a:pt x="22" y="211"/>
                  </a:lnTo>
                  <a:lnTo>
                    <a:pt x="24" y="209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9"/>
                  </a:lnTo>
                  <a:lnTo>
                    <a:pt x="28" y="199"/>
                  </a:lnTo>
                  <a:lnTo>
                    <a:pt x="28" y="199"/>
                  </a:lnTo>
                  <a:lnTo>
                    <a:pt x="32" y="197"/>
                  </a:lnTo>
                  <a:lnTo>
                    <a:pt x="32" y="197"/>
                  </a:lnTo>
                  <a:lnTo>
                    <a:pt x="35" y="195"/>
                  </a:lnTo>
                  <a:lnTo>
                    <a:pt x="35" y="193"/>
                  </a:lnTo>
                  <a:lnTo>
                    <a:pt x="35" y="193"/>
                  </a:lnTo>
                  <a:lnTo>
                    <a:pt x="37" y="193"/>
                  </a:lnTo>
                  <a:lnTo>
                    <a:pt x="39" y="191"/>
                  </a:lnTo>
                  <a:lnTo>
                    <a:pt x="39" y="191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39" y="185"/>
                  </a:lnTo>
                  <a:close/>
                  <a:moveTo>
                    <a:pt x="43" y="172"/>
                  </a:moveTo>
                  <a:lnTo>
                    <a:pt x="41" y="170"/>
                  </a:lnTo>
                  <a:lnTo>
                    <a:pt x="41" y="170"/>
                  </a:lnTo>
                  <a:lnTo>
                    <a:pt x="41" y="172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41" y="172"/>
                  </a:lnTo>
                  <a:lnTo>
                    <a:pt x="41" y="172"/>
                  </a:lnTo>
                  <a:lnTo>
                    <a:pt x="41" y="172"/>
                  </a:lnTo>
                  <a:lnTo>
                    <a:pt x="43" y="172"/>
                  </a:lnTo>
                  <a:close/>
                  <a:moveTo>
                    <a:pt x="129" y="195"/>
                  </a:moveTo>
                  <a:lnTo>
                    <a:pt x="129" y="195"/>
                  </a:lnTo>
                  <a:lnTo>
                    <a:pt x="129" y="195"/>
                  </a:lnTo>
                  <a:lnTo>
                    <a:pt x="129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29" y="191"/>
                  </a:lnTo>
                  <a:lnTo>
                    <a:pt x="129" y="189"/>
                  </a:lnTo>
                  <a:lnTo>
                    <a:pt x="129" y="187"/>
                  </a:lnTo>
                  <a:lnTo>
                    <a:pt x="127" y="187"/>
                  </a:lnTo>
                  <a:lnTo>
                    <a:pt x="127" y="185"/>
                  </a:lnTo>
                  <a:lnTo>
                    <a:pt x="127" y="185"/>
                  </a:lnTo>
                  <a:lnTo>
                    <a:pt x="125" y="185"/>
                  </a:lnTo>
                  <a:lnTo>
                    <a:pt x="125" y="181"/>
                  </a:lnTo>
                  <a:lnTo>
                    <a:pt x="125" y="178"/>
                  </a:lnTo>
                  <a:lnTo>
                    <a:pt x="125" y="176"/>
                  </a:lnTo>
                  <a:lnTo>
                    <a:pt x="125" y="176"/>
                  </a:lnTo>
                  <a:lnTo>
                    <a:pt x="123" y="172"/>
                  </a:lnTo>
                  <a:lnTo>
                    <a:pt x="121" y="172"/>
                  </a:lnTo>
                  <a:lnTo>
                    <a:pt x="121" y="174"/>
                  </a:lnTo>
                  <a:lnTo>
                    <a:pt x="119" y="174"/>
                  </a:lnTo>
                  <a:lnTo>
                    <a:pt x="119" y="174"/>
                  </a:lnTo>
                  <a:lnTo>
                    <a:pt x="117" y="172"/>
                  </a:lnTo>
                  <a:lnTo>
                    <a:pt x="117" y="172"/>
                  </a:lnTo>
                  <a:lnTo>
                    <a:pt x="115" y="172"/>
                  </a:lnTo>
                  <a:lnTo>
                    <a:pt x="115" y="170"/>
                  </a:lnTo>
                  <a:lnTo>
                    <a:pt x="113" y="170"/>
                  </a:lnTo>
                  <a:lnTo>
                    <a:pt x="113" y="170"/>
                  </a:lnTo>
                  <a:lnTo>
                    <a:pt x="115" y="172"/>
                  </a:lnTo>
                  <a:lnTo>
                    <a:pt x="115" y="174"/>
                  </a:lnTo>
                  <a:lnTo>
                    <a:pt x="115" y="176"/>
                  </a:lnTo>
                  <a:lnTo>
                    <a:pt x="117" y="183"/>
                  </a:lnTo>
                  <a:lnTo>
                    <a:pt x="117" y="183"/>
                  </a:lnTo>
                  <a:lnTo>
                    <a:pt x="119" y="181"/>
                  </a:lnTo>
                  <a:lnTo>
                    <a:pt x="121" y="181"/>
                  </a:lnTo>
                  <a:lnTo>
                    <a:pt x="121" y="183"/>
                  </a:lnTo>
                  <a:lnTo>
                    <a:pt x="123" y="185"/>
                  </a:lnTo>
                  <a:lnTo>
                    <a:pt x="123" y="185"/>
                  </a:lnTo>
                  <a:lnTo>
                    <a:pt x="123" y="187"/>
                  </a:lnTo>
                  <a:lnTo>
                    <a:pt x="123" y="191"/>
                  </a:lnTo>
                  <a:lnTo>
                    <a:pt x="123" y="193"/>
                  </a:lnTo>
                  <a:lnTo>
                    <a:pt x="123" y="193"/>
                  </a:lnTo>
                  <a:lnTo>
                    <a:pt x="123" y="195"/>
                  </a:lnTo>
                  <a:lnTo>
                    <a:pt x="123" y="197"/>
                  </a:lnTo>
                  <a:lnTo>
                    <a:pt x="125" y="197"/>
                  </a:lnTo>
                  <a:lnTo>
                    <a:pt x="127" y="197"/>
                  </a:lnTo>
                  <a:lnTo>
                    <a:pt x="127" y="197"/>
                  </a:lnTo>
                  <a:lnTo>
                    <a:pt x="127" y="195"/>
                  </a:lnTo>
                  <a:lnTo>
                    <a:pt x="127" y="191"/>
                  </a:lnTo>
                  <a:lnTo>
                    <a:pt x="127" y="193"/>
                  </a:lnTo>
                  <a:lnTo>
                    <a:pt x="129" y="195"/>
                  </a:lnTo>
                  <a:close/>
                  <a:moveTo>
                    <a:pt x="117" y="170"/>
                  </a:moveTo>
                  <a:lnTo>
                    <a:pt x="119" y="170"/>
                  </a:lnTo>
                  <a:lnTo>
                    <a:pt x="119" y="170"/>
                  </a:lnTo>
                  <a:lnTo>
                    <a:pt x="117" y="168"/>
                  </a:lnTo>
                  <a:lnTo>
                    <a:pt x="117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70"/>
                  </a:lnTo>
                  <a:lnTo>
                    <a:pt x="117" y="170"/>
                  </a:lnTo>
                  <a:close/>
                  <a:moveTo>
                    <a:pt x="121" y="170"/>
                  </a:moveTo>
                  <a:lnTo>
                    <a:pt x="121" y="170"/>
                  </a:lnTo>
                  <a:lnTo>
                    <a:pt x="121" y="170"/>
                  </a:lnTo>
                  <a:lnTo>
                    <a:pt x="121" y="168"/>
                  </a:lnTo>
                  <a:lnTo>
                    <a:pt x="121" y="168"/>
                  </a:lnTo>
                  <a:lnTo>
                    <a:pt x="119" y="166"/>
                  </a:lnTo>
                  <a:lnTo>
                    <a:pt x="121" y="168"/>
                  </a:lnTo>
                  <a:lnTo>
                    <a:pt x="121" y="170"/>
                  </a:lnTo>
                  <a:lnTo>
                    <a:pt x="121" y="170"/>
                  </a:lnTo>
                  <a:close/>
                  <a:moveTo>
                    <a:pt x="86" y="187"/>
                  </a:moveTo>
                  <a:lnTo>
                    <a:pt x="88" y="185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1"/>
                  </a:lnTo>
                  <a:lnTo>
                    <a:pt x="90" y="181"/>
                  </a:lnTo>
                  <a:lnTo>
                    <a:pt x="90" y="181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4" y="176"/>
                  </a:lnTo>
                  <a:lnTo>
                    <a:pt x="94" y="174"/>
                  </a:lnTo>
                  <a:lnTo>
                    <a:pt x="94" y="174"/>
                  </a:lnTo>
                  <a:lnTo>
                    <a:pt x="94" y="172"/>
                  </a:lnTo>
                  <a:lnTo>
                    <a:pt x="94" y="170"/>
                  </a:lnTo>
                  <a:lnTo>
                    <a:pt x="94" y="170"/>
                  </a:lnTo>
                  <a:lnTo>
                    <a:pt x="90" y="172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88" y="168"/>
                  </a:lnTo>
                  <a:lnTo>
                    <a:pt x="86" y="170"/>
                  </a:lnTo>
                  <a:lnTo>
                    <a:pt x="84" y="168"/>
                  </a:lnTo>
                  <a:lnTo>
                    <a:pt x="82" y="168"/>
                  </a:lnTo>
                  <a:lnTo>
                    <a:pt x="80" y="166"/>
                  </a:lnTo>
                  <a:lnTo>
                    <a:pt x="78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4" y="164"/>
                  </a:lnTo>
                  <a:lnTo>
                    <a:pt x="74" y="166"/>
                  </a:lnTo>
                  <a:lnTo>
                    <a:pt x="74" y="166"/>
                  </a:lnTo>
                  <a:lnTo>
                    <a:pt x="78" y="166"/>
                  </a:lnTo>
                  <a:lnTo>
                    <a:pt x="78" y="168"/>
                  </a:lnTo>
                  <a:lnTo>
                    <a:pt x="78" y="168"/>
                  </a:lnTo>
                  <a:lnTo>
                    <a:pt x="78" y="174"/>
                  </a:lnTo>
                  <a:lnTo>
                    <a:pt x="78" y="178"/>
                  </a:lnTo>
                  <a:lnTo>
                    <a:pt x="78" y="181"/>
                  </a:lnTo>
                  <a:lnTo>
                    <a:pt x="76" y="183"/>
                  </a:lnTo>
                  <a:lnTo>
                    <a:pt x="76" y="185"/>
                  </a:lnTo>
                  <a:lnTo>
                    <a:pt x="78" y="187"/>
                  </a:lnTo>
                  <a:lnTo>
                    <a:pt x="78" y="187"/>
                  </a:lnTo>
                  <a:lnTo>
                    <a:pt x="76" y="189"/>
                  </a:lnTo>
                  <a:lnTo>
                    <a:pt x="78" y="191"/>
                  </a:lnTo>
                  <a:lnTo>
                    <a:pt x="78" y="191"/>
                  </a:lnTo>
                  <a:lnTo>
                    <a:pt x="78" y="191"/>
                  </a:lnTo>
                  <a:lnTo>
                    <a:pt x="78" y="189"/>
                  </a:lnTo>
                  <a:lnTo>
                    <a:pt x="80" y="189"/>
                  </a:lnTo>
                  <a:lnTo>
                    <a:pt x="80" y="187"/>
                  </a:lnTo>
                  <a:lnTo>
                    <a:pt x="86" y="187"/>
                  </a:lnTo>
                  <a:close/>
                  <a:moveTo>
                    <a:pt x="43" y="164"/>
                  </a:moveTo>
                  <a:lnTo>
                    <a:pt x="43" y="162"/>
                  </a:lnTo>
                  <a:lnTo>
                    <a:pt x="43" y="162"/>
                  </a:lnTo>
                  <a:lnTo>
                    <a:pt x="41" y="162"/>
                  </a:lnTo>
                  <a:lnTo>
                    <a:pt x="41" y="162"/>
                  </a:lnTo>
                  <a:lnTo>
                    <a:pt x="43" y="166"/>
                  </a:lnTo>
                  <a:lnTo>
                    <a:pt x="43" y="166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45" y="168"/>
                  </a:lnTo>
                  <a:lnTo>
                    <a:pt x="45" y="166"/>
                  </a:lnTo>
                  <a:lnTo>
                    <a:pt x="45" y="164"/>
                  </a:lnTo>
                  <a:lnTo>
                    <a:pt x="45" y="164"/>
                  </a:lnTo>
                  <a:lnTo>
                    <a:pt x="43" y="164"/>
                  </a:lnTo>
                  <a:close/>
                  <a:moveTo>
                    <a:pt x="47" y="158"/>
                  </a:moveTo>
                  <a:lnTo>
                    <a:pt x="45" y="158"/>
                  </a:lnTo>
                  <a:lnTo>
                    <a:pt x="45" y="160"/>
                  </a:lnTo>
                  <a:lnTo>
                    <a:pt x="45" y="158"/>
                  </a:lnTo>
                  <a:lnTo>
                    <a:pt x="45" y="158"/>
                  </a:lnTo>
                  <a:lnTo>
                    <a:pt x="43" y="156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8"/>
                  </a:lnTo>
                  <a:lnTo>
                    <a:pt x="41" y="158"/>
                  </a:lnTo>
                  <a:lnTo>
                    <a:pt x="41" y="158"/>
                  </a:lnTo>
                  <a:lnTo>
                    <a:pt x="43" y="160"/>
                  </a:lnTo>
                  <a:lnTo>
                    <a:pt x="43" y="162"/>
                  </a:lnTo>
                  <a:lnTo>
                    <a:pt x="45" y="162"/>
                  </a:lnTo>
                  <a:lnTo>
                    <a:pt x="45" y="162"/>
                  </a:lnTo>
                  <a:lnTo>
                    <a:pt x="47" y="162"/>
                  </a:lnTo>
                  <a:lnTo>
                    <a:pt x="49" y="162"/>
                  </a:lnTo>
                  <a:lnTo>
                    <a:pt x="49" y="160"/>
                  </a:lnTo>
                  <a:lnTo>
                    <a:pt x="47" y="160"/>
                  </a:lnTo>
                  <a:lnTo>
                    <a:pt x="47" y="158"/>
                  </a:lnTo>
                  <a:close/>
                  <a:moveTo>
                    <a:pt x="82" y="152"/>
                  </a:moveTo>
                  <a:lnTo>
                    <a:pt x="82" y="154"/>
                  </a:lnTo>
                  <a:lnTo>
                    <a:pt x="82" y="154"/>
                  </a:lnTo>
                  <a:lnTo>
                    <a:pt x="82" y="154"/>
                  </a:lnTo>
                  <a:lnTo>
                    <a:pt x="84" y="156"/>
                  </a:lnTo>
                  <a:lnTo>
                    <a:pt x="86" y="156"/>
                  </a:lnTo>
                  <a:lnTo>
                    <a:pt x="86" y="154"/>
                  </a:lnTo>
                  <a:lnTo>
                    <a:pt x="86" y="154"/>
                  </a:lnTo>
                  <a:lnTo>
                    <a:pt x="84" y="154"/>
                  </a:lnTo>
                  <a:lnTo>
                    <a:pt x="82" y="152"/>
                  </a:lnTo>
                  <a:close/>
                  <a:moveTo>
                    <a:pt x="113" y="158"/>
                  </a:moveTo>
                  <a:lnTo>
                    <a:pt x="115" y="160"/>
                  </a:lnTo>
                  <a:lnTo>
                    <a:pt x="115" y="160"/>
                  </a:lnTo>
                  <a:lnTo>
                    <a:pt x="117" y="160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5" y="168"/>
                  </a:lnTo>
                  <a:lnTo>
                    <a:pt x="123" y="168"/>
                  </a:lnTo>
                  <a:lnTo>
                    <a:pt x="123" y="170"/>
                  </a:lnTo>
                  <a:lnTo>
                    <a:pt x="123" y="172"/>
                  </a:lnTo>
                  <a:lnTo>
                    <a:pt x="125" y="174"/>
                  </a:lnTo>
                  <a:lnTo>
                    <a:pt x="127" y="174"/>
                  </a:lnTo>
                  <a:lnTo>
                    <a:pt x="127" y="174"/>
                  </a:lnTo>
                  <a:lnTo>
                    <a:pt x="129" y="178"/>
                  </a:lnTo>
                  <a:lnTo>
                    <a:pt x="129" y="178"/>
                  </a:lnTo>
                  <a:lnTo>
                    <a:pt x="131" y="178"/>
                  </a:lnTo>
                  <a:lnTo>
                    <a:pt x="135" y="178"/>
                  </a:lnTo>
                  <a:lnTo>
                    <a:pt x="135" y="178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37" y="176"/>
                  </a:lnTo>
                  <a:lnTo>
                    <a:pt x="135" y="176"/>
                  </a:lnTo>
                  <a:lnTo>
                    <a:pt x="133" y="176"/>
                  </a:lnTo>
                  <a:lnTo>
                    <a:pt x="133" y="174"/>
                  </a:lnTo>
                  <a:lnTo>
                    <a:pt x="135" y="174"/>
                  </a:lnTo>
                  <a:lnTo>
                    <a:pt x="133" y="172"/>
                  </a:lnTo>
                  <a:lnTo>
                    <a:pt x="133" y="170"/>
                  </a:lnTo>
                  <a:lnTo>
                    <a:pt x="131" y="170"/>
                  </a:lnTo>
                  <a:lnTo>
                    <a:pt x="131" y="168"/>
                  </a:lnTo>
                  <a:lnTo>
                    <a:pt x="131" y="166"/>
                  </a:lnTo>
                  <a:lnTo>
                    <a:pt x="131" y="166"/>
                  </a:lnTo>
                  <a:lnTo>
                    <a:pt x="131" y="162"/>
                  </a:lnTo>
                  <a:lnTo>
                    <a:pt x="131" y="160"/>
                  </a:lnTo>
                  <a:lnTo>
                    <a:pt x="131" y="160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29" y="156"/>
                  </a:lnTo>
                  <a:lnTo>
                    <a:pt x="129" y="156"/>
                  </a:lnTo>
                  <a:lnTo>
                    <a:pt x="127" y="156"/>
                  </a:lnTo>
                  <a:lnTo>
                    <a:pt x="127" y="154"/>
                  </a:lnTo>
                  <a:lnTo>
                    <a:pt x="127" y="154"/>
                  </a:lnTo>
                  <a:lnTo>
                    <a:pt x="127" y="152"/>
                  </a:lnTo>
                  <a:lnTo>
                    <a:pt x="125" y="152"/>
                  </a:lnTo>
                  <a:lnTo>
                    <a:pt x="121" y="152"/>
                  </a:lnTo>
                  <a:lnTo>
                    <a:pt x="115" y="152"/>
                  </a:lnTo>
                  <a:lnTo>
                    <a:pt x="110" y="152"/>
                  </a:lnTo>
                  <a:lnTo>
                    <a:pt x="113" y="154"/>
                  </a:lnTo>
                  <a:lnTo>
                    <a:pt x="113" y="158"/>
                  </a:lnTo>
                  <a:close/>
                  <a:moveTo>
                    <a:pt x="94" y="160"/>
                  </a:moveTo>
                  <a:lnTo>
                    <a:pt x="94" y="162"/>
                  </a:lnTo>
                  <a:lnTo>
                    <a:pt x="94" y="164"/>
                  </a:lnTo>
                  <a:lnTo>
                    <a:pt x="96" y="162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100" y="158"/>
                  </a:lnTo>
                  <a:lnTo>
                    <a:pt x="100" y="160"/>
                  </a:lnTo>
                  <a:lnTo>
                    <a:pt x="102" y="160"/>
                  </a:lnTo>
                  <a:lnTo>
                    <a:pt x="102" y="160"/>
                  </a:lnTo>
                  <a:lnTo>
                    <a:pt x="102" y="162"/>
                  </a:lnTo>
                  <a:lnTo>
                    <a:pt x="102" y="162"/>
                  </a:lnTo>
                  <a:lnTo>
                    <a:pt x="104" y="162"/>
                  </a:lnTo>
                  <a:lnTo>
                    <a:pt x="104" y="164"/>
                  </a:lnTo>
                  <a:lnTo>
                    <a:pt x="106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8" y="162"/>
                  </a:lnTo>
                  <a:lnTo>
                    <a:pt x="106" y="158"/>
                  </a:lnTo>
                  <a:lnTo>
                    <a:pt x="102" y="156"/>
                  </a:lnTo>
                  <a:lnTo>
                    <a:pt x="100" y="154"/>
                  </a:lnTo>
                  <a:lnTo>
                    <a:pt x="100" y="154"/>
                  </a:lnTo>
                  <a:lnTo>
                    <a:pt x="98" y="152"/>
                  </a:lnTo>
                  <a:lnTo>
                    <a:pt x="96" y="152"/>
                  </a:lnTo>
                  <a:lnTo>
                    <a:pt x="94" y="152"/>
                  </a:lnTo>
                  <a:lnTo>
                    <a:pt x="94" y="152"/>
                  </a:lnTo>
                  <a:lnTo>
                    <a:pt x="94" y="154"/>
                  </a:lnTo>
                  <a:lnTo>
                    <a:pt x="94" y="156"/>
                  </a:lnTo>
                  <a:lnTo>
                    <a:pt x="94" y="160"/>
                  </a:lnTo>
                  <a:close/>
                  <a:moveTo>
                    <a:pt x="78" y="152"/>
                  </a:moveTo>
                  <a:lnTo>
                    <a:pt x="78" y="152"/>
                  </a:lnTo>
                  <a:lnTo>
                    <a:pt x="78" y="152"/>
                  </a:lnTo>
                  <a:lnTo>
                    <a:pt x="78" y="152"/>
                  </a:lnTo>
                  <a:lnTo>
                    <a:pt x="80" y="152"/>
                  </a:lnTo>
                  <a:lnTo>
                    <a:pt x="78" y="152"/>
                  </a:lnTo>
                  <a:lnTo>
                    <a:pt x="78" y="152"/>
                  </a:lnTo>
                  <a:close/>
                  <a:moveTo>
                    <a:pt x="76" y="160"/>
                  </a:moveTo>
                  <a:lnTo>
                    <a:pt x="76" y="156"/>
                  </a:lnTo>
                  <a:lnTo>
                    <a:pt x="76" y="152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4" y="152"/>
                  </a:lnTo>
                  <a:lnTo>
                    <a:pt x="74" y="154"/>
                  </a:lnTo>
                  <a:lnTo>
                    <a:pt x="74" y="154"/>
                  </a:lnTo>
                  <a:lnTo>
                    <a:pt x="74" y="156"/>
                  </a:lnTo>
                  <a:lnTo>
                    <a:pt x="74" y="156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6" y="160"/>
                  </a:lnTo>
                  <a:close/>
                  <a:moveTo>
                    <a:pt x="102" y="154"/>
                  </a:moveTo>
                  <a:lnTo>
                    <a:pt x="102" y="156"/>
                  </a:lnTo>
                  <a:lnTo>
                    <a:pt x="102" y="154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100" y="150"/>
                  </a:lnTo>
                  <a:lnTo>
                    <a:pt x="100" y="152"/>
                  </a:lnTo>
                  <a:lnTo>
                    <a:pt x="102" y="154"/>
                  </a:lnTo>
                  <a:close/>
                  <a:moveTo>
                    <a:pt x="96" y="150"/>
                  </a:moveTo>
                  <a:lnTo>
                    <a:pt x="94" y="146"/>
                  </a:lnTo>
                  <a:lnTo>
                    <a:pt x="92" y="146"/>
                  </a:lnTo>
                  <a:lnTo>
                    <a:pt x="90" y="141"/>
                  </a:lnTo>
                  <a:lnTo>
                    <a:pt x="90" y="141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4"/>
                  </a:lnTo>
                  <a:lnTo>
                    <a:pt x="90" y="144"/>
                  </a:lnTo>
                  <a:lnTo>
                    <a:pt x="92" y="146"/>
                  </a:lnTo>
                  <a:lnTo>
                    <a:pt x="94" y="148"/>
                  </a:lnTo>
                  <a:lnTo>
                    <a:pt x="96" y="150"/>
                  </a:lnTo>
                  <a:close/>
                  <a:moveTo>
                    <a:pt x="65" y="154"/>
                  </a:moveTo>
                  <a:lnTo>
                    <a:pt x="65" y="152"/>
                  </a:lnTo>
                  <a:lnTo>
                    <a:pt x="65" y="152"/>
                  </a:lnTo>
                  <a:lnTo>
                    <a:pt x="67" y="150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4"/>
                  </a:lnTo>
                  <a:lnTo>
                    <a:pt x="65" y="141"/>
                  </a:lnTo>
                  <a:lnTo>
                    <a:pt x="65" y="141"/>
                  </a:lnTo>
                  <a:lnTo>
                    <a:pt x="63" y="139"/>
                  </a:lnTo>
                  <a:lnTo>
                    <a:pt x="63" y="139"/>
                  </a:lnTo>
                  <a:lnTo>
                    <a:pt x="61" y="137"/>
                  </a:lnTo>
                  <a:lnTo>
                    <a:pt x="59" y="135"/>
                  </a:lnTo>
                  <a:lnTo>
                    <a:pt x="59" y="137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5" y="135"/>
                  </a:lnTo>
                  <a:lnTo>
                    <a:pt x="55" y="133"/>
                  </a:lnTo>
                  <a:lnTo>
                    <a:pt x="53" y="135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47" y="133"/>
                  </a:lnTo>
                  <a:lnTo>
                    <a:pt x="47" y="133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9" y="137"/>
                  </a:lnTo>
                  <a:lnTo>
                    <a:pt x="49" y="139"/>
                  </a:lnTo>
                  <a:lnTo>
                    <a:pt x="49" y="139"/>
                  </a:lnTo>
                  <a:lnTo>
                    <a:pt x="51" y="139"/>
                  </a:lnTo>
                  <a:lnTo>
                    <a:pt x="51" y="141"/>
                  </a:lnTo>
                  <a:lnTo>
                    <a:pt x="53" y="144"/>
                  </a:lnTo>
                  <a:lnTo>
                    <a:pt x="53" y="146"/>
                  </a:lnTo>
                  <a:lnTo>
                    <a:pt x="53" y="148"/>
                  </a:lnTo>
                  <a:lnTo>
                    <a:pt x="55" y="148"/>
                  </a:lnTo>
                  <a:lnTo>
                    <a:pt x="55" y="150"/>
                  </a:lnTo>
                  <a:lnTo>
                    <a:pt x="57" y="150"/>
                  </a:lnTo>
                  <a:lnTo>
                    <a:pt x="57" y="152"/>
                  </a:lnTo>
                  <a:lnTo>
                    <a:pt x="57" y="152"/>
                  </a:lnTo>
                  <a:lnTo>
                    <a:pt x="57" y="154"/>
                  </a:lnTo>
                  <a:lnTo>
                    <a:pt x="59" y="156"/>
                  </a:lnTo>
                  <a:lnTo>
                    <a:pt x="59" y="156"/>
                  </a:lnTo>
                  <a:lnTo>
                    <a:pt x="59" y="156"/>
                  </a:lnTo>
                  <a:lnTo>
                    <a:pt x="61" y="158"/>
                  </a:lnTo>
                  <a:lnTo>
                    <a:pt x="61" y="158"/>
                  </a:lnTo>
                  <a:lnTo>
                    <a:pt x="63" y="158"/>
                  </a:lnTo>
                  <a:lnTo>
                    <a:pt x="63" y="156"/>
                  </a:lnTo>
                  <a:lnTo>
                    <a:pt x="63" y="156"/>
                  </a:lnTo>
                  <a:lnTo>
                    <a:pt x="63" y="156"/>
                  </a:lnTo>
                  <a:lnTo>
                    <a:pt x="65" y="156"/>
                  </a:lnTo>
                  <a:lnTo>
                    <a:pt x="65" y="156"/>
                  </a:lnTo>
                  <a:lnTo>
                    <a:pt x="65" y="154"/>
                  </a:lnTo>
                  <a:lnTo>
                    <a:pt x="65" y="154"/>
                  </a:lnTo>
                  <a:close/>
                  <a:moveTo>
                    <a:pt x="71" y="133"/>
                  </a:moveTo>
                  <a:lnTo>
                    <a:pt x="71" y="133"/>
                  </a:lnTo>
                  <a:lnTo>
                    <a:pt x="71" y="133"/>
                  </a:lnTo>
                  <a:lnTo>
                    <a:pt x="69" y="133"/>
                  </a:lnTo>
                  <a:lnTo>
                    <a:pt x="69" y="135"/>
                  </a:lnTo>
                  <a:lnTo>
                    <a:pt x="69" y="137"/>
                  </a:lnTo>
                  <a:lnTo>
                    <a:pt x="71" y="137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4" y="137"/>
                  </a:lnTo>
                  <a:lnTo>
                    <a:pt x="74" y="135"/>
                  </a:lnTo>
                  <a:lnTo>
                    <a:pt x="74" y="135"/>
                  </a:lnTo>
                  <a:lnTo>
                    <a:pt x="71" y="133"/>
                  </a:lnTo>
                  <a:close/>
                  <a:moveTo>
                    <a:pt x="41" y="127"/>
                  </a:moveTo>
                  <a:lnTo>
                    <a:pt x="41" y="127"/>
                  </a:lnTo>
                  <a:lnTo>
                    <a:pt x="41" y="129"/>
                  </a:lnTo>
                  <a:lnTo>
                    <a:pt x="41" y="129"/>
                  </a:lnTo>
                  <a:lnTo>
                    <a:pt x="45" y="131"/>
                  </a:lnTo>
                  <a:lnTo>
                    <a:pt x="45" y="129"/>
                  </a:lnTo>
                  <a:lnTo>
                    <a:pt x="43" y="129"/>
                  </a:lnTo>
                  <a:lnTo>
                    <a:pt x="41" y="127"/>
                  </a:lnTo>
                  <a:close/>
                  <a:moveTo>
                    <a:pt x="104" y="133"/>
                  </a:moveTo>
                  <a:lnTo>
                    <a:pt x="106" y="133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10" y="131"/>
                  </a:lnTo>
                  <a:lnTo>
                    <a:pt x="110" y="131"/>
                  </a:lnTo>
                  <a:lnTo>
                    <a:pt x="110" y="129"/>
                  </a:lnTo>
                  <a:lnTo>
                    <a:pt x="110" y="127"/>
                  </a:lnTo>
                  <a:lnTo>
                    <a:pt x="108" y="127"/>
                  </a:lnTo>
                  <a:lnTo>
                    <a:pt x="108" y="127"/>
                  </a:lnTo>
                  <a:lnTo>
                    <a:pt x="106" y="123"/>
                  </a:lnTo>
                  <a:lnTo>
                    <a:pt x="106" y="125"/>
                  </a:lnTo>
                  <a:lnTo>
                    <a:pt x="106" y="125"/>
                  </a:lnTo>
                  <a:lnTo>
                    <a:pt x="104" y="125"/>
                  </a:lnTo>
                  <a:lnTo>
                    <a:pt x="106" y="129"/>
                  </a:lnTo>
                  <a:lnTo>
                    <a:pt x="104" y="131"/>
                  </a:lnTo>
                  <a:lnTo>
                    <a:pt x="104" y="133"/>
                  </a:lnTo>
                  <a:close/>
                  <a:moveTo>
                    <a:pt x="69" y="121"/>
                  </a:moveTo>
                  <a:lnTo>
                    <a:pt x="69" y="121"/>
                  </a:lnTo>
                  <a:lnTo>
                    <a:pt x="69" y="123"/>
                  </a:lnTo>
                  <a:lnTo>
                    <a:pt x="74" y="125"/>
                  </a:lnTo>
                  <a:lnTo>
                    <a:pt x="74" y="125"/>
                  </a:lnTo>
                  <a:lnTo>
                    <a:pt x="69" y="121"/>
                  </a:lnTo>
                  <a:lnTo>
                    <a:pt x="69" y="121"/>
                  </a:lnTo>
                  <a:close/>
                  <a:moveTo>
                    <a:pt x="67" y="113"/>
                  </a:moveTo>
                  <a:lnTo>
                    <a:pt x="69" y="113"/>
                  </a:lnTo>
                  <a:lnTo>
                    <a:pt x="69" y="113"/>
                  </a:lnTo>
                  <a:lnTo>
                    <a:pt x="69" y="111"/>
                  </a:lnTo>
                  <a:lnTo>
                    <a:pt x="69" y="109"/>
                  </a:lnTo>
                  <a:lnTo>
                    <a:pt x="69" y="107"/>
                  </a:lnTo>
                  <a:lnTo>
                    <a:pt x="69" y="107"/>
                  </a:lnTo>
                  <a:lnTo>
                    <a:pt x="69" y="107"/>
                  </a:lnTo>
                  <a:lnTo>
                    <a:pt x="69" y="107"/>
                  </a:lnTo>
                  <a:lnTo>
                    <a:pt x="67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7" y="109"/>
                  </a:lnTo>
                  <a:lnTo>
                    <a:pt x="67" y="111"/>
                  </a:lnTo>
                  <a:lnTo>
                    <a:pt x="67" y="111"/>
                  </a:lnTo>
                  <a:lnTo>
                    <a:pt x="67" y="111"/>
                  </a:lnTo>
                  <a:lnTo>
                    <a:pt x="67" y="113"/>
                  </a:lnTo>
                  <a:lnTo>
                    <a:pt x="67" y="113"/>
                  </a:lnTo>
                  <a:close/>
                  <a:moveTo>
                    <a:pt x="30" y="88"/>
                  </a:moveTo>
                  <a:lnTo>
                    <a:pt x="30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2"/>
                  </a:lnTo>
                  <a:lnTo>
                    <a:pt x="35" y="98"/>
                  </a:lnTo>
                  <a:lnTo>
                    <a:pt x="35" y="100"/>
                  </a:lnTo>
                  <a:lnTo>
                    <a:pt x="37" y="102"/>
                  </a:lnTo>
                  <a:lnTo>
                    <a:pt x="37" y="104"/>
                  </a:lnTo>
                  <a:lnTo>
                    <a:pt x="37" y="107"/>
                  </a:lnTo>
                  <a:lnTo>
                    <a:pt x="39" y="109"/>
                  </a:lnTo>
                  <a:lnTo>
                    <a:pt x="39" y="111"/>
                  </a:lnTo>
                  <a:lnTo>
                    <a:pt x="41" y="111"/>
                  </a:lnTo>
                  <a:lnTo>
                    <a:pt x="41" y="111"/>
                  </a:lnTo>
                  <a:lnTo>
                    <a:pt x="43" y="113"/>
                  </a:lnTo>
                  <a:lnTo>
                    <a:pt x="43" y="115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5"/>
                  </a:lnTo>
                  <a:lnTo>
                    <a:pt x="47" y="111"/>
                  </a:lnTo>
                  <a:lnTo>
                    <a:pt x="47" y="109"/>
                  </a:lnTo>
                  <a:lnTo>
                    <a:pt x="47" y="111"/>
                  </a:lnTo>
                  <a:lnTo>
                    <a:pt x="49" y="111"/>
                  </a:lnTo>
                  <a:lnTo>
                    <a:pt x="51" y="111"/>
                  </a:lnTo>
                  <a:lnTo>
                    <a:pt x="51" y="113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7"/>
                  </a:lnTo>
                  <a:lnTo>
                    <a:pt x="49" y="119"/>
                  </a:lnTo>
                  <a:lnTo>
                    <a:pt x="49" y="121"/>
                  </a:lnTo>
                  <a:lnTo>
                    <a:pt x="49" y="121"/>
                  </a:lnTo>
                  <a:lnTo>
                    <a:pt x="49" y="125"/>
                  </a:lnTo>
                  <a:lnTo>
                    <a:pt x="49" y="129"/>
                  </a:lnTo>
                  <a:lnTo>
                    <a:pt x="51" y="127"/>
                  </a:lnTo>
                  <a:lnTo>
                    <a:pt x="53" y="127"/>
                  </a:lnTo>
                  <a:lnTo>
                    <a:pt x="55" y="129"/>
                  </a:lnTo>
                  <a:lnTo>
                    <a:pt x="55" y="129"/>
                  </a:lnTo>
                  <a:lnTo>
                    <a:pt x="57" y="131"/>
                  </a:lnTo>
                  <a:lnTo>
                    <a:pt x="59" y="131"/>
                  </a:lnTo>
                  <a:lnTo>
                    <a:pt x="61" y="131"/>
                  </a:lnTo>
                  <a:lnTo>
                    <a:pt x="63" y="131"/>
                  </a:lnTo>
                  <a:lnTo>
                    <a:pt x="63" y="129"/>
                  </a:lnTo>
                  <a:lnTo>
                    <a:pt x="63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7" y="127"/>
                  </a:lnTo>
                  <a:lnTo>
                    <a:pt x="67" y="127"/>
                  </a:lnTo>
                  <a:lnTo>
                    <a:pt x="74" y="129"/>
                  </a:lnTo>
                  <a:lnTo>
                    <a:pt x="76" y="131"/>
                  </a:lnTo>
                  <a:lnTo>
                    <a:pt x="78" y="133"/>
                  </a:lnTo>
                  <a:lnTo>
                    <a:pt x="78" y="135"/>
                  </a:lnTo>
                  <a:lnTo>
                    <a:pt x="80" y="137"/>
                  </a:lnTo>
                  <a:lnTo>
                    <a:pt x="82" y="137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4" y="139"/>
                  </a:lnTo>
                  <a:lnTo>
                    <a:pt x="84" y="135"/>
                  </a:lnTo>
                  <a:lnTo>
                    <a:pt x="82" y="133"/>
                  </a:lnTo>
                  <a:lnTo>
                    <a:pt x="82" y="133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0" y="129"/>
                  </a:lnTo>
                  <a:lnTo>
                    <a:pt x="80" y="129"/>
                  </a:lnTo>
                  <a:lnTo>
                    <a:pt x="80" y="127"/>
                  </a:lnTo>
                  <a:lnTo>
                    <a:pt x="80" y="127"/>
                  </a:lnTo>
                  <a:lnTo>
                    <a:pt x="80" y="127"/>
                  </a:lnTo>
                  <a:lnTo>
                    <a:pt x="82" y="127"/>
                  </a:lnTo>
                  <a:lnTo>
                    <a:pt x="84" y="129"/>
                  </a:lnTo>
                  <a:lnTo>
                    <a:pt x="86" y="131"/>
                  </a:lnTo>
                  <a:lnTo>
                    <a:pt x="86" y="133"/>
                  </a:lnTo>
                  <a:lnTo>
                    <a:pt x="90" y="135"/>
                  </a:lnTo>
                  <a:lnTo>
                    <a:pt x="92" y="135"/>
                  </a:lnTo>
                  <a:lnTo>
                    <a:pt x="92" y="137"/>
                  </a:lnTo>
                  <a:lnTo>
                    <a:pt x="94" y="139"/>
                  </a:lnTo>
                  <a:lnTo>
                    <a:pt x="94" y="141"/>
                  </a:lnTo>
                  <a:lnTo>
                    <a:pt x="94" y="144"/>
                  </a:lnTo>
                  <a:lnTo>
                    <a:pt x="96" y="144"/>
                  </a:lnTo>
                  <a:lnTo>
                    <a:pt x="100" y="146"/>
                  </a:lnTo>
                  <a:lnTo>
                    <a:pt x="100" y="146"/>
                  </a:lnTo>
                  <a:lnTo>
                    <a:pt x="102" y="146"/>
                  </a:lnTo>
                  <a:lnTo>
                    <a:pt x="102" y="146"/>
                  </a:lnTo>
                  <a:lnTo>
                    <a:pt x="104" y="144"/>
                  </a:lnTo>
                  <a:lnTo>
                    <a:pt x="104" y="146"/>
                  </a:lnTo>
                  <a:lnTo>
                    <a:pt x="104" y="148"/>
                  </a:lnTo>
                  <a:lnTo>
                    <a:pt x="104" y="150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8" y="148"/>
                  </a:lnTo>
                  <a:lnTo>
                    <a:pt x="108" y="144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4" y="141"/>
                  </a:lnTo>
                  <a:lnTo>
                    <a:pt x="102" y="141"/>
                  </a:lnTo>
                  <a:lnTo>
                    <a:pt x="102" y="141"/>
                  </a:lnTo>
                  <a:lnTo>
                    <a:pt x="102" y="139"/>
                  </a:lnTo>
                  <a:lnTo>
                    <a:pt x="102" y="139"/>
                  </a:lnTo>
                  <a:lnTo>
                    <a:pt x="100" y="137"/>
                  </a:lnTo>
                  <a:lnTo>
                    <a:pt x="100" y="135"/>
                  </a:lnTo>
                  <a:lnTo>
                    <a:pt x="98" y="133"/>
                  </a:lnTo>
                  <a:lnTo>
                    <a:pt x="96" y="131"/>
                  </a:lnTo>
                  <a:lnTo>
                    <a:pt x="98" y="131"/>
                  </a:lnTo>
                  <a:lnTo>
                    <a:pt x="100" y="131"/>
                  </a:lnTo>
                  <a:lnTo>
                    <a:pt x="102" y="129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4" y="125"/>
                  </a:lnTo>
                  <a:lnTo>
                    <a:pt x="94" y="125"/>
                  </a:lnTo>
                  <a:lnTo>
                    <a:pt x="92" y="123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2" y="127"/>
                  </a:lnTo>
                  <a:lnTo>
                    <a:pt x="92" y="127"/>
                  </a:lnTo>
                  <a:lnTo>
                    <a:pt x="92" y="129"/>
                  </a:lnTo>
                  <a:lnTo>
                    <a:pt x="90" y="129"/>
                  </a:lnTo>
                  <a:lnTo>
                    <a:pt x="88" y="129"/>
                  </a:lnTo>
                  <a:lnTo>
                    <a:pt x="88" y="127"/>
                  </a:lnTo>
                  <a:lnTo>
                    <a:pt x="88" y="127"/>
                  </a:lnTo>
                  <a:lnTo>
                    <a:pt x="88" y="125"/>
                  </a:lnTo>
                  <a:lnTo>
                    <a:pt x="88" y="123"/>
                  </a:lnTo>
                  <a:lnTo>
                    <a:pt x="86" y="121"/>
                  </a:lnTo>
                  <a:lnTo>
                    <a:pt x="84" y="121"/>
                  </a:lnTo>
                  <a:lnTo>
                    <a:pt x="82" y="119"/>
                  </a:lnTo>
                  <a:lnTo>
                    <a:pt x="80" y="119"/>
                  </a:lnTo>
                  <a:lnTo>
                    <a:pt x="78" y="119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4" y="121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6" y="125"/>
                  </a:lnTo>
                  <a:lnTo>
                    <a:pt x="76" y="125"/>
                  </a:lnTo>
                  <a:lnTo>
                    <a:pt x="76" y="125"/>
                  </a:lnTo>
                  <a:lnTo>
                    <a:pt x="76" y="127"/>
                  </a:lnTo>
                  <a:lnTo>
                    <a:pt x="74" y="127"/>
                  </a:lnTo>
                  <a:lnTo>
                    <a:pt x="71" y="127"/>
                  </a:lnTo>
                  <a:lnTo>
                    <a:pt x="69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3" y="117"/>
                  </a:lnTo>
                  <a:lnTo>
                    <a:pt x="63" y="115"/>
                  </a:lnTo>
                  <a:lnTo>
                    <a:pt x="63" y="113"/>
                  </a:lnTo>
                  <a:lnTo>
                    <a:pt x="65" y="111"/>
                  </a:lnTo>
                  <a:lnTo>
                    <a:pt x="63" y="111"/>
                  </a:lnTo>
                  <a:lnTo>
                    <a:pt x="63" y="111"/>
                  </a:lnTo>
                  <a:lnTo>
                    <a:pt x="61" y="107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59" y="100"/>
                  </a:lnTo>
                  <a:lnTo>
                    <a:pt x="59" y="100"/>
                  </a:lnTo>
                  <a:lnTo>
                    <a:pt x="59" y="98"/>
                  </a:lnTo>
                  <a:lnTo>
                    <a:pt x="59" y="98"/>
                  </a:lnTo>
                  <a:lnTo>
                    <a:pt x="61" y="96"/>
                  </a:lnTo>
                  <a:lnTo>
                    <a:pt x="61" y="94"/>
                  </a:lnTo>
                  <a:lnTo>
                    <a:pt x="61" y="94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0"/>
                  </a:lnTo>
                  <a:lnTo>
                    <a:pt x="61" y="88"/>
                  </a:lnTo>
                  <a:lnTo>
                    <a:pt x="63" y="86"/>
                  </a:lnTo>
                  <a:lnTo>
                    <a:pt x="65" y="86"/>
                  </a:lnTo>
                  <a:lnTo>
                    <a:pt x="67" y="86"/>
                  </a:lnTo>
                  <a:lnTo>
                    <a:pt x="69" y="82"/>
                  </a:lnTo>
                  <a:lnTo>
                    <a:pt x="69" y="80"/>
                  </a:lnTo>
                  <a:lnTo>
                    <a:pt x="71" y="74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69" y="67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5" y="61"/>
                  </a:lnTo>
                  <a:lnTo>
                    <a:pt x="65" y="59"/>
                  </a:lnTo>
                  <a:lnTo>
                    <a:pt x="63" y="57"/>
                  </a:lnTo>
                  <a:lnTo>
                    <a:pt x="63" y="55"/>
                  </a:lnTo>
                  <a:lnTo>
                    <a:pt x="63" y="51"/>
                  </a:lnTo>
                  <a:lnTo>
                    <a:pt x="63" y="49"/>
                  </a:lnTo>
                  <a:lnTo>
                    <a:pt x="65" y="47"/>
                  </a:lnTo>
                  <a:lnTo>
                    <a:pt x="65" y="45"/>
                  </a:lnTo>
                  <a:lnTo>
                    <a:pt x="63" y="45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1" y="43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59" y="47"/>
                  </a:lnTo>
                  <a:lnTo>
                    <a:pt x="57" y="47"/>
                  </a:lnTo>
                  <a:lnTo>
                    <a:pt x="55" y="45"/>
                  </a:lnTo>
                  <a:lnTo>
                    <a:pt x="53" y="45"/>
                  </a:lnTo>
                  <a:lnTo>
                    <a:pt x="47" y="41"/>
                  </a:lnTo>
                  <a:lnTo>
                    <a:pt x="45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39" y="41"/>
                  </a:lnTo>
                  <a:lnTo>
                    <a:pt x="37" y="43"/>
                  </a:lnTo>
                  <a:lnTo>
                    <a:pt x="37" y="45"/>
                  </a:lnTo>
                  <a:lnTo>
                    <a:pt x="37" y="47"/>
                  </a:lnTo>
                  <a:lnTo>
                    <a:pt x="37" y="49"/>
                  </a:lnTo>
                  <a:lnTo>
                    <a:pt x="35" y="59"/>
                  </a:lnTo>
                  <a:lnTo>
                    <a:pt x="37" y="59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7" y="65"/>
                  </a:lnTo>
                  <a:lnTo>
                    <a:pt x="39" y="67"/>
                  </a:lnTo>
                  <a:lnTo>
                    <a:pt x="39" y="72"/>
                  </a:lnTo>
                  <a:lnTo>
                    <a:pt x="37" y="74"/>
                  </a:lnTo>
                  <a:lnTo>
                    <a:pt x="37" y="76"/>
                  </a:lnTo>
                  <a:lnTo>
                    <a:pt x="39" y="78"/>
                  </a:lnTo>
                  <a:lnTo>
                    <a:pt x="39" y="82"/>
                  </a:lnTo>
                  <a:lnTo>
                    <a:pt x="41" y="84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5" y="86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4"/>
                  </a:lnTo>
                  <a:lnTo>
                    <a:pt x="30" y="88"/>
                  </a:lnTo>
                  <a:lnTo>
                    <a:pt x="30" y="88"/>
                  </a:lnTo>
                  <a:close/>
                  <a:moveTo>
                    <a:pt x="55" y="37"/>
                  </a:moveTo>
                  <a:lnTo>
                    <a:pt x="57" y="35"/>
                  </a:lnTo>
                  <a:lnTo>
                    <a:pt x="57" y="35"/>
                  </a:lnTo>
                  <a:lnTo>
                    <a:pt x="57" y="32"/>
                  </a:lnTo>
                  <a:lnTo>
                    <a:pt x="55" y="32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7"/>
                  </a:lnTo>
                  <a:lnTo>
                    <a:pt x="55" y="37"/>
                  </a:lnTo>
                  <a:close/>
                  <a:moveTo>
                    <a:pt x="45" y="32"/>
                  </a:moveTo>
                  <a:lnTo>
                    <a:pt x="45" y="32"/>
                  </a:lnTo>
                  <a:lnTo>
                    <a:pt x="45" y="32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2"/>
                  </a:lnTo>
                  <a:close/>
                  <a:moveTo>
                    <a:pt x="47" y="26"/>
                  </a:moveTo>
                  <a:lnTo>
                    <a:pt x="49" y="28"/>
                  </a:lnTo>
                  <a:lnTo>
                    <a:pt x="49" y="28"/>
                  </a:lnTo>
                  <a:lnTo>
                    <a:pt x="49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close/>
                  <a:moveTo>
                    <a:pt x="53" y="8"/>
                  </a:move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close/>
                  <a:moveTo>
                    <a:pt x="49" y="2"/>
                  </a:moveTo>
                  <a:lnTo>
                    <a:pt x="51" y="0"/>
                  </a:lnTo>
                  <a:lnTo>
                    <a:pt x="51" y="0"/>
                  </a:lnTo>
                  <a:lnTo>
                    <a:pt x="49" y="0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7" name="Freeform 79">
              <a:extLst>
                <a:ext uri="{FF2B5EF4-FFF2-40B4-BE49-F238E27FC236}">
                  <a16:creationId xmlns:a16="http://schemas.microsoft.com/office/drawing/2014/main" id="{8FDD60BB-03B1-5A48-B939-01F03E50E7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1941" y="3563511"/>
              <a:ext cx="292343" cy="224605"/>
            </a:xfrm>
            <a:custGeom>
              <a:avLst/>
              <a:gdLst>
                <a:gd name="T0" fmla="*/ 201 w 246"/>
                <a:gd name="T1" fmla="*/ 189 h 189"/>
                <a:gd name="T2" fmla="*/ 209 w 246"/>
                <a:gd name="T3" fmla="*/ 183 h 189"/>
                <a:gd name="T4" fmla="*/ 162 w 246"/>
                <a:gd name="T5" fmla="*/ 158 h 189"/>
                <a:gd name="T6" fmla="*/ 164 w 246"/>
                <a:gd name="T7" fmla="*/ 162 h 189"/>
                <a:gd name="T8" fmla="*/ 160 w 246"/>
                <a:gd name="T9" fmla="*/ 152 h 189"/>
                <a:gd name="T10" fmla="*/ 152 w 246"/>
                <a:gd name="T11" fmla="*/ 152 h 189"/>
                <a:gd name="T12" fmla="*/ 193 w 246"/>
                <a:gd name="T13" fmla="*/ 144 h 189"/>
                <a:gd name="T14" fmla="*/ 188 w 246"/>
                <a:gd name="T15" fmla="*/ 144 h 189"/>
                <a:gd name="T16" fmla="*/ 41 w 246"/>
                <a:gd name="T17" fmla="*/ 133 h 189"/>
                <a:gd name="T18" fmla="*/ 164 w 246"/>
                <a:gd name="T19" fmla="*/ 135 h 189"/>
                <a:gd name="T20" fmla="*/ 43 w 246"/>
                <a:gd name="T21" fmla="*/ 129 h 189"/>
                <a:gd name="T22" fmla="*/ 117 w 246"/>
                <a:gd name="T23" fmla="*/ 82 h 189"/>
                <a:gd name="T24" fmla="*/ 234 w 246"/>
                <a:gd name="T25" fmla="*/ 82 h 189"/>
                <a:gd name="T26" fmla="*/ 227 w 246"/>
                <a:gd name="T27" fmla="*/ 84 h 189"/>
                <a:gd name="T28" fmla="*/ 240 w 246"/>
                <a:gd name="T29" fmla="*/ 100 h 189"/>
                <a:gd name="T30" fmla="*/ 104 w 246"/>
                <a:gd name="T31" fmla="*/ 76 h 189"/>
                <a:gd name="T32" fmla="*/ 225 w 246"/>
                <a:gd name="T33" fmla="*/ 70 h 189"/>
                <a:gd name="T34" fmla="*/ 86 w 246"/>
                <a:gd name="T35" fmla="*/ 59 h 189"/>
                <a:gd name="T36" fmla="*/ 191 w 246"/>
                <a:gd name="T37" fmla="*/ 57 h 189"/>
                <a:gd name="T38" fmla="*/ 176 w 246"/>
                <a:gd name="T39" fmla="*/ 53 h 189"/>
                <a:gd name="T40" fmla="*/ 166 w 246"/>
                <a:gd name="T41" fmla="*/ 74 h 189"/>
                <a:gd name="T42" fmla="*/ 152 w 246"/>
                <a:gd name="T43" fmla="*/ 70 h 189"/>
                <a:gd name="T44" fmla="*/ 139 w 246"/>
                <a:gd name="T45" fmla="*/ 78 h 189"/>
                <a:gd name="T46" fmla="*/ 125 w 246"/>
                <a:gd name="T47" fmla="*/ 82 h 189"/>
                <a:gd name="T48" fmla="*/ 145 w 246"/>
                <a:gd name="T49" fmla="*/ 90 h 189"/>
                <a:gd name="T50" fmla="*/ 170 w 246"/>
                <a:gd name="T51" fmla="*/ 84 h 189"/>
                <a:gd name="T52" fmla="*/ 184 w 246"/>
                <a:gd name="T53" fmla="*/ 72 h 189"/>
                <a:gd name="T54" fmla="*/ 197 w 246"/>
                <a:gd name="T55" fmla="*/ 33 h 189"/>
                <a:gd name="T56" fmla="*/ 184 w 246"/>
                <a:gd name="T57" fmla="*/ 26 h 189"/>
                <a:gd name="T58" fmla="*/ 147 w 246"/>
                <a:gd name="T59" fmla="*/ 162 h 189"/>
                <a:gd name="T60" fmla="*/ 145 w 246"/>
                <a:gd name="T61" fmla="*/ 154 h 189"/>
                <a:gd name="T62" fmla="*/ 131 w 246"/>
                <a:gd name="T63" fmla="*/ 142 h 189"/>
                <a:gd name="T64" fmla="*/ 117 w 246"/>
                <a:gd name="T65" fmla="*/ 125 h 189"/>
                <a:gd name="T66" fmla="*/ 100 w 246"/>
                <a:gd name="T67" fmla="*/ 100 h 189"/>
                <a:gd name="T68" fmla="*/ 113 w 246"/>
                <a:gd name="T69" fmla="*/ 88 h 189"/>
                <a:gd name="T70" fmla="*/ 82 w 246"/>
                <a:gd name="T71" fmla="*/ 74 h 189"/>
                <a:gd name="T72" fmla="*/ 63 w 246"/>
                <a:gd name="T73" fmla="*/ 47 h 189"/>
                <a:gd name="T74" fmla="*/ 47 w 246"/>
                <a:gd name="T75" fmla="*/ 39 h 189"/>
                <a:gd name="T76" fmla="*/ 10 w 246"/>
                <a:gd name="T77" fmla="*/ 22 h 189"/>
                <a:gd name="T78" fmla="*/ 6 w 246"/>
                <a:gd name="T79" fmla="*/ 49 h 189"/>
                <a:gd name="T80" fmla="*/ 4 w 246"/>
                <a:gd name="T81" fmla="*/ 92 h 189"/>
                <a:gd name="T82" fmla="*/ 2 w 246"/>
                <a:gd name="T83" fmla="*/ 127 h 189"/>
                <a:gd name="T84" fmla="*/ 12 w 246"/>
                <a:gd name="T85" fmla="*/ 144 h 189"/>
                <a:gd name="T86" fmla="*/ 39 w 246"/>
                <a:gd name="T87" fmla="*/ 140 h 189"/>
                <a:gd name="T88" fmla="*/ 24 w 246"/>
                <a:gd name="T89" fmla="*/ 127 h 189"/>
                <a:gd name="T90" fmla="*/ 32 w 246"/>
                <a:gd name="T91" fmla="*/ 127 h 189"/>
                <a:gd name="T92" fmla="*/ 49 w 246"/>
                <a:gd name="T93" fmla="*/ 123 h 189"/>
                <a:gd name="T94" fmla="*/ 55 w 246"/>
                <a:gd name="T95" fmla="*/ 117 h 189"/>
                <a:gd name="T96" fmla="*/ 65 w 246"/>
                <a:gd name="T97" fmla="*/ 117 h 189"/>
                <a:gd name="T98" fmla="*/ 84 w 246"/>
                <a:gd name="T99" fmla="*/ 123 h 189"/>
                <a:gd name="T100" fmla="*/ 96 w 246"/>
                <a:gd name="T101" fmla="*/ 142 h 189"/>
                <a:gd name="T102" fmla="*/ 110 w 246"/>
                <a:gd name="T103" fmla="*/ 160 h 189"/>
                <a:gd name="T104" fmla="*/ 133 w 246"/>
                <a:gd name="T105" fmla="*/ 164 h 189"/>
                <a:gd name="T106" fmla="*/ 154 w 246"/>
                <a:gd name="T107" fmla="*/ 168 h 189"/>
                <a:gd name="T108" fmla="*/ 191 w 246"/>
                <a:gd name="T109" fmla="*/ 39 h 189"/>
                <a:gd name="T110" fmla="*/ 166 w 246"/>
                <a:gd name="T111" fmla="*/ 22 h 189"/>
                <a:gd name="T112" fmla="*/ 184 w 246"/>
                <a:gd name="T113" fmla="*/ 39 h 189"/>
                <a:gd name="T114" fmla="*/ 197 w 246"/>
                <a:gd name="T115" fmla="*/ 59 h 189"/>
                <a:gd name="T116" fmla="*/ 154 w 246"/>
                <a:gd name="T117" fmla="*/ 20 h 189"/>
                <a:gd name="T118" fmla="*/ 154 w 246"/>
                <a:gd name="T119" fmla="*/ 20 h 189"/>
                <a:gd name="T120" fmla="*/ 100 w 246"/>
                <a:gd name="T121" fmla="*/ 16 h 189"/>
                <a:gd name="T122" fmla="*/ 113 w 246"/>
                <a:gd name="T123" fmla="*/ 12 h 189"/>
                <a:gd name="T124" fmla="*/ 98 w 246"/>
                <a:gd name="T125" fmla="*/ 16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6" h="189">
                  <a:moveTo>
                    <a:pt x="199" y="185"/>
                  </a:moveTo>
                  <a:lnTo>
                    <a:pt x="195" y="183"/>
                  </a:lnTo>
                  <a:lnTo>
                    <a:pt x="193" y="183"/>
                  </a:lnTo>
                  <a:lnTo>
                    <a:pt x="193" y="183"/>
                  </a:lnTo>
                  <a:lnTo>
                    <a:pt x="193" y="185"/>
                  </a:lnTo>
                  <a:lnTo>
                    <a:pt x="195" y="185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7" y="189"/>
                  </a:lnTo>
                  <a:lnTo>
                    <a:pt x="197" y="189"/>
                  </a:lnTo>
                  <a:lnTo>
                    <a:pt x="201" y="189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199" y="185"/>
                  </a:lnTo>
                  <a:close/>
                  <a:moveTo>
                    <a:pt x="207" y="183"/>
                  </a:moveTo>
                  <a:lnTo>
                    <a:pt x="207" y="185"/>
                  </a:lnTo>
                  <a:lnTo>
                    <a:pt x="205" y="183"/>
                  </a:lnTo>
                  <a:lnTo>
                    <a:pt x="207" y="185"/>
                  </a:lnTo>
                  <a:lnTo>
                    <a:pt x="207" y="185"/>
                  </a:lnTo>
                  <a:lnTo>
                    <a:pt x="207" y="185"/>
                  </a:lnTo>
                  <a:lnTo>
                    <a:pt x="209" y="185"/>
                  </a:lnTo>
                  <a:lnTo>
                    <a:pt x="209" y="185"/>
                  </a:lnTo>
                  <a:lnTo>
                    <a:pt x="209" y="183"/>
                  </a:lnTo>
                  <a:lnTo>
                    <a:pt x="209" y="183"/>
                  </a:lnTo>
                  <a:lnTo>
                    <a:pt x="207" y="183"/>
                  </a:lnTo>
                  <a:close/>
                  <a:moveTo>
                    <a:pt x="156" y="168"/>
                  </a:moveTo>
                  <a:lnTo>
                    <a:pt x="156" y="170"/>
                  </a:lnTo>
                  <a:lnTo>
                    <a:pt x="156" y="170"/>
                  </a:lnTo>
                  <a:lnTo>
                    <a:pt x="158" y="170"/>
                  </a:lnTo>
                  <a:lnTo>
                    <a:pt x="158" y="168"/>
                  </a:lnTo>
                  <a:lnTo>
                    <a:pt x="158" y="168"/>
                  </a:lnTo>
                  <a:lnTo>
                    <a:pt x="156" y="168"/>
                  </a:lnTo>
                  <a:close/>
                  <a:moveTo>
                    <a:pt x="164" y="158"/>
                  </a:moveTo>
                  <a:lnTo>
                    <a:pt x="162" y="158"/>
                  </a:lnTo>
                  <a:lnTo>
                    <a:pt x="162" y="158"/>
                  </a:lnTo>
                  <a:lnTo>
                    <a:pt x="160" y="158"/>
                  </a:lnTo>
                  <a:lnTo>
                    <a:pt x="162" y="158"/>
                  </a:lnTo>
                  <a:lnTo>
                    <a:pt x="158" y="156"/>
                  </a:lnTo>
                  <a:lnTo>
                    <a:pt x="158" y="154"/>
                  </a:lnTo>
                  <a:lnTo>
                    <a:pt x="158" y="154"/>
                  </a:lnTo>
                  <a:lnTo>
                    <a:pt x="158" y="154"/>
                  </a:lnTo>
                  <a:lnTo>
                    <a:pt x="158" y="156"/>
                  </a:lnTo>
                  <a:lnTo>
                    <a:pt x="158" y="158"/>
                  </a:lnTo>
                  <a:lnTo>
                    <a:pt x="160" y="158"/>
                  </a:lnTo>
                  <a:lnTo>
                    <a:pt x="160" y="160"/>
                  </a:lnTo>
                  <a:lnTo>
                    <a:pt x="162" y="162"/>
                  </a:lnTo>
                  <a:lnTo>
                    <a:pt x="164" y="162"/>
                  </a:lnTo>
                  <a:lnTo>
                    <a:pt x="164" y="158"/>
                  </a:lnTo>
                  <a:lnTo>
                    <a:pt x="164" y="158"/>
                  </a:lnTo>
                  <a:lnTo>
                    <a:pt x="164" y="158"/>
                  </a:lnTo>
                  <a:close/>
                  <a:moveTo>
                    <a:pt x="152" y="152"/>
                  </a:moveTo>
                  <a:lnTo>
                    <a:pt x="154" y="152"/>
                  </a:lnTo>
                  <a:lnTo>
                    <a:pt x="156" y="152"/>
                  </a:lnTo>
                  <a:lnTo>
                    <a:pt x="158" y="152"/>
                  </a:lnTo>
                  <a:lnTo>
                    <a:pt x="158" y="152"/>
                  </a:lnTo>
                  <a:lnTo>
                    <a:pt x="158" y="154"/>
                  </a:lnTo>
                  <a:lnTo>
                    <a:pt x="160" y="152"/>
                  </a:lnTo>
                  <a:lnTo>
                    <a:pt x="160" y="152"/>
                  </a:lnTo>
                  <a:lnTo>
                    <a:pt x="160" y="152"/>
                  </a:lnTo>
                  <a:lnTo>
                    <a:pt x="160" y="150"/>
                  </a:lnTo>
                  <a:lnTo>
                    <a:pt x="158" y="148"/>
                  </a:lnTo>
                  <a:lnTo>
                    <a:pt x="158" y="148"/>
                  </a:lnTo>
                  <a:lnTo>
                    <a:pt x="156" y="148"/>
                  </a:lnTo>
                  <a:lnTo>
                    <a:pt x="154" y="146"/>
                  </a:lnTo>
                  <a:lnTo>
                    <a:pt x="154" y="146"/>
                  </a:lnTo>
                  <a:lnTo>
                    <a:pt x="152" y="148"/>
                  </a:lnTo>
                  <a:lnTo>
                    <a:pt x="152" y="148"/>
                  </a:lnTo>
                  <a:lnTo>
                    <a:pt x="152" y="148"/>
                  </a:lnTo>
                  <a:lnTo>
                    <a:pt x="154" y="150"/>
                  </a:lnTo>
                  <a:lnTo>
                    <a:pt x="154" y="150"/>
                  </a:lnTo>
                  <a:lnTo>
                    <a:pt x="152" y="152"/>
                  </a:lnTo>
                  <a:close/>
                  <a:moveTo>
                    <a:pt x="149" y="150"/>
                  </a:moveTo>
                  <a:lnTo>
                    <a:pt x="149" y="150"/>
                  </a:lnTo>
                  <a:lnTo>
                    <a:pt x="152" y="148"/>
                  </a:lnTo>
                  <a:lnTo>
                    <a:pt x="152" y="148"/>
                  </a:lnTo>
                  <a:lnTo>
                    <a:pt x="149" y="146"/>
                  </a:lnTo>
                  <a:lnTo>
                    <a:pt x="149" y="144"/>
                  </a:lnTo>
                  <a:lnTo>
                    <a:pt x="147" y="146"/>
                  </a:lnTo>
                  <a:lnTo>
                    <a:pt x="147" y="148"/>
                  </a:lnTo>
                  <a:lnTo>
                    <a:pt x="149" y="150"/>
                  </a:lnTo>
                  <a:lnTo>
                    <a:pt x="149" y="150"/>
                  </a:lnTo>
                  <a:close/>
                  <a:moveTo>
                    <a:pt x="193" y="144"/>
                  </a:moveTo>
                  <a:lnTo>
                    <a:pt x="193" y="144"/>
                  </a:lnTo>
                  <a:lnTo>
                    <a:pt x="195" y="144"/>
                  </a:lnTo>
                  <a:lnTo>
                    <a:pt x="195" y="142"/>
                  </a:lnTo>
                  <a:lnTo>
                    <a:pt x="193" y="142"/>
                  </a:lnTo>
                  <a:lnTo>
                    <a:pt x="193" y="142"/>
                  </a:lnTo>
                  <a:lnTo>
                    <a:pt x="191" y="142"/>
                  </a:lnTo>
                  <a:lnTo>
                    <a:pt x="191" y="140"/>
                  </a:lnTo>
                  <a:lnTo>
                    <a:pt x="188" y="140"/>
                  </a:lnTo>
                  <a:lnTo>
                    <a:pt x="188" y="140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8" y="142"/>
                  </a:lnTo>
                  <a:lnTo>
                    <a:pt x="188" y="144"/>
                  </a:lnTo>
                  <a:lnTo>
                    <a:pt x="188" y="144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193" y="144"/>
                  </a:lnTo>
                  <a:close/>
                  <a:moveTo>
                    <a:pt x="41" y="131"/>
                  </a:moveTo>
                  <a:lnTo>
                    <a:pt x="39" y="131"/>
                  </a:lnTo>
                  <a:lnTo>
                    <a:pt x="37" y="129"/>
                  </a:lnTo>
                  <a:lnTo>
                    <a:pt x="37" y="131"/>
                  </a:lnTo>
                  <a:lnTo>
                    <a:pt x="39" y="131"/>
                  </a:lnTo>
                  <a:lnTo>
                    <a:pt x="41" y="133"/>
                  </a:lnTo>
                  <a:lnTo>
                    <a:pt x="43" y="135"/>
                  </a:lnTo>
                  <a:lnTo>
                    <a:pt x="43" y="133"/>
                  </a:lnTo>
                  <a:lnTo>
                    <a:pt x="41" y="131"/>
                  </a:lnTo>
                  <a:close/>
                  <a:moveTo>
                    <a:pt x="164" y="129"/>
                  </a:moveTo>
                  <a:lnTo>
                    <a:pt x="164" y="129"/>
                  </a:lnTo>
                  <a:lnTo>
                    <a:pt x="162" y="131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4" y="135"/>
                  </a:lnTo>
                  <a:lnTo>
                    <a:pt x="164" y="137"/>
                  </a:lnTo>
                  <a:lnTo>
                    <a:pt x="164" y="135"/>
                  </a:lnTo>
                  <a:lnTo>
                    <a:pt x="164" y="133"/>
                  </a:lnTo>
                  <a:lnTo>
                    <a:pt x="164" y="131"/>
                  </a:lnTo>
                  <a:lnTo>
                    <a:pt x="164" y="129"/>
                  </a:lnTo>
                  <a:lnTo>
                    <a:pt x="164" y="129"/>
                  </a:lnTo>
                  <a:close/>
                  <a:moveTo>
                    <a:pt x="43" y="129"/>
                  </a:moveTo>
                  <a:lnTo>
                    <a:pt x="39" y="129"/>
                  </a:lnTo>
                  <a:lnTo>
                    <a:pt x="39" y="129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3" y="129"/>
                  </a:lnTo>
                  <a:lnTo>
                    <a:pt x="43" y="129"/>
                  </a:lnTo>
                  <a:close/>
                  <a:moveTo>
                    <a:pt x="117" y="82"/>
                  </a:moveTo>
                  <a:lnTo>
                    <a:pt x="117" y="82"/>
                  </a:lnTo>
                  <a:lnTo>
                    <a:pt x="119" y="82"/>
                  </a:lnTo>
                  <a:lnTo>
                    <a:pt x="119" y="80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17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8"/>
                  </a:lnTo>
                  <a:lnTo>
                    <a:pt x="117" y="80"/>
                  </a:lnTo>
                  <a:lnTo>
                    <a:pt x="117" y="82"/>
                  </a:lnTo>
                  <a:close/>
                  <a:moveTo>
                    <a:pt x="246" y="96"/>
                  </a:moveTo>
                  <a:lnTo>
                    <a:pt x="244" y="94"/>
                  </a:lnTo>
                  <a:lnTo>
                    <a:pt x="244" y="92"/>
                  </a:lnTo>
                  <a:lnTo>
                    <a:pt x="242" y="90"/>
                  </a:lnTo>
                  <a:lnTo>
                    <a:pt x="240" y="90"/>
                  </a:lnTo>
                  <a:lnTo>
                    <a:pt x="240" y="88"/>
                  </a:lnTo>
                  <a:lnTo>
                    <a:pt x="240" y="88"/>
                  </a:lnTo>
                  <a:lnTo>
                    <a:pt x="238" y="88"/>
                  </a:lnTo>
                  <a:lnTo>
                    <a:pt x="238" y="84"/>
                  </a:lnTo>
                  <a:lnTo>
                    <a:pt x="236" y="84"/>
                  </a:lnTo>
                  <a:lnTo>
                    <a:pt x="234" y="82"/>
                  </a:lnTo>
                  <a:lnTo>
                    <a:pt x="234" y="82"/>
                  </a:lnTo>
                  <a:lnTo>
                    <a:pt x="234" y="82"/>
                  </a:lnTo>
                  <a:lnTo>
                    <a:pt x="234" y="78"/>
                  </a:lnTo>
                  <a:lnTo>
                    <a:pt x="232" y="76"/>
                  </a:lnTo>
                  <a:lnTo>
                    <a:pt x="230" y="76"/>
                  </a:lnTo>
                  <a:lnTo>
                    <a:pt x="227" y="76"/>
                  </a:lnTo>
                  <a:lnTo>
                    <a:pt x="227" y="76"/>
                  </a:lnTo>
                  <a:lnTo>
                    <a:pt x="227" y="76"/>
                  </a:lnTo>
                  <a:lnTo>
                    <a:pt x="227" y="78"/>
                  </a:lnTo>
                  <a:lnTo>
                    <a:pt x="225" y="80"/>
                  </a:lnTo>
                  <a:lnTo>
                    <a:pt x="225" y="82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30" y="86"/>
                  </a:lnTo>
                  <a:lnTo>
                    <a:pt x="230" y="88"/>
                  </a:lnTo>
                  <a:lnTo>
                    <a:pt x="232" y="88"/>
                  </a:lnTo>
                  <a:lnTo>
                    <a:pt x="232" y="90"/>
                  </a:lnTo>
                  <a:lnTo>
                    <a:pt x="234" y="90"/>
                  </a:lnTo>
                  <a:lnTo>
                    <a:pt x="234" y="92"/>
                  </a:lnTo>
                  <a:lnTo>
                    <a:pt x="234" y="94"/>
                  </a:lnTo>
                  <a:lnTo>
                    <a:pt x="234" y="96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8" y="100"/>
                  </a:lnTo>
                  <a:lnTo>
                    <a:pt x="240" y="100"/>
                  </a:lnTo>
                  <a:lnTo>
                    <a:pt x="242" y="100"/>
                  </a:lnTo>
                  <a:lnTo>
                    <a:pt x="242" y="100"/>
                  </a:lnTo>
                  <a:lnTo>
                    <a:pt x="242" y="100"/>
                  </a:lnTo>
                  <a:lnTo>
                    <a:pt x="244" y="98"/>
                  </a:lnTo>
                  <a:lnTo>
                    <a:pt x="244" y="100"/>
                  </a:lnTo>
                  <a:lnTo>
                    <a:pt x="244" y="100"/>
                  </a:lnTo>
                  <a:lnTo>
                    <a:pt x="246" y="98"/>
                  </a:lnTo>
                  <a:lnTo>
                    <a:pt x="246" y="96"/>
                  </a:lnTo>
                  <a:close/>
                  <a:moveTo>
                    <a:pt x="102" y="72"/>
                  </a:moveTo>
                  <a:lnTo>
                    <a:pt x="102" y="72"/>
                  </a:lnTo>
                  <a:lnTo>
                    <a:pt x="102" y="74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6" y="74"/>
                  </a:lnTo>
                  <a:lnTo>
                    <a:pt x="106" y="72"/>
                  </a:lnTo>
                  <a:lnTo>
                    <a:pt x="104" y="70"/>
                  </a:lnTo>
                  <a:lnTo>
                    <a:pt x="102" y="72"/>
                  </a:lnTo>
                  <a:close/>
                  <a:moveTo>
                    <a:pt x="227" y="72"/>
                  </a:moveTo>
                  <a:lnTo>
                    <a:pt x="227" y="70"/>
                  </a:lnTo>
                  <a:lnTo>
                    <a:pt x="227" y="68"/>
                  </a:lnTo>
                  <a:lnTo>
                    <a:pt x="225" y="68"/>
                  </a:lnTo>
                  <a:lnTo>
                    <a:pt x="225" y="68"/>
                  </a:lnTo>
                  <a:lnTo>
                    <a:pt x="223" y="70"/>
                  </a:lnTo>
                  <a:lnTo>
                    <a:pt x="225" y="70"/>
                  </a:lnTo>
                  <a:lnTo>
                    <a:pt x="225" y="72"/>
                  </a:lnTo>
                  <a:lnTo>
                    <a:pt x="225" y="72"/>
                  </a:lnTo>
                  <a:lnTo>
                    <a:pt x="225" y="76"/>
                  </a:lnTo>
                  <a:lnTo>
                    <a:pt x="225" y="76"/>
                  </a:lnTo>
                  <a:lnTo>
                    <a:pt x="227" y="74"/>
                  </a:lnTo>
                  <a:lnTo>
                    <a:pt x="227" y="72"/>
                  </a:lnTo>
                  <a:close/>
                  <a:moveTo>
                    <a:pt x="86" y="61"/>
                  </a:moveTo>
                  <a:lnTo>
                    <a:pt x="88" y="61"/>
                  </a:lnTo>
                  <a:lnTo>
                    <a:pt x="88" y="59"/>
                  </a:lnTo>
                  <a:lnTo>
                    <a:pt x="88" y="59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4" y="61"/>
                  </a:lnTo>
                  <a:lnTo>
                    <a:pt x="86" y="61"/>
                  </a:lnTo>
                  <a:lnTo>
                    <a:pt x="86" y="61"/>
                  </a:lnTo>
                  <a:close/>
                  <a:moveTo>
                    <a:pt x="186" y="68"/>
                  </a:moveTo>
                  <a:lnTo>
                    <a:pt x="186" y="66"/>
                  </a:lnTo>
                  <a:lnTo>
                    <a:pt x="188" y="66"/>
                  </a:lnTo>
                  <a:lnTo>
                    <a:pt x="188" y="63"/>
                  </a:lnTo>
                  <a:lnTo>
                    <a:pt x="191" y="61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1" y="57"/>
                  </a:lnTo>
                  <a:lnTo>
                    <a:pt x="191" y="55"/>
                  </a:lnTo>
                  <a:lnTo>
                    <a:pt x="188" y="55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84" y="55"/>
                  </a:lnTo>
                  <a:lnTo>
                    <a:pt x="182" y="53"/>
                  </a:lnTo>
                  <a:lnTo>
                    <a:pt x="182" y="53"/>
                  </a:lnTo>
                  <a:lnTo>
                    <a:pt x="180" y="53"/>
                  </a:lnTo>
                  <a:lnTo>
                    <a:pt x="180" y="53"/>
                  </a:lnTo>
                  <a:lnTo>
                    <a:pt x="178" y="53"/>
                  </a:lnTo>
                  <a:lnTo>
                    <a:pt x="176" y="53"/>
                  </a:lnTo>
                  <a:lnTo>
                    <a:pt x="176" y="53"/>
                  </a:lnTo>
                  <a:lnTo>
                    <a:pt x="176" y="55"/>
                  </a:lnTo>
                  <a:lnTo>
                    <a:pt x="178" y="59"/>
                  </a:lnTo>
                  <a:lnTo>
                    <a:pt x="178" y="63"/>
                  </a:lnTo>
                  <a:lnTo>
                    <a:pt x="178" y="66"/>
                  </a:lnTo>
                  <a:lnTo>
                    <a:pt x="176" y="66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72" y="66"/>
                  </a:lnTo>
                  <a:lnTo>
                    <a:pt x="170" y="70"/>
                  </a:lnTo>
                  <a:lnTo>
                    <a:pt x="168" y="70"/>
                  </a:lnTo>
                  <a:lnTo>
                    <a:pt x="168" y="74"/>
                  </a:lnTo>
                  <a:lnTo>
                    <a:pt x="166" y="74"/>
                  </a:lnTo>
                  <a:lnTo>
                    <a:pt x="166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2" y="76"/>
                  </a:lnTo>
                  <a:lnTo>
                    <a:pt x="160" y="76"/>
                  </a:lnTo>
                  <a:lnTo>
                    <a:pt x="160" y="76"/>
                  </a:lnTo>
                  <a:lnTo>
                    <a:pt x="158" y="76"/>
                  </a:lnTo>
                  <a:lnTo>
                    <a:pt x="156" y="76"/>
                  </a:lnTo>
                  <a:lnTo>
                    <a:pt x="154" y="76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52" y="70"/>
                  </a:lnTo>
                  <a:lnTo>
                    <a:pt x="154" y="70"/>
                  </a:lnTo>
                  <a:lnTo>
                    <a:pt x="154" y="68"/>
                  </a:lnTo>
                  <a:lnTo>
                    <a:pt x="154" y="68"/>
                  </a:lnTo>
                  <a:lnTo>
                    <a:pt x="152" y="68"/>
                  </a:lnTo>
                  <a:lnTo>
                    <a:pt x="152" y="68"/>
                  </a:lnTo>
                  <a:lnTo>
                    <a:pt x="152" y="70"/>
                  </a:lnTo>
                  <a:lnTo>
                    <a:pt x="149" y="76"/>
                  </a:lnTo>
                  <a:lnTo>
                    <a:pt x="147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1" y="78"/>
                  </a:lnTo>
                  <a:lnTo>
                    <a:pt x="139" y="78"/>
                  </a:lnTo>
                  <a:lnTo>
                    <a:pt x="137" y="78"/>
                  </a:lnTo>
                  <a:lnTo>
                    <a:pt x="137" y="76"/>
                  </a:lnTo>
                  <a:lnTo>
                    <a:pt x="135" y="76"/>
                  </a:lnTo>
                  <a:lnTo>
                    <a:pt x="131" y="76"/>
                  </a:lnTo>
                  <a:lnTo>
                    <a:pt x="129" y="76"/>
                  </a:lnTo>
                  <a:lnTo>
                    <a:pt x="129" y="76"/>
                  </a:lnTo>
                  <a:lnTo>
                    <a:pt x="129" y="76"/>
                  </a:lnTo>
                  <a:lnTo>
                    <a:pt x="127" y="76"/>
                  </a:lnTo>
                  <a:lnTo>
                    <a:pt x="125" y="76"/>
                  </a:lnTo>
                  <a:lnTo>
                    <a:pt x="123" y="78"/>
                  </a:lnTo>
                  <a:lnTo>
                    <a:pt x="123" y="80"/>
                  </a:lnTo>
                  <a:lnTo>
                    <a:pt x="125" y="82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9" y="82"/>
                  </a:lnTo>
                  <a:lnTo>
                    <a:pt x="131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7" y="86"/>
                  </a:lnTo>
                  <a:lnTo>
                    <a:pt x="139" y="86"/>
                  </a:lnTo>
                  <a:lnTo>
                    <a:pt x="141" y="8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5" y="90"/>
                  </a:lnTo>
                  <a:lnTo>
                    <a:pt x="147" y="90"/>
                  </a:lnTo>
                  <a:lnTo>
                    <a:pt x="154" y="90"/>
                  </a:lnTo>
                  <a:lnTo>
                    <a:pt x="156" y="90"/>
                  </a:lnTo>
                  <a:lnTo>
                    <a:pt x="158" y="90"/>
                  </a:lnTo>
                  <a:lnTo>
                    <a:pt x="160" y="88"/>
                  </a:lnTo>
                  <a:lnTo>
                    <a:pt x="162" y="88"/>
                  </a:lnTo>
                  <a:lnTo>
                    <a:pt x="162" y="88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6" y="86"/>
                  </a:lnTo>
                  <a:lnTo>
                    <a:pt x="168" y="86"/>
                  </a:lnTo>
                  <a:lnTo>
                    <a:pt x="170" y="84"/>
                  </a:lnTo>
                  <a:lnTo>
                    <a:pt x="172" y="82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4" y="78"/>
                  </a:lnTo>
                  <a:lnTo>
                    <a:pt x="178" y="78"/>
                  </a:lnTo>
                  <a:lnTo>
                    <a:pt x="180" y="78"/>
                  </a:lnTo>
                  <a:lnTo>
                    <a:pt x="182" y="76"/>
                  </a:lnTo>
                  <a:lnTo>
                    <a:pt x="184" y="76"/>
                  </a:lnTo>
                  <a:lnTo>
                    <a:pt x="184" y="74"/>
                  </a:lnTo>
                  <a:lnTo>
                    <a:pt x="184" y="72"/>
                  </a:lnTo>
                  <a:lnTo>
                    <a:pt x="182" y="70"/>
                  </a:lnTo>
                  <a:lnTo>
                    <a:pt x="182" y="68"/>
                  </a:lnTo>
                  <a:lnTo>
                    <a:pt x="184" y="68"/>
                  </a:lnTo>
                  <a:lnTo>
                    <a:pt x="186" y="68"/>
                  </a:lnTo>
                  <a:close/>
                  <a:moveTo>
                    <a:pt x="211" y="51"/>
                  </a:moveTo>
                  <a:lnTo>
                    <a:pt x="211" y="51"/>
                  </a:lnTo>
                  <a:lnTo>
                    <a:pt x="211" y="51"/>
                  </a:lnTo>
                  <a:lnTo>
                    <a:pt x="211" y="49"/>
                  </a:lnTo>
                  <a:lnTo>
                    <a:pt x="211" y="49"/>
                  </a:lnTo>
                  <a:lnTo>
                    <a:pt x="211" y="51"/>
                  </a:lnTo>
                  <a:close/>
                  <a:moveTo>
                    <a:pt x="195" y="35"/>
                  </a:moveTo>
                  <a:lnTo>
                    <a:pt x="197" y="33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3"/>
                  </a:lnTo>
                  <a:lnTo>
                    <a:pt x="195" y="33"/>
                  </a:lnTo>
                  <a:lnTo>
                    <a:pt x="195" y="35"/>
                  </a:lnTo>
                  <a:close/>
                  <a:moveTo>
                    <a:pt x="184" y="28"/>
                  </a:moveTo>
                  <a:lnTo>
                    <a:pt x="184" y="28"/>
                  </a:lnTo>
                  <a:lnTo>
                    <a:pt x="186" y="31"/>
                  </a:lnTo>
                  <a:lnTo>
                    <a:pt x="186" y="31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84" y="26"/>
                  </a:lnTo>
                  <a:lnTo>
                    <a:pt x="184" y="28"/>
                  </a:lnTo>
                  <a:close/>
                  <a:moveTo>
                    <a:pt x="186" y="26"/>
                  </a:moveTo>
                  <a:lnTo>
                    <a:pt x="186" y="24"/>
                  </a:lnTo>
                  <a:lnTo>
                    <a:pt x="184" y="24"/>
                  </a:lnTo>
                  <a:lnTo>
                    <a:pt x="184" y="26"/>
                  </a:lnTo>
                  <a:lnTo>
                    <a:pt x="184" y="26"/>
                  </a:lnTo>
                  <a:lnTo>
                    <a:pt x="184" y="26"/>
                  </a:lnTo>
                  <a:lnTo>
                    <a:pt x="186" y="26"/>
                  </a:lnTo>
                  <a:close/>
                  <a:moveTo>
                    <a:pt x="154" y="164"/>
                  </a:moveTo>
                  <a:lnTo>
                    <a:pt x="152" y="162"/>
                  </a:lnTo>
                  <a:lnTo>
                    <a:pt x="149" y="162"/>
                  </a:lnTo>
                  <a:lnTo>
                    <a:pt x="147" y="162"/>
                  </a:lnTo>
                  <a:lnTo>
                    <a:pt x="147" y="160"/>
                  </a:lnTo>
                  <a:lnTo>
                    <a:pt x="145" y="160"/>
                  </a:lnTo>
                  <a:lnTo>
                    <a:pt x="143" y="160"/>
                  </a:lnTo>
                  <a:lnTo>
                    <a:pt x="143" y="160"/>
                  </a:lnTo>
                  <a:lnTo>
                    <a:pt x="141" y="158"/>
                  </a:lnTo>
                  <a:lnTo>
                    <a:pt x="141" y="158"/>
                  </a:lnTo>
                  <a:lnTo>
                    <a:pt x="139" y="156"/>
                  </a:lnTo>
                  <a:lnTo>
                    <a:pt x="141" y="156"/>
                  </a:lnTo>
                  <a:lnTo>
                    <a:pt x="141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5" y="154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1" y="152"/>
                  </a:lnTo>
                  <a:lnTo>
                    <a:pt x="135" y="152"/>
                  </a:lnTo>
                  <a:lnTo>
                    <a:pt x="135" y="150"/>
                  </a:lnTo>
                  <a:lnTo>
                    <a:pt x="133" y="150"/>
                  </a:lnTo>
                  <a:lnTo>
                    <a:pt x="133" y="148"/>
                  </a:lnTo>
                  <a:lnTo>
                    <a:pt x="133" y="146"/>
                  </a:lnTo>
                  <a:lnTo>
                    <a:pt x="133" y="144"/>
                  </a:lnTo>
                  <a:lnTo>
                    <a:pt x="133" y="142"/>
                  </a:lnTo>
                  <a:lnTo>
                    <a:pt x="133" y="142"/>
                  </a:lnTo>
                  <a:lnTo>
                    <a:pt x="131" y="142"/>
                  </a:lnTo>
                  <a:lnTo>
                    <a:pt x="131" y="142"/>
                  </a:lnTo>
                  <a:lnTo>
                    <a:pt x="127" y="142"/>
                  </a:lnTo>
                  <a:lnTo>
                    <a:pt x="125" y="142"/>
                  </a:lnTo>
                  <a:lnTo>
                    <a:pt x="123" y="142"/>
                  </a:lnTo>
                  <a:lnTo>
                    <a:pt x="123" y="140"/>
                  </a:lnTo>
                  <a:lnTo>
                    <a:pt x="121" y="135"/>
                  </a:lnTo>
                  <a:lnTo>
                    <a:pt x="121" y="133"/>
                  </a:lnTo>
                  <a:lnTo>
                    <a:pt x="119" y="131"/>
                  </a:lnTo>
                  <a:lnTo>
                    <a:pt x="119" y="131"/>
                  </a:lnTo>
                  <a:lnTo>
                    <a:pt x="119" y="131"/>
                  </a:lnTo>
                  <a:lnTo>
                    <a:pt x="119" y="127"/>
                  </a:lnTo>
                  <a:lnTo>
                    <a:pt x="117" y="125"/>
                  </a:lnTo>
                  <a:lnTo>
                    <a:pt x="117" y="123"/>
                  </a:lnTo>
                  <a:lnTo>
                    <a:pt x="115" y="121"/>
                  </a:lnTo>
                  <a:lnTo>
                    <a:pt x="113" y="121"/>
                  </a:lnTo>
                  <a:lnTo>
                    <a:pt x="110" y="119"/>
                  </a:lnTo>
                  <a:lnTo>
                    <a:pt x="108" y="117"/>
                  </a:lnTo>
                  <a:lnTo>
                    <a:pt x="106" y="115"/>
                  </a:lnTo>
                  <a:lnTo>
                    <a:pt x="104" y="113"/>
                  </a:lnTo>
                  <a:lnTo>
                    <a:pt x="104" y="113"/>
                  </a:lnTo>
                  <a:lnTo>
                    <a:pt x="102" y="111"/>
                  </a:lnTo>
                  <a:lnTo>
                    <a:pt x="102" y="107"/>
                  </a:lnTo>
                  <a:lnTo>
                    <a:pt x="100" y="103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2" y="98"/>
                  </a:lnTo>
                  <a:lnTo>
                    <a:pt x="106" y="98"/>
                  </a:lnTo>
                  <a:lnTo>
                    <a:pt x="113" y="98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5" y="90"/>
                  </a:lnTo>
                  <a:lnTo>
                    <a:pt x="113" y="90"/>
                  </a:lnTo>
                  <a:lnTo>
                    <a:pt x="113" y="90"/>
                  </a:lnTo>
                  <a:lnTo>
                    <a:pt x="113" y="88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6" y="84"/>
                  </a:lnTo>
                  <a:lnTo>
                    <a:pt x="104" y="84"/>
                  </a:lnTo>
                  <a:lnTo>
                    <a:pt x="102" y="84"/>
                  </a:lnTo>
                  <a:lnTo>
                    <a:pt x="92" y="78"/>
                  </a:lnTo>
                  <a:lnTo>
                    <a:pt x="90" y="78"/>
                  </a:lnTo>
                  <a:lnTo>
                    <a:pt x="86" y="76"/>
                  </a:lnTo>
                  <a:lnTo>
                    <a:pt x="84" y="76"/>
                  </a:lnTo>
                  <a:lnTo>
                    <a:pt x="82" y="74"/>
                  </a:lnTo>
                  <a:lnTo>
                    <a:pt x="84" y="70"/>
                  </a:lnTo>
                  <a:lnTo>
                    <a:pt x="84" y="66"/>
                  </a:lnTo>
                  <a:lnTo>
                    <a:pt x="82" y="63"/>
                  </a:lnTo>
                  <a:lnTo>
                    <a:pt x="76" y="55"/>
                  </a:lnTo>
                  <a:lnTo>
                    <a:pt x="74" y="55"/>
                  </a:lnTo>
                  <a:lnTo>
                    <a:pt x="71" y="55"/>
                  </a:lnTo>
                  <a:lnTo>
                    <a:pt x="71" y="53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7" y="49"/>
                  </a:lnTo>
                  <a:lnTo>
                    <a:pt x="65" y="49"/>
                  </a:lnTo>
                  <a:lnTo>
                    <a:pt x="63" y="47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59" y="45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55" y="45"/>
                  </a:lnTo>
                  <a:lnTo>
                    <a:pt x="53" y="43"/>
                  </a:lnTo>
                  <a:lnTo>
                    <a:pt x="53" y="41"/>
                  </a:lnTo>
                  <a:lnTo>
                    <a:pt x="51" y="41"/>
                  </a:lnTo>
                  <a:lnTo>
                    <a:pt x="47" y="39"/>
                  </a:lnTo>
                  <a:lnTo>
                    <a:pt x="45" y="37"/>
                  </a:lnTo>
                  <a:lnTo>
                    <a:pt x="41" y="37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2" y="35"/>
                  </a:lnTo>
                  <a:lnTo>
                    <a:pt x="26" y="33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0" y="28"/>
                  </a:lnTo>
                  <a:lnTo>
                    <a:pt x="18" y="26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8" y="26"/>
                  </a:lnTo>
                  <a:lnTo>
                    <a:pt x="6" y="31"/>
                  </a:lnTo>
                  <a:lnTo>
                    <a:pt x="6" y="35"/>
                  </a:lnTo>
                  <a:lnTo>
                    <a:pt x="6" y="39"/>
                  </a:lnTo>
                  <a:lnTo>
                    <a:pt x="6" y="41"/>
                  </a:lnTo>
                  <a:lnTo>
                    <a:pt x="6" y="45"/>
                  </a:lnTo>
                  <a:lnTo>
                    <a:pt x="6" y="49"/>
                  </a:lnTo>
                  <a:lnTo>
                    <a:pt x="6" y="53"/>
                  </a:lnTo>
                  <a:lnTo>
                    <a:pt x="6" y="57"/>
                  </a:lnTo>
                  <a:lnTo>
                    <a:pt x="6" y="59"/>
                  </a:lnTo>
                  <a:lnTo>
                    <a:pt x="6" y="63"/>
                  </a:lnTo>
                  <a:lnTo>
                    <a:pt x="6" y="68"/>
                  </a:lnTo>
                  <a:lnTo>
                    <a:pt x="6" y="72"/>
                  </a:lnTo>
                  <a:lnTo>
                    <a:pt x="4" y="76"/>
                  </a:lnTo>
                  <a:lnTo>
                    <a:pt x="4" y="78"/>
                  </a:lnTo>
                  <a:lnTo>
                    <a:pt x="4" y="82"/>
                  </a:lnTo>
                  <a:lnTo>
                    <a:pt x="4" y="86"/>
                  </a:lnTo>
                  <a:lnTo>
                    <a:pt x="4" y="90"/>
                  </a:lnTo>
                  <a:lnTo>
                    <a:pt x="4" y="92"/>
                  </a:lnTo>
                  <a:lnTo>
                    <a:pt x="4" y="94"/>
                  </a:lnTo>
                  <a:lnTo>
                    <a:pt x="2" y="96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4" y="105"/>
                  </a:lnTo>
                  <a:lnTo>
                    <a:pt x="2" y="109"/>
                  </a:lnTo>
                  <a:lnTo>
                    <a:pt x="2" y="113"/>
                  </a:lnTo>
                  <a:lnTo>
                    <a:pt x="2" y="117"/>
                  </a:lnTo>
                  <a:lnTo>
                    <a:pt x="2" y="119"/>
                  </a:lnTo>
                  <a:lnTo>
                    <a:pt x="2" y="123"/>
                  </a:lnTo>
                  <a:lnTo>
                    <a:pt x="2" y="127"/>
                  </a:lnTo>
                  <a:lnTo>
                    <a:pt x="2" y="131"/>
                  </a:lnTo>
                  <a:lnTo>
                    <a:pt x="0" y="135"/>
                  </a:lnTo>
                  <a:lnTo>
                    <a:pt x="0" y="140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2" y="144"/>
                  </a:lnTo>
                  <a:lnTo>
                    <a:pt x="4" y="144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2" y="144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22" y="144"/>
                  </a:lnTo>
                  <a:lnTo>
                    <a:pt x="22" y="146"/>
                  </a:lnTo>
                  <a:lnTo>
                    <a:pt x="24" y="146"/>
                  </a:lnTo>
                  <a:lnTo>
                    <a:pt x="26" y="146"/>
                  </a:lnTo>
                  <a:lnTo>
                    <a:pt x="30" y="144"/>
                  </a:lnTo>
                  <a:lnTo>
                    <a:pt x="34" y="142"/>
                  </a:lnTo>
                  <a:lnTo>
                    <a:pt x="37" y="142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37"/>
                  </a:lnTo>
                  <a:lnTo>
                    <a:pt x="39" y="135"/>
                  </a:lnTo>
                  <a:lnTo>
                    <a:pt x="39" y="133"/>
                  </a:lnTo>
                  <a:lnTo>
                    <a:pt x="37" y="133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4" y="129"/>
                  </a:lnTo>
                  <a:lnTo>
                    <a:pt x="30" y="129"/>
                  </a:lnTo>
                  <a:lnTo>
                    <a:pt x="26" y="127"/>
                  </a:lnTo>
                  <a:lnTo>
                    <a:pt x="24" y="129"/>
                  </a:lnTo>
                  <a:lnTo>
                    <a:pt x="24" y="127"/>
                  </a:lnTo>
                  <a:lnTo>
                    <a:pt x="24" y="127"/>
                  </a:lnTo>
                  <a:lnTo>
                    <a:pt x="22" y="125"/>
                  </a:lnTo>
                  <a:lnTo>
                    <a:pt x="20" y="125"/>
                  </a:lnTo>
                  <a:lnTo>
                    <a:pt x="22" y="125"/>
                  </a:lnTo>
                  <a:lnTo>
                    <a:pt x="24" y="125"/>
                  </a:lnTo>
                  <a:lnTo>
                    <a:pt x="24" y="125"/>
                  </a:lnTo>
                  <a:lnTo>
                    <a:pt x="24" y="127"/>
                  </a:lnTo>
                  <a:lnTo>
                    <a:pt x="24" y="127"/>
                  </a:lnTo>
                  <a:lnTo>
                    <a:pt x="26" y="127"/>
                  </a:lnTo>
                  <a:lnTo>
                    <a:pt x="28" y="127"/>
                  </a:lnTo>
                  <a:lnTo>
                    <a:pt x="28" y="127"/>
                  </a:lnTo>
                  <a:lnTo>
                    <a:pt x="30" y="127"/>
                  </a:lnTo>
                  <a:lnTo>
                    <a:pt x="32" y="127"/>
                  </a:lnTo>
                  <a:lnTo>
                    <a:pt x="34" y="127"/>
                  </a:lnTo>
                  <a:lnTo>
                    <a:pt x="39" y="127"/>
                  </a:lnTo>
                  <a:lnTo>
                    <a:pt x="41" y="127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121"/>
                  </a:lnTo>
                  <a:lnTo>
                    <a:pt x="45" y="121"/>
                  </a:lnTo>
                  <a:lnTo>
                    <a:pt x="47" y="123"/>
                  </a:lnTo>
                  <a:lnTo>
                    <a:pt x="47" y="123"/>
                  </a:lnTo>
                  <a:lnTo>
                    <a:pt x="49" y="123"/>
                  </a:lnTo>
                  <a:lnTo>
                    <a:pt x="47" y="121"/>
                  </a:lnTo>
                  <a:lnTo>
                    <a:pt x="49" y="121"/>
                  </a:lnTo>
                  <a:lnTo>
                    <a:pt x="49" y="121"/>
                  </a:lnTo>
                  <a:lnTo>
                    <a:pt x="47" y="113"/>
                  </a:lnTo>
                  <a:lnTo>
                    <a:pt x="45" y="113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49" y="115"/>
                  </a:lnTo>
                  <a:lnTo>
                    <a:pt x="49" y="117"/>
                  </a:lnTo>
                  <a:lnTo>
                    <a:pt x="51" y="117"/>
                  </a:lnTo>
                  <a:lnTo>
                    <a:pt x="53" y="117"/>
                  </a:lnTo>
                  <a:lnTo>
                    <a:pt x="55" y="117"/>
                  </a:lnTo>
                  <a:lnTo>
                    <a:pt x="55" y="117"/>
                  </a:lnTo>
                  <a:lnTo>
                    <a:pt x="55" y="117"/>
                  </a:lnTo>
                  <a:lnTo>
                    <a:pt x="57" y="115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9" y="115"/>
                  </a:lnTo>
                  <a:lnTo>
                    <a:pt x="59" y="115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3" y="115"/>
                  </a:lnTo>
                  <a:lnTo>
                    <a:pt x="65" y="115"/>
                  </a:lnTo>
                  <a:lnTo>
                    <a:pt x="65" y="117"/>
                  </a:lnTo>
                  <a:lnTo>
                    <a:pt x="65" y="117"/>
                  </a:lnTo>
                  <a:lnTo>
                    <a:pt x="65" y="119"/>
                  </a:lnTo>
                  <a:lnTo>
                    <a:pt x="67" y="119"/>
                  </a:lnTo>
                  <a:lnTo>
                    <a:pt x="69" y="119"/>
                  </a:lnTo>
                  <a:lnTo>
                    <a:pt x="71" y="119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8" y="121"/>
                  </a:lnTo>
                  <a:lnTo>
                    <a:pt x="80" y="121"/>
                  </a:lnTo>
                  <a:lnTo>
                    <a:pt x="80" y="121"/>
                  </a:lnTo>
                  <a:lnTo>
                    <a:pt x="84" y="123"/>
                  </a:lnTo>
                  <a:lnTo>
                    <a:pt x="84" y="123"/>
                  </a:lnTo>
                  <a:lnTo>
                    <a:pt x="84" y="125"/>
                  </a:lnTo>
                  <a:lnTo>
                    <a:pt x="84" y="125"/>
                  </a:lnTo>
                  <a:lnTo>
                    <a:pt x="86" y="127"/>
                  </a:lnTo>
                  <a:lnTo>
                    <a:pt x="86" y="129"/>
                  </a:lnTo>
                  <a:lnTo>
                    <a:pt x="86" y="131"/>
                  </a:lnTo>
                  <a:lnTo>
                    <a:pt x="90" y="133"/>
                  </a:lnTo>
                  <a:lnTo>
                    <a:pt x="90" y="135"/>
                  </a:lnTo>
                  <a:lnTo>
                    <a:pt x="92" y="140"/>
                  </a:lnTo>
                  <a:lnTo>
                    <a:pt x="92" y="142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6" y="142"/>
                  </a:lnTo>
                  <a:lnTo>
                    <a:pt x="96" y="144"/>
                  </a:lnTo>
                  <a:lnTo>
                    <a:pt x="96" y="146"/>
                  </a:lnTo>
                  <a:lnTo>
                    <a:pt x="96" y="148"/>
                  </a:lnTo>
                  <a:lnTo>
                    <a:pt x="98" y="148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4" y="154"/>
                  </a:lnTo>
                  <a:lnTo>
                    <a:pt x="104" y="158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60"/>
                  </a:lnTo>
                  <a:lnTo>
                    <a:pt x="110" y="160"/>
                  </a:lnTo>
                  <a:lnTo>
                    <a:pt x="113" y="160"/>
                  </a:lnTo>
                  <a:lnTo>
                    <a:pt x="113" y="160"/>
                  </a:lnTo>
                  <a:lnTo>
                    <a:pt x="115" y="160"/>
                  </a:lnTo>
                  <a:lnTo>
                    <a:pt x="117" y="160"/>
                  </a:lnTo>
                  <a:lnTo>
                    <a:pt x="117" y="162"/>
                  </a:lnTo>
                  <a:lnTo>
                    <a:pt x="119" y="162"/>
                  </a:lnTo>
                  <a:lnTo>
                    <a:pt x="121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7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9" y="164"/>
                  </a:lnTo>
                  <a:lnTo>
                    <a:pt x="141" y="166"/>
                  </a:lnTo>
                  <a:lnTo>
                    <a:pt x="141" y="168"/>
                  </a:lnTo>
                  <a:lnTo>
                    <a:pt x="143" y="168"/>
                  </a:lnTo>
                  <a:lnTo>
                    <a:pt x="143" y="168"/>
                  </a:lnTo>
                  <a:lnTo>
                    <a:pt x="145" y="170"/>
                  </a:lnTo>
                  <a:lnTo>
                    <a:pt x="147" y="170"/>
                  </a:lnTo>
                  <a:lnTo>
                    <a:pt x="149" y="170"/>
                  </a:lnTo>
                  <a:lnTo>
                    <a:pt x="149" y="170"/>
                  </a:lnTo>
                  <a:lnTo>
                    <a:pt x="154" y="168"/>
                  </a:lnTo>
                  <a:lnTo>
                    <a:pt x="154" y="168"/>
                  </a:lnTo>
                  <a:lnTo>
                    <a:pt x="154" y="168"/>
                  </a:lnTo>
                  <a:lnTo>
                    <a:pt x="152" y="166"/>
                  </a:lnTo>
                  <a:lnTo>
                    <a:pt x="149" y="164"/>
                  </a:lnTo>
                  <a:lnTo>
                    <a:pt x="149" y="164"/>
                  </a:lnTo>
                  <a:lnTo>
                    <a:pt x="154" y="164"/>
                  </a:lnTo>
                  <a:lnTo>
                    <a:pt x="154" y="164"/>
                  </a:lnTo>
                  <a:lnTo>
                    <a:pt x="158" y="162"/>
                  </a:lnTo>
                  <a:lnTo>
                    <a:pt x="154" y="164"/>
                  </a:lnTo>
                  <a:close/>
                  <a:moveTo>
                    <a:pt x="201" y="51"/>
                  </a:moveTo>
                  <a:lnTo>
                    <a:pt x="191" y="41"/>
                  </a:lnTo>
                  <a:lnTo>
                    <a:pt x="191" y="39"/>
                  </a:lnTo>
                  <a:lnTo>
                    <a:pt x="188" y="37"/>
                  </a:lnTo>
                  <a:lnTo>
                    <a:pt x="186" y="35"/>
                  </a:lnTo>
                  <a:lnTo>
                    <a:pt x="186" y="35"/>
                  </a:lnTo>
                  <a:lnTo>
                    <a:pt x="182" y="33"/>
                  </a:lnTo>
                  <a:lnTo>
                    <a:pt x="180" y="31"/>
                  </a:lnTo>
                  <a:lnTo>
                    <a:pt x="178" y="31"/>
                  </a:lnTo>
                  <a:lnTo>
                    <a:pt x="176" y="28"/>
                  </a:lnTo>
                  <a:lnTo>
                    <a:pt x="174" y="28"/>
                  </a:lnTo>
                  <a:lnTo>
                    <a:pt x="172" y="28"/>
                  </a:lnTo>
                  <a:lnTo>
                    <a:pt x="172" y="26"/>
                  </a:lnTo>
                  <a:lnTo>
                    <a:pt x="170" y="24"/>
                  </a:lnTo>
                  <a:lnTo>
                    <a:pt x="166" y="22"/>
                  </a:lnTo>
                  <a:lnTo>
                    <a:pt x="166" y="24"/>
                  </a:lnTo>
                  <a:lnTo>
                    <a:pt x="166" y="24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8" y="26"/>
                  </a:lnTo>
                  <a:lnTo>
                    <a:pt x="170" y="26"/>
                  </a:lnTo>
                  <a:lnTo>
                    <a:pt x="176" y="31"/>
                  </a:lnTo>
                  <a:lnTo>
                    <a:pt x="176" y="33"/>
                  </a:lnTo>
                  <a:lnTo>
                    <a:pt x="178" y="33"/>
                  </a:lnTo>
                  <a:lnTo>
                    <a:pt x="182" y="37"/>
                  </a:lnTo>
                  <a:lnTo>
                    <a:pt x="182" y="37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6" y="39"/>
                  </a:lnTo>
                  <a:lnTo>
                    <a:pt x="188" y="39"/>
                  </a:lnTo>
                  <a:lnTo>
                    <a:pt x="188" y="41"/>
                  </a:lnTo>
                  <a:lnTo>
                    <a:pt x="191" y="43"/>
                  </a:lnTo>
                  <a:lnTo>
                    <a:pt x="195" y="49"/>
                  </a:lnTo>
                  <a:lnTo>
                    <a:pt x="195" y="51"/>
                  </a:lnTo>
                  <a:lnTo>
                    <a:pt x="195" y="53"/>
                  </a:lnTo>
                  <a:lnTo>
                    <a:pt x="195" y="55"/>
                  </a:lnTo>
                  <a:lnTo>
                    <a:pt x="195" y="57"/>
                  </a:lnTo>
                  <a:lnTo>
                    <a:pt x="195" y="57"/>
                  </a:lnTo>
                  <a:lnTo>
                    <a:pt x="197" y="59"/>
                  </a:lnTo>
                  <a:lnTo>
                    <a:pt x="197" y="61"/>
                  </a:lnTo>
                  <a:lnTo>
                    <a:pt x="197" y="63"/>
                  </a:lnTo>
                  <a:lnTo>
                    <a:pt x="199" y="63"/>
                  </a:lnTo>
                  <a:lnTo>
                    <a:pt x="199" y="61"/>
                  </a:lnTo>
                  <a:lnTo>
                    <a:pt x="201" y="61"/>
                  </a:lnTo>
                  <a:lnTo>
                    <a:pt x="201" y="59"/>
                  </a:lnTo>
                  <a:lnTo>
                    <a:pt x="201" y="57"/>
                  </a:lnTo>
                  <a:lnTo>
                    <a:pt x="203" y="55"/>
                  </a:lnTo>
                  <a:lnTo>
                    <a:pt x="203" y="55"/>
                  </a:lnTo>
                  <a:lnTo>
                    <a:pt x="203" y="53"/>
                  </a:lnTo>
                  <a:lnTo>
                    <a:pt x="201" y="51"/>
                  </a:lnTo>
                  <a:close/>
                  <a:moveTo>
                    <a:pt x="154" y="20"/>
                  </a:moveTo>
                  <a:lnTo>
                    <a:pt x="156" y="22"/>
                  </a:lnTo>
                  <a:lnTo>
                    <a:pt x="156" y="24"/>
                  </a:lnTo>
                  <a:lnTo>
                    <a:pt x="158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60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8" y="18"/>
                  </a:lnTo>
                  <a:lnTo>
                    <a:pt x="156" y="20"/>
                  </a:lnTo>
                  <a:lnTo>
                    <a:pt x="154" y="20"/>
                  </a:lnTo>
                  <a:lnTo>
                    <a:pt x="154" y="20"/>
                  </a:lnTo>
                  <a:lnTo>
                    <a:pt x="154" y="20"/>
                  </a:lnTo>
                  <a:close/>
                  <a:moveTo>
                    <a:pt x="119" y="18"/>
                  </a:move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9" y="18"/>
                  </a:lnTo>
                  <a:close/>
                  <a:moveTo>
                    <a:pt x="98" y="16"/>
                  </a:moveTo>
                  <a:lnTo>
                    <a:pt x="98" y="14"/>
                  </a:lnTo>
                  <a:lnTo>
                    <a:pt x="100" y="16"/>
                  </a:lnTo>
                  <a:lnTo>
                    <a:pt x="100" y="14"/>
                  </a:lnTo>
                  <a:lnTo>
                    <a:pt x="104" y="16"/>
                  </a:lnTo>
                  <a:lnTo>
                    <a:pt x="106" y="16"/>
                  </a:lnTo>
                  <a:lnTo>
                    <a:pt x="106" y="14"/>
                  </a:lnTo>
                  <a:lnTo>
                    <a:pt x="108" y="16"/>
                  </a:lnTo>
                  <a:lnTo>
                    <a:pt x="110" y="14"/>
                  </a:lnTo>
                  <a:lnTo>
                    <a:pt x="110" y="12"/>
                  </a:lnTo>
                  <a:lnTo>
                    <a:pt x="110" y="14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0" y="12"/>
                  </a:lnTo>
                  <a:lnTo>
                    <a:pt x="106" y="12"/>
                  </a:lnTo>
                  <a:lnTo>
                    <a:pt x="102" y="10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6"/>
                  </a:lnTo>
                  <a:lnTo>
                    <a:pt x="98" y="16"/>
                  </a:lnTo>
                  <a:close/>
                  <a:moveTo>
                    <a:pt x="149" y="4"/>
                  </a:moveTo>
                  <a:lnTo>
                    <a:pt x="149" y="4"/>
                  </a:lnTo>
                  <a:lnTo>
                    <a:pt x="149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9" y="4"/>
                  </a:lnTo>
                  <a:lnTo>
                    <a:pt x="149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8" name="Freeform 81">
              <a:extLst>
                <a:ext uri="{FF2B5EF4-FFF2-40B4-BE49-F238E27FC236}">
                  <a16:creationId xmlns:a16="http://schemas.microsoft.com/office/drawing/2014/main" id="{2D22E7CD-3F64-3746-AFB4-6E458E061F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1306" y="3365050"/>
              <a:ext cx="60608" cy="103390"/>
            </a:xfrm>
            <a:custGeom>
              <a:avLst/>
              <a:gdLst>
                <a:gd name="T0" fmla="*/ 0 w 51"/>
                <a:gd name="T1" fmla="*/ 87 h 87"/>
                <a:gd name="T2" fmla="*/ 0 w 51"/>
                <a:gd name="T3" fmla="*/ 87 h 87"/>
                <a:gd name="T4" fmla="*/ 0 w 51"/>
                <a:gd name="T5" fmla="*/ 87 h 87"/>
                <a:gd name="T6" fmla="*/ 0 w 51"/>
                <a:gd name="T7" fmla="*/ 87 h 87"/>
                <a:gd name="T8" fmla="*/ 0 w 51"/>
                <a:gd name="T9" fmla="*/ 87 h 87"/>
                <a:gd name="T10" fmla="*/ 0 w 51"/>
                <a:gd name="T11" fmla="*/ 87 h 87"/>
                <a:gd name="T12" fmla="*/ 0 w 51"/>
                <a:gd name="T13" fmla="*/ 87 h 87"/>
                <a:gd name="T14" fmla="*/ 0 w 51"/>
                <a:gd name="T15" fmla="*/ 87 h 87"/>
                <a:gd name="T16" fmla="*/ 0 w 51"/>
                <a:gd name="T17" fmla="*/ 87 h 87"/>
                <a:gd name="T18" fmla="*/ 51 w 51"/>
                <a:gd name="T19" fmla="*/ 2 h 87"/>
                <a:gd name="T20" fmla="*/ 51 w 51"/>
                <a:gd name="T21" fmla="*/ 0 h 87"/>
                <a:gd name="T22" fmla="*/ 51 w 51"/>
                <a:gd name="T23" fmla="*/ 2 h 87"/>
                <a:gd name="T24" fmla="*/ 51 w 51"/>
                <a:gd name="T25" fmla="*/ 2 h 87"/>
                <a:gd name="T26" fmla="*/ 51 w 51"/>
                <a:gd name="T27" fmla="*/ 2 h 87"/>
                <a:gd name="T28" fmla="*/ 49 w 51"/>
                <a:gd name="T29" fmla="*/ 4 h 87"/>
                <a:gd name="T30" fmla="*/ 49 w 51"/>
                <a:gd name="T31" fmla="*/ 6 h 87"/>
                <a:gd name="T32" fmla="*/ 51 w 51"/>
                <a:gd name="T33" fmla="*/ 6 h 87"/>
                <a:gd name="T34" fmla="*/ 51 w 51"/>
                <a:gd name="T35" fmla="*/ 6 h 87"/>
                <a:gd name="T36" fmla="*/ 51 w 51"/>
                <a:gd name="T37" fmla="*/ 6 h 87"/>
                <a:gd name="T38" fmla="*/ 51 w 51"/>
                <a:gd name="T39" fmla="*/ 4 h 87"/>
                <a:gd name="T40" fmla="*/ 51 w 51"/>
                <a:gd name="T41" fmla="*/ 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87">
                  <a:moveTo>
                    <a:pt x="0" y="87"/>
                  </a:move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close/>
                  <a:moveTo>
                    <a:pt x="51" y="2"/>
                  </a:moveTo>
                  <a:lnTo>
                    <a:pt x="51" y="0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49" y="4"/>
                  </a:lnTo>
                  <a:lnTo>
                    <a:pt x="49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4"/>
                  </a:lnTo>
                  <a:lnTo>
                    <a:pt x="51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9" name="Freeform 83">
              <a:extLst>
                <a:ext uri="{FF2B5EF4-FFF2-40B4-BE49-F238E27FC236}">
                  <a16:creationId xmlns:a16="http://schemas.microsoft.com/office/drawing/2014/main" id="{70026522-9127-1542-9A73-0AB5E6C87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4" y="2724509"/>
              <a:ext cx="278083" cy="291155"/>
            </a:xfrm>
            <a:custGeom>
              <a:avLst/>
              <a:gdLst>
                <a:gd name="T0" fmla="*/ 224 w 234"/>
                <a:gd name="T1" fmla="*/ 25 h 245"/>
                <a:gd name="T2" fmla="*/ 214 w 234"/>
                <a:gd name="T3" fmla="*/ 21 h 245"/>
                <a:gd name="T4" fmla="*/ 210 w 234"/>
                <a:gd name="T5" fmla="*/ 9 h 245"/>
                <a:gd name="T6" fmla="*/ 197 w 234"/>
                <a:gd name="T7" fmla="*/ 3 h 245"/>
                <a:gd name="T8" fmla="*/ 187 w 234"/>
                <a:gd name="T9" fmla="*/ 3 h 245"/>
                <a:gd name="T10" fmla="*/ 165 w 234"/>
                <a:gd name="T11" fmla="*/ 5 h 245"/>
                <a:gd name="T12" fmla="*/ 150 w 234"/>
                <a:gd name="T13" fmla="*/ 11 h 245"/>
                <a:gd name="T14" fmla="*/ 140 w 234"/>
                <a:gd name="T15" fmla="*/ 19 h 245"/>
                <a:gd name="T16" fmla="*/ 150 w 234"/>
                <a:gd name="T17" fmla="*/ 31 h 245"/>
                <a:gd name="T18" fmla="*/ 150 w 234"/>
                <a:gd name="T19" fmla="*/ 37 h 245"/>
                <a:gd name="T20" fmla="*/ 144 w 234"/>
                <a:gd name="T21" fmla="*/ 48 h 245"/>
                <a:gd name="T22" fmla="*/ 136 w 234"/>
                <a:gd name="T23" fmla="*/ 58 h 245"/>
                <a:gd name="T24" fmla="*/ 136 w 234"/>
                <a:gd name="T25" fmla="*/ 68 h 245"/>
                <a:gd name="T26" fmla="*/ 126 w 234"/>
                <a:gd name="T27" fmla="*/ 81 h 245"/>
                <a:gd name="T28" fmla="*/ 122 w 234"/>
                <a:gd name="T29" fmla="*/ 101 h 245"/>
                <a:gd name="T30" fmla="*/ 109 w 234"/>
                <a:gd name="T31" fmla="*/ 97 h 245"/>
                <a:gd name="T32" fmla="*/ 105 w 234"/>
                <a:gd name="T33" fmla="*/ 105 h 245"/>
                <a:gd name="T34" fmla="*/ 89 w 234"/>
                <a:gd name="T35" fmla="*/ 109 h 245"/>
                <a:gd name="T36" fmla="*/ 85 w 234"/>
                <a:gd name="T37" fmla="*/ 124 h 245"/>
                <a:gd name="T38" fmla="*/ 76 w 234"/>
                <a:gd name="T39" fmla="*/ 136 h 245"/>
                <a:gd name="T40" fmla="*/ 56 w 234"/>
                <a:gd name="T41" fmla="*/ 140 h 245"/>
                <a:gd name="T42" fmla="*/ 13 w 234"/>
                <a:gd name="T43" fmla="*/ 136 h 245"/>
                <a:gd name="T44" fmla="*/ 15 w 234"/>
                <a:gd name="T45" fmla="*/ 151 h 245"/>
                <a:gd name="T46" fmla="*/ 33 w 234"/>
                <a:gd name="T47" fmla="*/ 163 h 245"/>
                <a:gd name="T48" fmla="*/ 37 w 234"/>
                <a:gd name="T49" fmla="*/ 179 h 245"/>
                <a:gd name="T50" fmla="*/ 46 w 234"/>
                <a:gd name="T51" fmla="*/ 183 h 245"/>
                <a:gd name="T52" fmla="*/ 39 w 234"/>
                <a:gd name="T53" fmla="*/ 192 h 245"/>
                <a:gd name="T54" fmla="*/ 29 w 234"/>
                <a:gd name="T55" fmla="*/ 198 h 245"/>
                <a:gd name="T56" fmla="*/ 23 w 234"/>
                <a:gd name="T57" fmla="*/ 208 h 245"/>
                <a:gd name="T58" fmla="*/ 31 w 234"/>
                <a:gd name="T59" fmla="*/ 218 h 245"/>
                <a:gd name="T60" fmla="*/ 48 w 234"/>
                <a:gd name="T61" fmla="*/ 218 h 245"/>
                <a:gd name="T62" fmla="*/ 62 w 234"/>
                <a:gd name="T63" fmla="*/ 214 h 245"/>
                <a:gd name="T64" fmla="*/ 91 w 234"/>
                <a:gd name="T65" fmla="*/ 214 h 245"/>
                <a:gd name="T66" fmla="*/ 95 w 234"/>
                <a:gd name="T67" fmla="*/ 212 h 245"/>
                <a:gd name="T68" fmla="*/ 111 w 234"/>
                <a:gd name="T69" fmla="*/ 227 h 245"/>
                <a:gd name="T70" fmla="*/ 117 w 234"/>
                <a:gd name="T71" fmla="*/ 241 h 245"/>
                <a:gd name="T72" fmla="*/ 128 w 234"/>
                <a:gd name="T73" fmla="*/ 243 h 245"/>
                <a:gd name="T74" fmla="*/ 136 w 234"/>
                <a:gd name="T75" fmla="*/ 241 h 245"/>
                <a:gd name="T76" fmla="*/ 140 w 234"/>
                <a:gd name="T77" fmla="*/ 235 h 245"/>
                <a:gd name="T78" fmla="*/ 154 w 234"/>
                <a:gd name="T79" fmla="*/ 237 h 245"/>
                <a:gd name="T80" fmla="*/ 167 w 234"/>
                <a:gd name="T81" fmla="*/ 235 h 245"/>
                <a:gd name="T82" fmla="*/ 173 w 234"/>
                <a:gd name="T83" fmla="*/ 233 h 245"/>
                <a:gd name="T84" fmla="*/ 173 w 234"/>
                <a:gd name="T85" fmla="*/ 227 h 245"/>
                <a:gd name="T86" fmla="*/ 163 w 234"/>
                <a:gd name="T87" fmla="*/ 210 h 245"/>
                <a:gd name="T88" fmla="*/ 154 w 234"/>
                <a:gd name="T89" fmla="*/ 198 h 245"/>
                <a:gd name="T90" fmla="*/ 144 w 234"/>
                <a:gd name="T91" fmla="*/ 190 h 245"/>
                <a:gd name="T92" fmla="*/ 150 w 234"/>
                <a:gd name="T93" fmla="*/ 173 h 245"/>
                <a:gd name="T94" fmla="*/ 158 w 234"/>
                <a:gd name="T95" fmla="*/ 169 h 245"/>
                <a:gd name="T96" fmla="*/ 179 w 234"/>
                <a:gd name="T97" fmla="*/ 167 h 245"/>
                <a:gd name="T98" fmla="*/ 191 w 234"/>
                <a:gd name="T99" fmla="*/ 149 h 245"/>
                <a:gd name="T100" fmla="*/ 202 w 234"/>
                <a:gd name="T101" fmla="*/ 128 h 245"/>
                <a:gd name="T102" fmla="*/ 208 w 234"/>
                <a:gd name="T103" fmla="*/ 114 h 245"/>
                <a:gd name="T104" fmla="*/ 210 w 234"/>
                <a:gd name="T105" fmla="*/ 103 h 245"/>
                <a:gd name="T106" fmla="*/ 218 w 234"/>
                <a:gd name="T107" fmla="*/ 91 h 245"/>
                <a:gd name="T108" fmla="*/ 208 w 234"/>
                <a:gd name="T109" fmla="*/ 85 h 245"/>
                <a:gd name="T110" fmla="*/ 200 w 234"/>
                <a:gd name="T111" fmla="*/ 77 h 245"/>
                <a:gd name="T112" fmla="*/ 195 w 234"/>
                <a:gd name="T113" fmla="*/ 70 h 245"/>
                <a:gd name="T114" fmla="*/ 193 w 234"/>
                <a:gd name="T115" fmla="*/ 60 h 245"/>
                <a:gd name="T116" fmla="*/ 189 w 234"/>
                <a:gd name="T117" fmla="*/ 56 h 245"/>
                <a:gd name="T118" fmla="*/ 187 w 234"/>
                <a:gd name="T119" fmla="*/ 48 h 245"/>
                <a:gd name="T120" fmla="*/ 204 w 234"/>
                <a:gd name="T121" fmla="*/ 46 h 245"/>
                <a:gd name="T122" fmla="*/ 220 w 234"/>
                <a:gd name="T123" fmla="*/ 46 h 245"/>
                <a:gd name="T124" fmla="*/ 232 w 234"/>
                <a:gd name="T125" fmla="*/ 4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4" h="245">
                  <a:moveTo>
                    <a:pt x="232" y="35"/>
                  </a:moveTo>
                  <a:lnTo>
                    <a:pt x="232" y="33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28" y="27"/>
                  </a:lnTo>
                  <a:lnTo>
                    <a:pt x="226" y="27"/>
                  </a:lnTo>
                  <a:lnTo>
                    <a:pt x="226" y="25"/>
                  </a:lnTo>
                  <a:lnTo>
                    <a:pt x="224" y="25"/>
                  </a:lnTo>
                  <a:lnTo>
                    <a:pt x="224" y="25"/>
                  </a:lnTo>
                  <a:lnTo>
                    <a:pt x="222" y="21"/>
                  </a:lnTo>
                  <a:lnTo>
                    <a:pt x="222" y="23"/>
                  </a:lnTo>
                  <a:lnTo>
                    <a:pt x="220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4" y="21"/>
                  </a:lnTo>
                  <a:lnTo>
                    <a:pt x="214" y="19"/>
                  </a:lnTo>
                  <a:lnTo>
                    <a:pt x="212" y="19"/>
                  </a:lnTo>
                  <a:lnTo>
                    <a:pt x="212" y="19"/>
                  </a:lnTo>
                  <a:lnTo>
                    <a:pt x="212" y="17"/>
                  </a:lnTo>
                  <a:lnTo>
                    <a:pt x="214" y="17"/>
                  </a:lnTo>
                  <a:lnTo>
                    <a:pt x="212" y="13"/>
                  </a:lnTo>
                  <a:lnTo>
                    <a:pt x="212" y="11"/>
                  </a:lnTo>
                  <a:lnTo>
                    <a:pt x="212" y="11"/>
                  </a:lnTo>
                  <a:lnTo>
                    <a:pt x="210" y="9"/>
                  </a:lnTo>
                  <a:lnTo>
                    <a:pt x="210" y="9"/>
                  </a:lnTo>
                  <a:lnTo>
                    <a:pt x="208" y="7"/>
                  </a:lnTo>
                  <a:lnTo>
                    <a:pt x="206" y="7"/>
                  </a:lnTo>
                  <a:lnTo>
                    <a:pt x="204" y="7"/>
                  </a:lnTo>
                  <a:lnTo>
                    <a:pt x="204" y="7"/>
                  </a:lnTo>
                  <a:lnTo>
                    <a:pt x="202" y="7"/>
                  </a:lnTo>
                  <a:lnTo>
                    <a:pt x="202" y="3"/>
                  </a:lnTo>
                  <a:lnTo>
                    <a:pt x="200" y="3"/>
                  </a:lnTo>
                  <a:lnTo>
                    <a:pt x="197" y="3"/>
                  </a:lnTo>
                  <a:lnTo>
                    <a:pt x="195" y="0"/>
                  </a:lnTo>
                  <a:lnTo>
                    <a:pt x="193" y="3"/>
                  </a:lnTo>
                  <a:lnTo>
                    <a:pt x="193" y="3"/>
                  </a:lnTo>
                  <a:lnTo>
                    <a:pt x="193" y="3"/>
                  </a:lnTo>
                  <a:lnTo>
                    <a:pt x="191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7" y="0"/>
                  </a:lnTo>
                  <a:lnTo>
                    <a:pt x="187" y="3"/>
                  </a:lnTo>
                  <a:lnTo>
                    <a:pt x="183" y="3"/>
                  </a:lnTo>
                  <a:lnTo>
                    <a:pt x="181" y="5"/>
                  </a:lnTo>
                  <a:lnTo>
                    <a:pt x="181" y="5"/>
                  </a:lnTo>
                  <a:lnTo>
                    <a:pt x="179" y="5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1" y="3"/>
                  </a:lnTo>
                  <a:lnTo>
                    <a:pt x="167" y="5"/>
                  </a:lnTo>
                  <a:lnTo>
                    <a:pt x="165" y="5"/>
                  </a:lnTo>
                  <a:lnTo>
                    <a:pt x="163" y="5"/>
                  </a:lnTo>
                  <a:lnTo>
                    <a:pt x="158" y="5"/>
                  </a:lnTo>
                  <a:lnTo>
                    <a:pt x="158" y="5"/>
                  </a:lnTo>
                  <a:lnTo>
                    <a:pt x="156" y="7"/>
                  </a:lnTo>
                  <a:lnTo>
                    <a:pt x="154" y="7"/>
                  </a:lnTo>
                  <a:lnTo>
                    <a:pt x="154" y="7"/>
                  </a:lnTo>
                  <a:lnTo>
                    <a:pt x="152" y="7"/>
                  </a:lnTo>
                  <a:lnTo>
                    <a:pt x="152" y="9"/>
                  </a:lnTo>
                  <a:lnTo>
                    <a:pt x="150" y="11"/>
                  </a:lnTo>
                  <a:lnTo>
                    <a:pt x="148" y="11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6" y="13"/>
                  </a:lnTo>
                  <a:lnTo>
                    <a:pt x="144" y="13"/>
                  </a:lnTo>
                  <a:lnTo>
                    <a:pt x="144" y="15"/>
                  </a:lnTo>
                  <a:lnTo>
                    <a:pt x="142" y="17"/>
                  </a:lnTo>
                  <a:lnTo>
                    <a:pt x="142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44" y="21"/>
                  </a:lnTo>
                  <a:lnTo>
                    <a:pt x="144" y="23"/>
                  </a:lnTo>
                  <a:lnTo>
                    <a:pt x="146" y="23"/>
                  </a:lnTo>
                  <a:lnTo>
                    <a:pt x="146" y="25"/>
                  </a:lnTo>
                  <a:lnTo>
                    <a:pt x="148" y="27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50" y="31"/>
                  </a:lnTo>
                  <a:lnTo>
                    <a:pt x="150" y="31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50" y="33"/>
                  </a:lnTo>
                  <a:lnTo>
                    <a:pt x="150" y="35"/>
                  </a:lnTo>
                  <a:lnTo>
                    <a:pt x="150" y="35"/>
                  </a:lnTo>
                  <a:lnTo>
                    <a:pt x="150" y="35"/>
                  </a:lnTo>
                  <a:lnTo>
                    <a:pt x="150" y="37"/>
                  </a:lnTo>
                  <a:lnTo>
                    <a:pt x="150" y="37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46" y="42"/>
                  </a:lnTo>
                  <a:lnTo>
                    <a:pt x="146" y="44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4" y="50"/>
                  </a:lnTo>
                  <a:lnTo>
                    <a:pt x="146" y="50"/>
                  </a:lnTo>
                  <a:lnTo>
                    <a:pt x="146" y="52"/>
                  </a:lnTo>
                  <a:lnTo>
                    <a:pt x="146" y="54"/>
                  </a:lnTo>
                  <a:lnTo>
                    <a:pt x="146" y="54"/>
                  </a:lnTo>
                  <a:lnTo>
                    <a:pt x="146" y="56"/>
                  </a:lnTo>
                  <a:lnTo>
                    <a:pt x="144" y="58"/>
                  </a:lnTo>
                  <a:lnTo>
                    <a:pt x="140" y="58"/>
                  </a:lnTo>
                  <a:lnTo>
                    <a:pt x="136" y="58"/>
                  </a:lnTo>
                  <a:lnTo>
                    <a:pt x="136" y="58"/>
                  </a:lnTo>
                  <a:lnTo>
                    <a:pt x="134" y="58"/>
                  </a:lnTo>
                  <a:lnTo>
                    <a:pt x="130" y="56"/>
                  </a:lnTo>
                  <a:lnTo>
                    <a:pt x="128" y="56"/>
                  </a:lnTo>
                  <a:lnTo>
                    <a:pt x="128" y="58"/>
                  </a:lnTo>
                  <a:lnTo>
                    <a:pt x="132" y="62"/>
                  </a:lnTo>
                  <a:lnTo>
                    <a:pt x="134" y="64"/>
                  </a:lnTo>
                  <a:lnTo>
                    <a:pt x="136" y="66"/>
                  </a:lnTo>
                  <a:lnTo>
                    <a:pt x="136" y="68"/>
                  </a:lnTo>
                  <a:lnTo>
                    <a:pt x="136" y="70"/>
                  </a:lnTo>
                  <a:lnTo>
                    <a:pt x="134" y="72"/>
                  </a:lnTo>
                  <a:lnTo>
                    <a:pt x="132" y="72"/>
                  </a:lnTo>
                  <a:lnTo>
                    <a:pt x="130" y="74"/>
                  </a:lnTo>
                  <a:lnTo>
                    <a:pt x="128" y="74"/>
                  </a:lnTo>
                  <a:lnTo>
                    <a:pt x="126" y="74"/>
                  </a:lnTo>
                  <a:lnTo>
                    <a:pt x="126" y="79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26" y="83"/>
                  </a:lnTo>
                  <a:lnTo>
                    <a:pt x="124" y="85"/>
                  </a:lnTo>
                  <a:lnTo>
                    <a:pt x="124" y="87"/>
                  </a:lnTo>
                  <a:lnTo>
                    <a:pt x="126" y="89"/>
                  </a:lnTo>
                  <a:lnTo>
                    <a:pt x="126" y="95"/>
                  </a:lnTo>
                  <a:lnTo>
                    <a:pt x="126" y="97"/>
                  </a:lnTo>
                  <a:lnTo>
                    <a:pt x="124" y="99"/>
                  </a:lnTo>
                  <a:lnTo>
                    <a:pt x="122" y="99"/>
                  </a:lnTo>
                  <a:lnTo>
                    <a:pt x="122" y="101"/>
                  </a:lnTo>
                  <a:lnTo>
                    <a:pt x="119" y="101"/>
                  </a:lnTo>
                  <a:lnTo>
                    <a:pt x="117" y="99"/>
                  </a:lnTo>
                  <a:lnTo>
                    <a:pt x="117" y="99"/>
                  </a:lnTo>
                  <a:lnTo>
                    <a:pt x="115" y="97"/>
                  </a:lnTo>
                  <a:lnTo>
                    <a:pt x="115" y="97"/>
                  </a:lnTo>
                  <a:lnTo>
                    <a:pt x="113" y="99"/>
                  </a:lnTo>
                  <a:lnTo>
                    <a:pt x="111" y="97"/>
                  </a:lnTo>
                  <a:lnTo>
                    <a:pt x="109" y="97"/>
                  </a:lnTo>
                  <a:lnTo>
                    <a:pt x="109" y="97"/>
                  </a:lnTo>
                  <a:lnTo>
                    <a:pt x="109" y="99"/>
                  </a:lnTo>
                  <a:lnTo>
                    <a:pt x="107" y="99"/>
                  </a:lnTo>
                  <a:lnTo>
                    <a:pt x="103" y="101"/>
                  </a:lnTo>
                  <a:lnTo>
                    <a:pt x="101" y="101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5" y="105"/>
                  </a:lnTo>
                  <a:lnTo>
                    <a:pt x="103" y="107"/>
                  </a:lnTo>
                  <a:lnTo>
                    <a:pt x="103" y="107"/>
                  </a:lnTo>
                  <a:lnTo>
                    <a:pt x="101" y="107"/>
                  </a:lnTo>
                  <a:lnTo>
                    <a:pt x="97" y="107"/>
                  </a:lnTo>
                  <a:lnTo>
                    <a:pt x="95" y="107"/>
                  </a:lnTo>
                  <a:lnTo>
                    <a:pt x="93" y="107"/>
                  </a:lnTo>
                  <a:lnTo>
                    <a:pt x="91" y="107"/>
                  </a:lnTo>
                  <a:lnTo>
                    <a:pt x="91" y="107"/>
                  </a:lnTo>
                  <a:lnTo>
                    <a:pt x="89" y="109"/>
                  </a:lnTo>
                  <a:lnTo>
                    <a:pt x="89" y="111"/>
                  </a:lnTo>
                  <a:lnTo>
                    <a:pt x="87" y="111"/>
                  </a:lnTo>
                  <a:lnTo>
                    <a:pt x="87" y="111"/>
                  </a:lnTo>
                  <a:lnTo>
                    <a:pt x="87" y="114"/>
                  </a:lnTo>
                  <a:lnTo>
                    <a:pt x="85" y="114"/>
                  </a:lnTo>
                  <a:lnTo>
                    <a:pt x="85" y="116"/>
                  </a:lnTo>
                  <a:lnTo>
                    <a:pt x="85" y="120"/>
                  </a:lnTo>
                  <a:lnTo>
                    <a:pt x="85" y="122"/>
                  </a:lnTo>
                  <a:lnTo>
                    <a:pt x="85" y="124"/>
                  </a:lnTo>
                  <a:lnTo>
                    <a:pt x="85" y="126"/>
                  </a:lnTo>
                  <a:lnTo>
                    <a:pt x="85" y="128"/>
                  </a:lnTo>
                  <a:lnTo>
                    <a:pt x="85" y="130"/>
                  </a:lnTo>
                  <a:lnTo>
                    <a:pt x="87" y="130"/>
                  </a:lnTo>
                  <a:lnTo>
                    <a:pt x="87" y="132"/>
                  </a:lnTo>
                  <a:lnTo>
                    <a:pt x="85" y="132"/>
                  </a:lnTo>
                  <a:lnTo>
                    <a:pt x="85" y="134"/>
                  </a:lnTo>
                  <a:lnTo>
                    <a:pt x="80" y="134"/>
                  </a:lnTo>
                  <a:lnTo>
                    <a:pt x="76" y="136"/>
                  </a:lnTo>
                  <a:lnTo>
                    <a:pt x="74" y="136"/>
                  </a:lnTo>
                  <a:lnTo>
                    <a:pt x="70" y="138"/>
                  </a:lnTo>
                  <a:lnTo>
                    <a:pt x="68" y="138"/>
                  </a:lnTo>
                  <a:lnTo>
                    <a:pt x="66" y="138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0" y="138"/>
                  </a:lnTo>
                  <a:lnTo>
                    <a:pt x="58" y="138"/>
                  </a:lnTo>
                  <a:lnTo>
                    <a:pt x="56" y="140"/>
                  </a:lnTo>
                  <a:lnTo>
                    <a:pt x="54" y="140"/>
                  </a:lnTo>
                  <a:lnTo>
                    <a:pt x="54" y="140"/>
                  </a:lnTo>
                  <a:lnTo>
                    <a:pt x="54" y="142"/>
                  </a:lnTo>
                  <a:lnTo>
                    <a:pt x="52" y="140"/>
                  </a:lnTo>
                  <a:lnTo>
                    <a:pt x="43" y="140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1" y="138"/>
                  </a:lnTo>
                  <a:lnTo>
                    <a:pt x="13" y="136"/>
                  </a:lnTo>
                  <a:lnTo>
                    <a:pt x="7" y="134"/>
                  </a:lnTo>
                  <a:lnTo>
                    <a:pt x="0" y="132"/>
                  </a:lnTo>
                  <a:lnTo>
                    <a:pt x="4" y="136"/>
                  </a:lnTo>
                  <a:lnTo>
                    <a:pt x="7" y="138"/>
                  </a:lnTo>
                  <a:lnTo>
                    <a:pt x="11" y="142"/>
                  </a:lnTo>
                  <a:lnTo>
                    <a:pt x="11" y="142"/>
                  </a:lnTo>
                  <a:lnTo>
                    <a:pt x="11" y="144"/>
                  </a:lnTo>
                  <a:lnTo>
                    <a:pt x="13" y="149"/>
                  </a:lnTo>
                  <a:lnTo>
                    <a:pt x="15" y="151"/>
                  </a:lnTo>
                  <a:lnTo>
                    <a:pt x="17" y="153"/>
                  </a:lnTo>
                  <a:lnTo>
                    <a:pt x="19" y="155"/>
                  </a:lnTo>
                  <a:lnTo>
                    <a:pt x="21" y="157"/>
                  </a:lnTo>
                  <a:lnTo>
                    <a:pt x="23" y="159"/>
                  </a:lnTo>
                  <a:lnTo>
                    <a:pt x="25" y="159"/>
                  </a:lnTo>
                  <a:lnTo>
                    <a:pt x="29" y="159"/>
                  </a:lnTo>
                  <a:lnTo>
                    <a:pt x="29" y="161"/>
                  </a:lnTo>
                  <a:lnTo>
                    <a:pt x="31" y="163"/>
                  </a:lnTo>
                  <a:lnTo>
                    <a:pt x="33" y="163"/>
                  </a:lnTo>
                  <a:lnTo>
                    <a:pt x="35" y="163"/>
                  </a:lnTo>
                  <a:lnTo>
                    <a:pt x="35" y="163"/>
                  </a:lnTo>
                  <a:lnTo>
                    <a:pt x="35" y="163"/>
                  </a:lnTo>
                  <a:lnTo>
                    <a:pt x="35" y="167"/>
                  </a:lnTo>
                  <a:lnTo>
                    <a:pt x="35" y="171"/>
                  </a:lnTo>
                  <a:lnTo>
                    <a:pt x="37" y="177"/>
                  </a:lnTo>
                  <a:lnTo>
                    <a:pt x="37" y="177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37" y="181"/>
                  </a:lnTo>
                  <a:lnTo>
                    <a:pt x="37" y="181"/>
                  </a:lnTo>
                  <a:lnTo>
                    <a:pt x="37" y="181"/>
                  </a:lnTo>
                  <a:lnTo>
                    <a:pt x="39" y="181"/>
                  </a:lnTo>
                  <a:lnTo>
                    <a:pt x="43" y="181"/>
                  </a:lnTo>
                  <a:lnTo>
                    <a:pt x="43" y="181"/>
                  </a:lnTo>
                  <a:lnTo>
                    <a:pt x="46" y="181"/>
                  </a:lnTo>
                  <a:lnTo>
                    <a:pt x="46" y="183"/>
                  </a:lnTo>
                  <a:lnTo>
                    <a:pt x="46" y="183"/>
                  </a:lnTo>
                  <a:lnTo>
                    <a:pt x="46" y="183"/>
                  </a:lnTo>
                  <a:lnTo>
                    <a:pt x="46" y="186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46" y="192"/>
                  </a:lnTo>
                  <a:lnTo>
                    <a:pt x="46" y="192"/>
                  </a:lnTo>
                  <a:lnTo>
                    <a:pt x="43" y="192"/>
                  </a:lnTo>
                  <a:lnTo>
                    <a:pt x="39" y="192"/>
                  </a:lnTo>
                  <a:lnTo>
                    <a:pt x="37" y="192"/>
                  </a:lnTo>
                  <a:lnTo>
                    <a:pt x="37" y="194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1" y="194"/>
                  </a:lnTo>
                  <a:lnTo>
                    <a:pt x="31" y="196"/>
                  </a:lnTo>
                  <a:lnTo>
                    <a:pt x="31" y="198"/>
                  </a:lnTo>
                  <a:lnTo>
                    <a:pt x="31" y="198"/>
                  </a:lnTo>
                  <a:lnTo>
                    <a:pt x="29" y="198"/>
                  </a:lnTo>
                  <a:lnTo>
                    <a:pt x="29" y="198"/>
                  </a:lnTo>
                  <a:lnTo>
                    <a:pt x="25" y="200"/>
                  </a:lnTo>
                  <a:lnTo>
                    <a:pt x="25" y="200"/>
                  </a:lnTo>
                  <a:lnTo>
                    <a:pt x="25" y="200"/>
                  </a:lnTo>
                  <a:lnTo>
                    <a:pt x="25" y="204"/>
                  </a:lnTo>
                  <a:lnTo>
                    <a:pt x="25" y="206"/>
                  </a:lnTo>
                  <a:lnTo>
                    <a:pt x="23" y="206"/>
                  </a:lnTo>
                  <a:lnTo>
                    <a:pt x="23" y="208"/>
                  </a:lnTo>
                  <a:lnTo>
                    <a:pt x="23" y="208"/>
                  </a:lnTo>
                  <a:lnTo>
                    <a:pt x="23" y="210"/>
                  </a:lnTo>
                  <a:lnTo>
                    <a:pt x="23" y="212"/>
                  </a:lnTo>
                  <a:lnTo>
                    <a:pt x="23" y="216"/>
                  </a:lnTo>
                  <a:lnTo>
                    <a:pt x="23" y="218"/>
                  </a:lnTo>
                  <a:lnTo>
                    <a:pt x="23" y="218"/>
                  </a:lnTo>
                  <a:lnTo>
                    <a:pt x="25" y="220"/>
                  </a:lnTo>
                  <a:lnTo>
                    <a:pt x="27" y="220"/>
                  </a:lnTo>
                  <a:lnTo>
                    <a:pt x="31" y="218"/>
                  </a:lnTo>
                  <a:lnTo>
                    <a:pt x="31" y="218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33" y="220"/>
                  </a:lnTo>
                  <a:lnTo>
                    <a:pt x="35" y="218"/>
                  </a:lnTo>
                  <a:lnTo>
                    <a:pt x="35" y="218"/>
                  </a:lnTo>
                  <a:lnTo>
                    <a:pt x="37" y="218"/>
                  </a:lnTo>
                  <a:lnTo>
                    <a:pt x="39" y="216"/>
                  </a:lnTo>
                  <a:lnTo>
                    <a:pt x="46" y="218"/>
                  </a:lnTo>
                  <a:lnTo>
                    <a:pt x="48" y="218"/>
                  </a:lnTo>
                  <a:lnTo>
                    <a:pt x="50" y="218"/>
                  </a:lnTo>
                  <a:lnTo>
                    <a:pt x="52" y="218"/>
                  </a:lnTo>
                  <a:lnTo>
                    <a:pt x="52" y="216"/>
                  </a:lnTo>
                  <a:lnTo>
                    <a:pt x="54" y="216"/>
                  </a:lnTo>
                  <a:lnTo>
                    <a:pt x="56" y="214"/>
                  </a:lnTo>
                  <a:lnTo>
                    <a:pt x="60" y="216"/>
                  </a:lnTo>
                  <a:lnTo>
                    <a:pt x="60" y="216"/>
                  </a:lnTo>
                  <a:lnTo>
                    <a:pt x="62" y="214"/>
                  </a:lnTo>
                  <a:lnTo>
                    <a:pt x="62" y="214"/>
                  </a:lnTo>
                  <a:lnTo>
                    <a:pt x="62" y="216"/>
                  </a:lnTo>
                  <a:lnTo>
                    <a:pt x="70" y="218"/>
                  </a:lnTo>
                  <a:lnTo>
                    <a:pt x="70" y="218"/>
                  </a:lnTo>
                  <a:lnTo>
                    <a:pt x="70" y="218"/>
                  </a:lnTo>
                  <a:lnTo>
                    <a:pt x="72" y="216"/>
                  </a:lnTo>
                  <a:lnTo>
                    <a:pt x="76" y="216"/>
                  </a:lnTo>
                  <a:lnTo>
                    <a:pt x="83" y="214"/>
                  </a:lnTo>
                  <a:lnTo>
                    <a:pt x="87" y="216"/>
                  </a:lnTo>
                  <a:lnTo>
                    <a:pt x="91" y="214"/>
                  </a:lnTo>
                  <a:lnTo>
                    <a:pt x="95" y="214"/>
                  </a:lnTo>
                  <a:lnTo>
                    <a:pt x="97" y="214"/>
                  </a:lnTo>
                  <a:lnTo>
                    <a:pt x="99" y="214"/>
                  </a:lnTo>
                  <a:lnTo>
                    <a:pt x="99" y="214"/>
                  </a:lnTo>
                  <a:lnTo>
                    <a:pt x="99" y="212"/>
                  </a:lnTo>
                  <a:lnTo>
                    <a:pt x="97" y="212"/>
                  </a:lnTo>
                  <a:lnTo>
                    <a:pt x="93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7" y="210"/>
                  </a:lnTo>
                  <a:lnTo>
                    <a:pt x="99" y="212"/>
                  </a:lnTo>
                  <a:lnTo>
                    <a:pt x="101" y="212"/>
                  </a:lnTo>
                  <a:lnTo>
                    <a:pt x="101" y="214"/>
                  </a:lnTo>
                  <a:lnTo>
                    <a:pt x="103" y="218"/>
                  </a:lnTo>
                  <a:lnTo>
                    <a:pt x="103" y="220"/>
                  </a:lnTo>
                  <a:lnTo>
                    <a:pt x="103" y="223"/>
                  </a:lnTo>
                  <a:lnTo>
                    <a:pt x="103" y="225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3" y="233"/>
                  </a:lnTo>
                  <a:lnTo>
                    <a:pt x="115" y="235"/>
                  </a:lnTo>
                  <a:lnTo>
                    <a:pt x="115" y="237"/>
                  </a:lnTo>
                  <a:lnTo>
                    <a:pt x="115" y="239"/>
                  </a:lnTo>
                  <a:lnTo>
                    <a:pt x="117" y="239"/>
                  </a:lnTo>
                  <a:lnTo>
                    <a:pt x="117" y="239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19" y="243"/>
                  </a:lnTo>
                  <a:lnTo>
                    <a:pt x="122" y="241"/>
                  </a:lnTo>
                  <a:lnTo>
                    <a:pt x="122" y="243"/>
                  </a:lnTo>
                  <a:lnTo>
                    <a:pt x="122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8" y="243"/>
                  </a:lnTo>
                  <a:lnTo>
                    <a:pt x="128" y="243"/>
                  </a:lnTo>
                  <a:lnTo>
                    <a:pt x="128" y="245"/>
                  </a:lnTo>
                  <a:lnTo>
                    <a:pt x="130" y="245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1"/>
                  </a:lnTo>
                  <a:lnTo>
                    <a:pt x="132" y="241"/>
                  </a:lnTo>
                  <a:lnTo>
                    <a:pt x="134" y="241"/>
                  </a:lnTo>
                  <a:lnTo>
                    <a:pt x="136" y="241"/>
                  </a:lnTo>
                  <a:lnTo>
                    <a:pt x="138" y="241"/>
                  </a:lnTo>
                  <a:lnTo>
                    <a:pt x="138" y="235"/>
                  </a:lnTo>
                  <a:lnTo>
                    <a:pt x="138" y="235"/>
                  </a:lnTo>
                  <a:lnTo>
                    <a:pt x="138" y="235"/>
                  </a:lnTo>
                  <a:lnTo>
                    <a:pt x="138" y="235"/>
                  </a:lnTo>
                  <a:lnTo>
                    <a:pt x="138" y="235"/>
                  </a:lnTo>
                  <a:lnTo>
                    <a:pt x="138" y="235"/>
                  </a:lnTo>
                  <a:lnTo>
                    <a:pt x="140" y="235"/>
                  </a:lnTo>
                  <a:lnTo>
                    <a:pt x="140" y="235"/>
                  </a:lnTo>
                  <a:lnTo>
                    <a:pt x="140" y="235"/>
                  </a:lnTo>
                  <a:lnTo>
                    <a:pt x="142" y="235"/>
                  </a:lnTo>
                  <a:lnTo>
                    <a:pt x="144" y="235"/>
                  </a:lnTo>
                  <a:lnTo>
                    <a:pt x="144" y="235"/>
                  </a:lnTo>
                  <a:lnTo>
                    <a:pt x="148" y="235"/>
                  </a:lnTo>
                  <a:lnTo>
                    <a:pt x="150" y="235"/>
                  </a:lnTo>
                  <a:lnTo>
                    <a:pt x="152" y="237"/>
                  </a:lnTo>
                  <a:lnTo>
                    <a:pt x="152" y="237"/>
                  </a:lnTo>
                  <a:lnTo>
                    <a:pt x="154" y="237"/>
                  </a:lnTo>
                  <a:lnTo>
                    <a:pt x="156" y="237"/>
                  </a:lnTo>
                  <a:lnTo>
                    <a:pt x="158" y="237"/>
                  </a:lnTo>
                  <a:lnTo>
                    <a:pt x="158" y="237"/>
                  </a:lnTo>
                  <a:lnTo>
                    <a:pt x="158" y="235"/>
                  </a:lnTo>
                  <a:lnTo>
                    <a:pt x="161" y="235"/>
                  </a:lnTo>
                  <a:lnTo>
                    <a:pt x="165" y="233"/>
                  </a:lnTo>
                  <a:lnTo>
                    <a:pt x="165" y="233"/>
                  </a:lnTo>
                  <a:lnTo>
                    <a:pt x="167" y="233"/>
                  </a:lnTo>
                  <a:lnTo>
                    <a:pt x="167" y="235"/>
                  </a:lnTo>
                  <a:lnTo>
                    <a:pt x="167" y="235"/>
                  </a:lnTo>
                  <a:lnTo>
                    <a:pt x="167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1" y="235"/>
                  </a:lnTo>
                  <a:lnTo>
                    <a:pt x="171" y="235"/>
                  </a:lnTo>
                  <a:lnTo>
                    <a:pt x="171" y="235"/>
                  </a:lnTo>
                  <a:lnTo>
                    <a:pt x="173" y="235"/>
                  </a:lnTo>
                  <a:lnTo>
                    <a:pt x="173" y="233"/>
                  </a:lnTo>
                  <a:lnTo>
                    <a:pt x="173" y="233"/>
                  </a:lnTo>
                  <a:lnTo>
                    <a:pt x="173" y="233"/>
                  </a:lnTo>
                  <a:lnTo>
                    <a:pt x="173" y="231"/>
                  </a:lnTo>
                  <a:lnTo>
                    <a:pt x="173" y="231"/>
                  </a:lnTo>
                  <a:lnTo>
                    <a:pt x="171" y="231"/>
                  </a:lnTo>
                  <a:lnTo>
                    <a:pt x="171" y="229"/>
                  </a:lnTo>
                  <a:lnTo>
                    <a:pt x="173" y="229"/>
                  </a:lnTo>
                  <a:lnTo>
                    <a:pt x="173" y="229"/>
                  </a:lnTo>
                  <a:lnTo>
                    <a:pt x="173" y="227"/>
                  </a:lnTo>
                  <a:lnTo>
                    <a:pt x="171" y="225"/>
                  </a:lnTo>
                  <a:lnTo>
                    <a:pt x="169" y="220"/>
                  </a:lnTo>
                  <a:lnTo>
                    <a:pt x="169" y="218"/>
                  </a:lnTo>
                  <a:lnTo>
                    <a:pt x="167" y="216"/>
                  </a:lnTo>
                  <a:lnTo>
                    <a:pt x="165" y="214"/>
                  </a:lnTo>
                  <a:lnTo>
                    <a:pt x="165" y="210"/>
                  </a:lnTo>
                  <a:lnTo>
                    <a:pt x="165" y="210"/>
                  </a:lnTo>
                  <a:lnTo>
                    <a:pt x="165" y="210"/>
                  </a:lnTo>
                  <a:lnTo>
                    <a:pt x="163" y="210"/>
                  </a:lnTo>
                  <a:lnTo>
                    <a:pt x="163" y="210"/>
                  </a:lnTo>
                  <a:lnTo>
                    <a:pt x="161" y="210"/>
                  </a:lnTo>
                  <a:lnTo>
                    <a:pt x="158" y="210"/>
                  </a:lnTo>
                  <a:lnTo>
                    <a:pt x="158" y="210"/>
                  </a:lnTo>
                  <a:lnTo>
                    <a:pt x="154" y="206"/>
                  </a:lnTo>
                  <a:lnTo>
                    <a:pt x="154" y="204"/>
                  </a:lnTo>
                  <a:lnTo>
                    <a:pt x="154" y="202"/>
                  </a:lnTo>
                  <a:lnTo>
                    <a:pt x="154" y="200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4"/>
                  </a:lnTo>
                  <a:lnTo>
                    <a:pt x="154" y="194"/>
                  </a:lnTo>
                  <a:lnTo>
                    <a:pt x="152" y="194"/>
                  </a:lnTo>
                  <a:lnTo>
                    <a:pt x="150" y="194"/>
                  </a:lnTo>
                  <a:lnTo>
                    <a:pt x="148" y="192"/>
                  </a:lnTo>
                  <a:lnTo>
                    <a:pt x="146" y="192"/>
                  </a:lnTo>
                  <a:lnTo>
                    <a:pt x="144" y="190"/>
                  </a:lnTo>
                  <a:lnTo>
                    <a:pt x="144" y="190"/>
                  </a:lnTo>
                  <a:lnTo>
                    <a:pt x="144" y="190"/>
                  </a:lnTo>
                  <a:lnTo>
                    <a:pt x="144" y="186"/>
                  </a:lnTo>
                  <a:lnTo>
                    <a:pt x="144" y="183"/>
                  </a:lnTo>
                  <a:lnTo>
                    <a:pt x="144" y="181"/>
                  </a:lnTo>
                  <a:lnTo>
                    <a:pt x="144" y="181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8" y="177"/>
                  </a:lnTo>
                  <a:lnTo>
                    <a:pt x="150" y="173"/>
                  </a:lnTo>
                  <a:lnTo>
                    <a:pt x="152" y="169"/>
                  </a:lnTo>
                  <a:lnTo>
                    <a:pt x="152" y="169"/>
                  </a:lnTo>
                  <a:lnTo>
                    <a:pt x="152" y="169"/>
                  </a:lnTo>
                  <a:lnTo>
                    <a:pt x="154" y="167"/>
                  </a:lnTo>
                  <a:lnTo>
                    <a:pt x="154" y="167"/>
                  </a:lnTo>
                  <a:lnTo>
                    <a:pt x="156" y="167"/>
                  </a:lnTo>
                  <a:lnTo>
                    <a:pt x="158" y="167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61" y="171"/>
                  </a:lnTo>
                  <a:lnTo>
                    <a:pt x="161" y="171"/>
                  </a:lnTo>
                  <a:lnTo>
                    <a:pt x="163" y="173"/>
                  </a:lnTo>
                  <a:lnTo>
                    <a:pt x="163" y="173"/>
                  </a:lnTo>
                  <a:lnTo>
                    <a:pt x="167" y="171"/>
                  </a:lnTo>
                  <a:lnTo>
                    <a:pt x="169" y="169"/>
                  </a:lnTo>
                  <a:lnTo>
                    <a:pt x="173" y="169"/>
                  </a:lnTo>
                  <a:lnTo>
                    <a:pt x="175" y="169"/>
                  </a:lnTo>
                  <a:lnTo>
                    <a:pt x="179" y="167"/>
                  </a:lnTo>
                  <a:lnTo>
                    <a:pt x="179" y="167"/>
                  </a:lnTo>
                  <a:lnTo>
                    <a:pt x="179" y="163"/>
                  </a:lnTo>
                  <a:lnTo>
                    <a:pt x="181" y="161"/>
                  </a:lnTo>
                  <a:lnTo>
                    <a:pt x="181" y="159"/>
                  </a:lnTo>
                  <a:lnTo>
                    <a:pt x="181" y="157"/>
                  </a:lnTo>
                  <a:lnTo>
                    <a:pt x="183" y="155"/>
                  </a:lnTo>
                  <a:lnTo>
                    <a:pt x="183" y="153"/>
                  </a:lnTo>
                  <a:lnTo>
                    <a:pt x="187" y="151"/>
                  </a:lnTo>
                  <a:lnTo>
                    <a:pt x="191" y="149"/>
                  </a:lnTo>
                  <a:lnTo>
                    <a:pt x="191" y="146"/>
                  </a:lnTo>
                  <a:lnTo>
                    <a:pt x="193" y="142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4"/>
                  </a:lnTo>
                  <a:lnTo>
                    <a:pt x="195" y="132"/>
                  </a:lnTo>
                  <a:lnTo>
                    <a:pt x="197" y="130"/>
                  </a:lnTo>
                  <a:lnTo>
                    <a:pt x="200" y="130"/>
                  </a:lnTo>
                  <a:lnTo>
                    <a:pt x="202" y="128"/>
                  </a:lnTo>
                  <a:lnTo>
                    <a:pt x="204" y="128"/>
                  </a:lnTo>
                  <a:lnTo>
                    <a:pt x="204" y="126"/>
                  </a:lnTo>
                  <a:lnTo>
                    <a:pt x="204" y="126"/>
                  </a:lnTo>
                  <a:lnTo>
                    <a:pt x="202" y="124"/>
                  </a:lnTo>
                  <a:lnTo>
                    <a:pt x="202" y="124"/>
                  </a:lnTo>
                  <a:lnTo>
                    <a:pt x="202" y="122"/>
                  </a:lnTo>
                  <a:lnTo>
                    <a:pt x="204" y="122"/>
                  </a:lnTo>
                  <a:lnTo>
                    <a:pt x="206" y="116"/>
                  </a:lnTo>
                  <a:lnTo>
                    <a:pt x="208" y="114"/>
                  </a:lnTo>
                  <a:lnTo>
                    <a:pt x="208" y="114"/>
                  </a:lnTo>
                  <a:lnTo>
                    <a:pt x="210" y="114"/>
                  </a:lnTo>
                  <a:lnTo>
                    <a:pt x="212" y="111"/>
                  </a:lnTo>
                  <a:lnTo>
                    <a:pt x="212" y="111"/>
                  </a:lnTo>
                  <a:lnTo>
                    <a:pt x="212" y="109"/>
                  </a:lnTo>
                  <a:lnTo>
                    <a:pt x="210" y="109"/>
                  </a:lnTo>
                  <a:lnTo>
                    <a:pt x="210" y="109"/>
                  </a:lnTo>
                  <a:lnTo>
                    <a:pt x="210" y="107"/>
                  </a:lnTo>
                  <a:lnTo>
                    <a:pt x="210" y="103"/>
                  </a:lnTo>
                  <a:lnTo>
                    <a:pt x="210" y="103"/>
                  </a:lnTo>
                  <a:lnTo>
                    <a:pt x="208" y="99"/>
                  </a:lnTo>
                  <a:lnTo>
                    <a:pt x="208" y="97"/>
                  </a:lnTo>
                  <a:lnTo>
                    <a:pt x="208" y="97"/>
                  </a:lnTo>
                  <a:lnTo>
                    <a:pt x="210" y="95"/>
                  </a:lnTo>
                  <a:lnTo>
                    <a:pt x="210" y="95"/>
                  </a:lnTo>
                  <a:lnTo>
                    <a:pt x="216" y="93"/>
                  </a:lnTo>
                  <a:lnTo>
                    <a:pt x="216" y="91"/>
                  </a:lnTo>
                  <a:lnTo>
                    <a:pt x="218" y="91"/>
                  </a:lnTo>
                  <a:lnTo>
                    <a:pt x="218" y="89"/>
                  </a:lnTo>
                  <a:lnTo>
                    <a:pt x="218" y="89"/>
                  </a:lnTo>
                  <a:lnTo>
                    <a:pt x="218" y="89"/>
                  </a:lnTo>
                  <a:lnTo>
                    <a:pt x="216" y="87"/>
                  </a:lnTo>
                  <a:lnTo>
                    <a:pt x="214" y="87"/>
                  </a:lnTo>
                  <a:lnTo>
                    <a:pt x="212" y="85"/>
                  </a:lnTo>
                  <a:lnTo>
                    <a:pt x="210" y="85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6" y="83"/>
                  </a:lnTo>
                  <a:lnTo>
                    <a:pt x="206" y="81"/>
                  </a:lnTo>
                  <a:lnTo>
                    <a:pt x="206" y="81"/>
                  </a:lnTo>
                  <a:lnTo>
                    <a:pt x="206" y="81"/>
                  </a:lnTo>
                  <a:lnTo>
                    <a:pt x="204" y="81"/>
                  </a:lnTo>
                  <a:lnTo>
                    <a:pt x="202" y="81"/>
                  </a:lnTo>
                  <a:lnTo>
                    <a:pt x="202" y="79"/>
                  </a:lnTo>
                  <a:lnTo>
                    <a:pt x="202" y="79"/>
                  </a:lnTo>
                  <a:lnTo>
                    <a:pt x="200" y="77"/>
                  </a:lnTo>
                  <a:lnTo>
                    <a:pt x="200" y="77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197" y="74"/>
                  </a:lnTo>
                  <a:lnTo>
                    <a:pt x="195" y="72"/>
                  </a:lnTo>
                  <a:lnTo>
                    <a:pt x="195" y="72"/>
                  </a:lnTo>
                  <a:lnTo>
                    <a:pt x="193" y="72"/>
                  </a:lnTo>
                  <a:lnTo>
                    <a:pt x="193" y="70"/>
                  </a:lnTo>
                  <a:lnTo>
                    <a:pt x="195" y="70"/>
                  </a:lnTo>
                  <a:lnTo>
                    <a:pt x="195" y="68"/>
                  </a:lnTo>
                  <a:lnTo>
                    <a:pt x="195" y="66"/>
                  </a:lnTo>
                  <a:lnTo>
                    <a:pt x="195" y="66"/>
                  </a:lnTo>
                  <a:lnTo>
                    <a:pt x="195" y="66"/>
                  </a:lnTo>
                  <a:lnTo>
                    <a:pt x="193" y="64"/>
                  </a:lnTo>
                  <a:lnTo>
                    <a:pt x="193" y="64"/>
                  </a:lnTo>
                  <a:lnTo>
                    <a:pt x="193" y="64"/>
                  </a:lnTo>
                  <a:lnTo>
                    <a:pt x="191" y="62"/>
                  </a:lnTo>
                  <a:lnTo>
                    <a:pt x="193" y="60"/>
                  </a:lnTo>
                  <a:lnTo>
                    <a:pt x="193" y="60"/>
                  </a:lnTo>
                  <a:lnTo>
                    <a:pt x="195" y="60"/>
                  </a:lnTo>
                  <a:lnTo>
                    <a:pt x="195" y="58"/>
                  </a:lnTo>
                  <a:lnTo>
                    <a:pt x="195" y="58"/>
                  </a:lnTo>
                  <a:lnTo>
                    <a:pt x="195" y="58"/>
                  </a:lnTo>
                  <a:lnTo>
                    <a:pt x="193" y="58"/>
                  </a:lnTo>
                  <a:lnTo>
                    <a:pt x="191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4"/>
                  </a:lnTo>
                  <a:lnTo>
                    <a:pt x="191" y="54"/>
                  </a:lnTo>
                  <a:lnTo>
                    <a:pt x="189" y="52"/>
                  </a:lnTo>
                  <a:lnTo>
                    <a:pt x="189" y="52"/>
                  </a:lnTo>
                  <a:lnTo>
                    <a:pt x="187" y="52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48"/>
                  </a:lnTo>
                  <a:lnTo>
                    <a:pt x="187" y="48"/>
                  </a:lnTo>
                  <a:lnTo>
                    <a:pt x="189" y="46"/>
                  </a:lnTo>
                  <a:lnTo>
                    <a:pt x="189" y="44"/>
                  </a:lnTo>
                  <a:lnTo>
                    <a:pt x="191" y="44"/>
                  </a:lnTo>
                  <a:lnTo>
                    <a:pt x="193" y="44"/>
                  </a:lnTo>
                  <a:lnTo>
                    <a:pt x="195" y="44"/>
                  </a:lnTo>
                  <a:lnTo>
                    <a:pt x="197" y="44"/>
                  </a:lnTo>
                  <a:lnTo>
                    <a:pt x="202" y="44"/>
                  </a:lnTo>
                  <a:lnTo>
                    <a:pt x="204" y="46"/>
                  </a:lnTo>
                  <a:lnTo>
                    <a:pt x="206" y="46"/>
                  </a:lnTo>
                  <a:lnTo>
                    <a:pt x="208" y="46"/>
                  </a:lnTo>
                  <a:lnTo>
                    <a:pt x="208" y="46"/>
                  </a:lnTo>
                  <a:lnTo>
                    <a:pt x="212" y="48"/>
                  </a:lnTo>
                  <a:lnTo>
                    <a:pt x="214" y="48"/>
                  </a:lnTo>
                  <a:lnTo>
                    <a:pt x="216" y="48"/>
                  </a:lnTo>
                  <a:lnTo>
                    <a:pt x="218" y="48"/>
                  </a:lnTo>
                  <a:lnTo>
                    <a:pt x="218" y="46"/>
                  </a:lnTo>
                  <a:lnTo>
                    <a:pt x="220" y="46"/>
                  </a:lnTo>
                  <a:lnTo>
                    <a:pt x="222" y="46"/>
                  </a:lnTo>
                  <a:lnTo>
                    <a:pt x="226" y="44"/>
                  </a:lnTo>
                  <a:lnTo>
                    <a:pt x="226" y="44"/>
                  </a:lnTo>
                  <a:lnTo>
                    <a:pt x="228" y="44"/>
                  </a:lnTo>
                  <a:lnTo>
                    <a:pt x="230" y="42"/>
                  </a:lnTo>
                  <a:lnTo>
                    <a:pt x="230" y="42"/>
                  </a:lnTo>
                  <a:lnTo>
                    <a:pt x="230" y="42"/>
                  </a:lnTo>
                  <a:lnTo>
                    <a:pt x="230" y="40"/>
                  </a:lnTo>
                  <a:lnTo>
                    <a:pt x="232" y="40"/>
                  </a:lnTo>
                  <a:lnTo>
                    <a:pt x="234" y="40"/>
                  </a:lnTo>
                  <a:lnTo>
                    <a:pt x="234" y="37"/>
                  </a:lnTo>
                  <a:lnTo>
                    <a:pt x="234" y="37"/>
                  </a:lnTo>
                  <a:lnTo>
                    <a:pt x="232" y="3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0" name="Freeform 86">
              <a:extLst>
                <a:ext uri="{FF2B5EF4-FFF2-40B4-BE49-F238E27FC236}">
                  <a16:creationId xmlns:a16="http://schemas.microsoft.com/office/drawing/2014/main" id="{3578B2D7-049B-CF41-8706-0DEA3380AF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0172" y="3123807"/>
              <a:ext cx="16637" cy="102201"/>
            </a:xfrm>
            <a:custGeom>
              <a:avLst/>
              <a:gdLst>
                <a:gd name="T0" fmla="*/ 8 w 14"/>
                <a:gd name="T1" fmla="*/ 84 h 86"/>
                <a:gd name="T2" fmla="*/ 8 w 14"/>
                <a:gd name="T3" fmla="*/ 86 h 86"/>
                <a:gd name="T4" fmla="*/ 8 w 14"/>
                <a:gd name="T5" fmla="*/ 86 h 86"/>
                <a:gd name="T6" fmla="*/ 8 w 14"/>
                <a:gd name="T7" fmla="*/ 86 h 86"/>
                <a:gd name="T8" fmla="*/ 8 w 14"/>
                <a:gd name="T9" fmla="*/ 86 h 86"/>
                <a:gd name="T10" fmla="*/ 8 w 14"/>
                <a:gd name="T11" fmla="*/ 86 h 86"/>
                <a:gd name="T12" fmla="*/ 8 w 14"/>
                <a:gd name="T13" fmla="*/ 84 h 86"/>
                <a:gd name="T14" fmla="*/ 8 w 14"/>
                <a:gd name="T15" fmla="*/ 84 h 86"/>
                <a:gd name="T16" fmla="*/ 12 w 14"/>
                <a:gd name="T17" fmla="*/ 70 h 86"/>
                <a:gd name="T18" fmla="*/ 12 w 14"/>
                <a:gd name="T19" fmla="*/ 70 h 86"/>
                <a:gd name="T20" fmla="*/ 12 w 14"/>
                <a:gd name="T21" fmla="*/ 70 h 86"/>
                <a:gd name="T22" fmla="*/ 12 w 14"/>
                <a:gd name="T23" fmla="*/ 72 h 86"/>
                <a:gd name="T24" fmla="*/ 12 w 14"/>
                <a:gd name="T25" fmla="*/ 70 h 86"/>
                <a:gd name="T26" fmla="*/ 12 w 14"/>
                <a:gd name="T27" fmla="*/ 70 h 86"/>
                <a:gd name="T28" fmla="*/ 12 w 14"/>
                <a:gd name="T29" fmla="*/ 70 h 86"/>
                <a:gd name="T30" fmla="*/ 14 w 14"/>
                <a:gd name="T31" fmla="*/ 65 h 86"/>
                <a:gd name="T32" fmla="*/ 14 w 14"/>
                <a:gd name="T33" fmla="*/ 65 h 86"/>
                <a:gd name="T34" fmla="*/ 14 w 14"/>
                <a:gd name="T35" fmla="*/ 65 h 86"/>
                <a:gd name="T36" fmla="*/ 14 w 14"/>
                <a:gd name="T37" fmla="*/ 65 h 86"/>
                <a:gd name="T38" fmla="*/ 12 w 14"/>
                <a:gd name="T39" fmla="*/ 67 h 86"/>
                <a:gd name="T40" fmla="*/ 14 w 14"/>
                <a:gd name="T41" fmla="*/ 67 h 86"/>
                <a:gd name="T42" fmla="*/ 14 w 14"/>
                <a:gd name="T43" fmla="*/ 67 h 86"/>
                <a:gd name="T44" fmla="*/ 14 w 14"/>
                <a:gd name="T45" fmla="*/ 67 h 86"/>
                <a:gd name="T46" fmla="*/ 14 w 14"/>
                <a:gd name="T47" fmla="*/ 67 h 86"/>
                <a:gd name="T48" fmla="*/ 14 w 14"/>
                <a:gd name="T49" fmla="*/ 65 h 86"/>
                <a:gd name="T50" fmla="*/ 8 w 14"/>
                <a:gd name="T51" fmla="*/ 45 h 86"/>
                <a:gd name="T52" fmla="*/ 8 w 14"/>
                <a:gd name="T53" fmla="*/ 45 h 86"/>
                <a:gd name="T54" fmla="*/ 8 w 14"/>
                <a:gd name="T55" fmla="*/ 45 h 86"/>
                <a:gd name="T56" fmla="*/ 10 w 14"/>
                <a:gd name="T57" fmla="*/ 45 h 86"/>
                <a:gd name="T58" fmla="*/ 10 w 14"/>
                <a:gd name="T59" fmla="*/ 45 h 86"/>
                <a:gd name="T60" fmla="*/ 10 w 14"/>
                <a:gd name="T61" fmla="*/ 45 h 86"/>
                <a:gd name="T62" fmla="*/ 10 w 14"/>
                <a:gd name="T63" fmla="*/ 45 h 86"/>
                <a:gd name="T64" fmla="*/ 8 w 14"/>
                <a:gd name="T65" fmla="*/ 45 h 86"/>
                <a:gd name="T66" fmla="*/ 4 w 14"/>
                <a:gd name="T67" fmla="*/ 12 h 86"/>
                <a:gd name="T68" fmla="*/ 4 w 14"/>
                <a:gd name="T69" fmla="*/ 14 h 86"/>
                <a:gd name="T70" fmla="*/ 4 w 14"/>
                <a:gd name="T71" fmla="*/ 14 h 86"/>
                <a:gd name="T72" fmla="*/ 6 w 14"/>
                <a:gd name="T73" fmla="*/ 12 h 86"/>
                <a:gd name="T74" fmla="*/ 4 w 14"/>
                <a:gd name="T75" fmla="*/ 12 h 86"/>
                <a:gd name="T76" fmla="*/ 4 w 14"/>
                <a:gd name="T77" fmla="*/ 12 h 86"/>
                <a:gd name="T78" fmla="*/ 0 w 14"/>
                <a:gd name="T79" fmla="*/ 0 h 86"/>
                <a:gd name="T80" fmla="*/ 0 w 14"/>
                <a:gd name="T81" fmla="*/ 0 h 86"/>
                <a:gd name="T82" fmla="*/ 0 w 14"/>
                <a:gd name="T83" fmla="*/ 2 h 86"/>
                <a:gd name="T84" fmla="*/ 2 w 14"/>
                <a:gd name="T85" fmla="*/ 2 h 86"/>
                <a:gd name="T86" fmla="*/ 2 w 14"/>
                <a:gd name="T87" fmla="*/ 2 h 86"/>
                <a:gd name="T88" fmla="*/ 2 w 14"/>
                <a:gd name="T89" fmla="*/ 0 h 86"/>
                <a:gd name="T90" fmla="*/ 0 w 14"/>
                <a:gd name="T9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" h="86">
                  <a:moveTo>
                    <a:pt x="8" y="84"/>
                  </a:moveTo>
                  <a:lnTo>
                    <a:pt x="8" y="86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12" y="70"/>
                  </a:moveTo>
                  <a:lnTo>
                    <a:pt x="12" y="70"/>
                  </a:lnTo>
                  <a:lnTo>
                    <a:pt x="12" y="70"/>
                  </a:lnTo>
                  <a:lnTo>
                    <a:pt x="12" y="72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close/>
                  <a:moveTo>
                    <a:pt x="14" y="65"/>
                  </a:move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5"/>
                  </a:lnTo>
                  <a:close/>
                  <a:moveTo>
                    <a:pt x="8" y="45"/>
                  </a:moveTo>
                  <a:lnTo>
                    <a:pt x="8" y="45"/>
                  </a:lnTo>
                  <a:lnTo>
                    <a:pt x="8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8" y="45"/>
                  </a:lnTo>
                  <a:close/>
                  <a:moveTo>
                    <a:pt x="4" y="12"/>
                  </a:moveTo>
                  <a:lnTo>
                    <a:pt x="4" y="14"/>
                  </a:lnTo>
                  <a:lnTo>
                    <a:pt x="4" y="14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1" name="Freeform 87">
              <a:extLst>
                <a:ext uri="{FF2B5EF4-FFF2-40B4-BE49-F238E27FC236}">
                  <a16:creationId xmlns:a16="http://schemas.microsoft.com/office/drawing/2014/main" id="{A88D2244-C7DB-3844-A4B6-E6D476F312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0644" y="2598540"/>
              <a:ext cx="85564" cy="111708"/>
            </a:xfrm>
            <a:custGeom>
              <a:avLst/>
              <a:gdLst>
                <a:gd name="T0" fmla="*/ 12 w 72"/>
                <a:gd name="T1" fmla="*/ 59 h 94"/>
                <a:gd name="T2" fmla="*/ 72 w 72"/>
                <a:gd name="T3" fmla="*/ 12 h 94"/>
                <a:gd name="T4" fmla="*/ 68 w 72"/>
                <a:gd name="T5" fmla="*/ 8 h 94"/>
                <a:gd name="T6" fmla="*/ 62 w 72"/>
                <a:gd name="T7" fmla="*/ 4 h 94"/>
                <a:gd name="T8" fmla="*/ 58 w 72"/>
                <a:gd name="T9" fmla="*/ 0 h 94"/>
                <a:gd name="T10" fmla="*/ 54 w 72"/>
                <a:gd name="T11" fmla="*/ 0 h 94"/>
                <a:gd name="T12" fmla="*/ 56 w 72"/>
                <a:gd name="T13" fmla="*/ 8 h 94"/>
                <a:gd name="T14" fmla="*/ 56 w 72"/>
                <a:gd name="T15" fmla="*/ 10 h 94"/>
                <a:gd name="T16" fmla="*/ 51 w 72"/>
                <a:gd name="T17" fmla="*/ 10 h 94"/>
                <a:gd name="T18" fmla="*/ 49 w 72"/>
                <a:gd name="T19" fmla="*/ 14 h 94"/>
                <a:gd name="T20" fmla="*/ 45 w 72"/>
                <a:gd name="T21" fmla="*/ 16 h 94"/>
                <a:gd name="T22" fmla="*/ 37 w 72"/>
                <a:gd name="T23" fmla="*/ 18 h 94"/>
                <a:gd name="T24" fmla="*/ 41 w 72"/>
                <a:gd name="T25" fmla="*/ 22 h 94"/>
                <a:gd name="T26" fmla="*/ 43 w 72"/>
                <a:gd name="T27" fmla="*/ 26 h 94"/>
                <a:gd name="T28" fmla="*/ 39 w 72"/>
                <a:gd name="T29" fmla="*/ 26 h 94"/>
                <a:gd name="T30" fmla="*/ 29 w 72"/>
                <a:gd name="T31" fmla="*/ 26 h 94"/>
                <a:gd name="T32" fmla="*/ 25 w 72"/>
                <a:gd name="T33" fmla="*/ 22 h 94"/>
                <a:gd name="T34" fmla="*/ 21 w 72"/>
                <a:gd name="T35" fmla="*/ 22 h 94"/>
                <a:gd name="T36" fmla="*/ 19 w 72"/>
                <a:gd name="T37" fmla="*/ 24 h 94"/>
                <a:gd name="T38" fmla="*/ 19 w 72"/>
                <a:gd name="T39" fmla="*/ 28 h 94"/>
                <a:gd name="T40" fmla="*/ 17 w 72"/>
                <a:gd name="T41" fmla="*/ 35 h 94"/>
                <a:gd name="T42" fmla="*/ 12 w 72"/>
                <a:gd name="T43" fmla="*/ 39 h 94"/>
                <a:gd name="T44" fmla="*/ 10 w 72"/>
                <a:gd name="T45" fmla="*/ 41 h 94"/>
                <a:gd name="T46" fmla="*/ 6 w 72"/>
                <a:gd name="T47" fmla="*/ 45 h 94"/>
                <a:gd name="T48" fmla="*/ 2 w 72"/>
                <a:gd name="T49" fmla="*/ 47 h 94"/>
                <a:gd name="T50" fmla="*/ 0 w 72"/>
                <a:gd name="T51" fmla="*/ 53 h 94"/>
                <a:gd name="T52" fmla="*/ 8 w 72"/>
                <a:gd name="T53" fmla="*/ 59 h 94"/>
                <a:gd name="T54" fmla="*/ 15 w 72"/>
                <a:gd name="T55" fmla="*/ 59 h 94"/>
                <a:gd name="T56" fmla="*/ 21 w 72"/>
                <a:gd name="T57" fmla="*/ 65 h 94"/>
                <a:gd name="T58" fmla="*/ 27 w 72"/>
                <a:gd name="T59" fmla="*/ 76 h 94"/>
                <a:gd name="T60" fmla="*/ 23 w 72"/>
                <a:gd name="T61" fmla="*/ 78 h 94"/>
                <a:gd name="T62" fmla="*/ 21 w 72"/>
                <a:gd name="T63" fmla="*/ 86 h 94"/>
                <a:gd name="T64" fmla="*/ 29 w 72"/>
                <a:gd name="T65" fmla="*/ 88 h 94"/>
                <a:gd name="T66" fmla="*/ 29 w 72"/>
                <a:gd name="T67" fmla="*/ 90 h 94"/>
                <a:gd name="T68" fmla="*/ 35 w 72"/>
                <a:gd name="T69" fmla="*/ 94 h 94"/>
                <a:gd name="T70" fmla="*/ 41 w 72"/>
                <a:gd name="T71" fmla="*/ 90 h 94"/>
                <a:gd name="T72" fmla="*/ 47 w 72"/>
                <a:gd name="T73" fmla="*/ 90 h 94"/>
                <a:gd name="T74" fmla="*/ 54 w 72"/>
                <a:gd name="T75" fmla="*/ 92 h 94"/>
                <a:gd name="T76" fmla="*/ 54 w 72"/>
                <a:gd name="T77" fmla="*/ 84 h 94"/>
                <a:gd name="T78" fmla="*/ 62 w 72"/>
                <a:gd name="T79" fmla="*/ 82 h 94"/>
                <a:gd name="T80" fmla="*/ 70 w 72"/>
                <a:gd name="T81" fmla="*/ 82 h 94"/>
                <a:gd name="T82" fmla="*/ 72 w 72"/>
                <a:gd name="T83" fmla="*/ 78 h 94"/>
                <a:gd name="T84" fmla="*/ 64 w 72"/>
                <a:gd name="T85" fmla="*/ 72 h 94"/>
                <a:gd name="T86" fmla="*/ 51 w 72"/>
                <a:gd name="T87" fmla="*/ 65 h 94"/>
                <a:gd name="T88" fmla="*/ 51 w 72"/>
                <a:gd name="T89" fmla="*/ 61 h 94"/>
                <a:gd name="T90" fmla="*/ 54 w 72"/>
                <a:gd name="T91" fmla="*/ 51 h 94"/>
                <a:gd name="T92" fmla="*/ 62 w 72"/>
                <a:gd name="T93" fmla="*/ 49 h 94"/>
                <a:gd name="T94" fmla="*/ 66 w 72"/>
                <a:gd name="T95" fmla="*/ 41 h 94"/>
                <a:gd name="T96" fmla="*/ 68 w 72"/>
                <a:gd name="T97" fmla="*/ 30 h 94"/>
                <a:gd name="T98" fmla="*/ 66 w 72"/>
                <a:gd name="T99" fmla="*/ 20 h 94"/>
                <a:gd name="T100" fmla="*/ 68 w 72"/>
                <a:gd name="T101" fmla="*/ 1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" h="94">
                  <a:moveTo>
                    <a:pt x="10" y="59"/>
                  </a:moveTo>
                  <a:lnTo>
                    <a:pt x="10" y="59"/>
                  </a:lnTo>
                  <a:lnTo>
                    <a:pt x="10" y="61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0" y="59"/>
                  </a:lnTo>
                  <a:close/>
                  <a:moveTo>
                    <a:pt x="70" y="12"/>
                  </a:move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2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6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49" y="14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5" y="16"/>
                  </a:lnTo>
                  <a:lnTo>
                    <a:pt x="41" y="16"/>
                  </a:lnTo>
                  <a:lnTo>
                    <a:pt x="39" y="16"/>
                  </a:lnTo>
                  <a:lnTo>
                    <a:pt x="37" y="16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41" y="22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1" y="28"/>
                  </a:lnTo>
                  <a:lnTo>
                    <a:pt x="41" y="26"/>
                  </a:lnTo>
                  <a:lnTo>
                    <a:pt x="39" y="26"/>
                  </a:lnTo>
                  <a:lnTo>
                    <a:pt x="37" y="26"/>
                  </a:lnTo>
                  <a:lnTo>
                    <a:pt x="35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5" y="24"/>
                  </a:lnTo>
                  <a:lnTo>
                    <a:pt x="25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1" y="20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30"/>
                  </a:lnTo>
                  <a:lnTo>
                    <a:pt x="19" y="32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5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0" y="39"/>
                  </a:lnTo>
                  <a:lnTo>
                    <a:pt x="10" y="41"/>
                  </a:lnTo>
                  <a:lnTo>
                    <a:pt x="8" y="41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5"/>
                  </a:lnTo>
                  <a:lnTo>
                    <a:pt x="4" y="55"/>
                  </a:lnTo>
                  <a:lnTo>
                    <a:pt x="6" y="57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5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17" y="59"/>
                  </a:lnTo>
                  <a:lnTo>
                    <a:pt x="19" y="61"/>
                  </a:lnTo>
                  <a:lnTo>
                    <a:pt x="21" y="61"/>
                  </a:lnTo>
                  <a:lnTo>
                    <a:pt x="21" y="63"/>
                  </a:lnTo>
                  <a:lnTo>
                    <a:pt x="21" y="65"/>
                  </a:lnTo>
                  <a:lnTo>
                    <a:pt x="21" y="72"/>
                  </a:lnTo>
                  <a:lnTo>
                    <a:pt x="23" y="74"/>
                  </a:lnTo>
                  <a:lnTo>
                    <a:pt x="25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7" y="76"/>
                  </a:lnTo>
                  <a:lnTo>
                    <a:pt x="25" y="76"/>
                  </a:lnTo>
                  <a:lnTo>
                    <a:pt x="23" y="78"/>
                  </a:lnTo>
                  <a:lnTo>
                    <a:pt x="23" y="80"/>
                  </a:lnTo>
                  <a:lnTo>
                    <a:pt x="21" y="82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1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5" y="88"/>
                  </a:lnTo>
                  <a:lnTo>
                    <a:pt x="27" y="86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9" y="90"/>
                  </a:lnTo>
                  <a:lnTo>
                    <a:pt x="31" y="92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4"/>
                  </a:lnTo>
                  <a:lnTo>
                    <a:pt x="37" y="92"/>
                  </a:lnTo>
                  <a:lnTo>
                    <a:pt x="37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41" y="90"/>
                  </a:lnTo>
                  <a:lnTo>
                    <a:pt x="43" y="90"/>
                  </a:lnTo>
                  <a:lnTo>
                    <a:pt x="45" y="94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7" y="90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1" y="90"/>
                  </a:lnTo>
                  <a:lnTo>
                    <a:pt x="54" y="88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4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8" y="82"/>
                  </a:lnTo>
                  <a:lnTo>
                    <a:pt x="62" y="84"/>
                  </a:lnTo>
                  <a:lnTo>
                    <a:pt x="62" y="82"/>
                  </a:lnTo>
                  <a:lnTo>
                    <a:pt x="64" y="82"/>
                  </a:lnTo>
                  <a:lnTo>
                    <a:pt x="66" y="84"/>
                  </a:lnTo>
                  <a:lnTo>
                    <a:pt x="68" y="84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0" y="76"/>
                  </a:lnTo>
                  <a:lnTo>
                    <a:pt x="68" y="76"/>
                  </a:lnTo>
                  <a:lnTo>
                    <a:pt x="68" y="74"/>
                  </a:lnTo>
                  <a:lnTo>
                    <a:pt x="66" y="74"/>
                  </a:lnTo>
                  <a:lnTo>
                    <a:pt x="64" y="72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6" y="67"/>
                  </a:lnTo>
                  <a:lnTo>
                    <a:pt x="54" y="67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4" y="63"/>
                  </a:lnTo>
                  <a:lnTo>
                    <a:pt x="51" y="61"/>
                  </a:lnTo>
                  <a:lnTo>
                    <a:pt x="51" y="59"/>
                  </a:lnTo>
                  <a:lnTo>
                    <a:pt x="49" y="57"/>
                  </a:lnTo>
                  <a:lnTo>
                    <a:pt x="49" y="55"/>
                  </a:lnTo>
                  <a:lnTo>
                    <a:pt x="54" y="53"/>
                  </a:lnTo>
                  <a:lnTo>
                    <a:pt x="54" y="51"/>
                  </a:lnTo>
                  <a:lnTo>
                    <a:pt x="56" y="53"/>
                  </a:lnTo>
                  <a:lnTo>
                    <a:pt x="58" y="53"/>
                  </a:lnTo>
                  <a:lnTo>
                    <a:pt x="60" y="51"/>
                  </a:lnTo>
                  <a:lnTo>
                    <a:pt x="62" y="51"/>
                  </a:lnTo>
                  <a:lnTo>
                    <a:pt x="62" y="49"/>
                  </a:lnTo>
                  <a:lnTo>
                    <a:pt x="62" y="47"/>
                  </a:lnTo>
                  <a:lnTo>
                    <a:pt x="64" y="47"/>
                  </a:lnTo>
                  <a:lnTo>
                    <a:pt x="64" y="45"/>
                  </a:lnTo>
                  <a:lnTo>
                    <a:pt x="66" y="45"/>
                  </a:lnTo>
                  <a:lnTo>
                    <a:pt x="66" y="41"/>
                  </a:lnTo>
                  <a:lnTo>
                    <a:pt x="68" y="41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0" y="32"/>
                  </a:lnTo>
                  <a:lnTo>
                    <a:pt x="68" y="30"/>
                  </a:lnTo>
                  <a:lnTo>
                    <a:pt x="68" y="28"/>
                  </a:lnTo>
                  <a:lnTo>
                    <a:pt x="66" y="26"/>
                  </a:lnTo>
                  <a:lnTo>
                    <a:pt x="64" y="24"/>
                  </a:lnTo>
                  <a:lnTo>
                    <a:pt x="64" y="22"/>
                  </a:lnTo>
                  <a:lnTo>
                    <a:pt x="66" y="20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6"/>
                  </a:lnTo>
                  <a:lnTo>
                    <a:pt x="68" y="16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70" y="1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2" name="Freeform 88">
              <a:extLst>
                <a:ext uri="{FF2B5EF4-FFF2-40B4-BE49-F238E27FC236}">
                  <a16:creationId xmlns:a16="http://schemas.microsoft.com/office/drawing/2014/main" id="{F27AFF9F-5B8D-1A43-8957-DAAABFC15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9065" y="4167212"/>
              <a:ext cx="0" cy="2377"/>
            </a:xfrm>
            <a:custGeom>
              <a:avLst/>
              <a:gdLst>
                <a:gd name="T0" fmla="*/ 0 h 2"/>
                <a:gd name="T1" fmla="*/ 0 h 2"/>
                <a:gd name="T2" fmla="*/ 0 h 2"/>
                <a:gd name="T3" fmla="*/ 0 h 2"/>
                <a:gd name="T4" fmla="*/ 0 h 2"/>
                <a:gd name="T5" fmla="*/ 0 h 2"/>
                <a:gd name="T6" fmla="*/ 0 h 2"/>
                <a:gd name="T7" fmla="*/ 0 h 2"/>
                <a:gd name="T8" fmla="*/ 0 h 2"/>
                <a:gd name="T9" fmla="*/ 0 h 2"/>
                <a:gd name="T10" fmla="*/ 2 h 2"/>
                <a:gd name="T11" fmla="*/ 2 h 2"/>
                <a:gd name="T12" fmla="*/ 2 h 2"/>
                <a:gd name="T13" fmla="*/ 2 h 2"/>
                <a:gd name="T14" fmla="*/ 2 h 2"/>
                <a:gd name="T15" fmla="*/ 2 h 2"/>
                <a:gd name="T16" fmla="*/ 2 h 2"/>
                <a:gd name="T17" fmla="*/ 2 h 2"/>
                <a:gd name="T18" fmla="*/ 2 h 2"/>
                <a:gd name="T19" fmla="*/ 2 h 2"/>
                <a:gd name="T20" fmla="*/ 2 h 2"/>
                <a:gd name="T21" fmla="*/ 2 h 2"/>
                <a:gd name="T22" fmla="*/ 2 h 2"/>
                <a:gd name="T23" fmla="*/ 0 h 2"/>
                <a:gd name="T24" fmla="*/ 0 h 2"/>
                <a:gd name="T25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  <a:cxn ang="0">
                  <a:pos x="0" y="T15"/>
                </a:cxn>
                <a:cxn ang="0">
                  <a:pos x="0" y="T16"/>
                </a:cxn>
                <a:cxn ang="0">
                  <a:pos x="0" y="T17"/>
                </a:cxn>
                <a:cxn ang="0">
                  <a:pos x="0" y="T18"/>
                </a:cxn>
                <a:cxn ang="0">
                  <a:pos x="0" y="T19"/>
                </a:cxn>
                <a:cxn ang="0">
                  <a:pos x="0" y="T20"/>
                </a:cxn>
                <a:cxn ang="0">
                  <a:pos x="0" y="T21"/>
                </a:cxn>
                <a:cxn ang="0">
                  <a:pos x="0" y="T22"/>
                </a:cxn>
                <a:cxn ang="0">
                  <a:pos x="0" y="T23"/>
                </a:cxn>
                <a:cxn ang="0">
                  <a:pos x="0" y="T24"/>
                </a:cxn>
                <a:cxn ang="0">
                  <a:pos x="0" y="T25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3" name="Freeform 89">
              <a:extLst>
                <a:ext uri="{FF2B5EF4-FFF2-40B4-BE49-F238E27FC236}">
                  <a16:creationId xmlns:a16="http://schemas.microsoft.com/office/drawing/2014/main" id="{7C1E328F-B7E7-0143-A203-E75C0CDC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9174" y="3947360"/>
              <a:ext cx="4754" cy="4754"/>
            </a:xfrm>
            <a:custGeom>
              <a:avLst/>
              <a:gdLst>
                <a:gd name="T0" fmla="*/ 2 w 4"/>
                <a:gd name="T1" fmla="*/ 0 h 4"/>
                <a:gd name="T2" fmla="*/ 2 w 4"/>
                <a:gd name="T3" fmla="*/ 0 h 4"/>
                <a:gd name="T4" fmla="*/ 2 w 4"/>
                <a:gd name="T5" fmla="*/ 2 h 4"/>
                <a:gd name="T6" fmla="*/ 0 w 4"/>
                <a:gd name="T7" fmla="*/ 2 h 4"/>
                <a:gd name="T8" fmla="*/ 0 w 4"/>
                <a:gd name="T9" fmla="*/ 4 h 4"/>
                <a:gd name="T10" fmla="*/ 2 w 4"/>
                <a:gd name="T11" fmla="*/ 2 h 4"/>
                <a:gd name="T12" fmla="*/ 4 w 4"/>
                <a:gd name="T13" fmla="*/ 2 h 4"/>
                <a:gd name="T14" fmla="*/ 2 w 4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4" name="Freeform 93">
              <a:extLst>
                <a:ext uri="{FF2B5EF4-FFF2-40B4-BE49-F238E27FC236}">
                  <a16:creationId xmlns:a16="http://schemas.microsoft.com/office/drawing/2014/main" id="{DB013BB0-12E6-6B42-88A9-7CFA79AB76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1563" y="3719189"/>
              <a:ext cx="837813" cy="955464"/>
            </a:xfrm>
            <a:custGeom>
              <a:avLst/>
              <a:gdLst>
                <a:gd name="T0" fmla="*/ 2 w 705"/>
                <a:gd name="T1" fmla="*/ 771 h 804"/>
                <a:gd name="T2" fmla="*/ 7 w 705"/>
                <a:gd name="T3" fmla="*/ 769 h 804"/>
                <a:gd name="T4" fmla="*/ 85 w 705"/>
                <a:gd name="T5" fmla="*/ 703 h 804"/>
                <a:gd name="T6" fmla="*/ 89 w 705"/>
                <a:gd name="T7" fmla="*/ 706 h 804"/>
                <a:gd name="T8" fmla="*/ 87 w 705"/>
                <a:gd name="T9" fmla="*/ 681 h 804"/>
                <a:gd name="T10" fmla="*/ 97 w 705"/>
                <a:gd name="T11" fmla="*/ 675 h 804"/>
                <a:gd name="T12" fmla="*/ 356 w 705"/>
                <a:gd name="T13" fmla="*/ 648 h 804"/>
                <a:gd name="T14" fmla="*/ 358 w 705"/>
                <a:gd name="T15" fmla="*/ 648 h 804"/>
                <a:gd name="T16" fmla="*/ 259 w 705"/>
                <a:gd name="T17" fmla="*/ 592 h 804"/>
                <a:gd name="T18" fmla="*/ 259 w 705"/>
                <a:gd name="T19" fmla="*/ 597 h 804"/>
                <a:gd name="T20" fmla="*/ 251 w 705"/>
                <a:gd name="T21" fmla="*/ 601 h 804"/>
                <a:gd name="T22" fmla="*/ 245 w 705"/>
                <a:gd name="T23" fmla="*/ 601 h 804"/>
                <a:gd name="T24" fmla="*/ 247 w 705"/>
                <a:gd name="T25" fmla="*/ 588 h 804"/>
                <a:gd name="T26" fmla="*/ 210 w 705"/>
                <a:gd name="T27" fmla="*/ 609 h 804"/>
                <a:gd name="T28" fmla="*/ 189 w 705"/>
                <a:gd name="T29" fmla="*/ 627 h 804"/>
                <a:gd name="T30" fmla="*/ 179 w 705"/>
                <a:gd name="T31" fmla="*/ 634 h 804"/>
                <a:gd name="T32" fmla="*/ 169 w 705"/>
                <a:gd name="T33" fmla="*/ 636 h 804"/>
                <a:gd name="T34" fmla="*/ 148 w 705"/>
                <a:gd name="T35" fmla="*/ 646 h 804"/>
                <a:gd name="T36" fmla="*/ 117 w 705"/>
                <a:gd name="T37" fmla="*/ 660 h 804"/>
                <a:gd name="T38" fmla="*/ 109 w 705"/>
                <a:gd name="T39" fmla="*/ 664 h 804"/>
                <a:gd name="T40" fmla="*/ 99 w 705"/>
                <a:gd name="T41" fmla="*/ 675 h 804"/>
                <a:gd name="T42" fmla="*/ 93 w 705"/>
                <a:gd name="T43" fmla="*/ 679 h 804"/>
                <a:gd name="T44" fmla="*/ 85 w 705"/>
                <a:gd name="T45" fmla="*/ 685 h 804"/>
                <a:gd name="T46" fmla="*/ 93 w 705"/>
                <a:gd name="T47" fmla="*/ 689 h 804"/>
                <a:gd name="T48" fmla="*/ 99 w 705"/>
                <a:gd name="T49" fmla="*/ 697 h 804"/>
                <a:gd name="T50" fmla="*/ 130 w 705"/>
                <a:gd name="T51" fmla="*/ 689 h 804"/>
                <a:gd name="T52" fmla="*/ 152 w 705"/>
                <a:gd name="T53" fmla="*/ 675 h 804"/>
                <a:gd name="T54" fmla="*/ 173 w 705"/>
                <a:gd name="T55" fmla="*/ 654 h 804"/>
                <a:gd name="T56" fmla="*/ 191 w 705"/>
                <a:gd name="T57" fmla="*/ 646 h 804"/>
                <a:gd name="T58" fmla="*/ 195 w 705"/>
                <a:gd name="T59" fmla="*/ 646 h 804"/>
                <a:gd name="T60" fmla="*/ 204 w 705"/>
                <a:gd name="T61" fmla="*/ 642 h 804"/>
                <a:gd name="T62" fmla="*/ 210 w 705"/>
                <a:gd name="T63" fmla="*/ 636 h 804"/>
                <a:gd name="T64" fmla="*/ 249 w 705"/>
                <a:gd name="T65" fmla="*/ 611 h 804"/>
                <a:gd name="T66" fmla="*/ 257 w 705"/>
                <a:gd name="T67" fmla="*/ 601 h 804"/>
                <a:gd name="T68" fmla="*/ 335 w 705"/>
                <a:gd name="T69" fmla="*/ 508 h 804"/>
                <a:gd name="T70" fmla="*/ 353 w 705"/>
                <a:gd name="T71" fmla="*/ 537 h 804"/>
                <a:gd name="T72" fmla="*/ 329 w 705"/>
                <a:gd name="T73" fmla="*/ 537 h 804"/>
                <a:gd name="T74" fmla="*/ 331 w 705"/>
                <a:gd name="T75" fmla="*/ 516 h 804"/>
                <a:gd name="T76" fmla="*/ 325 w 705"/>
                <a:gd name="T77" fmla="*/ 529 h 804"/>
                <a:gd name="T78" fmla="*/ 317 w 705"/>
                <a:gd name="T79" fmla="*/ 520 h 804"/>
                <a:gd name="T80" fmla="*/ 323 w 705"/>
                <a:gd name="T81" fmla="*/ 502 h 804"/>
                <a:gd name="T82" fmla="*/ 325 w 705"/>
                <a:gd name="T83" fmla="*/ 492 h 804"/>
                <a:gd name="T84" fmla="*/ 317 w 705"/>
                <a:gd name="T85" fmla="*/ 486 h 804"/>
                <a:gd name="T86" fmla="*/ 312 w 705"/>
                <a:gd name="T87" fmla="*/ 475 h 804"/>
                <a:gd name="T88" fmla="*/ 310 w 705"/>
                <a:gd name="T89" fmla="*/ 496 h 804"/>
                <a:gd name="T90" fmla="*/ 312 w 705"/>
                <a:gd name="T91" fmla="*/ 510 h 804"/>
                <a:gd name="T92" fmla="*/ 317 w 705"/>
                <a:gd name="T93" fmla="*/ 510 h 804"/>
                <a:gd name="T94" fmla="*/ 312 w 705"/>
                <a:gd name="T95" fmla="*/ 514 h 804"/>
                <a:gd name="T96" fmla="*/ 314 w 705"/>
                <a:gd name="T97" fmla="*/ 527 h 804"/>
                <a:gd name="T98" fmla="*/ 308 w 705"/>
                <a:gd name="T99" fmla="*/ 539 h 804"/>
                <a:gd name="T100" fmla="*/ 286 w 705"/>
                <a:gd name="T101" fmla="*/ 562 h 804"/>
                <a:gd name="T102" fmla="*/ 280 w 705"/>
                <a:gd name="T103" fmla="*/ 574 h 804"/>
                <a:gd name="T104" fmla="*/ 263 w 705"/>
                <a:gd name="T105" fmla="*/ 601 h 804"/>
                <a:gd name="T106" fmla="*/ 263 w 705"/>
                <a:gd name="T107" fmla="*/ 605 h 804"/>
                <a:gd name="T108" fmla="*/ 288 w 705"/>
                <a:gd name="T109" fmla="*/ 597 h 804"/>
                <a:gd name="T110" fmla="*/ 319 w 705"/>
                <a:gd name="T111" fmla="*/ 570 h 804"/>
                <a:gd name="T112" fmla="*/ 339 w 705"/>
                <a:gd name="T113" fmla="*/ 564 h 804"/>
                <a:gd name="T114" fmla="*/ 364 w 705"/>
                <a:gd name="T115" fmla="*/ 539 h 804"/>
                <a:gd name="T116" fmla="*/ 684 w 705"/>
                <a:gd name="T117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05" h="804">
                  <a:moveTo>
                    <a:pt x="17" y="802"/>
                  </a:moveTo>
                  <a:lnTo>
                    <a:pt x="17" y="802"/>
                  </a:lnTo>
                  <a:lnTo>
                    <a:pt x="17" y="802"/>
                  </a:lnTo>
                  <a:lnTo>
                    <a:pt x="17" y="804"/>
                  </a:lnTo>
                  <a:lnTo>
                    <a:pt x="17" y="804"/>
                  </a:lnTo>
                  <a:lnTo>
                    <a:pt x="19" y="804"/>
                  </a:lnTo>
                  <a:lnTo>
                    <a:pt x="19" y="802"/>
                  </a:lnTo>
                  <a:lnTo>
                    <a:pt x="19" y="802"/>
                  </a:lnTo>
                  <a:lnTo>
                    <a:pt x="17" y="802"/>
                  </a:lnTo>
                  <a:close/>
                  <a:moveTo>
                    <a:pt x="9" y="767"/>
                  </a:moveTo>
                  <a:lnTo>
                    <a:pt x="7" y="769"/>
                  </a:lnTo>
                  <a:lnTo>
                    <a:pt x="4" y="771"/>
                  </a:lnTo>
                  <a:lnTo>
                    <a:pt x="2" y="771"/>
                  </a:lnTo>
                  <a:lnTo>
                    <a:pt x="0" y="773"/>
                  </a:lnTo>
                  <a:lnTo>
                    <a:pt x="0" y="773"/>
                  </a:lnTo>
                  <a:lnTo>
                    <a:pt x="2" y="773"/>
                  </a:lnTo>
                  <a:lnTo>
                    <a:pt x="2" y="771"/>
                  </a:lnTo>
                  <a:lnTo>
                    <a:pt x="2" y="773"/>
                  </a:lnTo>
                  <a:lnTo>
                    <a:pt x="2" y="773"/>
                  </a:lnTo>
                  <a:lnTo>
                    <a:pt x="4" y="773"/>
                  </a:lnTo>
                  <a:lnTo>
                    <a:pt x="4" y="773"/>
                  </a:lnTo>
                  <a:lnTo>
                    <a:pt x="7" y="771"/>
                  </a:lnTo>
                  <a:lnTo>
                    <a:pt x="7" y="771"/>
                  </a:lnTo>
                  <a:lnTo>
                    <a:pt x="7" y="771"/>
                  </a:lnTo>
                  <a:lnTo>
                    <a:pt x="7" y="771"/>
                  </a:lnTo>
                  <a:lnTo>
                    <a:pt x="7" y="769"/>
                  </a:lnTo>
                  <a:lnTo>
                    <a:pt x="9" y="769"/>
                  </a:lnTo>
                  <a:lnTo>
                    <a:pt x="9" y="769"/>
                  </a:lnTo>
                  <a:lnTo>
                    <a:pt x="11" y="769"/>
                  </a:lnTo>
                  <a:lnTo>
                    <a:pt x="11" y="767"/>
                  </a:lnTo>
                  <a:lnTo>
                    <a:pt x="11" y="767"/>
                  </a:lnTo>
                  <a:lnTo>
                    <a:pt x="9" y="767"/>
                  </a:lnTo>
                  <a:close/>
                  <a:moveTo>
                    <a:pt x="91" y="703"/>
                  </a:moveTo>
                  <a:lnTo>
                    <a:pt x="91" y="701"/>
                  </a:lnTo>
                  <a:lnTo>
                    <a:pt x="91" y="699"/>
                  </a:lnTo>
                  <a:lnTo>
                    <a:pt x="89" y="699"/>
                  </a:lnTo>
                  <a:lnTo>
                    <a:pt x="87" y="701"/>
                  </a:lnTo>
                  <a:lnTo>
                    <a:pt x="85" y="703"/>
                  </a:lnTo>
                  <a:lnTo>
                    <a:pt x="85" y="703"/>
                  </a:lnTo>
                  <a:lnTo>
                    <a:pt x="82" y="706"/>
                  </a:lnTo>
                  <a:lnTo>
                    <a:pt x="82" y="706"/>
                  </a:lnTo>
                  <a:lnTo>
                    <a:pt x="80" y="706"/>
                  </a:lnTo>
                  <a:lnTo>
                    <a:pt x="80" y="708"/>
                  </a:lnTo>
                  <a:lnTo>
                    <a:pt x="78" y="708"/>
                  </a:lnTo>
                  <a:lnTo>
                    <a:pt x="76" y="710"/>
                  </a:lnTo>
                  <a:lnTo>
                    <a:pt x="76" y="710"/>
                  </a:lnTo>
                  <a:lnTo>
                    <a:pt x="78" y="710"/>
                  </a:lnTo>
                  <a:lnTo>
                    <a:pt x="82" y="708"/>
                  </a:lnTo>
                  <a:lnTo>
                    <a:pt x="82" y="708"/>
                  </a:lnTo>
                  <a:lnTo>
                    <a:pt x="82" y="708"/>
                  </a:lnTo>
                  <a:lnTo>
                    <a:pt x="87" y="708"/>
                  </a:lnTo>
                  <a:lnTo>
                    <a:pt x="89" y="706"/>
                  </a:lnTo>
                  <a:lnTo>
                    <a:pt x="89" y="706"/>
                  </a:lnTo>
                  <a:lnTo>
                    <a:pt x="91" y="706"/>
                  </a:lnTo>
                  <a:lnTo>
                    <a:pt x="91" y="703"/>
                  </a:lnTo>
                  <a:lnTo>
                    <a:pt x="89" y="703"/>
                  </a:lnTo>
                  <a:lnTo>
                    <a:pt x="89" y="703"/>
                  </a:lnTo>
                  <a:lnTo>
                    <a:pt x="89" y="703"/>
                  </a:lnTo>
                  <a:lnTo>
                    <a:pt x="89" y="703"/>
                  </a:lnTo>
                  <a:lnTo>
                    <a:pt x="91" y="703"/>
                  </a:lnTo>
                  <a:close/>
                  <a:moveTo>
                    <a:pt x="85" y="681"/>
                  </a:moveTo>
                  <a:lnTo>
                    <a:pt x="85" y="681"/>
                  </a:lnTo>
                  <a:lnTo>
                    <a:pt x="87" y="681"/>
                  </a:lnTo>
                  <a:lnTo>
                    <a:pt x="87" y="681"/>
                  </a:lnTo>
                  <a:lnTo>
                    <a:pt x="87" y="681"/>
                  </a:lnTo>
                  <a:lnTo>
                    <a:pt x="89" y="681"/>
                  </a:lnTo>
                  <a:lnTo>
                    <a:pt x="89" y="681"/>
                  </a:lnTo>
                  <a:lnTo>
                    <a:pt x="87" y="679"/>
                  </a:lnTo>
                  <a:lnTo>
                    <a:pt x="85" y="681"/>
                  </a:lnTo>
                  <a:lnTo>
                    <a:pt x="85" y="681"/>
                  </a:lnTo>
                  <a:lnTo>
                    <a:pt x="85" y="681"/>
                  </a:lnTo>
                  <a:lnTo>
                    <a:pt x="85" y="681"/>
                  </a:lnTo>
                  <a:close/>
                  <a:moveTo>
                    <a:pt x="97" y="675"/>
                  </a:moveTo>
                  <a:lnTo>
                    <a:pt x="97" y="673"/>
                  </a:lnTo>
                  <a:lnTo>
                    <a:pt x="97" y="673"/>
                  </a:lnTo>
                  <a:lnTo>
                    <a:pt x="95" y="673"/>
                  </a:lnTo>
                  <a:lnTo>
                    <a:pt x="95" y="675"/>
                  </a:lnTo>
                  <a:lnTo>
                    <a:pt x="97" y="675"/>
                  </a:lnTo>
                  <a:close/>
                  <a:moveTo>
                    <a:pt x="356" y="654"/>
                  </a:moveTo>
                  <a:lnTo>
                    <a:pt x="353" y="656"/>
                  </a:lnTo>
                  <a:lnTo>
                    <a:pt x="356" y="656"/>
                  </a:lnTo>
                  <a:lnTo>
                    <a:pt x="356" y="654"/>
                  </a:lnTo>
                  <a:lnTo>
                    <a:pt x="356" y="654"/>
                  </a:lnTo>
                  <a:lnTo>
                    <a:pt x="356" y="654"/>
                  </a:lnTo>
                  <a:lnTo>
                    <a:pt x="356" y="654"/>
                  </a:lnTo>
                  <a:close/>
                  <a:moveTo>
                    <a:pt x="356" y="646"/>
                  </a:moveTo>
                  <a:lnTo>
                    <a:pt x="353" y="646"/>
                  </a:lnTo>
                  <a:lnTo>
                    <a:pt x="351" y="646"/>
                  </a:lnTo>
                  <a:lnTo>
                    <a:pt x="353" y="646"/>
                  </a:lnTo>
                  <a:lnTo>
                    <a:pt x="356" y="646"/>
                  </a:lnTo>
                  <a:lnTo>
                    <a:pt x="356" y="648"/>
                  </a:lnTo>
                  <a:lnTo>
                    <a:pt x="356" y="648"/>
                  </a:lnTo>
                  <a:lnTo>
                    <a:pt x="353" y="648"/>
                  </a:lnTo>
                  <a:lnTo>
                    <a:pt x="353" y="650"/>
                  </a:lnTo>
                  <a:lnTo>
                    <a:pt x="351" y="650"/>
                  </a:lnTo>
                  <a:lnTo>
                    <a:pt x="351" y="652"/>
                  </a:lnTo>
                  <a:lnTo>
                    <a:pt x="351" y="652"/>
                  </a:lnTo>
                  <a:lnTo>
                    <a:pt x="353" y="652"/>
                  </a:lnTo>
                  <a:lnTo>
                    <a:pt x="353" y="650"/>
                  </a:lnTo>
                  <a:lnTo>
                    <a:pt x="356" y="650"/>
                  </a:lnTo>
                  <a:lnTo>
                    <a:pt x="358" y="650"/>
                  </a:lnTo>
                  <a:lnTo>
                    <a:pt x="358" y="648"/>
                  </a:lnTo>
                  <a:lnTo>
                    <a:pt x="356" y="648"/>
                  </a:lnTo>
                  <a:lnTo>
                    <a:pt x="358" y="648"/>
                  </a:lnTo>
                  <a:lnTo>
                    <a:pt x="358" y="646"/>
                  </a:lnTo>
                  <a:lnTo>
                    <a:pt x="358" y="646"/>
                  </a:lnTo>
                  <a:lnTo>
                    <a:pt x="358" y="646"/>
                  </a:lnTo>
                  <a:lnTo>
                    <a:pt x="358" y="646"/>
                  </a:lnTo>
                  <a:lnTo>
                    <a:pt x="360" y="646"/>
                  </a:lnTo>
                  <a:lnTo>
                    <a:pt x="360" y="646"/>
                  </a:lnTo>
                  <a:lnTo>
                    <a:pt x="358" y="648"/>
                  </a:lnTo>
                  <a:lnTo>
                    <a:pt x="362" y="646"/>
                  </a:lnTo>
                  <a:lnTo>
                    <a:pt x="362" y="646"/>
                  </a:lnTo>
                  <a:lnTo>
                    <a:pt x="364" y="646"/>
                  </a:lnTo>
                  <a:lnTo>
                    <a:pt x="358" y="644"/>
                  </a:lnTo>
                  <a:lnTo>
                    <a:pt x="356" y="646"/>
                  </a:lnTo>
                  <a:close/>
                  <a:moveTo>
                    <a:pt x="259" y="592"/>
                  </a:moveTo>
                  <a:lnTo>
                    <a:pt x="259" y="590"/>
                  </a:lnTo>
                  <a:lnTo>
                    <a:pt x="259" y="592"/>
                  </a:lnTo>
                  <a:lnTo>
                    <a:pt x="257" y="592"/>
                  </a:lnTo>
                  <a:lnTo>
                    <a:pt x="257" y="592"/>
                  </a:lnTo>
                  <a:lnTo>
                    <a:pt x="255" y="595"/>
                  </a:lnTo>
                  <a:lnTo>
                    <a:pt x="255" y="595"/>
                  </a:lnTo>
                  <a:lnTo>
                    <a:pt x="257" y="595"/>
                  </a:lnTo>
                  <a:lnTo>
                    <a:pt x="259" y="592"/>
                  </a:lnTo>
                  <a:close/>
                  <a:moveTo>
                    <a:pt x="257" y="599"/>
                  </a:moveTo>
                  <a:lnTo>
                    <a:pt x="257" y="599"/>
                  </a:lnTo>
                  <a:lnTo>
                    <a:pt x="259" y="597"/>
                  </a:lnTo>
                  <a:lnTo>
                    <a:pt x="261" y="597"/>
                  </a:lnTo>
                  <a:lnTo>
                    <a:pt x="259" y="597"/>
                  </a:lnTo>
                  <a:lnTo>
                    <a:pt x="259" y="597"/>
                  </a:lnTo>
                  <a:lnTo>
                    <a:pt x="259" y="597"/>
                  </a:lnTo>
                  <a:lnTo>
                    <a:pt x="259" y="597"/>
                  </a:lnTo>
                  <a:lnTo>
                    <a:pt x="257" y="597"/>
                  </a:lnTo>
                  <a:lnTo>
                    <a:pt x="257" y="597"/>
                  </a:lnTo>
                  <a:lnTo>
                    <a:pt x="255" y="597"/>
                  </a:lnTo>
                  <a:lnTo>
                    <a:pt x="255" y="597"/>
                  </a:lnTo>
                  <a:lnTo>
                    <a:pt x="255" y="599"/>
                  </a:lnTo>
                  <a:lnTo>
                    <a:pt x="253" y="599"/>
                  </a:lnTo>
                  <a:lnTo>
                    <a:pt x="253" y="599"/>
                  </a:lnTo>
                  <a:lnTo>
                    <a:pt x="251" y="601"/>
                  </a:lnTo>
                  <a:lnTo>
                    <a:pt x="249" y="601"/>
                  </a:lnTo>
                  <a:lnTo>
                    <a:pt x="251" y="601"/>
                  </a:lnTo>
                  <a:lnTo>
                    <a:pt x="253" y="599"/>
                  </a:lnTo>
                  <a:lnTo>
                    <a:pt x="255" y="597"/>
                  </a:lnTo>
                  <a:lnTo>
                    <a:pt x="255" y="597"/>
                  </a:lnTo>
                  <a:lnTo>
                    <a:pt x="255" y="597"/>
                  </a:lnTo>
                  <a:lnTo>
                    <a:pt x="255" y="597"/>
                  </a:lnTo>
                  <a:lnTo>
                    <a:pt x="257" y="595"/>
                  </a:lnTo>
                  <a:lnTo>
                    <a:pt x="257" y="595"/>
                  </a:lnTo>
                  <a:lnTo>
                    <a:pt x="255" y="595"/>
                  </a:lnTo>
                  <a:lnTo>
                    <a:pt x="253" y="597"/>
                  </a:lnTo>
                  <a:lnTo>
                    <a:pt x="253" y="597"/>
                  </a:lnTo>
                  <a:lnTo>
                    <a:pt x="249" y="599"/>
                  </a:lnTo>
                  <a:lnTo>
                    <a:pt x="247" y="599"/>
                  </a:lnTo>
                  <a:lnTo>
                    <a:pt x="245" y="601"/>
                  </a:lnTo>
                  <a:lnTo>
                    <a:pt x="241" y="601"/>
                  </a:lnTo>
                  <a:lnTo>
                    <a:pt x="241" y="601"/>
                  </a:lnTo>
                  <a:lnTo>
                    <a:pt x="241" y="599"/>
                  </a:lnTo>
                  <a:lnTo>
                    <a:pt x="241" y="599"/>
                  </a:lnTo>
                  <a:lnTo>
                    <a:pt x="243" y="595"/>
                  </a:lnTo>
                  <a:lnTo>
                    <a:pt x="243" y="592"/>
                  </a:lnTo>
                  <a:lnTo>
                    <a:pt x="243" y="592"/>
                  </a:lnTo>
                  <a:lnTo>
                    <a:pt x="241" y="592"/>
                  </a:lnTo>
                  <a:lnTo>
                    <a:pt x="241" y="590"/>
                  </a:lnTo>
                  <a:lnTo>
                    <a:pt x="241" y="590"/>
                  </a:lnTo>
                  <a:lnTo>
                    <a:pt x="243" y="588"/>
                  </a:lnTo>
                  <a:lnTo>
                    <a:pt x="243" y="588"/>
                  </a:lnTo>
                  <a:lnTo>
                    <a:pt x="247" y="588"/>
                  </a:lnTo>
                  <a:lnTo>
                    <a:pt x="245" y="586"/>
                  </a:lnTo>
                  <a:lnTo>
                    <a:pt x="243" y="586"/>
                  </a:lnTo>
                  <a:lnTo>
                    <a:pt x="243" y="588"/>
                  </a:lnTo>
                  <a:lnTo>
                    <a:pt x="239" y="590"/>
                  </a:lnTo>
                  <a:lnTo>
                    <a:pt x="234" y="592"/>
                  </a:lnTo>
                  <a:lnTo>
                    <a:pt x="230" y="595"/>
                  </a:lnTo>
                  <a:lnTo>
                    <a:pt x="226" y="601"/>
                  </a:lnTo>
                  <a:lnTo>
                    <a:pt x="220" y="605"/>
                  </a:lnTo>
                  <a:lnTo>
                    <a:pt x="218" y="607"/>
                  </a:lnTo>
                  <a:lnTo>
                    <a:pt x="216" y="609"/>
                  </a:lnTo>
                  <a:lnTo>
                    <a:pt x="214" y="609"/>
                  </a:lnTo>
                  <a:lnTo>
                    <a:pt x="212" y="609"/>
                  </a:lnTo>
                  <a:lnTo>
                    <a:pt x="210" y="609"/>
                  </a:lnTo>
                  <a:lnTo>
                    <a:pt x="210" y="611"/>
                  </a:lnTo>
                  <a:lnTo>
                    <a:pt x="206" y="613"/>
                  </a:lnTo>
                  <a:lnTo>
                    <a:pt x="204" y="615"/>
                  </a:lnTo>
                  <a:lnTo>
                    <a:pt x="202" y="617"/>
                  </a:lnTo>
                  <a:lnTo>
                    <a:pt x="200" y="619"/>
                  </a:lnTo>
                  <a:lnTo>
                    <a:pt x="197" y="621"/>
                  </a:lnTo>
                  <a:lnTo>
                    <a:pt x="197" y="621"/>
                  </a:lnTo>
                  <a:lnTo>
                    <a:pt x="197" y="623"/>
                  </a:lnTo>
                  <a:lnTo>
                    <a:pt x="197" y="623"/>
                  </a:lnTo>
                  <a:lnTo>
                    <a:pt x="195" y="623"/>
                  </a:lnTo>
                  <a:lnTo>
                    <a:pt x="195" y="623"/>
                  </a:lnTo>
                  <a:lnTo>
                    <a:pt x="189" y="627"/>
                  </a:lnTo>
                  <a:lnTo>
                    <a:pt x="189" y="627"/>
                  </a:lnTo>
                  <a:lnTo>
                    <a:pt x="187" y="629"/>
                  </a:lnTo>
                  <a:lnTo>
                    <a:pt x="187" y="629"/>
                  </a:lnTo>
                  <a:lnTo>
                    <a:pt x="189" y="629"/>
                  </a:lnTo>
                  <a:lnTo>
                    <a:pt x="189" y="627"/>
                  </a:lnTo>
                  <a:lnTo>
                    <a:pt x="189" y="627"/>
                  </a:lnTo>
                  <a:lnTo>
                    <a:pt x="185" y="629"/>
                  </a:lnTo>
                  <a:lnTo>
                    <a:pt x="183" y="632"/>
                  </a:lnTo>
                  <a:lnTo>
                    <a:pt x="181" y="632"/>
                  </a:lnTo>
                  <a:lnTo>
                    <a:pt x="181" y="632"/>
                  </a:lnTo>
                  <a:lnTo>
                    <a:pt x="181" y="632"/>
                  </a:lnTo>
                  <a:lnTo>
                    <a:pt x="181" y="632"/>
                  </a:lnTo>
                  <a:lnTo>
                    <a:pt x="179" y="632"/>
                  </a:lnTo>
                  <a:lnTo>
                    <a:pt x="179" y="634"/>
                  </a:lnTo>
                  <a:lnTo>
                    <a:pt x="179" y="634"/>
                  </a:lnTo>
                  <a:lnTo>
                    <a:pt x="179" y="634"/>
                  </a:lnTo>
                  <a:lnTo>
                    <a:pt x="177" y="632"/>
                  </a:lnTo>
                  <a:lnTo>
                    <a:pt x="175" y="634"/>
                  </a:lnTo>
                  <a:lnTo>
                    <a:pt x="175" y="634"/>
                  </a:lnTo>
                  <a:lnTo>
                    <a:pt x="175" y="634"/>
                  </a:lnTo>
                  <a:lnTo>
                    <a:pt x="175" y="636"/>
                  </a:lnTo>
                  <a:lnTo>
                    <a:pt x="175" y="634"/>
                  </a:lnTo>
                  <a:lnTo>
                    <a:pt x="173" y="634"/>
                  </a:lnTo>
                  <a:lnTo>
                    <a:pt x="173" y="636"/>
                  </a:lnTo>
                  <a:lnTo>
                    <a:pt x="171" y="636"/>
                  </a:lnTo>
                  <a:lnTo>
                    <a:pt x="171" y="636"/>
                  </a:lnTo>
                  <a:lnTo>
                    <a:pt x="169" y="636"/>
                  </a:lnTo>
                  <a:lnTo>
                    <a:pt x="167" y="638"/>
                  </a:lnTo>
                  <a:lnTo>
                    <a:pt x="163" y="640"/>
                  </a:lnTo>
                  <a:lnTo>
                    <a:pt x="165" y="640"/>
                  </a:lnTo>
                  <a:lnTo>
                    <a:pt x="163" y="640"/>
                  </a:lnTo>
                  <a:lnTo>
                    <a:pt x="163" y="640"/>
                  </a:lnTo>
                  <a:lnTo>
                    <a:pt x="163" y="640"/>
                  </a:lnTo>
                  <a:lnTo>
                    <a:pt x="160" y="642"/>
                  </a:lnTo>
                  <a:lnTo>
                    <a:pt x="160" y="642"/>
                  </a:lnTo>
                  <a:lnTo>
                    <a:pt x="158" y="642"/>
                  </a:lnTo>
                  <a:lnTo>
                    <a:pt x="156" y="644"/>
                  </a:lnTo>
                  <a:lnTo>
                    <a:pt x="152" y="644"/>
                  </a:lnTo>
                  <a:lnTo>
                    <a:pt x="148" y="646"/>
                  </a:lnTo>
                  <a:lnTo>
                    <a:pt x="148" y="646"/>
                  </a:lnTo>
                  <a:lnTo>
                    <a:pt x="146" y="648"/>
                  </a:lnTo>
                  <a:lnTo>
                    <a:pt x="146" y="648"/>
                  </a:lnTo>
                  <a:lnTo>
                    <a:pt x="146" y="648"/>
                  </a:lnTo>
                  <a:lnTo>
                    <a:pt x="144" y="648"/>
                  </a:lnTo>
                  <a:lnTo>
                    <a:pt x="140" y="650"/>
                  </a:lnTo>
                  <a:lnTo>
                    <a:pt x="140" y="650"/>
                  </a:lnTo>
                  <a:lnTo>
                    <a:pt x="138" y="650"/>
                  </a:lnTo>
                  <a:lnTo>
                    <a:pt x="134" y="650"/>
                  </a:lnTo>
                  <a:lnTo>
                    <a:pt x="132" y="652"/>
                  </a:lnTo>
                  <a:lnTo>
                    <a:pt x="128" y="654"/>
                  </a:lnTo>
                  <a:lnTo>
                    <a:pt x="124" y="656"/>
                  </a:lnTo>
                  <a:lnTo>
                    <a:pt x="119" y="658"/>
                  </a:lnTo>
                  <a:lnTo>
                    <a:pt x="117" y="660"/>
                  </a:lnTo>
                  <a:lnTo>
                    <a:pt x="119" y="660"/>
                  </a:lnTo>
                  <a:lnTo>
                    <a:pt x="117" y="662"/>
                  </a:lnTo>
                  <a:lnTo>
                    <a:pt x="117" y="660"/>
                  </a:lnTo>
                  <a:lnTo>
                    <a:pt x="117" y="660"/>
                  </a:lnTo>
                  <a:lnTo>
                    <a:pt x="115" y="660"/>
                  </a:lnTo>
                  <a:lnTo>
                    <a:pt x="111" y="662"/>
                  </a:lnTo>
                  <a:lnTo>
                    <a:pt x="111" y="662"/>
                  </a:lnTo>
                  <a:lnTo>
                    <a:pt x="109" y="664"/>
                  </a:lnTo>
                  <a:lnTo>
                    <a:pt x="109" y="664"/>
                  </a:lnTo>
                  <a:lnTo>
                    <a:pt x="109" y="664"/>
                  </a:lnTo>
                  <a:lnTo>
                    <a:pt x="109" y="666"/>
                  </a:lnTo>
                  <a:lnTo>
                    <a:pt x="107" y="666"/>
                  </a:lnTo>
                  <a:lnTo>
                    <a:pt x="109" y="664"/>
                  </a:lnTo>
                  <a:lnTo>
                    <a:pt x="103" y="666"/>
                  </a:lnTo>
                  <a:lnTo>
                    <a:pt x="103" y="666"/>
                  </a:lnTo>
                  <a:lnTo>
                    <a:pt x="103" y="671"/>
                  </a:lnTo>
                  <a:lnTo>
                    <a:pt x="103" y="671"/>
                  </a:lnTo>
                  <a:lnTo>
                    <a:pt x="101" y="671"/>
                  </a:lnTo>
                  <a:lnTo>
                    <a:pt x="101" y="671"/>
                  </a:lnTo>
                  <a:lnTo>
                    <a:pt x="99" y="671"/>
                  </a:lnTo>
                  <a:lnTo>
                    <a:pt x="99" y="673"/>
                  </a:lnTo>
                  <a:lnTo>
                    <a:pt x="97" y="673"/>
                  </a:lnTo>
                  <a:lnTo>
                    <a:pt x="99" y="673"/>
                  </a:lnTo>
                  <a:lnTo>
                    <a:pt x="99" y="675"/>
                  </a:lnTo>
                  <a:lnTo>
                    <a:pt x="99" y="675"/>
                  </a:lnTo>
                  <a:lnTo>
                    <a:pt x="99" y="675"/>
                  </a:lnTo>
                  <a:lnTo>
                    <a:pt x="97" y="675"/>
                  </a:lnTo>
                  <a:lnTo>
                    <a:pt x="97" y="675"/>
                  </a:lnTo>
                  <a:lnTo>
                    <a:pt x="97" y="677"/>
                  </a:lnTo>
                  <a:lnTo>
                    <a:pt x="95" y="675"/>
                  </a:lnTo>
                  <a:lnTo>
                    <a:pt x="95" y="675"/>
                  </a:lnTo>
                  <a:lnTo>
                    <a:pt x="95" y="675"/>
                  </a:lnTo>
                  <a:lnTo>
                    <a:pt x="93" y="675"/>
                  </a:lnTo>
                  <a:lnTo>
                    <a:pt x="93" y="677"/>
                  </a:lnTo>
                  <a:lnTo>
                    <a:pt x="91" y="677"/>
                  </a:lnTo>
                  <a:lnTo>
                    <a:pt x="91" y="677"/>
                  </a:lnTo>
                  <a:lnTo>
                    <a:pt x="89" y="679"/>
                  </a:lnTo>
                  <a:lnTo>
                    <a:pt x="91" y="679"/>
                  </a:lnTo>
                  <a:lnTo>
                    <a:pt x="93" y="679"/>
                  </a:lnTo>
                  <a:lnTo>
                    <a:pt x="89" y="679"/>
                  </a:lnTo>
                  <a:lnTo>
                    <a:pt x="89" y="681"/>
                  </a:lnTo>
                  <a:lnTo>
                    <a:pt x="89" y="681"/>
                  </a:lnTo>
                  <a:lnTo>
                    <a:pt x="91" y="681"/>
                  </a:lnTo>
                  <a:lnTo>
                    <a:pt x="89" y="683"/>
                  </a:lnTo>
                  <a:lnTo>
                    <a:pt x="87" y="683"/>
                  </a:lnTo>
                  <a:lnTo>
                    <a:pt x="82" y="683"/>
                  </a:lnTo>
                  <a:lnTo>
                    <a:pt x="82" y="683"/>
                  </a:lnTo>
                  <a:lnTo>
                    <a:pt x="80" y="685"/>
                  </a:lnTo>
                  <a:lnTo>
                    <a:pt x="80" y="687"/>
                  </a:lnTo>
                  <a:lnTo>
                    <a:pt x="82" y="685"/>
                  </a:lnTo>
                  <a:lnTo>
                    <a:pt x="85" y="685"/>
                  </a:lnTo>
                  <a:lnTo>
                    <a:pt x="85" y="685"/>
                  </a:lnTo>
                  <a:lnTo>
                    <a:pt x="82" y="687"/>
                  </a:lnTo>
                  <a:lnTo>
                    <a:pt x="80" y="687"/>
                  </a:lnTo>
                  <a:lnTo>
                    <a:pt x="82" y="687"/>
                  </a:lnTo>
                  <a:lnTo>
                    <a:pt x="85" y="687"/>
                  </a:lnTo>
                  <a:lnTo>
                    <a:pt x="87" y="685"/>
                  </a:lnTo>
                  <a:lnTo>
                    <a:pt x="80" y="689"/>
                  </a:lnTo>
                  <a:lnTo>
                    <a:pt x="80" y="691"/>
                  </a:lnTo>
                  <a:lnTo>
                    <a:pt x="80" y="691"/>
                  </a:lnTo>
                  <a:lnTo>
                    <a:pt x="85" y="691"/>
                  </a:lnTo>
                  <a:lnTo>
                    <a:pt x="89" y="691"/>
                  </a:lnTo>
                  <a:lnTo>
                    <a:pt x="89" y="691"/>
                  </a:lnTo>
                  <a:lnTo>
                    <a:pt x="91" y="689"/>
                  </a:lnTo>
                  <a:lnTo>
                    <a:pt x="93" y="689"/>
                  </a:lnTo>
                  <a:lnTo>
                    <a:pt x="93" y="691"/>
                  </a:lnTo>
                  <a:lnTo>
                    <a:pt x="95" y="691"/>
                  </a:lnTo>
                  <a:lnTo>
                    <a:pt x="93" y="693"/>
                  </a:lnTo>
                  <a:lnTo>
                    <a:pt x="95" y="693"/>
                  </a:lnTo>
                  <a:lnTo>
                    <a:pt x="97" y="693"/>
                  </a:lnTo>
                  <a:lnTo>
                    <a:pt x="99" y="693"/>
                  </a:lnTo>
                  <a:lnTo>
                    <a:pt x="99" y="693"/>
                  </a:lnTo>
                  <a:lnTo>
                    <a:pt x="99" y="693"/>
                  </a:lnTo>
                  <a:lnTo>
                    <a:pt x="99" y="695"/>
                  </a:lnTo>
                  <a:lnTo>
                    <a:pt x="99" y="695"/>
                  </a:lnTo>
                  <a:lnTo>
                    <a:pt x="99" y="697"/>
                  </a:lnTo>
                  <a:lnTo>
                    <a:pt x="99" y="697"/>
                  </a:lnTo>
                  <a:lnTo>
                    <a:pt x="99" y="697"/>
                  </a:lnTo>
                  <a:lnTo>
                    <a:pt x="99" y="697"/>
                  </a:lnTo>
                  <a:lnTo>
                    <a:pt x="101" y="697"/>
                  </a:lnTo>
                  <a:lnTo>
                    <a:pt x="101" y="697"/>
                  </a:lnTo>
                  <a:lnTo>
                    <a:pt x="105" y="697"/>
                  </a:lnTo>
                  <a:lnTo>
                    <a:pt x="105" y="697"/>
                  </a:lnTo>
                  <a:lnTo>
                    <a:pt x="107" y="697"/>
                  </a:lnTo>
                  <a:lnTo>
                    <a:pt x="107" y="697"/>
                  </a:lnTo>
                  <a:lnTo>
                    <a:pt x="111" y="697"/>
                  </a:lnTo>
                  <a:lnTo>
                    <a:pt x="117" y="697"/>
                  </a:lnTo>
                  <a:lnTo>
                    <a:pt x="119" y="695"/>
                  </a:lnTo>
                  <a:lnTo>
                    <a:pt x="119" y="695"/>
                  </a:lnTo>
                  <a:lnTo>
                    <a:pt x="124" y="693"/>
                  </a:lnTo>
                  <a:lnTo>
                    <a:pt x="130" y="689"/>
                  </a:lnTo>
                  <a:lnTo>
                    <a:pt x="132" y="689"/>
                  </a:lnTo>
                  <a:lnTo>
                    <a:pt x="136" y="687"/>
                  </a:lnTo>
                  <a:lnTo>
                    <a:pt x="136" y="685"/>
                  </a:lnTo>
                  <a:lnTo>
                    <a:pt x="142" y="685"/>
                  </a:lnTo>
                  <a:lnTo>
                    <a:pt x="142" y="685"/>
                  </a:lnTo>
                  <a:lnTo>
                    <a:pt x="142" y="685"/>
                  </a:lnTo>
                  <a:lnTo>
                    <a:pt x="144" y="683"/>
                  </a:lnTo>
                  <a:lnTo>
                    <a:pt x="144" y="683"/>
                  </a:lnTo>
                  <a:lnTo>
                    <a:pt x="144" y="683"/>
                  </a:lnTo>
                  <a:lnTo>
                    <a:pt x="144" y="681"/>
                  </a:lnTo>
                  <a:lnTo>
                    <a:pt x="144" y="681"/>
                  </a:lnTo>
                  <a:lnTo>
                    <a:pt x="148" y="679"/>
                  </a:lnTo>
                  <a:lnTo>
                    <a:pt x="152" y="675"/>
                  </a:lnTo>
                  <a:lnTo>
                    <a:pt x="154" y="673"/>
                  </a:lnTo>
                  <a:lnTo>
                    <a:pt x="156" y="671"/>
                  </a:lnTo>
                  <a:lnTo>
                    <a:pt x="158" y="669"/>
                  </a:lnTo>
                  <a:lnTo>
                    <a:pt x="160" y="666"/>
                  </a:lnTo>
                  <a:lnTo>
                    <a:pt x="160" y="666"/>
                  </a:lnTo>
                  <a:lnTo>
                    <a:pt x="160" y="666"/>
                  </a:lnTo>
                  <a:lnTo>
                    <a:pt x="163" y="666"/>
                  </a:lnTo>
                  <a:lnTo>
                    <a:pt x="165" y="662"/>
                  </a:lnTo>
                  <a:lnTo>
                    <a:pt x="167" y="660"/>
                  </a:lnTo>
                  <a:lnTo>
                    <a:pt x="169" y="658"/>
                  </a:lnTo>
                  <a:lnTo>
                    <a:pt x="173" y="654"/>
                  </a:lnTo>
                  <a:lnTo>
                    <a:pt x="173" y="654"/>
                  </a:lnTo>
                  <a:lnTo>
                    <a:pt x="173" y="654"/>
                  </a:lnTo>
                  <a:lnTo>
                    <a:pt x="175" y="654"/>
                  </a:lnTo>
                  <a:lnTo>
                    <a:pt x="175" y="654"/>
                  </a:lnTo>
                  <a:lnTo>
                    <a:pt x="177" y="652"/>
                  </a:lnTo>
                  <a:lnTo>
                    <a:pt x="179" y="652"/>
                  </a:lnTo>
                  <a:lnTo>
                    <a:pt x="181" y="652"/>
                  </a:lnTo>
                  <a:lnTo>
                    <a:pt x="181" y="652"/>
                  </a:lnTo>
                  <a:lnTo>
                    <a:pt x="183" y="650"/>
                  </a:lnTo>
                  <a:lnTo>
                    <a:pt x="185" y="650"/>
                  </a:lnTo>
                  <a:lnTo>
                    <a:pt x="187" y="650"/>
                  </a:lnTo>
                  <a:lnTo>
                    <a:pt x="189" y="648"/>
                  </a:lnTo>
                  <a:lnTo>
                    <a:pt x="191" y="648"/>
                  </a:lnTo>
                  <a:lnTo>
                    <a:pt x="191" y="646"/>
                  </a:lnTo>
                  <a:lnTo>
                    <a:pt x="191" y="646"/>
                  </a:lnTo>
                  <a:lnTo>
                    <a:pt x="191" y="644"/>
                  </a:lnTo>
                  <a:lnTo>
                    <a:pt x="191" y="646"/>
                  </a:lnTo>
                  <a:lnTo>
                    <a:pt x="193" y="646"/>
                  </a:lnTo>
                  <a:lnTo>
                    <a:pt x="193" y="648"/>
                  </a:lnTo>
                  <a:lnTo>
                    <a:pt x="193" y="648"/>
                  </a:lnTo>
                  <a:lnTo>
                    <a:pt x="195" y="646"/>
                  </a:lnTo>
                  <a:lnTo>
                    <a:pt x="195" y="646"/>
                  </a:lnTo>
                  <a:lnTo>
                    <a:pt x="197" y="646"/>
                  </a:lnTo>
                  <a:lnTo>
                    <a:pt x="197" y="644"/>
                  </a:lnTo>
                  <a:lnTo>
                    <a:pt x="197" y="646"/>
                  </a:lnTo>
                  <a:lnTo>
                    <a:pt x="197" y="646"/>
                  </a:lnTo>
                  <a:lnTo>
                    <a:pt x="195" y="646"/>
                  </a:lnTo>
                  <a:lnTo>
                    <a:pt x="195" y="646"/>
                  </a:lnTo>
                  <a:lnTo>
                    <a:pt x="197" y="646"/>
                  </a:lnTo>
                  <a:lnTo>
                    <a:pt x="200" y="646"/>
                  </a:lnTo>
                  <a:lnTo>
                    <a:pt x="200" y="648"/>
                  </a:lnTo>
                  <a:lnTo>
                    <a:pt x="202" y="648"/>
                  </a:lnTo>
                  <a:lnTo>
                    <a:pt x="204" y="648"/>
                  </a:lnTo>
                  <a:lnTo>
                    <a:pt x="204" y="648"/>
                  </a:lnTo>
                  <a:lnTo>
                    <a:pt x="206" y="646"/>
                  </a:lnTo>
                  <a:lnTo>
                    <a:pt x="206" y="646"/>
                  </a:lnTo>
                  <a:lnTo>
                    <a:pt x="208" y="644"/>
                  </a:lnTo>
                  <a:lnTo>
                    <a:pt x="208" y="644"/>
                  </a:lnTo>
                  <a:lnTo>
                    <a:pt x="206" y="644"/>
                  </a:lnTo>
                  <a:lnTo>
                    <a:pt x="204" y="644"/>
                  </a:lnTo>
                  <a:lnTo>
                    <a:pt x="204" y="642"/>
                  </a:lnTo>
                  <a:lnTo>
                    <a:pt x="204" y="642"/>
                  </a:lnTo>
                  <a:lnTo>
                    <a:pt x="206" y="640"/>
                  </a:lnTo>
                  <a:lnTo>
                    <a:pt x="204" y="640"/>
                  </a:lnTo>
                  <a:lnTo>
                    <a:pt x="202" y="640"/>
                  </a:lnTo>
                  <a:lnTo>
                    <a:pt x="204" y="640"/>
                  </a:lnTo>
                  <a:lnTo>
                    <a:pt x="204" y="640"/>
                  </a:lnTo>
                  <a:lnTo>
                    <a:pt x="206" y="640"/>
                  </a:lnTo>
                  <a:lnTo>
                    <a:pt x="206" y="638"/>
                  </a:lnTo>
                  <a:lnTo>
                    <a:pt x="206" y="638"/>
                  </a:lnTo>
                  <a:lnTo>
                    <a:pt x="206" y="638"/>
                  </a:lnTo>
                  <a:lnTo>
                    <a:pt x="206" y="638"/>
                  </a:lnTo>
                  <a:lnTo>
                    <a:pt x="208" y="636"/>
                  </a:lnTo>
                  <a:lnTo>
                    <a:pt x="210" y="636"/>
                  </a:lnTo>
                  <a:lnTo>
                    <a:pt x="212" y="634"/>
                  </a:lnTo>
                  <a:lnTo>
                    <a:pt x="216" y="634"/>
                  </a:lnTo>
                  <a:lnTo>
                    <a:pt x="216" y="632"/>
                  </a:lnTo>
                  <a:lnTo>
                    <a:pt x="218" y="632"/>
                  </a:lnTo>
                  <a:lnTo>
                    <a:pt x="222" y="629"/>
                  </a:lnTo>
                  <a:lnTo>
                    <a:pt x="230" y="623"/>
                  </a:lnTo>
                  <a:lnTo>
                    <a:pt x="230" y="623"/>
                  </a:lnTo>
                  <a:lnTo>
                    <a:pt x="236" y="619"/>
                  </a:lnTo>
                  <a:lnTo>
                    <a:pt x="239" y="617"/>
                  </a:lnTo>
                  <a:lnTo>
                    <a:pt x="241" y="617"/>
                  </a:lnTo>
                  <a:lnTo>
                    <a:pt x="243" y="615"/>
                  </a:lnTo>
                  <a:lnTo>
                    <a:pt x="245" y="615"/>
                  </a:lnTo>
                  <a:lnTo>
                    <a:pt x="249" y="611"/>
                  </a:lnTo>
                  <a:lnTo>
                    <a:pt x="249" y="611"/>
                  </a:lnTo>
                  <a:lnTo>
                    <a:pt x="251" y="609"/>
                  </a:lnTo>
                  <a:lnTo>
                    <a:pt x="251" y="609"/>
                  </a:lnTo>
                  <a:lnTo>
                    <a:pt x="251" y="609"/>
                  </a:lnTo>
                  <a:lnTo>
                    <a:pt x="249" y="609"/>
                  </a:lnTo>
                  <a:lnTo>
                    <a:pt x="251" y="607"/>
                  </a:lnTo>
                  <a:lnTo>
                    <a:pt x="251" y="605"/>
                  </a:lnTo>
                  <a:lnTo>
                    <a:pt x="251" y="605"/>
                  </a:lnTo>
                  <a:lnTo>
                    <a:pt x="251" y="605"/>
                  </a:lnTo>
                  <a:lnTo>
                    <a:pt x="253" y="603"/>
                  </a:lnTo>
                  <a:lnTo>
                    <a:pt x="255" y="603"/>
                  </a:lnTo>
                  <a:lnTo>
                    <a:pt x="255" y="603"/>
                  </a:lnTo>
                  <a:lnTo>
                    <a:pt x="257" y="601"/>
                  </a:lnTo>
                  <a:lnTo>
                    <a:pt x="259" y="599"/>
                  </a:lnTo>
                  <a:lnTo>
                    <a:pt x="261" y="599"/>
                  </a:lnTo>
                  <a:lnTo>
                    <a:pt x="259" y="599"/>
                  </a:lnTo>
                  <a:lnTo>
                    <a:pt x="255" y="601"/>
                  </a:lnTo>
                  <a:lnTo>
                    <a:pt x="253" y="601"/>
                  </a:lnTo>
                  <a:lnTo>
                    <a:pt x="255" y="601"/>
                  </a:lnTo>
                  <a:lnTo>
                    <a:pt x="257" y="599"/>
                  </a:lnTo>
                  <a:close/>
                  <a:moveTo>
                    <a:pt x="333" y="510"/>
                  </a:moveTo>
                  <a:lnTo>
                    <a:pt x="333" y="510"/>
                  </a:lnTo>
                  <a:lnTo>
                    <a:pt x="335" y="512"/>
                  </a:lnTo>
                  <a:lnTo>
                    <a:pt x="335" y="510"/>
                  </a:lnTo>
                  <a:lnTo>
                    <a:pt x="335" y="508"/>
                  </a:lnTo>
                  <a:lnTo>
                    <a:pt x="335" y="508"/>
                  </a:lnTo>
                  <a:lnTo>
                    <a:pt x="335" y="506"/>
                  </a:lnTo>
                  <a:lnTo>
                    <a:pt x="335" y="506"/>
                  </a:lnTo>
                  <a:lnTo>
                    <a:pt x="335" y="506"/>
                  </a:lnTo>
                  <a:lnTo>
                    <a:pt x="333" y="508"/>
                  </a:lnTo>
                  <a:lnTo>
                    <a:pt x="333" y="510"/>
                  </a:lnTo>
                  <a:lnTo>
                    <a:pt x="333" y="510"/>
                  </a:lnTo>
                  <a:lnTo>
                    <a:pt x="333" y="510"/>
                  </a:lnTo>
                  <a:close/>
                  <a:moveTo>
                    <a:pt x="362" y="535"/>
                  </a:moveTo>
                  <a:lnTo>
                    <a:pt x="362" y="535"/>
                  </a:lnTo>
                  <a:lnTo>
                    <a:pt x="358" y="535"/>
                  </a:lnTo>
                  <a:lnTo>
                    <a:pt x="358" y="535"/>
                  </a:lnTo>
                  <a:lnTo>
                    <a:pt x="356" y="535"/>
                  </a:lnTo>
                  <a:lnTo>
                    <a:pt x="353" y="537"/>
                  </a:lnTo>
                  <a:lnTo>
                    <a:pt x="351" y="537"/>
                  </a:lnTo>
                  <a:lnTo>
                    <a:pt x="349" y="539"/>
                  </a:lnTo>
                  <a:lnTo>
                    <a:pt x="347" y="541"/>
                  </a:lnTo>
                  <a:lnTo>
                    <a:pt x="345" y="541"/>
                  </a:lnTo>
                  <a:lnTo>
                    <a:pt x="343" y="543"/>
                  </a:lnTo>
                  <a:lnTo>
                    <a:pt x="341" y="543"/>
                  </a:lnTo>
                  <a:lnTo>
                    <a:pt x="341" y="543"/>
                  </a:lnTo>
                  <a:lnTo>
                    <a:pt x="335" y="541"/>
                  </a:lnTo>
                  <a:lnTo>
                    <a:pt x="333" y="539"/>
                  </a:lnTo>
                  <a:lnTo>
                    <a:pt x="331" y="537"/>
                  </a:lnTo>
                  <a:lnTo>
                    <a:pt x="331" y="537"/>
                  </a:lnTo>
                  <a:lnTo>
                    <a:pt x="329" y="537"/>
                  </a:lnTo>
                  <a:lnTo>
                    <a:pt x="329" y="537"/>
                  </a:lnTo>
                  <a:lnTo>
                    <a:pt x="327" y="535"/>
                  </a:lnTo>
                  <a:lnTo>
                    <a:pt x="329" y="535"/>
                  </a:lnTo>
                  <a:lnTo>
                    <a:pt x="329" y="535"/>
                  </a:lnTo>
                  <a:lnTo>
                    <a:pt x="329" y="535"/>
                  </a:lnTo>
                  <a:lnTo>
                    <a:pt x="329" y="535"/>
                  </a:lnTo>
                  <a:lnTo>
                    <a:pt x="329" y="533"/>
                  </a:lnTo>
                  <a:lnTo>
                    <a:pt x="331" y="529"/>
                  </a:lnTo>
                  <a:lnTo>
                    <a:pt x="333" y="523"/>
                  </a:lnTo>
                  <a:lnTo>
                    <a:pt x="333" y="523"/>
                  </a:lnTo>
                  <a:lnTo>
                    <a:pt x="333" y="520"/>
                  </a:lnTo>
                  <a:lnTo>
                    <a:pt x="333" y="518"/>
                  </a:lnTo>
                  <a:lnTo>
                    <a:pt x="331" y="518"/>
                  </a:lnTo>
                  <a:lnTo>
                    <a:pt x="331" y="516"/>
                  </a:lnTo>
                  <a:lnTo>
                    <a:pt x="331" y="514"/>
                  </a:lnTo>
                  <a:lnTo>
                    <a:pt x="331" y="514"/>
                  </a:lnTo>
                  <a:lnTo>
                    <a:pt x="331" y="514"/>
                  </a:lnTo>
                  <a:lnTo>
                    <a:pt x="329" y="516"/>
                  </a:lnTo>
                  <a:lnTo>
                    <a:pt x="329" y="516"/>
                  </a:lnTo>
                  <a:lnTo>
                    <a:pt x="329" y="516"/>
                  </a:lnTo>
                  <a:lnTo>
                    <a:pt x="329" y="518"/>
                  </a:lnTo>
                  <a:lnTo>
                    <a:pt x="329" y="518"/>
                  </a:lnTo>
                  <a:lnTo>
                    <a:pt x="329" y="520"/>
                  </a:lnTo>
                  <a:lnTo>
                    <a:pt x="327" y="520"/>
                  </a:lnTo>
                  <a:lnTo>
                    <a:pt x="327" y="525"/>
                  </a:lnTo>
                  <a:lnTo>
                    <a:pt x="325" y="527"/>
                  </a:lnTo>
                  <a:lnTo>
                    <a:pt x="325" y="529"/>
                  </a:lnTo>
                  <a:lnTo>
                    <a:pt x="323" y="529"/>
                  </a:lnTo>
                  <a:lnTo>
                    <a:pt x="323" y="529"/>
                  </a:lnTo>
                  <a:lnTo>
                    <a:pt x="323" y="527"/>
                  </a:lnTo>
                  <a:lnTo>
                    <a:pt x="323" y="525"/>
                  </a:lnTo>
                  <a:lnTo>
                    <a:pt x="323" y="525"/>
                  </a:lnTo>
                  <a:lnTo>
                    <a:pt x="323" y="523"/>
                  </a:lnTo>
                  <a:lnTo>
                    <a:pt x="321" y="523"/>
                  </a:lnTo>
                  <a:lnTo>
                    <a:pt x="321" y="520"/>
                  </a:lnTo>
                  <a:lnTo>
                    <a:pt x="319" y="520"/>
                  </a:lnTo>
                  <a:lnTo>
                    <a:pt x="319" y="523"/>
                  </a:lnTo>
                  <a:lnTo>
                    <a:pt x="319" y="523"/>
                  </a:lnTo>
                  <a:lnTo>
                    <a:pt x="317" y="520"/>
                  </a:lnTo>
                  <a:lnTo>
                    <a:pt x="317" y="520"/>
                  </a:lnTo>
                  <a:lnTo>
                    <a:pt x="317" y="520"/>
                  </a:lnTo>
                  <a:lnTo>
                    <a:pt x="317" y="520"/>
                  </a:lnTo>
                  <a:lnTo>
                    <a:pt x="319" y="516"/>
                  </a:lnTo>
                  <a:lnTo>
                    <a:pt x="321" y="516"/>
                  </a:lnTo>
                  <a:lnTo>
                    <a:pt x="321" y="514"/>
                  </a:lnTo>
                  <a:lnTo>
                    <a:pt x="321" y="514"/>
                  </a:lnTo>
                  <a:lnTo>
                    <a:pt x="323" y="512"/>
                  </a:lnTo>
                  <a:lnTo>
                    <a:pt x="323" y="510"/>
                  </a:lnTo>
                  <a:lnTo>
                    <a:pt x="323" y="506"/>
                  </a:lnTo>
                  <a:lnTo>
                    <a:pt x="323" y="506"/>
                  </a:lnTo>
                  <a:lnTo>
                    <a:pt x="323" y="504"/>
                  </a:lnTo>
                  <a:lnTo>
                    <a:pt x="323" y="502"/>
                  </a:lnTo>
                  <a:lnTo>
                    <a:pt x="323" y="502"/>
                  </a:lnTo>
                  <a:lnTo>
                    <a:pt x="325" y="502"/>
                  </a:lnTo>
                  <a:lnTo>
                    <a:pt x="325" y="502"/>
                  </a:lnTo>
                  <a:lnTo>
                    <a:pt x="325" y="500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7" y="496"/>
                  </a:lnTo>
                  <a:lnTo>
                    <a:pt x="327" y="494"/>
                  </a:lnTo>
                  <a:lnTo>
                    <a:pt x="327" y="494"/>
                  </a:lnTo>
                  <a:lnTo>
                    <a:pt x="327" y="494"/>
                  </a:lnTo>
                  <a:lnTo>
                    <a:pt x="327" y="492"/>
                  </a:lnTo>
                  <a:lnTo>
                    <a:pt x="327" y="492"/>
                  </a:lnTo>
                  <a:lnTo>
                    <a:pt x="327" y="492"/>
                  </a:lnTo>
                  <a:lnTo>
                    <a:pt x="325" y="492"/>
                  </a:lnTo>
                  <a:lnTo>
                    <a:pt x="325" y="492"/>
                  </a:lnTo>
                  <a:lnTo>
                    <a:pt x="325" y="492"/>
                  </a:lnTo>
                  <a:lnTo>
                    <a:pt x="325" y="490"/>
                  </a:lnTo>
                  <a:lnTo>
                    <a:pt x="325" y="490"/>
                  </a:lnTo>
                  <a:lnTo>
                    <a:pt x="325" y="490"/>
                  </a:lnTo>
                  <a:lnTo>
                    <a:pt x="323" y="488"/>
                  </a:lnTo>
                  <a:lnTo>
                    <a:pt x="323" y="488"/>
                  </a:lnTo>
                  <a:lnTo>
                    <a:pt x="321" y="488"/>
                  </a:lnTo>
                  <a:lnTo>
                    <a:pt x="321" y="488"/>
                  </a:lnTo>
                  <a:lnTo>
                    <a:pt x="321" y="488"/>
                  </a:lnTo>
                  <a:lnTo>
                    <a:pt x="321" y="488"/>
                  </a:lnTo>
                  <a:lnTo>
                    <a:pt x="317" y="486"/>
                  </a:lnTo>
                  <a:lnTo>
                    <a:pt x="317" y="486"/>
                  </a:lnTo>
                  <a:lnTo>
                    <a:pt x="319" y="483"/>
                  </a:lnTo>
                  <a:lnTo>
                    <a:pt x="317" y="486"/>
                  </a:lnTo>
                  <a:lnTo>
                    <a:pt x="314" y="486"/>
                  </a:lnTo>
                  <a:lnTo>
                    <a:pt x="314" y="486"/>
                  </a:lnTo>
                  <a:lnTo>
                    <a:pt x="314" y="486"/>
                  </a:lnTo>
                  <a:lnTo>
                    <a:pt x="314" y="486"/>
                  </a:lnTo>
                  <a:lnTo>
                    <a:pt x="314" y="483"/>
                  </a:lnTo>
                  <a:lnTo>
                    <a:pt x="314" y="483"/>
                  </a:lnTo>
                  <a:lnTo>
                    <a:pt x="314" y="479"/>
                  </a:lnTo>
                  <a:lnTo>
                    <a:pt x="312" y="479"/>
                  </a:lnTo>
                  <a:lnTo>
                    <a:pt x="312" y="477"/>
                  </a:lnTo>
                  <a:lnTo>
                    <a:pt x="317" y="475"/>
                  </a:lnTo>
                  <a:lnTo>
                    <a:pt x="312" y="475"/>
                  </a:lnTo>
                  <a:lnTo>
                    <a:pt x="310" y="477"/>
                  </a:lnTo>
                  <a:lnTo>
                    <a:pt x="310" y="479"/>
                  </a:lnTo>
                  <a:lnTo>
                    <a:pt x="312" y="483"/>
                  </a:lnTo>
                  <a:lnTo>
                    <a:pt x="312" y="486"/>
                  </a:lnTo>
                  <a:lnTo>
                    <a:pt x="312" y="488"/>
                  </a:lnTo>
                  <a:lnTo>
                    <a:pt x="310" y="490"/>
                  </a:lnTo>
                  <a:lnTo>
                    <a:pt x="308" y="490"/>
                  </a:lnTo>
                  <a:lnTo>
                    <a:pt x="308" y="492"/>
                  </a:lnTo>
                  <a:lnTo>
                    <a:pt x="310" y="494"/>
                  </a:lnTo>
                  <a:lnTo>
                    <a:pt x="310" y="494"/>
                  </a:lnTo>
                  <a:lnTo>
                    <a:pt x="310" y="494"/>
                  </a:lnTo>
                  <a:lnTo>
                    <a:pt x="310" y="494"/>
                  </a:lnTo>
                  <a:lnTo>
                    <a:pt x="310" y="496"/>
                  </a:lnTo>
                  <a:lnTo>
                    <a:pt x="310" y="496"/>
                  </a:lnTo>
                  <a:lnTo>
                    <a:pt x="310" y="496"/>
                  </a:lnTo>
                  <a:lnTo>
                    <a:pt x="312" y="494"/>
                  </a:lnTo>
                  <a:lnTo>
                    <a:pt x="312" y="494"/>
                  </a:lnTo>
                  <a:lnTo>
                    <a:pt x="314" y="494"/>
                  </a:lnTo>
                  <a:lnTo>
                    <a:pt x="314" y="492"/>
                  </a:lnTo>
                  <a:lnTo>
                    <a:pt x="317" y="492"/>
                  </a:lnTo>
                  <a:lnTo>
                    <a:pt x="314" y="494"/>
                  </a:lnTo>
                  <a:lnTo>
                    <a:pt x="314" y="494"/>
                  </a:lnTo>
                  <a:lnTo>
                    <a:pt x="312" y="496"/>
                  </a:lnTo>
                  <a:lnTo>
                    <a:pt x="310" y="496"/>
                  </a:lnTo>
                  <a:lnTo>
                    <a:pt x="312" y="508"/>
                  </a:lnTo>
                  <a:lnTo>
                    <a:pt x="312" y="510"/>
                  </a:lnTo>
                  <a:lnTo>
                    <a:pt x="310" y="512"/>
                  </a:lnTo>
                  <a:lnTo>
                    <a:pt x="312" y="512"/>
                  </a:lnTo>
                  <a:lnTo>
                    <a:pt x="312" y="512"/>
                  </a:lnTo>
                  <a:lnTo>
                    <a:pt x="312" y="512"/>
                  </a:lnTo>
                  <a:lnTo>
                    <a:pt x="312" y="510"/>
                  </a:lnTo>
                  <a:lnTo>
                    <a:pt x="312" y="508"/>
                  </a:lnTo>
                  <a:lnTo>
                    <a:pt x="312" y="506"/>
                  </a:lnTo>
                  <a:lnTo>
                    <a:pt x="312" y="504"/>
                  </a:lnTo>
                  <a:lnTo>
                    <a:pt x="314" y="504"/>
                  </a:lnTo>
                  <a:lnTo>
                    <a:pt x="314" y="506"/>
                  </a:lnTo>
                  <a:lnTo>
                    <a:pt x="314" y="508"/>
                  </a:lnTo>
                  <a:lnTo>
                    <a:pt x="317" y="510"/>
                  </a:lnTo>
                  <a:lnTo>
                    <a:pt x="317" y="510"/>
                  </a:lnTo>
                  <a:lnTo>
                    <a:pt x="317" y="508"/>
                  </a:lnTo>
                  <a:lnTo>
                    <a:pt x="317" y="508"/>
                  </a:lnTo>
                  <a:lnTo>
                    <a:pt x="317" y="508"/>
                  </a:lnTo>
                  <a:lnTo>
                    <a:pt x="319" y="510"/>
                  </a:lnTo>
                  <a:lnTo>
                    <a:pt x="317" y="510"/>
                  </a:lnTo>
                  <a:lnTo>
                    <a:pt x="317" y="512"/>
                  </a:lnTo>
                  <a:lnTo>
                    <a:pt x="317" y="512"/>
                  </a:lnTo>
                  <a:lnTo>
                    <a:pt x="317" y="512"/>
                  </a:lnTo>
                  <a:lnTo>
                    <a:pt x="317" y="514"/>
                  </a:lnTo>
                  <a:lnTo>
                    <a:pt x="317" y="514"/>
                  </a:lnTo>
                  <a:lnTo>
                    <a:pt x="314" y="516"/>
                  </a:lnTo>
                  <a:lnTo>
                    <a:pt x="314" y="516"/>
                  </a:lnTo>
                  <a:lnTo>
                    <a:pt x="312" y="514"/>
                  </a:lnTo>
                  <a:lnTo>
                    <a:pt x="312" y="514"/>
                  </a:lnTo>
                  <a:lnTo>
                    <a:pt x="312" y="518"/>
                  </a:lnTo>
                  <a:lnTo>
                    <a:pt x="312" y="520"/>
                  </a:lnTo>
                  <a:lnTo>
                    <a:pt x="312" y="523"/>
                  </a:lnTo>
                  <a:lnTo>
                    <a:pt x="312" y="523"/>
                  </a:lnTo>
                  <a:lnTo>
                    <a:pt x="312" y="523"/>
                  </a:lnTo>
                  <a:lnTo>
                    <a:pt x="312" y="525"/>
                  </a:lnTo>
                  <a:lnTo>
                    <a:pt x="314" y="523"/>
                  </a:lnTo>
                  <a:lnTo>
                    <a:pt x="314" y="523"/>
                  </a:lnTo>
                  <a:lnTo>
                    <a:pt x="317" y="523"/>
                  </a:lnTo>
                  <a:lnTo>
                    <a:pt x="317" y="525"/>
                  </a:lnTo>
                  <a:lnTo>
                    <a:pt x="317" y="525"/>
                  </a:lnTo>
                  <a:lnTo>
                    <a:pt x="314" y="527"/>
                  </a:lnTo>
                  <a:lnTo>
                    <a:pt x="312" y="527"/>
                  </a:lnTo>
                  <a:lnTo>
                    <a:pt x="312" y="529"/>
                  </a:lnTo>
                  <a:lnTo>
                    <a:pt x="312" y="525"/>
                  </a:lnTo>
                  <a:lnTo>
                    <a:pt x="312" y="525"/>
                  </a:lnTo>
                  <a:lnTo>
                    <a:pt x="312" y="527"/>
                  </a:lnTo>
                  <a:lnTo>
                    <a:pt x="310" y="529"/>
                  </a:lnTo>
                  <a:lnTo>
                    <a:pt x="310" y="531"/>
                  </a:lnTo>
                  <a:lnTo>
                    <a:pt x="312" y="531"/>
                  </a:lnTo>
                  <a:lnTo>
                    <a:pt x="310" y="531"/>
                  </a:lnTo>
                  <a:lnTo>
                    <a:pt x="310" y="533"/>
                  </a:lnTo>
                  <a:lnTo>
                    <a:pt x="310" y="533"/>
                  </a:lnTo>
                  <a:lnTo>
                    <a:pt x="308" y="537"/>
                  </a:lnTo>
                  <a:lnTo>
                    <a:pt x="308" y="539"/>
                  </a:lnTo>
                  <a:lnTo>
                    <a:pt x="308" y="539"/>
                  </a:lnTo>
                  <a:lnTo>
                    <a:pt x="306" y="539"/>
                  </a:lnTo>
                  <a:lnTo>
                    <a:pt x="306" y="541"/>
                  </a:lnTo>
                  <a:lnTo>
                    <a:pt x="304" y="543"/>
                  </a:lnTo>
                  <a:lnTo>
                    <a:pt x="304" y="545"/>
                  </a:lnTo>
                  <a:lnTo>
                    <a:pt x="300" y="547"/>
                  </a:lnTo>
                  <a:lnTo>
                    <a:pt x="298" y="551"/>
                  </a:lnTo>
                  <a:lnTo>
                    <a:pt x="294" y="553"/>
                  </a:lnTo>
                  <a:lnTo>
                    <a:pt x="292" y="558"/>
                  </a:lnTo>
                  <a:lnTo>
                    <a:pt x="292" y="558"/>
                  </a:lnTo>
                  <a:lnTo>
                    <a:pt x="288" y="560"/>
                  </a:lnTo>
                  <a:lnTo>
                    <a:pt x="288" y="560"/>
                  </a:lnTo>
                  <a:lnTo>
                    <a:pt x="286" y="562"/>
                  </a:lnTo>
                  <a:lnTo>
                    <a:pt x="286" y="562"/>
                  </a:lnTo>
                  <a:lnTo>
                    <a:pt x="282" y="562"/>
                  </a:lnTo>
                  <a:lnTo>
                    <a:pt x="278" y="564"/>
                  </a:lnTo>
                  <a:lnTo>
                    <a:pt x="275" y="564"/>
                  </a:lnTo>
                  <a:lnTo>
                    <a:pt x="275" y="566"/>
                  </a:lnTo>
                  <a:lnTo>
                    <a:pt x="273" y="566"/>
                  </a:lnTo>
                  <a:lnTo>
                    <a:pt x="273" y="568"/>
                  </a:lnTo>
                  <a:lnTo>
                    <a:pt x="273" y="568"/>
                  </a:lnTo>
                  <a:lnTo>
                    <a:pt x="273" y="570"/>
                  </a:lnTo>
                  <a:lnTo>
                    <a:pt x="273" y="570"/>
                  </a:lnTo>
                  <a:lnTo>
                    <a:pt x="275" y="572"/>
                  </a:lnTo>
                  <a:lnTo>
                    <a:pt x="278" y="574"/>
                  </a:lnTo>
                  <a:lnTo>
                    <a:pt x="280" y="574"/>
                  </a:lnTo>
                  <a:lnTo>
                    <a:pt x="280" y="576"/>
                  </a:lnTo>
                  <a:lnTo>
                    <a:pt x="282" y="576"/>
                  </a:lnTo>
                  <a:lnTo>
                    <a:pt x="284" y="576"/>
                  </a:lnTo>
                  <a:lnTo>
                    <a:pt x="284" y="578"/>
                  </a:lnTo>
                  <a:lnTo>
                    <a:pt x="286" y="580"/>
                  </a:lnTo>
                  <a:lnTo>
                    <a:pt x="284" y="582"/>
                  </a:lnTo>
                  <a:lnTo>
                    <a:pt x="284" y="584"/>
                  </a:lnTo>
                  <a:lnTo>
                    <a:pt x="280" y="586"/>
                  </a:lnTo>
                  <a:lnTo>
                    <a:pt x="278" y="590"/>
                  </a:lnTo>
                  <a:lnTo>
                    <a:pt x="273" y="592"/>
                  </a:lnTo>
                  <a:lnTo>
                    <a:pt x="267" y="597"/>
                  </a:lnTo>
                  <a:lnTo>
                    <a:pt x="263" y="601"/>
                  </a:lnTo>
                  <a:lnTo>
                    <a:pt x="263" y="601"/>
                  </a:lnTo>
                  <a:lnTo>
                    <a:pt x="261" y="601"/>
                  </a:lnTo>
                  <a:lnTo>
                    <a:pt x="261" y="603"/>
                  </a:lnTo>
                  <a:lnTo>
                    <a:pt x="261" y="603"/>
                  </a:lnTo>
                  <a:lnTo>
                    <a:pt x="263" y="603"/>
                  </a:lnTo>
                  <a:lnTo>
                    <a:pt x="265" y="601"/>
                  </a:lnTo>
                  <a:lnTo>
                    <a:pt x="265" y="601"/>
                  </a:lnTo>
                  <a:lnTo>
                    <a:pt x="265" y="601"/>
                  </a:lnTo>
                  <a:lnTo>
                    <a:pt x="267" y="601"/>
                  </a:lnTo>
                  <a:lnTo>
                    <a:pt x="267" y="601"/>
                  </a:lnTo>
                  <a:lnTo>
                    <a:pt x="265" y="601"/>
                  </a:lnTo>
                  <a:lnTo>
                    <a:pt x="263" y="603"/>
                  </a:lnTo>
                  <a:lnTo>
                    <a:pt x="263" y="605"/>
                  </a:lnTo>
                  <a:lnTo>
                    <a:pt x="263" y="605"/>
                  </a:lnTo>
                  <a:lnTo>
                    <a:pt x="267" y="603"/>
                  </a:lnTo>
                  <a:lnTo>
                    <a:pt x="267" y="603"/>
                  </a:lnTo>
                  <a:lnTo>
                    <a:pt x="267" y="605"/>
                  </a:lnTo>
                  <a:lnTo>
                    <a:pt x="267" y="605"/>
                  </a:lnTo>
                  <a:lnTo>
                    <a:pt x="267" y="607"/>
                  </a:lnTo>
                  <a:lnTo>
                    <a:pt x="267" y="607"/>
                  </a:lnTo>
                  <a:lnTo>
                    <a:pt x="269" y="607"/>
                  </a:lnTo>
                  <a:lnTo>
                    <a:pt x="271" y="607"/>
                  </a:lnTo>
                  <a:lnTo>
                    <a:pt x="275" y="603"/>
                  </a:lnTo>
                  <a:lnTo>
                    <a:pt x="280" y="603"/>
                  </a:lnTo>
                  <a:lnTo>
                    <a:pt x="284" y="601"/>
                  </a:lnTo>
                  <a:lnTo>
                    <a:pt x="286" y="599"/>
                  </a:lnTo>
                  <a:lnTo>
                    <a:pt x="288" y="597"/>
                  </a:lnTo>
                  <a:lnTo>
                    <a:pt x="292" y="595"/>
                  </a:lnTo>
                  <a:lnTo>
                    <a:pt x="294" y="592"/>
                  </a:lnTo>
                  <a:lnTo>
                    <a:pt x="296" y="590"/>
                  </a:lnTo>
                  <a:lnTo>
                    <a:pt x="298" y="588"/>
                  </a:lnTo>
                  <a:lnTo>
                    <a:pt x="302" y="586"/>
                  </a:lnTo>
                  <a:lnTo>
                    <a:pt x="306" y="584"/>
                  </a:lnTo>
                  <a:lnTo>
                    <a:pt x="308" y="582"/>
                  </a:lnTo>
                  <a:lnTo>
                    <a:pt x="308" y="580"/>
                  </a:lnTo>
                  <a:lnTo>
                    <a:pt x="314" y="578"/>
                  </a:lnTo>
                  <a:lnTo>
                    <a:pt x="319" y="574"/>
                  </a:lnTo>
                  <a:lnTo>
                    <a:pt x="319" y="572"/>
                  </a:lnTo>
                  <a:lnTo>
                    <a:pt x="319" y="572"/>
                  </a:lnTo>
                  <a:lnTo>
                    <a:pt x="319" y="570"/>
                  </a:lnTo>
                  <a:lnTo>
                    <a:pt x="321" y="568"/>
                  </a:lnTo>
                  <a:lnTo>
                    <a:pt x="323" y="566"/>
                  </a:lnTo>
                  <a:lnTo>
                    <a:pt x="325" y="566"/>
                  </a:lnTo>
                  <a:lnTo>
                    <a:pt x="325" y="564"/>
                  </a:lnTo>
                  <a:lnTo>
                    <a:pt x="329" y="564"/>
                  </a:lnTo>
                  <a:lnTo>
                    <a:pt x="331" y="564"/>
                  </a:lnTo>
                  <a:lnTo>
                    <a:pt x="333" y="562"/>
                  </a:lnTo>
                  <a:lnTo>
                    <a:pt x="335" y="564"/>
                  </a:lnTo>
                  <a:lnTo>
                    <a:pt x="337" y="564"/>
                  </a:lnTo>
                  <a:lnTo>
                    <a:pt x="337" y="564"/>
                  </a:lnTo>
                  <a:lnTo>
                    <a:pt x="337" y="566"/>
                  </a:lnTo>
                  <a:lnTo>
                    <a:pt x="337" y="566"/>
                  </a:lnTo>
                  <a:lnTo>
                    <a:pt x="339" y="564"/>
                  </a:lnTo>
                  <a:lnTo>
                    <a:pt x="339" y="564"/>
                  </a:lnTo>
                  <a:lnTo>
                    <a:pt x="339" y="562"/>
                  </a:lnTo>
                  <a:lnTo>
                    <a:pt x="339" y="562"/>
                  </a:lnTo>
                  <a:lnTo>
                    <a:pt x="341" y="560"/>
                  </a:lnTo>
                  <a:lnTo>
                    <a:pt x="343" y="555"/>
                  </a:lnTo>
                  <a:lnTo>
                    <a:pt x="345" y="555"/>
                  </a:lnTo>
                  <a:lnTo>
                    <a:pt x="347" y="555"/>
                  </a:lnTo>
                  <a:lnTo>
                    <a:pt x="349" y="553"/>
                  </a:lnTo>
                  <a:lnTo>
                    <a:pt x="351" y="551"/>
                  </a:lnTo>
                  <a:lnTo>
                    <a:pt x="356" y="547"/>
                  </a:lnTo>
                  <a:lnTo>
                    <a:pt x="360" y="541"/>
                  </a:lnTo>
                  <a:lnTo>
                    <a:pt x="362" y="539"/>
                  </a:lnTo>
                  <a:lnTo>
                    <a:pt x="364" y="539"/>
                  </a:lnTo>
                  <a:lnTo>
                    <a:pt x="364" y="537"/>
                  </a:lnTo>
                  <a:lnTo>
                    <a:pt x="364" y="537"/>
                  </a:lnTo>
                  <a:lnTo>
                    <a:pt x="362" y="535"/>
                  </a:lnTo>
                  <a:close/>
                  <a:moveTo>
                    <a:pt x="705" y="15"/>
                  </a:moveTo>
                  <a:lnTo>
                    <a:pt x="705" y="15"/>
                  </a:lnTo>
                  <a:lnTo>
                    <a:pt x="705" y="15"/>
                  </a:lnTo>
                  <a:lnTo>
                    <a:pt x="705" y="15"/>
                  </a:lnTo>
                  <a:lnTo>
                    <a:pt x="705" y="15"/>
                  </a:lnTo>
                  <a:lnTo>
                    <a:pt x="705" y="17"/>
                  </a:lnTo>
                  <a:lnTo>
                    <a:pt x="705" y="17"/>
                  </a:lnTo>
                  <a:lnTo>
                    <a:pt x="705" y="17"/>
                  </a:lnTo>
                  <a:lnTo>
                    <a:pt x="705" y="15"/>
                  </a:lnTo>
                  <a:close/>
                  <a:moveTo>
                    <a:pt x="684" y="0"/>
                  </a:moveTo>
                  <a:lnTo>
                    <a:pt x="684" y="0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684" y="2"/>
                  </a:lnTo>
                  <a:lnTo>
                    <a:pt x="684" y="2"/>
                  </a:lnTo>
                  <a:lnTo>
                    <a:pt x="684" y="2"/>
                  </a:lnTo>
                  <a:lnTo>
                    <a:pt x="684" y="2"/>
                  </a:lnTo>
                  <a:lnTo>
                    <a:pt x="684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5" name="Freeform 94">
              <a:extLst>
                <a:ext uri="{FF2B5EF4-FFF2-40B4-BE49-F238E27FC236}">
                  <a16:creationId xmlns:a16="http://schemas.microsoft.com/office/drawing/2014/main" id="{CB76A217-256E-4048-8966-04AAC160D9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8747" y="3952113"/>
              <a:ext cx="143795" cy="74868"/>
            </a:xfrm>
            <a:custGeom>
              <a:avLst/>
              <a:gdLst>
                <a:gd name="T0" fmla="*/ 104 w 121"/>
                <a:gd name="T1" fmla="*/ 63 h 63"/>
                <a:gd name="T2" fmla="*/ 106 w 121"/>
                <a:gd name="T3" fmla="*/ 63 h 63"/>
                <a:gd name="T4" fmla="*/ 106 w 121"/>
                <a:gd name="T5" fmla="*/ 63 h 63"/>
                <a:gd name="T6" fmla="*/ 106 w 121"/>
                <a:gd name="T7" fmla="*/ 61 h 63"/>
                <a:gd name="T8" fmla="*/ 119 w 121"/>
                <a:gd name="T9" fmla="*/ 41 h 63"/>
                <a:gd name="T10" fmla="*/ 119 w 121"/>
                <a:gd name="T11" fmla="*/ 41 h 63"/>
                <a:gd name="T12" fmla="*/ 119 w 121"/>
                <a:gd name="T13" fmla="*/ 41 h 63"/>
                <a:gd name="T14" fmla="*/ 117 w 121"/>
                <a:gd name="T15" fmla="*/ 43 h 63"/>
                <a:gd name="T16" fmla="*/ 117 w 121"/>
                <a:gd name="T17" fmla="*/ 45 h 63"/>
                <a:gd name="T18" fmla="*/ 119 w 121"/>
                <a:gd name="T19" fmla="*/ 45 h 63"/>
                <a:gd name="T20" fmla="*/ 121 w 121"/>
                <a:gd name="T21" fmla="*/ 41 h 63"/>
                <a:gd name="T22" fmla="*/ 111 w 121"/>
                <a:gd name="T23" fmla="*/ 33 h 63"/>
                <a:gd name="T24" fmla="*/ 111 w 121"/>
                <a:gd name="T25" fmla="*/ 28 h 63"/>
                <a:gd name="T26" fmla="*/ 106 w 121"/>
                <a:gd name="T27" fmla="*/ 28 h 63"/>
                <a:gd name="T28" fmla="*/ 109 w 121"/>
                <a:gd name="T29" fmla="*/ 28 h 63"/>
                <a:gd name="T30" fmla="*/ 106 w 121"/>
                <a:gd name="T31" fmla="*/ 33 h 63"/>
                <a:gd name="T32" fmla="*/ 106 w 121"/>
                <a:gd name="T33" fmla="*/ 33 h 63"/>
                <a:gd name="T34" fmla="*/ 109 w 121"/>
                <a:gd name="T35" fmla="*/ 35 h 63"/>
                <a:gd name="T36" fmla="*/ 111 w 121"/>
                <a:gd name="T37" fmla="*/ 37 h 63"/>
                <a:gd name="T38" fmla="*/ 113 w 121"/>
                <a:gd name="T39" fmla="*/ 35 h 63"/>
                <a:gd name="T40" fmla="*/ 111 w 121"/>
                <a:gd name="T41" fmla="*/ 33 h 63"/>
                <a:gd name="T42" fmla="*/ 100 w 121"/>
                <a:gd name="T43" fmla="*/ 24 h 63"/>
                <a:gd name="T44" fmla="*/ 100 w 121"/>
                <a:gd name="T45" fmla="*/ 26 h 63"/>
                <a:gd name="T46" fmla="*/ 100 w 121"/>
                <a:gd name="T47" fmla="*/ 28 h 63"/>
                <a:gd name="T48" fmla="*/ 100 w 121"/>
                <a:gd name="T49" fmla="*/ 26 h 63"/>
                <a:gd name="T50" fmla="*/ 100 w 121"/>
                <a:gd name="T51" fmla="*/ 24 h 63"/>
                <a:gd name="T52" fmla="*/ 102 w 121"/>
                <a:gd name="T53" fmla="*/ 24 h 63"/>
                <a:gd name="T54" fmla="*/ 100 w 121"/>
                <a:gd name="T55" fmla="*/ 22 h 63"/>
                <a:gd name="T56" fmla="*/ 96 w 121"/>
                <a:gd name="T57" fmla="*/ 51 h 63"/>
                <a:gd name="T58" fmla="*/ 94 w 121"/>
                <a:gd name="T59" fmla="*/ 49 h 63"/>
                <a:gd name="T60" fmla="*/ 88 w 121"/>
                <a:gd name="T61" fmla="*/ 43 h 63"/>
                <a:gd name="T62" fmla="*/ 86 w 121"/>
                <a:gd name="T63" fmla="*/ 41 h 63"/>
                <a:gd name="T64" fmla="*/ 84 w 121"/>
                <a:gd name="T65" fmla="*/ 39 h 63"/>
                <a:gd name="T66" fmla="*/ 82 w 121"/>
                <a:gd name="T67" fmla="*/ 37 h 63"/>
                <a:gd name="T68" fmla="*/ 80 w 121"/>
                <a:gd name="T69" fmla="*/ 35 h 63"/>
                <a:gd name="T70" fmla="*/ 80 w 121"/>
                <a:gd name="T71" fmla="*/ 33 h 63"/>
                <a:gd name="T72" fmla="*/ 78 w 121"/>
                <a:gd name="T73" fmla="*/ 30 h 63"/>
                <a:gd name="T74" fmla="*/ 76 w 121"/>
                <a:gd name="T75" fmla="*/ 28 h 63"/>
                <a:gd name="T76" fmla="*/ 70 w 121"/>
                <a:gd name="T77" fmla="*/ 22 h 63"/>
                <a:gd name="T78" fmla="*/ 65 w 121"/>
                <a:gd name="T79" fmla="*/ 20 h 63"/>
                <a:gd name="T80" fmla="*/ 61 w 121"/>
                <a:gd name="T81" fmla="*/ 18 h 63"/>
                <a:gd name="T82" fmla="*/ 61 w 121"/>
                <a:gd name="T83" fmla="*/ 20 h 63"/>
                <a:gd name="T84" fmla="*/ 63 w 121"/>
                <a:gd name="T85" fmla="*/ 20 h 63"/>
                <a:gd name="T86" fmla="*/ 63 w 121"/>
                <a:gd name="T87" fmla="*/ 22 h 63"/>
                <a:gd name="T88" fmla="*/ 63 w 121"/>
                <a:gd name="T89" fmla="*/ 26 h 63"/>
                <a:gd name="T90" fmla="*/ 65 w 121"/>
                <a:gd name="T91" fmla="*/ 30 h 63"/>
                <a:gd name="T92" fmla="*/ 67 w 121"/>
                <a:gd name="T93" fmla="*/ 33 h 63"/>
                <a:gd name="T94" fmla="*/ 72 w 121"/>
                <a:gd name="T95" fmla="*/ 39 h 63"/>
                <a:gd name="T96" fmla="*/ 76 w 121"/>
                <a:gd name="T97" fmla="*/ 43 h 63"/>
                <a:gd name="T98" fmla="*/ 78 w 121"/>
                <a:gd name="T99" fmla="*/ 45 h 63"/>
                <a:gd name="T100" fmla="*/ 82 w 121"/>
                <a:gd name="T101" fmla="*/ 47 h 63"/>
                <a:gd name="T102" fmla="*/ 84 w 121"/>
                <a:gd name="T103" fmla="*/ 51 h 63"/>
                <a:gd name="T104" fmla="*/ 88 w 121"/>
                <a:gd name="T105" fmla="*/ 51 h 63"/>
                <a:gd name="T106" fmla="*/ 88 w 121"/>
                <a:gd name="T107" fmla="*/ 53 h 63"/>
                <a:gd name="T108" fmla="*/ 90 w 121"/>
                <a:gd name="T109" fmla="*/ 55 h 63"/>
                <a:gd name="T110" fmla="*/ 92 w 121"/>
                <a:gd name="T111" fmla="*/ 57 h 63"/>
                <a:gd name="T112" fmla="*/ 92 w 121"/>
                <a:gd name="T113" fmla="*/ 57 h 63"/>
                <a:gd name="T114" fmla="*/ 96 w 121"/>
                <a:gd name="T115" fmla="*/ 59 h 63"/>
                <a:gd name="T116" fmla="*/ 98 w 121"/>
                <a:gd name="T117" fmla="*/ 57 h 63"/>
                <a:gd name="T118" fmla="*/ 100 w 121"/>
                <a:gd name="T119" fmla="*/ 53 h 63"/>
                <a:gd name="T120" fmla="*/ 0 w 121"/>
                <a:gd name="T121" fmla="*/ 4 h 63"/>
                <a:gd name="T122" fmla="*/ 2 w 121"/>
                <a:gd name="T123" fmla="*/ 2 h 63"/>
                <a:gd name="T124" fmla="*/ 0 w 121"/>
                <a:gd name="T12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" h="63">
                  <a:moveTo>
                    <a:pt x="106" y="61"/>
                  </a:moveTo>
                  <a:lnTo>
                    <a:pt x="104" y="63"/>
                  </a:lnTo>
                  <a:lnTo>
                    <a:pt x="104" y="63"/>
                  </a:lnTo>
                  <a:lnTo>
                    <a:pt x="106" y="63"/>
                  </a:lnTo>
                  <a:lnTo>
                    <a:pt x="106" y="63"/>
                  </a:lnTo>
                  <a:lnTo>
                    <a:pt x="106" y="63"/>
                  </a:lnTo>
                  <a:lnTo>
                    <a:pt x="106" y="63"/>
                  </a:lnTo>
                  <a:lnTo>
                    <a:pt x="106" y="61"/>
                  </a:lnTo>
                  <a:close/>
                  <a:moveTo>
                    <a:pt x="121" y="43"/>
                  </a:moveTo>
                  <a:lnTo>
                    <a:pt x="119" y="41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17" y="41"/>
                  </a:lnTo>
                  <a:lnTo>
                    <a:pt x="117" y="43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21" y="45"/>
                  </a:lnTo>
                  <a:lnTo>
                    <a:pt x="121" y="41"/>
                  </a:lnTo>
                  <a:lnTo>
                    <a:pt x="121" y="43"/>
                  </a:lnTo>
                  <a:close/>
                  <a:moveTo>
                    <a:pt x="111" y="33"/>
                  </a:moveTo>
                  <a:lnTo>
                    <a:pt x="111" y="28"/>
                  </a:lnTo>
                  <a:lnTo>
                    <a:pt x="111" y="28"/>
                  </a:lnTo>
                  <a:lnTo>
                    <a:pt x="111" y="28"/>
                  </a:lnTo>
                  <a:lnTo>
                    <a:pt x="106" y="28"/>
                  </a:lnTo>
                  <a:lnTo>
                    <a:pt x="106" y="28"/>
                  </a:lnTo>
                  <a:lnTo>
                    <a:pt x="109" y="28"/>
                  </a:lnTo>
                  <a:lnTo>
                    <a:pt x="109" y="30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6" y="35"/>
                  </a:lnTo>
                  <a:lnTo>
                    <a:pt x="109" y="35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1" y="33"/>
                  </a:lnTo>
                  <a:lnTo>
                    <a:pt x="111" y="33"/>
                  </a:lnTo>
                  <a:close/>
                  <a:moveTo>
                    <a:pt x="100" y="22"/>
                  </a:moveTo>
                  <a:lnTo>
                    <a:pt x="100" y="24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98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2" y="22"/>
                  </a:lnTo>
                  <a:lnTo>
                    <a:pt x="100" y="22"/>
                  </a:lnTo>
                  <a:close/>
                  <a:moveTo>
                    <a:pt x="98" y="53"/>
                  </a:moveTo>
                  <a:lnTo>
                    <a:pt x="96" y="51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92" y="45"/>
                  </a:lnTo>
                  <a:lnTo>
                    <a:pt x="88" y="43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4" y="39"/>
                  </a:lnTo>
                  <a:lnTo>
                    <a:pt x="84" y="39"/>
                  </a:lnTo>
                  <a:lnTo>
                    <a:pt x="82" y="37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3"/>
                  </a:lnTo>
                  <a:lnTo>
                    <a:pt x="80" y="33"/>
                  </a:lnTo>
                  <a:lnTo>
                    <a:pt x="80" y="33"/>
                  </a:lnTo>
                  <a:lnTo>
                    <a:pt x="78" y="30"/>
                  </a:lnTo>
                  <a:lnTo>
                    <a:pt x="78" y="28"/>
                  </a:lnTo>
                  <a:lnTo>
                    <a:pt x="76" y="28"/>
                  </a:lnTo>
                  <a:lnTo>
                    <a:pt x="74" y="28"/>
                  </a:lnTo>
                  <a:lnTo>
                    <a:pt x="70" y="22"/>
                  </a:lnTo>
                  <a:lnTo>
                    <a:pt x="67" y="20"/>
                  </a:lnTo>
                  <a:lnTo>
                    <a:pt x="65" y="20"/>
                  </a:lnTo>
                  <a:lnTo>
                    <a:pt x="63" y="20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3" y="20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4"/>
                  </a:lnTo>
                  <a:lnTo>
                    <a:pt x="63" y="26"/>
                  </a:lnTo>
                  <a:lnTo>
                    <a:pt x="65" y="28"/>
                  </a:lnTo>
                  <a:lnTo>
                    <a:pt x="65" y="30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70" y="37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6" y="43"/>
                  </a:lnTo>
                  <a:lnTo>
                    <a:pt x="76" y="45"/>
                  </a:lnTo>
                  <a:lnTo>
                    <a:pt x="78" y="45"/>
                  </a:lnTo>
                  <a:lnTo>
                    <a:pt x="80" y="47"/>
                  </a:lnTo>
                  <a:lnTo>
                    <a:pt x="82" y="47"/>
                  </a:lnTo>
                  <a:lnTo>
                    <a:pt x="84" y="49"/>
                  </a:lnTo>
                  <a:lnTo>
                    <a:pt x="84" y="51"/>
                  </a:lnTo>
                  <a:lnTo>
                    <a:pt x="86" y="51"/>
                  </a:lnTo>
                  <a:lnTo>
                    <a:pt x="88" y="51"/>
                  </a:lnTo>
                  <a:lnTo>
                    <a:pt x="88" y="53"/>
                  </a:lnTo>
                  <a:lnTo>
                    <a:pt x="88" y="53"/>
                  </a:lnTo>
                  <a:lnTo>
                    <a:pt x="88" y="55"/>
                  </a:lnTo>
                  <a:lnTo>
                    <a:pt x="90" y="55"/>
                  </a:lnTo>
                  <a:lnTo>
                    <a:pt x="90" y="57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6" y="59"/>
                  </a:lnTo>
                  <a:lnTo>
                    <a:pt x="96" y="59"/>
                  </a:lnTo>
                  <a:lnTo>
                    <a:pt x="98" y="59"/>
                  </a:lnTo>
                  <a:lnTo>
                    <a:pt x="98" y="57"/>
                  </a:lnTo>
                  <a:lnTo>
                    <a:pt x="100" y="57"/>
                  </a:lnTo>
                  <a:lnTo>
                    <a:pt x="100" y="53"/>
                  </a:lnTo>
                  <a:lnTo>
                    <a:pt x="98" y="53"/>
                  </a:lnTo>
                  <a:close/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6" name="Freeform 96">
              <a:extLst>
                <a:ext uri="{FF2B5EF4-FFF2-40B4-BE49-F238E27FC236}">
                  <a16:creationId xmlns:a16="http://schemas.microsoft.com/office/drawing/2014/main" id="{D731DC68-554E-9644-A38F-646122D98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8597" y="2871869"/>
              <a:ext cx="161621" cy="87941"/>
            </a:xfrm>
            <a:custGeom>
              <a:avLst/>
              <a:gdLst>
                <a:gd name="T0" fmla="*/ 132 w 136"/>
                <a:gd name="T1" fmla="*/ 59 h 74"/>
                <a:gd name="T2" fmla="*/ 132 w 136"/>
                <a:gd name="T3" fmla="*/ 47 h 74"/>
                <a:gd name="T4" fmla="*/ 130 w 136"/>
                <a:gd name="T5" fmla="*/ 45 h 74"/>
                <a:gd name="T6" fmla="*/ 123 w 136"/>
                <a:gd name="T7" fmla="*/ 47 h 74"/>
                <a:gd name="T8" fmla="*/ 115 w 136"/>
                <a:gd name="T9" fmla="*/ 45 h 74"/>
                <a:gd name="T10" fmla="*/ 109 w 136"/>
                <a:gd name="T11" fmla="*/ 43 h 74"/>
                <a:gd name="T12" fmla="*/ 105 w 136"/>
                <a:gd name="T13" fmla="*/ 41 h 74"/>
                <a:gd name="T14" fmla="*/ 103 w 136"/>
                <a:gd name="T15" fmla="*/ 43 h 74"/>
                <a:gd name="T16" fmla="*/ 99 w 136"/>
                <a:gd name="T17" fmla="*/ 41 h 74"/>
                <a:gd name="T18" fmla="*/ 97 w 136"/>
                <a:gd name="T19" fmla="*/ 45 h 74"/>
                <a:gd name="T20" fmla="*/ 91 w 136"/>
                <a:gd name="T21" fmla="*/ 39 h 74"/>
                <a:gd name="T22" fmla="*/ 82 w 136"/>
                <a:gd name="T23" fmla="*/ 37 h 74"/>
                <a:gd name="T24" fmla="*/ 80 w 136"/>
                <a:gd name="T25" fmla="*/ 33 h 74"/>
                <a:gd name="T26" fmla="*/ 76 w 136"/>
                <a:gd name="T27" fmla="*/ 33 h 74"/>
                <a:gd name="T28" fmla="*/ 70 w 136"/>
                <a:gd name="T29" fmla="*/ 29 h 74"/>
                <a:gd name="T30" fmla="*/ 66 w 136"/>
                <a:gd name="T31" fmla="*/ 25 h 74"/>
                <a:gd name="T32" fmla="*/ 60 w 136"/>
                <a:gd name="T33" fmla="*/ 20 h 74"/>
                <a:gd name="T34" fmla="*/ 54 w 136"/>
                <a:gd name="T35" fmla="*/ 18 h 74"/>
                <a:gd name="T36" fmla="*/ 45 w 136"/>
                <a:gd name="T37" fmla="*/ 14 h 74"/>
                <a:gd name="T38" fmla="*/ 31 w 136"/>
                <a:gd name="T39" fmla="*/ 6 h 74"/>
                <a:gd name="T40" fmla="*/ 27 w 136"/>
                <a:gd name="T41" fmla="*/ 0 h 74"/>
                <a:gd name="T42" fmla="*/ 17 w 136"/>
                <a:gd name="T43" fmla="*/ 4 h 74"/>
                <a:gd name="T44" fmla="*/ 13 w 136"/>
                <a:gd name="T45" fmla="*/ 4 h 74"/>
                <a:gd name="T46" fmla="*/ 8 w 136"/>
                <a:gd name="T47" fmla="*/ 4 h 74"/>
                <a:gd name="T48" fmla="*/ 4 w 136"/>
                <a:gd name="T49" fmla="*/ 12 h 74"/>
                <a:gd name="T50" fmla="*/ 2 w 136"/>
                <a:gd name="T51" fmla="*/ 20 h 74"/>
                <a:gd name="T52" fmla="*/ 0 w 136"/>
                <a:gd name="T53" fmla="*/ 27 h 74"/>
                <a:gd name="T54" fmla="*/ 6 w 136"/>
                <a:gd name="T55" fmla="*/ 31 h 74"/>
                <a:gd name="T56" fmla="*/ 8 w 136"/>
                <a:gd name="T57" fmla="*/ 31 h 74"/>
                <a:gd name="T58" fmla="*/ 13 w 136"/>
                <a:gd name="T59" fmla="*/ 33 h 74"/>
                <a:gd name="T60" fmla="*/ 21 w 136"/>
                <a:gd name="T61" fmla="*/ 37 h 74"/>
                <a:gd name="T62" fmla="*/ 29 w 136"/>
                <a:gd name="T63" fmla="*/ 43 h 74"/>
                <a:gd name="T64" fmla="*/ 33 w 136"/>
                <a:gd name="T65" fmla="*/ 45 h 74"/>
                <a:gd name="T66" fmla="*/ 39 w 136"/>
                <a:gd name="T67" fmla="*/ 47 h 74"/>
                <a:gd name="T68" fmla="*/ 47 w 136"/>
                <a:gd name="T69" fmla="*/ 51 h 74"/>
                <a:gd name="T70" fmla="*/ 56 w 136"/>
                <a:gd name="T71" fmla="*/ 53 h 74"/>
                <a:gd name="T72" fmla="*/ 58 w 136"/>
                <a:gd name="T73" fmla="*/ 53 h 74"/>
                <a:gd name="T74" fmla="*/ 66 w 136"/>
                <a:gd name="T75" fmla="*/ 53 h 74"/>
                <a:gd name="T76" fmla="*/ 76 w 136"/>
                <a:gd name="T77" fmla="*/ 55 h 74"/>
                <a:gd name="T78" fmla="*/ 78 w 136"/>
                <a:gd name="T79" fmla="*/ 59 h 74"/>
                <a:gd name="T80" fmla="*/ 86 w 136"/>
                <a:gd name="T81" fmla="*/ 64 h 74"/>
                <a:gd name="T82" fmla="*/ 88 w 136"/>
                <a:gd name="T83" fmla="*/ 66 h 74"/>
                <a:gd name="T84" fmla="*/ 95 w 136"/>
                <a:gd name="T85" fmla="*/ 64 h 74"/>
                <a:gd name="T86" fmla="*/ 97 w 136"/>
                <a:gd name="T87" fmla="*/ 68 h 74"/>
                <a:gd name="T88" fmla="*/ 103 w 136"/>
                <a:gd name="T89" fmla="*/ 68 h 74"/>
                <a:gd name="T90" fmla="*/ 111 w 136"/>
                <a:gd name="T91" fmla="*/ 70 h 74"/>
                <a:gd name="T92" fmla="*/ 117 w 136"/>
                <a:gd name="T93" fmla="*/ 70 h 74"/>
                <a:gd name="T94" fmla="*/ 123 w 136"/>
                <a:gd name="T95" fmla="*/ 72 h 74"/>
                <a:gd name="T96" fmla="*/ 132 w 136"/>
                <a:gd name="T97" fmla="*/ 72 h 74"/>
                <a:gd name="T98" fmla="*/ 134 w 136"/>
                <a:gd name="T99" fmla="*/ 7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6" h="74">
                  <a:moveTo>
                    <a:pt x="134" y="66"/>
                  </a:moveTo>
                  <a:lnTo>
                    <a:pt x="134" y="64"/>
                  </a:lnTo>
                  <a:lnTo>
                    <a:pt x="132" y="59"/>
                  </a:lnTo>
                  <a:lnTo>
                    <a:pt x="132" y="59"/>
                  </a:lnTo>
                  <a:lnTo>
                    <a:pt x="130" y="53"/>
                  </a:lnTo>
                  <a:lnTo>
                    <a:pt x="132" y="51"/>
                  </a:lnTo>
                  <a:lnTo>
                    <a:pt x="132" y="49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2" y="45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3" y="47"/>
                  </a:lnTo>
                  <a:lnTo>
                    <a:pt x="123" y="47"/>
                  </a:lnTo>
                  <a:lnTo>
                    <a:pt x="121" y="47"/>
                  </a:lnTo>
                  <a:lnTo>
                    <a:pt x="121" y="47"/>
                  </a:lnTo>
                  <a:lnTo>
                    <a:pt x="117" y="47"/>
                  </a:lnTo>
                  <a:lnTo>
                    <a:pt x="115" y="45"/>
                  </a:lnTo>
                  <a:lnTo>
                    <a:pt x="113" y="45"/>
                  </a:lnTo>
                  <a:lnTo>
                    <a:pt x="111" y="43"/>
                  </a:lnTo>
                  <a:lnTo>
                    <a:pt x="111" y="43"/>
                  </a:lnTo>
                  <a:lnTo>
                    <a:pt x="109" y="43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5" y="41"/>
                  </a:lnTo>
                  <a:lnTo>
                    <a:pt x="105" y="43"/>
                  </a:lnTo>
                  <a:lnTo>
                    <a:pt x="105" y="45"/>
                  </a:lnTo>
                  <a:lnTo>
                    <a:pt x="103" y="45"/>
                  </a:lnTo>
                  <a:lnTo>
                    <a:pt x="103" y="43"/>
                  </a:lnTo>
                  <a:lnTo>
                    <a:pt x="101" y="43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9" y="43"/>
                  </a:lnTo>
                  <a:lnTo>
                    <a:pt x="99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3"/>
                  </a:lnTo>
                  <a:lnTo>
                    <a:pt x="95" y="41"/>
                  </a:lnTo>
                  <a:lnTo>
                    <a:pt x="93" y="39"/>
                  </a:lnTo>
                  <a:lnTo>
                    <a:pt x="91" y="39"/>
                  </a:lnTo>
                  <a:lnTo>
                    <a:pt x="86" y="39"/>
                  </a:lnTo>
                  <a:lnTo>
                    <a:pt x="84" y="37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5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0" y="33"/>
                  </a:lnTo>
                  <a:lnTo>
                    <a:pt x="80" y="33"/>
                  </a:lnTo>
                  <a:lnTo>
                    <a:pt x="78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4" y="33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68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4" y="22"/>
                  </a:lnTo>
                  <a:lnTo>
                    <a:pt x="64" y="20"/>
                  </a:lnTo>
                  <a:lnTo>
                    <a:pt x="62" y="20"/>
                  </a:lnTo>
                  <a:lnTo>
                    <a:pt x="60" y="20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4" y="18"/>
                  </a:lnTo>
                  <a:lnTo>
                    <a:pt x="52" y="16"/>
                  </a:lnTo>
                  <a:lnTo>
                    <a:pt x="49" y="14"/>
                  </a:lnTo>
                  <a:lnTo>
                    <a:pt x="47" y="14"/>
                  </a:lnTo>
                  <a:lnTo>
                    <a:pt x="45" y="14"/>
                  </a:lnTo>
                  <a:lnTo>
                    <a:pt x="41" y="12"/>
                  </a:lnTo>
                  <a:lnTo>
                    <a:pt x="39" y="10"/>
                  </a:lnTo>
                  <a:lnTo>
                    <a:pt x="35" y="8"/>
                  </a:lnTo>
                  <a:lnTo>
                    <a:pt x="31" y="6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27" y="0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7" y="4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5"/>
                  </a:lnTo>
                  <a:lnTo>
                    <a:pt x="0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4" y="31"/>
                  </a:lnTo>
                  <a:lnTo>
                    <a:pt x="6" y="31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0" y="31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3" y="39"/>
                  </a:lnTo>
                  <a:lnTo>
                    <a:pt x="27" y="41"/>
                  </a:lnTo>
                  <a:lnTo>
                    <a:pt x="29" y="43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7" y="45"/>
                  </a:lnTo>
                  <a:lnTo>
                    <a:pt x="39" y="47"/>
                  </a:lnTo>
                  <a:lnTo>
                    <a:pt x="43" y="49"/>
                  </a:lnTo>
                  <a:lnTo>
                    <a:pt x="45" y="49"/>
                  </a:lnTo>
                  <a:lnTo>
                    <a:pt x="45" y="49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52" y="53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5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3"/>
                  </a:lnTo>
                  <a:lnTo>
                    <a:pt x="64" y="53"/>
                  </a:lnTo>
                  <a:lnTo>
                    <a:pt x="66" y="55"/>
                  </a:lnTo>
                  <a:lnTo>
                    <a:pt x="66" y="53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72" y="53"/>
                  </a:lnTo>
                  <a:lnTo>
                    <a:pt x="76" y="55"/>
                  </a:lnTo>
                  <a:lnTo>
                    <a:pt x="78" y="55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8" y="59"/>
                  </a:lnTo>
                  <a:lnTo>
                    <a:pt x="80" y="62"/>
                  </a:lnTo>
                  <a:lnTo>
                    <a:pt x="84" y="64"/>
                  </a:lnTo>
                  <a:lnTo>
                    <a:pt x="84" y="64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91" y="66"/>
                  </a:lnTo>
                  <a:lnTo>
                    <a:pt x="93" y="66"/>
                  </a:lnTo>
                  <a:lnTo>
                    <a:pt x="95" y="64"/>
                  </a:lnTo>
                  <a:lnTo>
                    <a:pt x="95" y="64"/>
                  </a:lnTo>
                  <a:lnTo>
                    <a:pt x="97" y="66"/>
                  </a:lnTo>
                  <a:lnTo>
                    <a:pt x="97" y="68"/>
                  </a:lnTo>
                  <a:lnTo>
                    <a:pt x="97" y="68"/>
                  </a:lnTo>
                  <a:lnTo>
                    <a:pt x="99" y="68"/>
                  </a:lnTo>
                  <a:lnTo>
                    <a:pt x="99" y="70"/>
                  </a:lnTo>
                  <a:lnTo>
                    <a:pt x="101" y="68"/>
                  </a:lnTo>
                  <a:lnTo>
                    <a:pt x="103" y="68"/>
                  </a:lnTo>
                  <a:lnTo>
                    <a:pt x="105" y="70"/>
                  </a:lnTo>
                  <a:lnTo>
                    <a:pt x="107" y="70"/>
                  </a:lnTo>
                  <a:lnTo>
                    <a:pt x="107" y="70"/>
                  </a:lnTo>
                  <a:lnTo>
                    <a:pt x="111" y="70"/>
                  </a:lnTo>
                  <a:lnTo>
                    <a:pt x="113" y="72"/>
                  </a:lnTo>
                  <a:lnTo>
                    <a:pt x="113" y="72"/>
                  </a:lnTo>
                  <a:lnTo>
                    <a:pt x="117" y="70"/>
                  </a:lnTo>
                  <a:lnTo>
                    <a:pt x="117" y="70"/>
                  </a:lnTo>
                  <a:lnTo>
                    <a:pt x="119" y="72"/>
                  </a:lnTo>
                  <a:lnTo>
                    <a:pt x="119" y="72"/>
                  </a:lnTo>
                  <a:lnTo>
                    <a:pt x="121" y="74"/>
                  </a:lnTo>
                  <a:lnTo>
                    <a:pt x="123" y="72"/>
                  </a:lnTo>
                  <a:lnTo>
                    <a:pt x="125" y="72"/>
                  </a:lnTo>
                  <a:lnTo>
                    <a:pt x="127" y="72"/>
                  </a:lnTo>
                  <a:lnTo>
                    <a:pt x="130" y="72"/>
                  </a:lnTo>
                  <a:lnTo>
                    <a:pt x="132" y="72"/>
                  </a:lnTo>
                  <a:lnTo>
                    <a:pt x="134" y="72"/>
                  </a:lnTo>
                  <a:lnTo>
                    <a:pt x="134" y="72"/>
                  </a:lnTo>
                  <a:lnTo>
                    <a:pt x="134" y="72"/>
                  </a:lnTo>
                  <a:lnTo>
                    <a:pt x="134" y="70"/>
                  </a:lnTo>
                  <a:lnTo>
                    <a:pt x="136" y="66"/>
                  </a:lnTo>
                  <a:lnTo>
                    <a:pt x="134" y="6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7" name="Freeform 97">
              <a:extLst>
                <a:ext uri="{FF2B5EF4-FFF2-40B4-BE49-F238E27FC236}">
                  <a16:creationId xmlns:a16="http://schemas.microsoft.com/office/drawing/2014/main" id="{051C317F-2188-0049-90EA-C994B50B0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1759" y="3543308"/>
              <a:ext cx="0" cy="2377"/>
            </a:xfrm>
            <a:custGeom>
              <a:avLst/>
              <a:gdLst>
                <a:gd name="T0" fmla="*/ 0 h 2"/>
                <a:gd name="T1" fmla="*/ 0 h 2"/>
                <a:gd name="T2" fmla="*/ 0 h 2"/>
                <a:gd name="T3" fmla="*/ 2 h 2"/>
                <a:gd name="T4" fmla="*/ 2 h 2"/>
                <a:gd name="T5" fmla="*/ 2 h 2"/>
                <a:gd name="T6" fmla="*/ 2 h 2"/>
                <a:gd name="T7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8" name="Freeform 99">
              <a:extLst>
                <a:ext uri="{FF2B5EF4-FFF2-40B4-BE49-F238E27FC236}">
                  <a16:creationId xmlns:a16="http://schemas.microsoft.com/office/drawing/2014/main" id="{DED13927-D208-5A44-BA55-9A1C436E12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0535" y="2911086"/>
              <a:ext cx="167563" cy="407617"/>
            </a:xfrm>
            <a:custGeom>
              <a:avLst/>
              <a:gdLst>
                <a:gd name="T0" fmla="*/ 117 w 141"/>
                <a:gd name="T1" fmla="*/ 323 h 343"/>
                <a:gd name="T2" fmla="*/ 117 w 141"/>
                <a:gd name="T3" fmla="*/ 314 h 343"/>
                <a:gd name="T4" fmla="*/ 119 w 141"/>
                <a:gd name="T5" fmla="*/ 308 h 343"/>
                <a:gd name="T6" fmla="*/ 121 w 141"/>
                <a:gd name="T7" fmla="*/ 304 h 343"/>
                <a:gd name="T8" fmla="*/ 113 w 141"/>
                <a:gd name="T9" fmla="*/ 300 h 343"/>
                <a:gd name="T10" fmla="*/ 113 w 141"/>
                <a:gd name="T11" fmla="*/ 296 h 343"/>
                <a:gd name="T12" fmla="*/ 115 w 141"/>
                <a:gd name="T13" fmla="*/ 283 h 343"/>
                <a:gd name="T14" fmla="*/ 53 w 141"/>
                <a:gd name="T15" fmla="*/ 234 h 343"/>
                <a:gd name="T16" fmla="*/ 96 w 141"/>
                <a:gd name="T17" fmla="*/ 222 h 343"/>
                <a:gd name="T18" fmla="*/ 30 w 141"/>
                <a:gd name="T19" fmla="*/ 179 h 343"/>
                <a:gd name="T20" fmla="*/ 28 w 141"/>
                <a:gd name="T21" fmla="*/ 168 h 343"/>
                <a:gd name="T22" fmla="*/ 16 w 141"/>
                <a:gd name="T23" fmla="*/ 156 h 343"/>
                <a:gd name="T24" fmla="*/ 125 w 141"/>
                <a:gd name="T25" fmla="*/ 129 h 343"/>
                <a:gd name="T26" fmla="*/ 111 w 141"/>
                <a:gd name="T27" fmla="*/ 119 h 343"/>
                <a:gd name="T28" fmla="*/ 111 w 141"/>
                <a:gd name="T29" fmla="*/ 100 h 343"/>
                <a:gd name="T30" fmla="*/ 96 w 141"/>
                <a:gd name="T31" fmla="*/ 86 h 343"/>
                <a:gd name="T32" fmla="*/ 82 w 141"/>
                <a:gd name="T33" fmla="*/ 84 h 343"/>
                <a:gd name="T34" fmla="*/ 78 w 141"/>
                <a:gd name="T35" fmla="*/ 68 h 343"/>
                <a:gd name="T36" fmla="*/ 86 w 141"/>
                <a:gd name="T37" fmla="*/ 55 h 343"/>
                <a:gd name="T38" fmla="*/ 90 w 141"/>
                <a:gd name="T39" fmla="*/ 39 h 343"/>
                <a:gd name="T40" fmla="*/ 80 w 141"/>
                <a:gd name="T41" fmla="*/ 18 h 343"/>
                <a:gd name="T42" fmla="*/ 67 w 141"/>
                <a:gd name="T43" fmla="*/ 4 h 343"/>
                <a:gd name="T44" fmla="*/ 63 w 141"/>
                <a:gd name="T45" fmla="*/ 10 h 343"/>
                <a:gd name="T46" fmla="*/ 59 w 141"/>
                <a:gd name="T47" fmla="*/ 26 h 343"/>
                <a:gd name="T48" fmla="*/ 35 w 141"/>
                <a:gd name="T49" fmla="*/ 35 h 343"/>
                <a:gd name="T50" fmla="*/ 33 w 141"/>
                <a:gd name="T51" fmla="*/ 53 h 343"/>
                <a:gd name="T52" fmla="*/ 28 w 141"/>
                <a:gd name="T53" fmla="*/ 72 h 343"/>
                <a:gd name="T54" fmla="*/ 14 w 141"/>
                <a:gd name="T55" fmla="*/ 84 h 343"/>
                <a:gd name="T56" fmla="*/ 12 w 141"/>
                <a:gd name="T57" fmla="*/ 100 h 343"/>
                <a:gd name="T58" fmla="*/ 12 w 141"/>
                <a:gd name="T59" fmla="*/ 121 h 343"/>
                <a:gd name="T60" fmla="*/ 8 w 141"/>
                <a:gd name="T61" fmla="*/ 133 h 343"/>
                <a:gd name="T62" fmla="*/ 4 w 141"/>
                <a:gd name="T63" fmla="*/ 140 h 343"/>
                <a:gd name="T64" fmla="*/ 12 w 141"/>
                <a:gd name="T65" fmla="*/ 154 h 343"/>
                <a:gd name="T66" fmla="*/ 20 w 141"/>
                <a:gd name="T67" fmla="*/ 158 h 343"/>
                <a:gd name="T68" fmla="*/ 30 w 141"/>
                <a:gd name="T69" fmla="*/ 166 h 343"/>
                <a:gd name="T70" fmla="*/ 33 w 141"/>
                <a:gd name="T71" fmla="*/ 177 h 343"/>
                <a:gd name="T72" fmla="*/ 43 w 141"/>
                <a:gd name="T73" fmla="*/ 191 h 343"/>
                <a:gd name="T74" fmla="*/ 45 w 141"/>
                <a:gd name="T75" fmla="*/ 230 h 343"/>
                <a:gd name="T76" fmla="*/ 51 w 141"/>
                <a:gd name="T77" fmla="*/ 232 h 343"/>
                <a:gd name="T78" fmla="*/ 61 w 141"/>
                <a:gd name="T79" fmla="*/ 228 h 343"/>
                <a:gd name="T80" fmla="*/ 74 w 141"/>
                <a:gd name="T81" fmla="*/ 224 h 343"/>
                <a:gd name="T82" fmla="*/ 84 w 141"/>
                <a:gd name="T83" fmla="*/ 218 h 343"/>
                <a:gd name="T84" fmla="*/ 92 w 141"/>
                <a:gd name="T85" fmla="*/ 218 h 343"/>
                <a:gd name="T86" fmla="*/ 102 w 141"/>
                <a:gd name="T87" fmla="*/ 242 h 343"/>
                <a:gd name="T88" fmla="*/ 113 w 141"/>
                <a:gd name="T89" fmla="*/ 273 h 343"/>
                <a:gd name="T90" fmla="*/ 123 w 141"/>
                <a:gd name="T91" fmla="*/ 298 h 343"/>
                <a:gd name="T92" fmla="*/ 125 w 141"/>
                <a:gd name="T93" fmla="*/ 308 h 343"/>
                <a:gd name="T94" fmla="*/ 123 w 141"/>
                <a:gd name="T95" fmla="*/ 335 h 343"/>
                <a:gd name="T96" fmla="*/ 129 w 141"/>
                <a:gd name="T97" fmla="*/ 325 h 343"/>
                <a:gd name="T98" fmla="*/ 133 w 141"/>
                <a:gd name="T99" fmla="*/ 294 h 343"/>
                <a:gd name="T100" fmla="*/ 125 w 141"/>
                <a:gd name="T101" fmla="*/ 269 h 343"/>
                <a:gd name="T102" fmla="*/ 113 w 141"/>
                <a:gd name="T103" fmla="*/ 242 h 343"/>
                <a:gd name="T104" fmla="*/ 115 w 141"/>
                <a:gd name="T105" fmla="*/ 224 h 343"/>
                <a:gd name="T106" fmla="*/ 96 w 141"/>
                <a:gd name="T107" fmla="*/ 197 h 343"/>
                <a:gd name="T108" fmla="*/ 92 w 141"/>
                <a:gd name="T109" fmla="*/ 185 h 343"/>
                <a:gd name="T110" fmla="*/ 96 w 141"/>
                <a:gd name="T111" fmla="*/ 162 h 343"/>
                <a:gd name="T112" fmla="*/ 113 w 141"/>
                <a:gd name="T113" fmla="*/ 156 h 343"/>
                <a:gd name="T114" fmla="*/ 121 w 141"/>
                <a:gd name="T115" fmla="*/ 152 h 343"/>
                <a:gd name="T116" fmla="*/ 135 w 141"/>
                <a:gd name="T117" fmla="*/ 142 h 343"/>
                <a:gd name="T118" fmla="*/ 141 w 141"/>
                <a:gd name="T119" fmla="*/ 127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1" h="343">
                  <a:moveTo>
                    <a:pt x="117" y="341"/>
                  </a:moveTo>
                  <a:lnTo>
                    <a:pt x="117" y="343"/>
                  </a:lnTo>
                  <a:lnTo>
                    <a:pt x="117" y="343"/>
                  </a:lnTo>
                  <a:lnTo>
                    <a:pt x="117" y="341"/>
                  </a:lnTo>
                  <a:lnTo>
                    <a:pt x="119" y="341"/>
                  </a:lnTo>
                  <a:lnTo>
                    <a:pt x="119" y="341"/>
                  </a:lnTo>
                  <a:lnTo>
                    <a:pt x="119" y="339"/>
                  </a:lnTo>
                  <a:lnTo>
                    <a:pt x="119" y="339"/>
                  </a:lnTo>
                  <a:lnTo>
                    <a:pt x="117" y="341"/>
                  </a:lnTo>
                  <a:close/>
                  <a:moveTo>
                    <a:pt x="117" y="327"/>
                  </a:moveTo>
                  <a:lnTo>
                    <a:pt x="119" y="327"/>
                  </a:lnTo>
                  <a:lnTo>
                    <a:pt x="119" y="327"/>
                  </a:lnTo>
                  <a:lnTo>
                    <a:pt x="119" y="327"/>
                  </a:lnTo>
                  <a:lnTo>
                    <a:pt x="117" y="323"/>
                  </a:lnTo>
                  <a:lnTo>
                    <a:pt x="117" y="323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7" y="325"/>
                  </a:lnTo>
                  <a:lnTo>
                    <a:pt x="117" y="325"/>
                  </a:lnTo>
                  <a:lnTo>
                    <a:pt x="117" y="327"/>
                  </a:lnTo>
                  <a:close/>
                  <a:moveTo>
                    <a:pt x="121" y="323"/>
                  </a:moveTo>
                  <a:lnTo>
                    <a:pt x="123" y="323"/>
                  </a:lnTo>
                  <a:lnTo>
                    <a:pt x="121" y="320"/>
                  </a:lnTo>
                  <a:lnTo>
                    <a:pt x="121" y="323"/>
                  </a:lnTo>
                  <a:lnTo>
                    <a:pt x="121" y="323"/>
                  </a:lnTo>
                  <a:lnTo>
                    <a:pt x="121" y="323"/>
                  </a:lnTo>
                  <a:close/>
                  <a:moveTo>
                    <a:pt x="115" y="314"/>
                  </a:moveTo>
                  <a:lnTo>
                    <a:pt x="117" y="314"/>
                  </a:lnTo>
                  <a:lnTo>
                    <a:pt x="117" y="314"/>
                  </a:lnTo>
                  <a:lnTo>
                    <a:pt x="117" y="314"/>
                  </a:lnTo>
                  <a:lnTo>
                    <a:pt x="117" y="312"/>
                  </a:lnTo>
                  <a:lnTo>
                    <a:pt x="117" y="312"/>
                  </a:lnTo>
                  <a:lnTo>
                    <a:pt x="117" y="308"/>
                  </a:lnTo>
                  <a:lnTo>
                    <a:pt x="117" y="308"/>
                  </a:lnTo>
                  <a:lnTo>
                    <a:pt x="117" y="308"/>
                  </a:lnTo>
                  <a:lnTo>
                    <a:pt x="117" y="310"/>
                  </a:lnTo>
                  <a:lnTo>
                    <a:pt x="117" y="312"/>
                  </a:lnTo>
                  <a:lnTo>
                    <a:pt x="115" y="314"/>
                  </a:lnTo>
                  <a:close/>
                  <a:moveTo>
                    <a:pt x="121" y="308"/>
                  </a:moveTo>
                  <a:lnTo>
                    <a:pt x="121" y="308"/>
                  </a:lnTo>
                  <a:lnTo>
                    <a:pt x="119" y="308"/>
                  </a:lnTo>
                  <a:lnTo>
                    <a:pt x="119" y="308"/>
                  </a:lnTo>
                  <a:lnTo>
                    <a:pt x="119" y="310"/>
                  </a:lnTo>
                  <a:lnTo>
                    <a:pt x="119" y="312"/>
                  </a:lnTo>
                  <a:lnTo>
                    <a:pt x="121" y="312"/>
                  </a:lnTo>
                  <a:lnTo>
                    <a:pt x="121" y="312"/>
                  </a:lnTo>
                  <a:lnTo>
                    <a:pt x="121" y="308"/>
                  </a:lnTo>
                  <a:close/>
                  <a:moveTo>
                    <a:pt x="113" y="308"/>
                  </a:moveTo>
                  <a:lnTo>
                    <a:pt x="113" y="308"/>
                  </a:lnTo>
                  <a:lnTo>
                    <a:pt x="113" y="306"/>
                  </a:lnTo>
                  <a:lnTo>
                    <a:pt x="113" y="310"/>
                  </a:lnTo>
                  <a:lnTo>
                    <a:pt x="115" y="310"/>
                  </a:lnTo>
                  <a:lnTo>
                    <a:pt x="113" y="310"/>
                  </a:lnTo>
                  <a:lnTo>
                    <a:pt x="113" y="308"/>
                  </a:lnTo>
                  <a:close/>
                  <a:moveTo>
                    <a:pt x="121" y="306"/>
                  </a:moveTo>
                  <a:lnTo>
                    <a:pt x="121" y="304"/>
                  </a:lnTo>
                  <a:lnTo>
                    <a:pt x="121" y="304"/>
                  </a:lnTo>
                  <a:lnTo>
                    <a:pt x="119" y="302"/>
                  </a:lnTo>
                  <a:lnTo>
                    <a:pt x="119" y="302"/>
                  </a:lnTo>
                  <a:lnTo>
                    <a:pt x="119" y="306"/>
                  </a:lnTo>
                  <a:lnTo>
                    <a:pt x="121" y="306"/>
                  </a:lnTo>
                  <a:lnTo>
                    <a:pt x="121" y="306"/>
                  </a:lnTo>
                  <a:close/>
                  <a:moveTo>
                    <a:pt x="113" y="300"/>
                  </a:moveTo>
                  <a:lnTo>
                    <a:pt x="113" y="300"/>
                  </a:lnTo>
                  <a:lnTo>
                    <a:pt x="113" y="298"/>
                  </a:lnTo>
                  <a:lnTo>
                    <a:pt x="113" y="298"/>
                  </a:lnTo>
                  <a:lnTo>
                    <a:pt x="113" y="298"/>
                  </a:lnTo>
                  <a:lnTo>
                    <a:pt x="113" y="298"/>
                  </a:lnTo>
                  <a:lnTo>
                    <a:pt x="113" y="300"/>
                  </a:lnTo>
                  <a:lnTo>
                    <a:pt x="113" y="300"/>
                  </a:lnTo>
                  <a:lnTo>
                    <a:pt x="113" y="302"/>
                  </a:lnTo>
                  <a:lnTo>
                    <a:pt x="115" y="302"/>
                  </a:lnTo>
                  <a:lnTo>
                    <a:pt x="115" y="302"/>
                  </a:lnTo>
                  <a:lnTo>
                    <a:pt x="113" y="300"/>
                  </a:lnTo>
                  <a:lnTo>
                    <a:pt x="113" y="300"/>
                  </a:lnTo>
                  <a:close/>
                  <a:moveTo>
                    <a:pt x="113" y="296"/>
                  </a:moveTo>
                  <a:lnTo>
                    <a:pt x="113" y="296"/>
                  </a:lnTo>
                  <a:lnTo>
                    <a:pt x="113" y="296"/>
                  </a:lnTo>
                  <a:lnTo>
                    <a:pt x="111" y="296"/>
                  </a:lnTo>
                  <a:lnTo>
                    <a:pt x="111" y="298"/>
                  </a:lnTo>
                  <a:lnTo>
                    <a:pt x="111" y="298"/>
                  </a:lnTo>
                  <a:lnTo>
                    <a:pt x="111" y="298"/>
                  </a:lnTo>
                  <a:lnTo>
                    <a:pt x="113" y="298"/>
                  </a:lnTo>
                  <a:lnTo>
                    <a:pt x="113" y="296"/>
                  </a:lnTo>
                  <a:close/>
                  <a:moveTo>
                    <a:pt x="117" y="298"/>
                  </a:moveTo>
                  <a:lnTo>
                    <a:pt x="117" y="298"/>
                  </a:lnTo>
                  <a:lnTo>
                    <a:pt x="119" y="296"/>
                  </a:lnTo>
                  <a:lnTo>
                    <a:pt x="119" y="294"/>
                  </a:lnTo>
                  <a:lnTo>
                    <a:pt x="119" y="294"/>
                  </a:lnTo>
                  <a:lnTo>
                    <a:pt x="117" y="294"/>
                  </a:lnTo>
                  <a:lnTo>
                    <a:pt x="117" y="292"/>
                  </a:lnTo>
                  <a:lnTo>
                    <a:pt x="117" y="292"/>
                  </a:lnTo>
                  <a:lnTo>
                    <a:pt x="117" y="292"/>
                  </a:lnTo>
                  <a:lnTo>
                    <a:pt x="117" y="294"/>
                  </a:lnTo>
                  <a:lnTo>
                    <a:pt x="117" y="298"/>
                  </a:lnTo>
                  <a:lnTo>
                    <a:pt x="117" y="298"/>
                  </a:lnTo>
                  <a:close/>
                  <a:moveTo>
                    <a:pt x="115" y="283"/>
                  </a:moveTo>
                  <a:lnTo>
                    <a:pt x="115" y="283"/>
                  </a:lnTo>
                  <a:lnTo>
                    <a:pt x="115" y="281"/>
                  </a:lnTo>
                  <a:lnTo>
                    <a:pt x="115" y="281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5" y="286"/>
                  </a:lnTo>
                  <a:lnTo>
                    <a:pt x="115" y="288"/>
                  </a:lnTo>
                  <a:lnTo>
                    <a:pt x="115" y="283"/>
                  </a:lnTo>
                  <a:close/>
                  <a:moveTo>
                    <a:pt x="53" y="234"/>
                  </a:move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3" y="234"/>
                  </a:lnTo>
                  <a:close/>
                  <a:moveTo>
                    <a:pt x="49" y="228"/>
                  </a:moveTo>
                  <a:lnTo>
                    <a:pt x="49" y="230"/>
                  </a:lnTo>
                  <a:lnTo>
                    <a:pt x="47" y="230"/>
                  </a:lnTo>
                  <a:lnTo>
                    <a:pt x="47" y="234"/>
                  </a:lnTo>
                  <a:lnTo>
                    <a:pt x="49" y="232"/>
                  </a:lnTo>
                  <a:lnTo>
                    <a:pt x="49" y="230"/>
                  </a:lnTo>
                  <a:lnTo>
                    <a:pt x="51" y="228"/>
                  </a:lnTo>
                  <a:lnTo>
                    <a:pt x="51" y="226"/>
                  </a:lnTo>
                  <a:lnTo>
                    <a:pt x="49" y="228"/>
                  </a:lnTo>
                  <a:close/>
                  <a:moveTo>
                    <a:pt x="98" y="222"/>
                  </a:moveTo>
                  <a:lnTo>
                    <a:pt x="96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4"/>
                  </a:lnTo>
                  <a:lnTo>
                    <a:pt x="96" y="226"/>
                  </a:lnTo>
                  <a:lnTo>
                    <a:pt x="98" y="226"/>
                  </a:lnTo>
                  <a:lnTo>
                    <a:pt x="98" y="224"/>
                  </a:lnTo>
                  <a:lnTo>
                    <a:pt x="98" y="222"/>
                  </a:lnTo>
                  <a:lnTo>
                    <a:pt x="98" y="222"/>
                  </a:lnTo>
                  <a:close/>
                  <a:moveTo>
                    <a:pt x="28" y="177"/>
                  </a:moveTo>
                  <a:lnTo>
                    <a:pt x="26" y="179"/>
                  </a:lnTo>
                  <a:lnTo>
                    <a:pt x="28" y="181"/>
                  </a:lnTo>
                  <a:lnTo>
                    <a:pt x="30" y="181"/>
                  </a:lnTo>
                  <a:lnTo>
                    <a:pt x="30" y="181"/>
                  </a:lnTo>
                  <a:lnTo>
                    <a:pt x="30" y="181"/>
                  </a:lnTo>
                  <a:lnTo>
                    <a:pt x="30" y="179"/>
                  </a:lnTo>
                  <a:lnTo>
                    <a:pt x="30" y="179"/>
                  </a:lnTo>
                  <a:lnTo>
                    <a:pt x="28" y="177"/>
                  </a:lnTo>
                  <a:close/>
                  <a:moveTo>
                    <a:pt x="30" y="168"/>
                  </a:moveTo>
                  <a:lnTo>
                    <a:pt x="30" y="170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0" y="166"/>
                  </a:lnTo>
                  <a:lnTo>
                    <a:pt x="30" y="166"/>
                  </a:lnTo>
                  <a:lnTo>
                    <a:pt x="28" y="164"/>
                  </a:lnTo>
                  <a:lnTo>
                    <a:pt x="28" y="166"/>
                  </a:lnTo>
                  <a:lnTo>
                    <a:pt x="28" y="166"/>
                  </a:lnTo>
                  <a:lnTo>
                    <a:pt x="28" y="166"/>
                  </a:lnTo>
                  <a:lnTo>
                    <a:pt x="28" y="168"/>
                  </a:lnTo>
                  <a:lnTo>
                    <a:pt x="30" y="168"/>
                  </a:lnTo>
                  <a:close/>
                  <a:moveTo>
                    <a:pt x="22" y="158"/>
                  </a:moveTo>
                  <a:lnTo>
                    <a:pt x="22" y="160"/>
                  </a:lnTo>
                  <a:lnTo>
                    <a:pt x="24" y="160"/>
                  </a:lnTo>
                  <a:lnTo>
                    <a:pt x="24" y="162"/>
                  </a:lnTo>
                  <a:lnTo>
                    <a:pt x="24" y="158"/>
                  </a:lnTo>
                  <a:lnTo>
                    <a:pt x="22" y="158"/>
                  </a:lnTo>
                  <a:close/>
                  <a:moveTo>
                    <a:pt x="16" y="156"/>
                  </a:moveTo>
                  <a:lnTo>
                    <a:pt x="14" y="156"/>
                  </a:lnTo>
                  <a:lnTo>
                    <a:pt x="14" y="156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58"/>
                  </a:lnTo>
                  <a:lnTo>
                    <a:pt x="16" y="156"/>
                  </a:lnTo>
                  <a:close/>
                  <a:moveTo>
                    <a:pt x="141" y="125"/>
                  </a:moveTo>
                  <a:lnTo>
                    <a:pt x="141" y="125"/>
                  </a:lnTo>
                  <a:lnTo>
                    <a:pt x="141" y="125"/>
                  </a:lnTo>
                  <a:lnTo>
                    <a:pt x="141" y="125"/>
                  </a:lnTo>
                  <a:lnTo>
                    <a:pt x="139" y="125"/>
                  </a:lnTo>
                  <a:lnTo>
                    <a:pt x="137" y="127"/>
                  </a:lnTo>
                  <a:lnTo>
                    <a:pt x="135" y="129"/>
                  </a:lnTo>
                  <a:lnTo>
                    <a:pt x="133" y="129"/>
                  </a:lnTo>
                  <a:lnTo>
                    <a:pt x="133" y="129"/>
                  </a:lnTo>
                  <a:lnTo>
                    <a:pt x="131" y="129"/>
                  </a:lnTo>
                  <a:lnTo>
                    <a:pt x="129" y="129"/>
                  </a:lnTo>
                  <a:lnTo>
                    <a:pt x="127" y="129"/>
                  </a:lnTo>
                  <a:lnTo>
                    <a:pt x="127" y="129"/>
                  </a:lnTo>
                  <a:lnTo>
                    <a:pt x="125" y="129"/>
                  </a:lnTo>
                  <a:lnTo>
                    <a:pt x="125" y="129"/>
                  </a:lnTo>
                  <a:lnTo>
                    <a:pt x="125" y="127"/>
                  </a:lnTo>
                  <a:lnTo>
                    <a:pt x="125" y="127"/>
                  </a:lnTo>
                  <a:lnTo>
                    <a:pt x="125" y="125"/>
                  </a:lnTo>
                  <a:lnTo>
                    <a:pt x="123" y="125"/>
                  </a:lnTo>
                  <a:lnTo>
                    <a:pt x="123" y="125"/>
                  </a:lnTo>
                  <a:lnTo>
                    <a:pt x="123" y="123"/>
                  </a:lnTo>
                  <a:lnTo>
                    <a:pt x="123" y="121"/>
                  </a:lnTo>
                  <a:lnTo>
                    <a:pt x="123" y="121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17" y="119"/>
                  </a:lnTo>
                  <a:lnTo>
                    <a:pt x="113" y="119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1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5"/>
                  </a:lnTo>
                  <a:lnTo>
                    <a:pt x="111" y="113"/>
                  </a:lnTo>
                  <a:lnTo>
                    <a:pt x="111" y="111"/>
                  </a:lnTo>
                  <a:lnTo>
                    <a:pt x="111" y="109"/>
                  </a:lnTo>
                  <a:lnTo>
                    <a:pt x="111" y="107"/>
                  </a:lnTo>
                  <a:lnTo>
                    <a:pt x="111" y="105"/>
                  </a:lnTo>
                  <a:lnTo>
                    <a:pt x="113" y="103"/>
                  </a:lnTo>
                  <a:lnTo>
                    <a:pt x="113" y="103"/>
                  </a:lnTo>
                  <a:lnTo>
                    <a:pt x="113" y="103"/>
                  </a:lnTo>
                  <a:lnTo>
                    <a:pt x="111" y="100"/>
                  </a:lnTo>
                  <a:lnTo>
                    <a:pt x="111" y="100"/>
                  </a:lnTo>
                  <a:lnTo>
                    <a:pt x="108" y="100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2" y="98"/>
                  </a:lnTo>
                  <a:lnTo>
                    <a:pt x="102" y="96"/>
                  </a:lnTo>
                  <a:lnTo>
                    <a:pt x="102" y="94"/>
                  </a:lnTo>
                  <a:lnTo>
                    <a:pt x="100" y="94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0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84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94" y="82"/>
                  </a:lnTo>
                  <a:lnTo>
                    <a:pt x="94" y="82"/>
                  </a:lnTo>
                  <a:lnTo>
                    <a:pt x="94" y="82"/>
                  </a:lnTo>
                  <a:lnTo>
                    <a:pt x="92" y="82"/>
                  </a:lnTo>
                  <a:lnTo>
                    <a:pt x="88" y="82"/>
                  </a:lnTo>
                  <a:lnTo>
                    <a:pt x="86" y="82"/>
                  </a:lnTo>
                  <a:lnTo>
                    <a:pt x="84" y="84"/>
                  </a:lnTo>
                  <a:lnTo>
                    <a:pt x="82" y="84"/>
                  </a:lnTo>
                  <a:lnTo>
                    <a:pt x="82" y="86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80" y="84"/>
                  </a:lnTo>
                  <a:lnTo>
                    <a:pt x="80" y="82"/>
                  </a:lnTo>
                  <a:lnTo>
                    <a:pt x="80" y="80"/>
                  </a:lnTo>
                  <a:lnTo>
                    <a:pt x="80" y="78"/>
                  </a:lnTo>
                  <a:lnTo>
                    <a:pt x="80" y="7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8" y="74"/>
                  </a:lnTo>
                  <a:lnTo>
                    <a:pt x="76" y="72"/>
                  </a:lnTo>
                  <a:lnTo>
                    <a:pt x="78" y="70"/>
                  </a:lnTo>
                  <a:lnTo>
                    <a:pt x="78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82" y="61"/>
                  </a:lnTo>
                  <a:lnTo>
                    <a:pt x="82" y="61"/>
                  </a:lnTo>
                  <a:lnTo>
                    <a:pt x="82" y="59"/>
                  </a:lnTo>
                  <a:lnTo>
                    <a:pt x="82" y="59"/>
                  </a:lnTo>
                  <a:lnTo>
                    <a:pt x="84" y="57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6" y="55"/>
                  </a:lnTo>
                  <a:lnTo>
                    <a:pt x="86" y="55"/>
                  </a:lnTo>
                  <a:lnTo>
                    <a:pt x="88" y="53"/>
                  </a:lnTo>
                  <a:lnTo>
                    <a:pt x="88" y="51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7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90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90" y="39"/>
                  </a:lnTo>
                  <a:lnTo>
                    <a:pt x="90" y="37"/>
                  </a:lnTo>
                  <a:lnTo>
                    <a:pt x="88" y="35"/>
                  </a:lnTo>
                  <a:lnTo>
                    <a:pt x="88" y="33"/>
                  </a:lnTo>
                  <a:lnTo>
                    <a:pt x="88" y="31"/>
                  </a:lnTo>
                  <a:lnTo>
                    <a:pt x="88" y="29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0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0" y="16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76" y="10"/>
                  </a:lnTo>
                  <a:lnTo>
                    <a:pt x="74" y="10"/>
                  </a:lnTo>
                  <a:lnTo>
                    <a:pt x="74" y="8"/>
                  </a:lnTo>
                  <a:lnTo>
                    <a:pt x="74" y="6"/>
                  </a:lnTo>
                  <a:lnTo>
                    <a:pt x="72" y="6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10"/>
                  </a:lnTo>
                  <a:lnTo>
                    <a:pt x="63" y="10"/>
                  </a:lnTo>
                  <a:lnTo>
                    <a:pt x="63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59" y="12"/>
                  </a:lnTo>
                  <a:lnTo>
                    <a:pt x="59" y="14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20"/>
                  </a:lnTo>
                  <a:lnTo>
                    <a:pt x="61" y="24"/>
                  </a:lnTo>
                  <a:lnTo>
                    <a:pt x="61" y="26"/>
                  </a:lnTo>
                  <a:lnTo>
                    <a:pt x="61" y="26"/>
                  </a:lnTo>
                  <a:lnTo>
                    <a:pt x="59" y="26"/>
                  </a:lnTo>
                  <a:lnTo>
                    <a:pt x="57" y="24"/>
                  </a:lnTo>
                  <a:lnTo>
                    <a:pt x="57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49" y="22"/>
                  </a:lnTo>
                  <a:lnTo>
                    <a:pt x="47" y="24"/>
                  </a:lnTo>
                  <a:lnTo>
                    <a:pt x="45" y="24"/>
                  </a:lnTo>
                  <a:lnTo>
                    <a:pt x="45" y="26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1" y="29"/>
                  </a:lnTo>
                  <a:lnTo>
                    <a:pt x="37" y="33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9"/>
                  </a:lnTo>
                  <a:lnTo>
                    <a:pt x="33" y="41"/>
                  </a:lnTo>
                  <a:lnTo>
                    <a:pt x="33" y="43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3" y="47"/>
                  </a:lnTo>
                  <a:lnTo>
                    <a:pt x="33" y="49"/>
                  </a:lnTo>
                  <a:lnTo>
                    <a:pt x="33" y="51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0" y="55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9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6"/>
                  </a:lnTo>
                  <a:lnTo>
                    <a:pt x="30" y="70"/>
                  </a:lnTo>
                  <a:lnTo>
                    <a:pt x="28" y="72"/>
                  </a:lnTo>
                  <a:lnTo>
                    <a:pt x="28" y="74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6" y="82"/>
                  </a:lnTo>
                  <a:lnTo>
                    <a:pt x="26" y="84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2" y="86"/>
                  </a:lnTo>
                  <a:lnTo>
                    <a:pt x="20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4"/>
                  </a:lnTo>
                  <a:lnTo>
                    <a:pt x="14" y="88"/>
                  </a:lnTo>
                  <a:lnTo>
                    <a:pt x="14" y="90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103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3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2" y="107"/>
                  </a:lnTo>
                  <a:lnTo>
                    <a:pt x="12" y="109"/>
                  </a:lnTo>
                  <a:lnTo>
                    <a:pt x="12" y="111"/>
                  </a:lnTo>
                  <a:lnTo>
                    <a:pt x="14" y="113"/>
                  </a:lnTo>
                  <a:lnTo>
                    <a:pt x="14" y="115"/>
                  </a:lnTo>
                  <a:lnTo>
                    <a:pt x="14" y="117"/>
                  </a:lnTo>
                  <a:lnTo>
                    <a:pt x="14" y="117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2" y="121"/>
                  </a:lnTo>
                  <a:lnTo>
                    <a:pt x="10" y="121"/>
                  </a:lnTo>
                  <a:lnTo>
                    <a:pt x="10" y="121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6" y="119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6" y="127"/>
                  </a:lnTo>
                  <a:lnTo>
                    <a:pt x="6" y="129"/>
                  </a:lnTo>
                  <a:lnTo>
                    <a:pt x="8" y="131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6" y="133"/>
                  </a:lnTo>
                  <a:lnTo>
                    <a:pt x="6" y="133"/>
                  </a:lnTo>
                  <a:lnTo>
                    <a:pt x="6" y="131"/>
                  </a:lnTo>
                  <a:lnTo>
                    <a:pt x="4" y="131"/>
                  </a:lnTo>
                  <a:lnTo>
                    <a:pt x="2" y="131"/>
                  </a:lnTo>
                  <a:lnTo>
                    <a:pt x="2" y="131"/>
                  </a:lnTo>
                  <a:lnTo>
                    <a:pt x="0" y="131"/>
                  </a:lnTo>
                  <a:lnTo>
                    <a:pt x="0" y="133"/>
                  </a:lnTo>
                  <a:lnTo>
                    <a:pt x="2" y="135"/>
                  </a:lnTo>
                  <a:lnTo>
                    <a:pt x="2" y="137"/>
                  </a:lnTo>
                  <a:lnTo>
                    <a:pt x="2" y="137"/>
                  </a:lnTo>
                  <a:lnTo>
                    <a:pt x="2" y="137"/>
                  </a:lnTo>
                  <a:lnTo>
                    <a:pt x="4" y="140"/>
                  </a:lnTo>
                  <a:lnTo>
                    <a:pt x="4" y="142"/>
                  </a:lnTo>
                  <a:lnTo>
                    <a:pt x="4" y="142"/>
                  </a:lnTo>
                  <a:lnTo>
                    <a:pt x="6" y="144"/>
                  </a:lnTo>
                  <a:lnTo>
                    <a:pt x="10" y="148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0" y="146"/>
                  </a:lnTo>
                  <a:lnTo>
                    <a:pt x="10" y="146"/>
                  </a:lnTo>
                  <a:lnTo>
                    <a:pt x="12" y="148"/>
                  </a:lnTo>
                  <a:lnTo>
                    <a:pt x="12" y="150"/>
                  </a:lnTo>
                  <a:lnTo>
                    <a:pt x="14" y="150"/>
                  </a:lnTo>
                  <a:lnTo>
                    <a:pt x="14" y="152"/>
                  </a:lnTo>
                  <a:lnTo>
                    <a:pt x="14" y="152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4" y="154"/>
                  </a:lnTo>
                  <a:lnTo>
                    <a:pt x="16" y="152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6" y="154"/>
                  </a:lnTo>
                  <a:lnTo>
                    <a:pt x="16" y="154"/>
                  </a:lnTo>
                  <a:lnTo>
                    <a:pt x="18" y="154"/>
                  </a:lnTo>
                  <a:lnTo>
                    <a:pt x="16" y="154"/>
                  </a:lnTo>
                  <a:lnTo>
                    <a:pt x="16" y="156"/>
                  </a:lnTo>
                  <a:lnTo>
                    <a:pt x="18" y="160"/>
                  </a:lnTo>
                  <a:lnTo>
                    <a:pt x="20" y="160"/>
                  </a:lnTo>
                  <a:lnTo>
                    <a:pt x="20" y="158"/>
                  </a:lnTo>
                  <a:lnTo>
                    <a:pt x="18" y="156"/>
                  </a:lnTo>
                  <a:lnTo>
                    <a:pt x="20" y="156"/>
                  </a:lnTo>
                  <a:lnTo>
                    <a:pt x="22" y="156"/>
                  </a:lnTo>
                  <a:lnTo>
                    <a:pt x="22" y="156"/>
                  </a:lnTo>
                  <a:lnTo>
                    <a:pt x="22" y="156"/>
                  </a:lnTo>
                  <a:lnTo>
                    <a:pt x="26" y="158"/>
                  </a:lnTo>
                  <a:lnTo>
                    <a:pt x="28" y="158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8" y="162"/>
                  </a:lnTo>
                  <a:lnTo>
                    <a:pt x="28" y="162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30" y="166"/>
                  </a:lnTo>
                  <a:lnTo>
                    <a:pt x="33" y="166"/>
                  </a:lnTo>
                  <a:lnTo>
                    <a:pt x="33" y="166"/>
                  </a:lnTo>
                  <a:lnTo>
                    <a:pt x="33" y="166"/>
                  </a:lnTo>
                  <a:lnTo>
                    <a:pt x="33" y="168"/>
                  </a:lnTo>
                  <a:lnTo>
                    <a:pt x="33" y="170"/>
                  </a:lnTo>
                  <a:lnTo>
                    <a:pt x="30" y="170"/>
                  </a:lnTo>
                  <a:lnTo>
                    <a:pt x="30" y="170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8" y="172"/>
                  </a:lnTo>
                  <a:lnTo>
                    <a:pt x="30" y="174"/>
                  </a:lnTo>
                  <a:lnTo>
                    <a:pt x="30" y="177"/>
                  </a:lnTo>
                  <a:lnTo>
                    <a:pt x="33" y="177"/>
                  </a:lnTo>
                  <a:lnTo>
                    <a:pt x="35" y="177"/>
                  </a:lnTo>
                  <a:lnTo>
                    <a:pt x="35" y="174"/>
                  </a:lnTo>
                  <a:lnTo>
                    <a:pt x="33" y="172"/>
                  </a:lnTo>
                  <a:lnTo>
                    <a:pt x="35" y="172"/>
                  </a:lnTo>
                  <a:lnTo>
                    <a:pt x="35" y="170"/>
                  </a:lnTo>
                  <a:lnTo>
                    <a:pt x="35" y="170"/>
                  </a:lnTo>
                  <a:lnTo>
                    <a:pt x="35" y="172"/>
                  </a:lnTo>
                  <a:lnTo>
                    <a:pt x="37" y="177"/>
                  </a:lnTo>
                  <a:lnTo>
                    <a:pt x="37" y="179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3"/>
                  </a:lnTo>
                  <a:lnTo>
                    <a:pt x="41" y="185"/>
                  </a:lnTo>
                  <a:lnTo>
                    <a:pt x="43" y="191"/>
                  </a:lnTo>
                  <a:lnTo>
                    <a:pt x="45" y="197"/>
                  </a:lnTo>
                  <a:lnTo>
                    <a:pt x="47" y="199"/>
                  </a:lnTo>
                  <a:lnTo>
                    <a:pt x="47" y="201"/>
                  </a:lnTo>
                  <a:lnTo>
                    <a:pt x="47" y="205"/>
                  </a:lnTo>
                  <a:lnTo>
                    <a:pt x="47" y="209"/>
                  </a:lnTo>
                  <a:lnTo>
                    <a:pt x="47" y="209"/>
                  </a:lnTo>
                  <a:lnTo>
                    <a:pt x="47" y="214"/>
                  </a:lnTo>
                  <a:lnTo>
                    <a:pt x="45" y="214"/>
                  </a:lnTo>
                  <a:lnTo>
                    <a:pt x="45" y="218"/>
                  </a:lnTo>
                  <a:lnTo>
                    <a:pt x="45" y="220"/>
                  </a:lnTo>
                  <a:lnTo>
                    <a:pt x="45" y="222"/>
                  </a:lnTo>
                  <a:lnTo>
                    <a:pt x="45" y="228"/>
                  </a:lnTo>
                  <a:lnTo>
                    <a:pt x="45" y="230"/>
                  </a:lnTo>
                  <a:lnTo>
                    <a:pt x="45" y="230"/>
                  </a:lnTo>
                  <a:lnTo>
                    <a:pt x="47" y="228"/>
                  </a:lnTo>
                  <a:lnTo>
                    <a:pt x="49" y="228"/>
                  </a:lnTo>
                  <a:lnTo>
                    <a:pt x="49" y="226"/>
                  </a:lnTo>
                  <a:lnTo>
                    <a:pt x="51" y="224"/>
                  </a:lnTo>
                  <a:lnTo>
                    <a:pt x="51" y="224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51" y="224"/>
                  </a:lnTo>
                  <a:lnTo>
                    <a:pt x="51" y="226"/>
                  </a:lnTo>
                  <a:lnTo>
                    <a:pt x="51" y="228"/>
                  </a:lnTo>
                  <a:lnTo>
                    <a:pt x="51" y="230"/>
                  </a:lnTo>
                  <a:lnTo>
                    <a:pt x="51" y="230"/>
                  </a:lnTo>
                  <a:lnTo>
                    <a:pt x="51" y="232"/>
                  </a:lnTo>
                  <a:lnTo>
                    <a:pt x="53" y="230"/>
                  </a:lnTo>
                  <a:lnTo>
                    <a:pt x="55" y="230"/>
                  </a:lnTo>
                  <a:lnTo>
                    <a:pt x="55" y="228"/>
                  </a:lnTo>
                  <a:lnTo>
                    <a:pt x="55" y="228"/>
                  </a:lnTo>
                  <a:lnTo>
                    <a:pt x="55" y="228"/>
                  </a:lnTo>
                  <a:lnTo>
                    <a:pt x="55" y="228"/>
                  </a:lnTo>
                  <a:lnTo>
                    <a:pt x="55" y="230"/>
                  </a:lnTo>
                  <a:lnTo>
                    <a:pt x="55" y="230"/>
                  </a:lnTo>
                  <a:lnTo>
                    <a:pt x="57" y="234"/>
                  </a:lnTo>
                  <a:lnTo>
                    <a:pt x="59" y="234"/>
                  </a:lnTo>
                  <a:lnTo>
                    <a:pt x="59" y="234"/>
                  </a:lnTo>
                  <a:lnTo>
                    <a:pt x="61" y="232"/>
                  </a:lnTo>
                  <a:lnTo>
                    <a:pt x="61" y="230"/>
                  </a:lnTo>
                  <a:lnTo>
                    <a:pt x="61" y="228"/>
                  </a:lnTo>
                  <a:lnTo>
                    <a:pt x="63" y="230"/>
                  </a:lnTo>
                  <a:lnTo>
                    <a:pt x="61" y="232"/>
                  </a:lnTo>
                  <a:lnTo>
                    <a:pt x="61" y="234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5" y="234"/>
                  </a:lnTo>
                  <a:lnTo>
                    <a:pt x="67" y="230"/>
                  </a:lnTo>
                  <a:lnTo>
                    <a:pt x="67" y="230"/>
                  </a:lnTo>
                  <a:lnTo>
                    <a:pt x="69" y="228"/>
                  </a:lnTo>
                  <a:lnTo>
                    <a:pt x="72" y="226"/>
                  </a:lnTo>
                  <a:lnTo>
                    <a:pt x="74" y="226"/>
                  </a:lnTo>
                  <a:lnTo>
                    <a:pt x="74" y="224"/>
                  </a:lnTo>
                  <a:lnTo>
                    <a:pt x="74" y="224"/>
                  </a:lnTo>
                  <a:lnTo>
                    <a:pt x="74" y="224"/>
                  </a:lnTo>
                  <a:lnTo>
                    <a:pt x="78" y="224"/>
                  </a:lnTo>
                  <a:lnTo>
                    <a:pt x="78" y="222"/>
                  </a:lnTo>
                  <a:lnTo>
                    <a:pt x="76" y="220"/>
                  </a:lnTo>
                  <a:lnTo>
                    <a:pt x="76" y="220"/>
                  </a:lnTo>
                  <a:lnTo>
                    <a:pt x="74" y="216"/>
                  </a:lnTo>
                  <a:lnTo>
                    <a:pt x="76" y="216"/>
                  </a:lnTo>
                  <a:lnTo>
                    <a:pt x="76" y="216"/>
                  </a:lnTo>
                  <a:lnTo>
                    <a:pt x="76" y="218"/>
                  </a:lnTo>
                  <a:lnTo>
                    <a:pt x="76" y="220"/>
                  </a:lnTo>
                  <a:lnTo>
                    <a:pt x="78" y="222"/>
                  </a:lnTo>
                  <a:lnTo>
                    <a:pt x="78" y="222"/>
                  </a:lnTo>
                  <a:lnTo>
                    <a:pt x="80" y="222"/>
                  </a:lnTo>
                  <a:lnTo>
                    <a:pt x="82" y="220"/>
                  </a:lnTo>
                  <a:lnTo>
                    <a:pt x="84" y="218"/>
                  </a:lnTo>
                  <a:lnTo>
                    <a:pt x="84" y="216"/>
                  </a:lnTo>
                  <a:lnTo>
                    <a:pt x="84" y="214"/>
                  </a:lnTo>
                  <a:lnTo>
                    <a:pt x="86" y="212"/>
                  </a:lnTo>
                  <a:lnTo>
                    <a:pt x="84" y="207"/>
                  </a:lnTo>
                  <a:lnTo>
                    <a:pt x="84" y="207"/>
                  </a:lnTo>
                  <a:lnTo>
                    <a:pt x="84" y="205"/>
                  </a:lnTo>
                  <a:lnTo>
                    <a:pt x="84" y="205"/>
                  </a:lnTo>
                  <a:lnTo>
                    <a:pt x="86" y="205"/>
                  </a:lnTo>
                  <a:lnTo>
                    <a:pt x="88" y="207"/>
                  </a:lnTo>
                  <a:lnTo>
                    <a:pt x="88" y="209"/>
                  </a:lnTo>
                  <a:lnTo>
                    <a:pt x="90" y="209"/>
                  </a:lnTo>
                  <a:lnTo>
                    <a:pt x="90" y="212"/>
                  </a:lnTo>
                  <a:lnTo>
                    <a:pt x="90" y="214"/>
                  </a:lnTo>
                  <a:lnTo>
                    <a:pt x="92" y="218"/>
                  </a:lnTo>
                  <a:lnTo>
                    <a:pt x="92" y="218"/>
                  </a:lnTo>
                  <a:lnTo>
                    <a:pt x="94" y="222"/>
                  </a:lnTo>
                  <a:lnTo>
                    <a:pt x="96" y="220"/>
                  </a:lnTo>
                  <a:lnTo>
                    <a:pt x="98" y="220"/>
                  </a:lnTo>
                  <a:lnTo>
                    <a:pt x="98" y="220"/>
                  </a:lnTo>
                  <a:lnTo>
                    <a:pt x="100" y="220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8" y="226"/>
                  </a:lnTo>
                  <a:lnTo>
                    <a:pt x="98" y="228"/>
                  </a:lnTo>
                  <a:lnTo>
                    <a:pt x="98" y="230"/>
                  </a:lnTo>
                  <a:lnTo>
                    <a:pt x="100" y="232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4"/>
                  </a:lnTo>
                  <a:lnTo>
                    <a:pt x="104" y="251"/>
                  </a:lnTo>
                  <a:lnTo>
                    <a:pt x="104" y="253"/>
                  </a:lnTo>
                  <a:lnTo>
                    <a:pt x="106" y="253"/>
                  </a:lnTo>
                  <a:lnTo>
                    <a:pt x="108" y="255"/>
                  </a:lnTo>
                  <a:lnTo>
                    <a:pt x="106" y="255"/>
                  </a:lnTo>
                  <a:lnTo>
                    <a:pt x="106" y="255"/>
                  </a:lnTo>
                  <a:lnTo>
                    <a:pt x="106" y="259"/>
                  </a:lnTo>
                  <a:lnTo>
                    <a:pt x="108" y="261"/>
                  </a:lnTo>
                  <a:lnTo>
                    <a:pt x="111" y="265"/>
                  </a:lnTo>
                  <a:lnTo>
                    <a:pt x="111" y="267"/>
                  </a:lnTo>
                  <a:lnTo>
                    <a:pt x="111" y="269"/>
                  </a:lnTo>
                  <a:lnTo>
                    <a:pt x="111" y="273"/>
                  </a:lnTo>
                  <a:lnTo>
                    <a:pt x="113" y="273"/>
                  </a:lnTo>
                  <a:lnTo>
                    <a:pt x="113" y="267"/>
                  </a:lnTo>
                  <a:lnTo>
                    <a:pt x="113" y="269"/>
                  </a:lnTo>
                  <a:lnTo>
                    <a:pt x="113" y="269"/>
                  </a:lnTo>
                  <a:lnTo>
                    <a:pt x="113" y="271"/>
                  </a:lnTo>
                  <a:lnTo>
                    <a:pt x="117" y="277"/>
                  </a:lnTo>
                  <a:lnTo>
                    <a:pt x="117" y="279"/>
                  </a:lnTo>
                  <a:lnTo>
                    <a:pt x="119" y="283"/>
                  </a:lnTo>
                  <a:lnTo>
                    <a:pt x="121" y="286"/>
                  </a:lnTo>
                  <a:lnTo>
                    <a:pt x="121" y="288"/>
                  </a:lnTo>
                  <a:lnTo>
                    <a:pt x="121" y="290"/>
                  </a:lnTo>
                  <a:lnTo>
                    <a:pt x="121" y="292"/>
                  </a:lnTo>
                  <a:lnTo>
                    <a:pt x="121" y="294"/>
                  </a:lnTo>
                  <a:lnTo>
                    <a:pt x="121" y="296"/>
                  </a:lnTo>
                  <a:lnTo>
                    <a:pt x="123" y="298"/>
                  </a:lnTo>
                  <a:lnTo>
                    <a:pt x="121" y="298"/>
                  </a:lnTo>
                  <a:lnTo>
                    <a:pt x="121" y="300"/>
                  </a:lnTo>
                  <a:lnTo>
                    <a:pt x="121" y="300"/>
                  </a:lnTo>
                  <a:lnTo>
                    <a:pt x="123" y="300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3" y="306"/>
                  </a:lnTo>
                  <a:lnTo>
                    <a:pt x="123" y="306"/>
                  </a:lnTo>
                  <a:lnTo>
                    <a:pt x="123" y="308"/>
                  </a:lnTo>
                  <a:lnTo>
                    <a:pt x="123" y="308"/>
                  </a:lnTo>
                  <a:lnTo>
                    <a:pt x="123" y="308"/>
                  </a:lnTo>
                  <a:lnTo>
                    <a:pt x="125" y="308"/>
                  </a:lnTo>
                  <a:lnTo>
                    <a:pt x="125" y="308"/>
                  </a:lnTo>
                  <a:lnTo>
                    <a:pt x="127" y="308"/>
                  </a:lnTo>
                  <a:lnTo>
                    <a:pt x="125" y="310"/>
                  </a:lnTo>
                  <a:lnTo>
                    <a:pt x="125" y="312"/>
                  </a:lnTo>
                  <a:lnTo>
                    <a:pt x="125" y="312"/>
                  </a:lnTo>
                  <a:lnTo>
                    <a:pt x="125" y="314"/>
                  </a:lnTo>
                  <a:lnTo>
                    <a:pt x="125" y="316"/>
                  </a:lnTo>
                  <a:lnTo>
                    <a:pt x="125" y="318"/>
                  </a:lnTo>
                  <a:lnTo>
                    <a:pt x="125" y="320"/>
                  </a:lnTo>
                  <a:lnTo>
                    <a:pt x="125" y="323"/>
                  </a:lnTo>
                  <a:lnTo>
                    <a:pt x="123" y="325"/>
                  </a:lnTo>
                  <a:lnTo>
                    <a:pt x="123" y="327"/>
                  </a:lnTo>
                  <a:lnTo>
                    <a:pt x="121" y="327"/>
                  </a:lnTo>
                  <a:lnTo>
                    <a:pt x="121" y="329"/>
                  </a:lnTo>
                  <a:lnTo>
                    <a:pt x="123" y="335"/>
                  </a:lnTo>
                  <a:lnTo>
                    <a:pt x="123" y="337"/>
                  </a:lnTo>
                  <a:lnTo>
                    <a:pt x="123" y="339"/>
                  </a:lnTo>
                  <a:lnTo>
                    <a:pt x="123" y="339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5"/>
                  </a:lnTo>
                  <a:lnTo>
                    <a:pt x="127" y="335"/>
                  </a:lnTo>
                  <a:lnTo>
                    <a:pt x="127" y="333"/>
                  </a:lnTo>
                  <a:lnTo>
                    <a:pt x="127" y="331"/>
                  </a:lnTo>
                  <a:lnTo>
                    <a:pt x="125" y="329"/>
                  </a:lnTo>
                  <a:lnTo>
                    <a:pt x="125" y="329"/>
                  </a:lnTo>
                  <a:lnTo>
                    <a:pt x="127" y="327"/>
                  </a:lnTo>
                  <a:lnTo>
                    <a:pt x="127" y="327"/>
                  </a:lnTo>
                  <a:lnTo>
                    <a:pt x="129" y="325"/>
                  </a:lnTo>
                  <a:lnTo>
                    <a:pt x="133" y="320"/>
                  </a:lnTo>
                  <a:lnTo>
                    <a:pt x="135" y="314"/>
                  </a:lnTo>
                  <a:lnTo>
                    <a:pt x="135" y="312"/>
                  </a:lnTo>
                  <a:lnTo>
                    <a:pt x="135" y="310"/>
                  </a:lnTo>
                  <a:lnTo>
                    <a:pt x="137" y="310"/>
                  </a:lnTo>
                  <a:lnTo>
                    <a:pt x="137" y="310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7" y="302"/>
                  </a:lnTo>
                  <a:lnTo>
                    <a:pt x="135" y="300"/>
                  </a:lnTo>
                  <a:lnTo>
                    <a:pt x="135" y="298"/>
                  </a:lnTo>
                  <a:lnTo>
                    <a:pt x="133" y="296"/>
                  </a:lnTo>
                  <a:lnTo>
                    <a:pt x="133" y="296"/>
                  </a:lnTo>
                  <a:lnTo>
                    <a:pt x="133" y="294"/>
                  </a:lnTo>
                  <a:lnTo>
                    <a:pt x="133" y="294"/>
                  </a:lnTo>
                  <a:lnTo>
                    <a:pt x="131" y="292"/>
                  </a:lnTo>
                  <a:lnTo>
                    <a:pt x="131" y="290"/>
                  </a:lnTo>
                  <a:lnTo>
                    <a:pt x="129" y="288"/>
                  </a:lnTo>
                  <a:lnTo>
                    <a:pt x="129" y="286"/>
                  </a:lnTo>
                  <a:lnTo>
                    <a:pt x="129" y="286"/>
                  </a:lnTo>
                  <a:lnTo>
                    <a:pt x="127" y="283"/>
                  </a:lnTo>
                  <a:lnTo>
                    <a:pt x="129" y="281"/>
                  </a:lnTo>
                  <a:lnTo>
                    <a:pt x="129" y="281"/>
                  </a:lnTo>
                  <a:lnTo>
                    <a:pt x="129" y="277"/>
                  </a:lnTo>
                  <a:lnTo>
                    <a:pt x="127" y="275"/>
                  </a:lnTo>
                  <a:lnTo>
                    <a:pt x="127" y="273"/>
                  </a:lnTo>
                  <a:lnTo>
                    <a:pt x="127" y="271"/>
                  </a:lnTo>
                  <a:lnTo>
                    <a:pt x="125" y="269"/>
                  </a:lnTo>
                  <a:lnTo>
                    <a:pt x="123" y="267"/>
                  </a:lnTo>
                  <a:lnTo>
                    <a:pt x="121" y="263"/>
                  </a:lnTo>
                  <a:lnTo>
                    <a:pt x="117" y="261"/>
                  </a:lnTo>
                  <a:lnTo>
                    <a:pt x="117" y="259"/>
                  </a:lnTo>
                  <a:lnTo>
                    <a:pt x="115" y="257"/>
                  </a:lnTo>
                  <a:lnTo>
                    <a:pt x="113" y="255"/>
                  </a:lnTo>
                  <a:lnTo>
                    <a:pt x="111" y="253"/>
                  </a:lnTo>
                  <a:lnTo>
                    <a:pt x="111" y="249"/>
                  </a:lnTo>
                  <a:lnTo>
                    <a:pt x="108" y="246"/>
                  </a:lnTo>
                  <a:lnTo>
                    <a:pt x="108" y="244"/>
                  </a:lnTo>
                  <a:lnTo>
                    <a:pt x="111" y="244"/>
                  </a:lnTo>
                  <a:lnTo>
                    <a:pt x="111" y="244"/>
                  </a:lnTo>
                  <a:lnTo>
                    <a:pt x="113" y="244"/>
                  </a:lnTo>
                  <a:lnTo>
                    <a:pt x="113" y="242"/>
                  </a:lnTo>
                  <a:lnTo>
                    <a:pt x="115" y="242"/>
                  </a:lnTo>
                  <a:lnTo>
                    <a:pt x="115" y="242"/>
                  </a:lnTo>
                  <a:lnTo>
                    <a:pt x="115" y="242"/>
                  </a:lnTo>
                  <a:lnTo>
                    <a:pt x="115" y="238"/>
                  </a:lnTo>
                  <a:lnTo>
                    <a:pt x="115" y="234"/>
                  </a:lnTo>
                  <a:lnTo>
                    <a:pt x="115" y="232"/>
                  </a:lnTo>
                  <a:lnTo>
                    <a:pt x="115" y="230"/>
                  </a:lnTo>
                  <a:lnTo>
                    <a:pt x="117" y="228"/>
                  </a:lnTo>
                  <a:lnTo>
                    <a:pt x="119" y="226"/>
                  </a:lnTo>
                  <a:lnTo>
                    <a:pt x="119" y="226"/>
                  </a:lnTo>
                  <a:lnTo>
                    <a:pt x="119" y="224"/>
                  </a:lnTo>
                  <a:lnTo>
                    <a:pt x="119" y="224"/>
                  </a:lnTo>
                  <a:lnTo>
                    <a:pt x="117" y="222"/>
                  </a:lnTo>
                  <a:lnTo>
                    <a:pt x="115" y="224"/>
                  </a:lnTo>
                  <a:lnTo>
                    <a:pt x="115" y="224"/>
                  </a:lnTo>
                  <a:lnTo>
                    <a:pt x="113" y="222"/>
                  </a:lnTo>
                  <a:lnTo>
                    <a:pt x="113" y="220"/>
                  </a:lnTo>
                  <a:lnTo>
                    <a:pt x="113" y="218"/>
                  </a:lnTo>
                  <a:lnTo>
                    <a:pt x="111" y="218"/>
                  </a:lnTo>
                  <a:lnTo>
                    <a:pt x="111" y="214"/>
                  </a:lnTo>
                  <a:lnTo>
                    <a:pt x="111" y="212"/>
                  </a:lnTo>
                  <a:lnTo>
                    <a:pt x="106" y="209"/>
                  </a:lnTo>
                  <a:lnTo>
                    <a:pt x="104" y="207"/>
                  </a:lnTo>
                  <a:lnTo>
                    <a:pt x="102" y="205"/>
                  </a:lnTo>
                  <a:lnTo>
                    <a:pt x="100" y="201"/>
                  </a:lnTo>
                  <a:lnTo>
                    <a:pt x="98" y="199"/>
                  </a:lnTo>
                  <a:lnTo>
                    <a:pt x="96" y="197"/>
                  </a:lnTo>
                  <a:lnTo>
                    <a:pt x="96" y="197"/>
                  </a:lnTo>
                  <a:lnTo>
                    <a:pt x="96" y="197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4" y="191"/>
                  </a:lnTo>
                  <a:lnTo>
                    <a:pt x="94" y="189"/>
                  </a:lnTo>
                  <a:lnTo>
                    <a:pt x="94" y="189"/>
                  </a:lnTo>
                  <a:lnTo>
                    <a:pt x="94" y="189"/>
                  </a:lnTo>
                  <a:lnTo>
                    <a:pt x="92" y="189"/>
                  </a:lnTo>
                  <a:lnTo>
                    <a:pt x="90" y="187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2" y="185"/>
                  </a:lnTo>
                  <a:lnTo>
                    <a:pt x="92" y="185"/>
                  </a:lnTo>
                  <a:lnTo>
                    <a:pt x="92" y="185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6" y="183"/>
                  </a:lnTo>
                  <a:lnTo>
                    <a:pt x="94" y="177"/>
                  </a:lnTo>
                  <a:lnTo>
                    <a:pt x="94" y="174"/>
                  </a:lnTo>
                  <a:lnTo>
                    <a:pt x="94" y="172"/>
                  </a:lnTo>
                  <a:lnTo>
                    <a:pt x="94" y="170"/>
                  </a:lnTo>
                  <a:lnTo>
                    <a:pt x="94" y="166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8" y="162"/>
                  </a:lnTo>
                  <a:lnTo>
                    <a:pt x="100" y="162"/>
                  </a:lnTo>
                  <a:lnTo>
                    <a:pt x="100" y="162"/>
                  </a:lnTo>
                  <a:lnTo>
                    <a:pt x="102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8" y="162"/>
                  </a:lnTo>
                  <a:lnTo>
                    <a:pt x="108" y="160"/>
                  </a:lnTo>
                  <a:lnTo>
                    <a:pt x="111" y="162"/>
                  </a:lnTo>
                  <a:lnTo>
                    <a:pt x="111" y="160"/>
                  </a:lnTo>
                  <a:lnTo>
                    <a:pt x="111" y="160"/>
                  </a:lnTo>
                  <a:lnTo>
                    <a:pt x="113" y="160"/>
                  </a:lnTo>
                  <a:lnTo>
                    <a:pt x="113" y="156"/>
                  </a:lnTo>
                  <a:lnTo>
                    <a:pt x="113" y="156"/>
                  </a:lnTo>
                  <a:lnTo>
                    <a:pt x="113" y="156"/>
                  </a:lnTo>
                  <a:lnTo>
                    <a:pt x="113" y="154"/>
                  </a:lnTo>
                  <a:lnTo>
                    <a:pt x="115" y="154"/>
                  </a:lnTo>
                  <a:lnTo>
                    <a:pt x="117" y="156"/>
                  </a:lnTo>
                  <a:lnTo>
                    <a:pt x="117" y="156"/>
                  </a:lnTo>
                  <a:lnTo>
                    <a:pt x="119" y="156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2"/>
                  </a:lnTo>
                  <a:lnTo>
                    <a:pt x="119" y="150"/>
                  </a:lnTo>
                  <a:lnTo>
                    <a:pt x="119" y="150"/>
                  </a:lnTo>
                  <a:lnTo>
                    <a:pt x="119" y="150"/>
                  </a:lnTo>
                  <a:lnTo>
                    <a:pt x="121" y="152"/>
                  </a:lnTo>
                  <a:lnTo>
                    <a:pt x="123" y="152"/>
                  </a:lnTo>
                  <a:lnTo>
                    <a:pt x="123" y="150"/>
                  </a:lnTo>
                  <a:lnTo>
                    <a:pt x="125" y="150"/>
                  </a:lnTo>
                  <a:lnTo>
                    <a:pt x="125" y="150"/>
                  </a:lnTo>
                  <a:lnTo>
                    <a:pt x="125" y="150"/>
                  </a:lnTo>
                  <a:lnTo>
                    <a:pt x="127" y="150"/>
                  </a:lnTo>
                  <a:lnTo>
                    <a:pt x="129" y="152"/>
                  </a:lnTo>
                  <a:lnTo>
                    <a:pt x="129" y="150"/>
                  </a:lnTo>
                  <a:lnTo>
                    <a:pt x="129" y="146"/>
                  </a:lnTo>
                  <a:lnTo>
                    <a:pt x="129" y="144"/>
                  </a:lnTo>
                  <a:lnTo>
                    <a:pt x="131" y="142"/>
                  </a:lnTo>
                  <a:lnTo>
                    <a:pt x="133" y="142"/>
                  </a:lnTo>
                  <a:lnTo>
                    <a:pt x="133" y="142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33" y="137"/>
                  </a:lnTo>
                  <a:lnTo>
                    <a:pt x="135" y="137"/>
                  </a:lnTo>
                  <a:lnTo>
                    <a:pt x="135" y="135"/>
                  </a:lnTo>
                  <a:lnTo>
                    <a:pt x="135" y="133"/>
                  </a:lnTo>
                  <a:lnTo>
                    <a:pt x="137" y="133"/>
                  </a:lnTo>
                  <a:lnTo>
                    <a:pt x="137" y="133"/>
                  </a:lnTo>
                  <a:lnTo>
                    <a:pt x="139" y="131"/>
                  </a:lnTo>
                  <a:lnTo>
                    <a:pt x="141" y="129"/>
                  </a:lnTo>
                  <a:lnTo>
                    <a:pt x="141" y="127"/>
                  </a:lnTo>
                  <a:lnTo>
                    <a:pt x="141" y="127"/>
                  </a:lnTo>
                  <a:lnTo>
                    <a:pt x="141" y="12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9" name="Freeform 104">
              <a:extLst>
                <a:ext uri="{FF2B5EF4-FFF2-40B4-BE49-F238E27FC236}">
                  <a16:creationId xmlns:a16="http://schemas.microsoft.com/office/drawing/2014/main" id="{198ECD39-C2D2-8C4D-9B55-5C4F81E1E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481" y="2402456"/>
              <a:ext cx="569238" cy="224605"/>
            </a:xfrm>
            <a:custGeom>
              <a:avLst/>
              <a:gdLst>
                <a:gd name="T0" fmla="*/ 462 w 479"/>
                <a:gd name="T1" fmla="*/ 84 h 189"/>
                <a:gd name="T2" fmla="*/ 450 w 479"/>
                <a:gd name="T3" fmla="*/ 76 h 189"/>
                <a:gd name="T4" fmla="*/ 434 w 479"/>
                <a:gd name="T5" fmla="*/ 80 h 189"/>
                <a:gd name="T6" fmla="*/ 415 w 479"/>
                <a:gd name="T7" fmla="*/ 76 h 189"/>
                <a:gd name="T8" fmla="*/ 403 w 479"/>
                <a:gd name="T9" fmla="*/ 66 h 189"/>
                <a:gd name="T10" fmla="*/ 399 w 479"/>
                <a:gd name="T11" fmla="*/ 39 h 189"/>
                <a:gd name="T12" fmla="*/ 374 w 479"/>
                <a:gd name="T13" fmla="*/ 35 h 189"/>
                <a:gd name="T14" fmla="*/ 354 w 479"/>
                <a:gd name="T15" fmla="*/ 39 h 189"/>
                <a:gd name="T16" fmla="*/ 337 w 479"/>
                <a:gd name="T17" fmla="*/ 49 h 189"/>
                <a:gd name="T18" fmla="*/ 317 w 479"/>
                <a:gd name="T19" fmla="*/ 51 h 189"/>
                <a:gd name="T20" fmla="*/ 286 w 479"/>
                <a:gd name="T21" fmla="*/ 45 h 189"/>
                <a:gd name="T22" fmla="*/ 267 w 479"/>
                <a:gd name="T23" fmla="*/ 37 h 189"/>
                <a:gd name="T24" fmla="*/ 243 w 479"/>
                <a:gd name="T25" fmla="*/ 31 h 189"/>
                <a:gd name="T26" fmla="*/ 222 w 479"/>
                <a:gd name="T27" fmla="*/ 33 h 189"/>
                <a:gd name="T28" fmla="*/ 206 w 479"/>
                <a:gd name="T29" fmla="*/ 33 h 189"/>
                <a:gd name="T30" fmla="*/ 191 w 479"/>
                <a:gd name="T31" fmla="*/ 25 h 189"/>
                <a:gd name="T32" fmla="*/ 179 w 479"/>
                <a:gd name="T33" fmla="*/ 12 h 189"/>
                <a:gd name="T34" fmla="*/ 152 w 479"/>
                <a:gd name="T35" fmla="*/ 6 h 189"/>
                <a:gd name="T36" fmla="*/ 130 w 479"/>
                <a:gd name="T37" fmla="*/ 0 h 189"/>
                <a:gd name="T38" fmla="*/ 124 w 479"/>
                <a:gd name="T39" fmla="*/ 12 h 189"/>
                <a:gd name="T40" fmla="*/ 130 w 479"/>
                <a:gd name="T41" fmla="*/ 23 h 189"/>
                <a:gd name="T42" fmla="*/ 138 w 479"/>
                <a:gd name="T43" fmla="*/ 35 h 189"/>
                <a:gd name="T44" fmla="*/ 130 w 479"/>
                <a:gd name="T45" fmla="*/ 43 h 189"/>
                <a:gd name="T46" fmla="*/ 115 w 479"/>
                <a:gd name="T47" fmla="*/ 39 h 189"/>
                <a:gd name="T48" fmla="*/ 103 w 479"/>
                <a:gd name="T49" fmla="*/ 39 h 189"/>
                <a:gd name="T50" fmla="*/ 91 w 479"/>
                <a:gd name="T51" fmla="*/ 37 h 189"/>
                <a:gd name="T52" fmla="*/ 76 w 479"/>
                <a:gd name="T53" fmla="*/ 27 h 189"/>
                <a:gd name="T54" fmla="*/ 60 w 479"/>
                <a:gd name="T55" fmla="*/ 25 h 189"/>
                <a:gd name="T56" fmla="*/ 50 w 479"/>
                <a:gd name="T57" fmla="*/ 25 h 189"/>
                <a:gd name="T58" fmla="*/ 39 w 479"/>
                <a:gd name="T59" fmla="*/ 29 h 189"/>
                <a:gd name="T60" fmla="*/ 27 w 479"/>
                <a:gd name="T61" fmla="*/ 35 h 189"/>
                <a:gd name="T62" fmla="*/ 19 w 479"/>
                <a:gd name="T63" fmla="*/ 43 h 189"/>
                <a:gd name="T64" fmla="*/ 13 w 479"/>
                <a:gd name="T65" fmla="*/ 47 h 189"/>
                <a:gd name="T66" fmla="*/ 3 w 479"/>
                <a:gd name="T67" fmla="*/ 51 h 189"/>
                <a:gd name="T68" fmla="*/ 0 w 479"/>
                <a:gd name="T69" fmla="*/ 58 h 189"/>
                <a:gd name="T70" fmla="*/ 9 w 479"/>
                <a:gd name="T71" fmla="*/ 64 h 189"/>
                <a:gd name="T72" fmla="*/ 27 w 479"/>
                <a:gd name="T73" fmla="*/ 74 h 189"/>
                <a:gd name="T74" fmla="*/ 42 w 479"/>
                <a:gd name="T75" fmla="*/ 76 h 189"/>
                <a:gd name="T76" fmla="*/ 52 w 479"/>
                <a:gd name="T77" fmla="*/ 86 h 189"/>
                <a:gd name="T78" fmla="*/ 64 w 479"/>
                <a:gd name="T79" fmla="*/ 103 h 189"/>
                <a:gd name="T80" fmla="*/ 66 w 479"/>
                <a:gd name="T81" fmla="*/ 117 h 189"/>
                <a:gd name="T82" fmla="*/ 81 w 479"/>
                <a:gd name="T83" fmla="*/ 125 h 189"/>
                <a:gd name="T84" fmla="*/ 111 w 479"/>
                <a:gd name="T85" fmla="*/ 130 h 189"/>
                <a:gd name="T86" fmla="*/ 144 w 479"/>
                <a:gd name="T87" fmla="*/ 142 h 189"/>
                <a:gd name="T88" fmla="*/ 159 w 479"/>
                <a:gd name="T89" fmla="*/ 160 h 189"/>
                <a:gd name="T90" fmla="*/ 204 w 479"/>
                <a:gd name="T91" fmla="*/ 171 h 189"/>
                <a:gd name="T92" fmla="*/ 249 w 479"/>
                <a:gd name="T93" fmla="*/ 173 h 189"/>
                <a:gd name="T94" fmla="*/ 292 w 479"/>
                <a:gd name="T95" fmla="*/ 185 h 189"/>
                <a:gd name="T96" fmla="*/ 315 w 479"/>
                <a:gd name="T97" fmla="*/ 183 h 189"/>
                <a:gd name="T98" fmla="*/ 345 w 479"/>
                <a:gd name="T99" fmla="*/ 175 h 189"/>
                <a:gd name="T100" fmla="*/ 372 w 479"/>
                <a:gd name="T101" fmla="*/ 169 h 189"/>
                <a:gd name="T102" fmla="*/ 380 w 479"/>
                <a:gd name="T103" fmla="*/ 158 h 189"/>
                <a:gd name="T104" fmla="*/ 388 w 479"/>
                <a:gd name="T105" fmla="*/ 148 h 189"/>
                <a:gd name="T106" fmla="*/ 376 w 479"/>
                <a:gd name="T107" fmla="*/ 132 h 189"/>
                <a:gd name="T108" fmla="*/ 399 w 479"/>
                <a:gd name="T109" fmla="*/ 132 h 189"/>
                <a:gd name="T110" fmla="*/ 411 w 479"/>
                <a:gd name="T111" fmla="*/ 125 h 189"/>
                <a:gd name="T112" fmla="*/ 428 w 479"/>
                <a:gd name="T113" fmla="*/ 119 h 189"/>
                <a:gd name="T114" fmla="*/ 434 w 479"/>
                <a:gd name="T115" fmla="*/ 107 h 189"/>
                <a:gd name="T116" fmla="*/ 444 w 479"/>
                <a:gd name="T117" fmla="*/ 101 h 189"/>
                <a:gd name="T118" fmla="*/ 456 w 479"/>
                <a:gd name="T119" fmla="*/ 97 h 189"/>
                <a:gd name="T120" fmla="*/ 475 w 479"/>
                <a:gd name="T121" fmla="*/ 9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9" h="189">
                  <a:moveTo>
                    <a:pt x="479" y="97"/>
                  </a:moveTo>
                  <a:lnTo>
                    <a:pt x="477" y="95"/>
                  </a:lnTo>
                  <a:lnTo>
                    <a:pt x="477" y="95"/>
                  </a:lnTo>
                  <a:lnTo>
                    <a:pt x="475" y="93"/>
                  </a:lnTo>
                  <a:lnTo>
                    <a:pt x="475" y="93"/>
                  </a:lnTo>
                  <a:lnTo>
                    <a:pt x="473" y="91"/>
                  </a:lnTo>
                  <a:lnTo>
                    <a:pt x="473" y="91"/>
                  </a:lnTo>
                  <a:lnTo>
                    <a:pt x="471" y="88"/>
                  </a:lnTo>
                  <a:lnTo>
                    <a:pt x="469" y="88"/>
                  </a:lnTo>
                  <a:lnTo>
                    <a:pt x="467" y="86"/>
                  </a:lnTo>
                  <a:lnTo>
                    <a:pt x="464" y="84"/>
                  </a:lnTo>
                  <a:lnTo>
                    <a:pt x="462" y="84"/>
                  </a:lnTo>
                  <a:lnTo>
                    <a:pt x="462" y="84"/>
                  </a:lnTo>
                  <a:lnTo>
                    <a:pt x="462" y="82"/>
                  </a:lnTo>
                  <a:lnTo>
                    <a:pt x="460" y="82"/>
                  </a:lnTo>
                  <a:lnTo>
                    <a:pt x="460" y="82"/>
                  </a:lnTo>
                  <a:lnTo>
                    <a:pt x="458" y="82"/>
                  </a:lnTo>
                  <a:lnTo>
                    <a:pt x="458" y="80"/>
                  </a:lnTo>
                  <a:lnTo>
                    <a:pt x="456" y="80"/>
                  </a:lnTo>
                  <a:lnTo>
                    <a:pt x="456" y="80"/>
                  </a:lnTo>
                  <a:lnTo>
                    <a:pt x="454" y="78"/>
                  </a:lnTo>
                  <a:lnTo>
                    <a:pt x="454" y="78"/>
                  </a:lnTo>
                  <a:lnTo>
                    <a:pt x="452" y="78"/>
                  </a:lnTo>
                  <a:lnTo>
                    <a:pt x="450" y="76"/>
                  </a:lnTo>
                  <a:lnTo>
                    <a:pt x="446" y="74"/>
                  </a:lnTo>
                  <a:lnTo>
                    <a:pt x="446" y="74"/>
                  </a:lnTo>
                  <a:lnTo>
                    <a:pt x="442" y="74"/>
                  </a:lnTo>
                  <a:lnTo>
                    <a:pt x="440" y="74"/>
                  </a:lnTo>
                  <a:lnTo>
                    <a:pt x="438" y="74"/>
                  </a:lnTo>
                  <a:lnTo>
                    <a:pt x="438" y="74"/>
                  </a:lnTo>
                  <a:lnTo>
                    <a:pt x="436" y="74"/>
                  </a:lnTo>
                  <a:lnTo>
                    <a:pt x="436" y="74"/>
                  </a:lnTo>
                  <a:lnTo>
                    <a:pt x="434" y="76"/>
                  </a:lnTo>
                  <a:lnTo>
                    <a:pt x="434" y="76"/>
                  </a:lnTo>
                  <a:lnTo>
                    <a:pt x="434" y="78"/>
                  </a:lnTo>
                  <a:lnTo>
                    <a:pt x="434" y="80"/>
                  </a:lnTo>
                  <a:lnTo>
                    <a:pt x="432" y="80"/>
                  </a:lnTo>
                  <a:lnTo>
                    <a:pt x="432" y="80"/>
                  </a:lnTo>
                  <a:lnTo>
                    <a:pt x="430" y="78"/>
                  </a:lnTo>
                  <a:lnTo>
                    <a:pt x="428" y="76"/>
                  </a:lnTo>
                  <a:lnTo>
                    <a:pt x="425" y="76"/>
                  </a:lnTo>
                  <a:lnTo>
                    <a:pt x="423" y="76"/>
                  </a:lnTo>
                  <a:lnTo>
                    <a:pt x="421" y="76"/>
                  </a:lnTo>
                  <a:lnTo>
                    <a:pt x="421" y="76"/>
                  </a:lnTo>
                  <a:lnTo>
                    <a:pt x="419" y="76"/>
                  </a:lnTo>
                  <a:lnTo>
                    <a:pt x="417" y="76"/>
                  </a:lnTo>
                  <a:lnTo>
                    <a:pt x="415" y="76"/>
                  </a:lnTo>
                  <a:lnTo>
                    <a:pt x="415" y="76"/>
                  </a:lnTo>
                  <a:lnTo>
                    <a:pt x="413" y="78"/>
                  </a:lnTo>
                  <a:lnTo>
                    <a:pt x="413" y="78"/>
                  </a:lnTo>
                  <a:lnTo>
                    <a:pt x="411" y="78"/>
                  </a:lnTo>
                  <a:lnTo>
                    <a:pt x="409" y="78"/>
                  </a:lnTo>
                  <a:lnTo>
                    <a:pt x="407" y="78"/>
                  </a:lnTo>
                  <a:lnTo>
                    <a:pt x="405" y="76"/>
                  </a:lnTo>
                  <a:lnTo>
                    <a:pt x="405" y="74"/>
                  </a:lnTo>
                  <a:lnTo>
                    <a:pt x="401" y="72"/>
                  </a:lnTo>
                  <a:lnTo>
                    <a:pt x="403" y="70"/>
                  </a:lnTo>
                  <a:lnTo>
                    <a:pt x="405" y="70"/>
                  </a:lnTo>
                  <a:lnTo>
                    <a:pt x="403" y="68"/>
                  </a:lnTo>
                  <a:lnTo>
                    <a:pt x="403" y="66"/>
                  </a:lnTo>
                  <a:lnTo>
                    <a:pt x="401" y="64"/>
                  </a:lnTo>
                  <a:lnTo>
                    <a:pt x="403" y="62"/>
                  </a:lnTo>
                  <a:lnTo>
                    <a:pt x="403" y="60"/>
                  </a:lnTo>
                  <a:lnTo>
                    <a:pt x="403" y="58"/>
                  </a:lnTo>
                  <a:lnTo>
                    <a:pt x="403" y="58"/>
                  </a:lnTo>
                  <a:lnTo>
                    <a:pt x="403" y="56"/>
                  </a:lnTo>
                  <a:lnTo>
                    <a:pt x="401" y="54"/>
                  </a:lnTo>
                  <a:lnTo>
                    <a:pt x="401" y="47"/>
                  </a:lnTo>
                  <a:lnTo>
                    <a:pt x="401" y="43"/>
                  </a:lnTo>
                  <a:lnTo>
                    <a:pt x="401" y="41"/>
                  </a:lnTo>
                  <a:lnTo>
                    <a:pt x="401" y="39"/>
                  </a:lnTo>
                  <a:lnTo>
                    <a:pt x="399" y="39"/>
                  </a:lnTo>
                  <a:lnTo>
                    <a:pt x="395" y="39"/>
                  </a:lnTo>
                  <a:lnTo>
                    <a:pt x="393" y="37"/>
                  </a:lnTo>
                  <a:lnTo>
                    <a:pt x="393" y="37"/>
                  </a:lnTo>
                  <a:lnTo>
                    <a:pt x="388" y="39"/>
                  </a:lnTo>
                  <a:lnTo>
                    <a:pt x="388" y="39"/>
                  </a:lnTo>
                  <a:lnTo>
                    <a:pt x="386" y="39"/>
                  </a:lnTo>
                  <a:lnTo>
                    <a:pt x="384" y="39"/>
                  </a:lnTo>
                  <a:lnTo>
                    <a:pt x="382" y="39"/>
                  </a:lnTo>
                  <a:lnTo>
                    <a:pt x="382" y="39"/>
                  </a:lnTo>
                  <a:lnTo>
                    <a:pt x="380" y="39"/>
                  </a:lnTo>
                  <a:lnTo>
                    <a:pt x="376" y="37"/>
                  </a:lnTo>
                  <a:lnTo>
                    <a:pt x="374" y="35"/>
                  </a:lnTo>
                  <a:lnTo>
                    <a:pt x="372" y="35"/>
                  </a:lnTo>
                  <a:lnTo>
                    <a:pt x="370" y="33"/>
                  </a:lnTo>
                  <a:lnTo>
                    <a:pt x="368" y="33"/>
                  </a:lnTo>
                  <a:lnTo>
                    <a:pt x="368" y="33"/>
                  </a:lnTo>
                  <a:lnTo>
                    <a:pt x="364" y="33"/>
                  </a:lnTo>
                  <a:lnTo>
                    <a:pt x="364" y="33"/>
                  </a:lnTo>
                  <a:lnTo>
                    <a:pt x="362" y="33"/>
                  </a:lnTo>
                  <a:lnTo>
                    <a:pt x="360" y="35"/>
                  </a:lnTo>
                  <a:lnTo>
                    <a:pt x="360" y="35"/>
                  </a:lnTo>
                  <a:lnTo>
                    <a:pt x="358" y="37"/>
                  </a:lnTo>
                  <a:lnTo>
                    <a:pt x="356" y="37"/>
                  </a:lnTo>
                  <a:lnTo>
                    <a:pt x="354" y="39"/>
                  </a:lnTo>
                  <a:lnTo>
                    <a:pt x="354" y="39"/>
                  </a:lnTo>
                  <a:lnTo>
                    <a:pt x="352" y="41"/>
                  </a:lnTo>
                  <a:lnTo>
                    <a:pt x="352" y="43"/>
                  </a:lnTo>
                  <a:lnTo>
                    <a:pt x="352" y="45"/>
                  </a:lnTo>
                  <a:lnTo>
                    <a:pt x="352" y="45"/>
                  </a:lnTo>
                  <a:lnTo>
                    <a:pt x="349" y="45"/>
                  </a:lnTo>
                  <a:lnTo>
                    <a:pt x="347" y="47"/>
                  </a:lnTo>
                  <a:lnTo>
                    <a:pt x="345" y="45"/>
                  </a:lnTo>
                  <a:lnTo>
                    <a:pt x="343" y="47"/>
                  </a:lnTo>
                  <a:lnTo>
                    <a:pt x="341" y="47"/>
                  </a:lnTo>
                  <a:lnTo>
                    <a:pt x="339" y="47"/>
                  </a:lnTo>
                  <a:lnTo>
                    <a:pt x="337" y="49"/>
                  </a:lnTo>
                  <a:lnTo>
                    <a:pt x="335" y="49"/>
                  </a:lnTo>
                  <a:lnTo>
                    <a:pt x="333" y="49"/>
                  </a:lnTo>
                  <a:lnTo>
                    <a:pt x="333" y="49"/>
                  </a:lnTo>
                  <a:lnTo>
                    <a:pt x="331" y="49"/>
                  </a:lnTo>
                  <a:lnTo>
                    <a:pt x="331" y="49"/>
                  </a:lnTo>
                  <a:lnTo>
                    <a:pt x="329" y="49"/>
                  </a:lnTo>
                  <a:lnTo>
                    <a:pt x="325" y="54"/>
                  </a:lnTo>
                  <a:lnTo>
                    <a:pt x="323" y="54"/>
                  </a:lnTo>
                  <a:lnTo>
                    <a:pt x="323" y="54"/>
                  </a:lnTo>
                  <a:lnTo>
                    <a:pt x="321" y="51"/>
                  </a:lnTo>
                  <a:lnTo>
                    <a:pt x="319" y="51"/>
                  </a:lnTo>
                  <a:lnTo>
                    <a:pt x="317" y="51"/>
                  </a:lnTo>
                  <a:lnTo>
                    <a:pt x="317" y="54"/>
                  </a:lnTo>
                  <a:lnTo>
                    <a:pt x="313" y="51"/>
                  </a:lnTo>
                  <a:lnTo>
                    <a:pt x="308" y="51"/>
                  </a:lnTo>
                  <a:lnTo>
                    <a:pt x="306" y="51"/>
                  </a:lnTo>
                  <a:lnTo>
                    <a:pt x="304" y="49"/>
                  </a:lnTo>
                  <a:lnTo>
                    <a:pt x="300" y="49"/>
                  </a:lnTo>
                  <a:lnTo>
                    <a:pt x="296" y="49"/>
                  </a:lnTo>
                  <a:lnTo>
                    <a:pt x="294" y="49"/>
                  </a:lnTo>
                  <a:lnTo>
                    <a:pt x="292" y="49"/>
                  </a:lnTo>
                  <a:lnTo>
                    <a:pt x="290" y="49"/>
                  </a:lnTo>
                  <a:lnTo>
                    <a:pt x="288" y="49"/>
                  </a:lnTo>
                  <a:lnTo>
                    <a:pt x="286" y="45"/>
                  </a:lnTo>
                  <a:lnTo>
                    <a:pt x="284" y="45"/>
                  </a:lnTo>
                  <a:lnTo>
                    <a:pt x="282" y="45"/>
                  </a:lnTo>
                  <a:lnTo>
                    <a:pt x="282" y="43"/>
                  </a:lnTo>
                  <a:lnTo>
                    <a:pt x="280" y="43"/>
                  </a:lnTo>
                  <a:lnTo>
                    <a:pt x="280" y="43"/>
                  </a:lnTo>
                  <a:lnTo>
                    <a:pt x="280" y="43"/>
                  </a:lnTo>
                  <a:lnTo>
                    <a:pt x="278" y="41"/>
                  </a:lnTo>
                  <a:lnTo>
                    <a:pt x="278" y="39"/>
                  </a:lnTo>
                  <a:lnTo>
                    <a:pt x="278" y="39"/>
                  </a:lnTo>
                  <a:lnTo>
                    <a:pt x="276" y="39"/>
                  </a:lnTo>
                  <a:lnTo>
                    <a:pt x="271" y="37"/>
                  </a:lnTo>
                  <a:lnTo>
                    <a:pt x="267" y="37"/>
                  </a:lnTo>
                  <a:lnTo>
                    <a:pt x="267" y="37"/>
                  </a:lnTo>
                  <a:lnTo>
                    <a:pt x="265" y="37"/>
                  </a:lnTo>
                  <a:lnTo>
                    <a:pt x="263" y="37"/>
                  </a:lnTo>
                  <a:lnTo>
                    <a:pt x="261" y="35"/>
                  </a:lnTo>
                  <a:lnTo>
                    <a:pt x="259" y="33"/>
                  </a:lnTo>
                  <a:lnTo>
                    <a:pt x="257" y="33"/>
                  </a:lnTo>
                  <a:lnTo>
                    <a:pt x="255" y="31"/>
                  </a:lnTo>
                  <a:lnTo>
                    <a:pt x="251" y="33"/>
                  </a:lnTo>
                  <a:lnTo>
                    <a:pt x="249" y="33"/>
                  </a:lnTo>
                  <a:lnTo>
                    <a:pt x="247" y="31"/>
                  </a:lnTo>
                  <a:lnTo>
                    <a:pt x="245" y="31"/>
                  </a:lnTo>
                  <a:lnTo>
                    <a:pt x="243" y="31"/>
                  </a:lnTo>
                  <a:lnTo>
                    <a:pt x="241" y="31"/>
                  </a:lnTo>
                  <a:lnTo>
                    <a:pt x="239" y="31"/>
                  </a:lnTo>
                  <a:lnTo>
                    <a:pt x="237" y="29"/>
                  </a:lnTo>
                  <a:lnTo>
                    <a:pt x="235" y="29"/>
                  </a:lnTo>
                  <a:lnTo>
                    <a:pt x="235" y="31"/>
                  </a:lnTo>
                  <a:lnTo>
                    <a:pt x="232" y="31"/>
                  </a:lnTo>
                  <a:lnTo>
                    <a:pt x="230" y="31"/>
                  </a:lnTo>
                  <a:lnTo>
                    <a:pt x="228" y="31"/>
                  </a:lnTo>
                  <a:lnTo>
                    <a:pt x="226" y="33"/>
                  </a:lnTo>
                  <a:lnTo>
                    <a:pt x="224" y="33"/>
                  </a:lnTo>
                  <a:lnTo>
                    <a:pt x="224" y="33"/>
                  </a:lnTo>
                  <a:lnTo>
                    <a:pt x="222" y="33"/>
                  </a:lnTo>
                  <a:lnTo>
                    <a:pt x="222" y="35"/>
                  </a:lnTo>
                  <a:lnTo>
                    <a:pt x="220" y="35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6" y="35"/>
                  </a:lnTo>
                  <a:lnTo>
                    <a:pt x="216" y="35"/>
                  </a:lnTo>
                  <a:lnTo>
                    <a:pt x="214" y="35"/>
                  </a:lnTo>
                  <a:lnTo>
                    <a:pt x="212" y="35"/>
                  </a:lnTo>
                  <a:lnTo>
                    <a:pt x="212" y="35"/>
                  </a:lnTo>
                  <a:lnTo>
                    <a:pt x="210" y="35"/>
                  </a:lnTo>
                  <a:lnTo>
                    <a:pt x="208" y="33"/>
                  </a:lnTo>
                  <a:lnTo>
                    <a:pt x="206" y="33"/>
                  </a:lnTo>
                  <a:lnTo>
                    <a:pt x="206" y="33"/>
                  </a:lnTo>
                  <a:lnTo>
                    <a:pt x="202" y="31"/>
                  </a:lnTo>
                  <a:lnTo>
                    <a:pt x="200" y="31"/>
                  </a:lnTo>
                  <a:lnTo>
                    <a:pt x="200" y="31"/>
                  </a:lnTo>
                  <a:lnTo>
                    <a:pt x="196" y="29"/>
                  </a:lnTo>
                  <a:lnTo>
                    <a:pt x="196" y="29"/>
                  </a:lnTo>
                  <a:lnTo>
                    <a:pt x="193" y="29"/>
                  </a:lnTo>
                  <a:lnTo>
                    <a:pt x="193" y="29"/>
                  </a:lnTo>
                  <a:lnTo>
                    <a:pt x="191" y="27"/>
                  </a:lnTo>
                  <a:lnTo>
                    <a:pt x="191" y="27"/>
                  </a:lnTo>
                  <a:lnTo>
                    <a:pt x="191" y="27"/>
                  </a:lnTo>
                  <a:lnTo>
                    <a:pt x="191" y="25"/>
                  </a:lnTo>
                  <a:lnTo>
                    <a:pt x="189" y="25"/>
                  </a:lnTo>
                  <a:lnTo>
                    <a:pt x="189" y="25"/>
                  </a:lnTo>
                  <a:lnTo>
                    <a:pt x="189" y="23"/>
                  </a:lnTo>
                  <a:lnTo>
                    <a:pt x="187" y="23"/>
                  </a:lnTo>
                  <a:lnTo>
                    <a:pt x="187" y="21"/>
                  </a:lnTo>
                  <a:lnTo>
                    <a:pt x="185" y="19"/>
                  </a:lnTo>
                  <a:lnTo>
                    <a:pt x="185" y="19"/>
                  </a:lnTo>
                  <a:lnTo>
                    <a:pt x="183" y="17"/>
                  </a:lnTo>
                  <a:lnTo>
                    <a:pt x="183" y="14"/>
                  </a:lnTo>
                  <a:lnTo>
                    <a:pt x="183" y="14"/>
                  </a:lnTo>
                  <a:lnTo>
                    <a:pt x="181" y="14"/>
                  </a:lnTo>
                  <a:lnTo>
                    <a:pt x="179" y="12"/>
                  </a:lnTo>
                  <a:lnTo>
                    <a:pt x="177" y="12"/>
                  </a:lnTo>
                  <a:lnTo>
                    <a:pt x="173" y="12"/>
                  </a:lnTo>
                  <a:lnTo>
                    <a:pt x="173" y="12"/>
                  </a:lnTo>
                  <a:lnTo>
                    <a:pt x="171" y="12"/>
                  </a:lnTo>
                  <a:lnTo>
                    <a:pt x="169" y="12"/>
                  </a:lnTo>
                  <a:lnTo>
                    <a:pt x="169" y="10"/>
                  </a:lnTo>
                  <a:lnTo>
                    <a:pt x="167" y="10"/>
                  </a:lnTo>
                  <a:lnTo>
                    <a:pt x="163" y="10"/>
                  </a:lnTo>
                  <a:lnTo>
                    <a:pt x="161" y="8"/>
                  </a:lnTo>
                  <a:lnTo>
                    <a:pt x="156" y="8"/>
                  </a:lnTo>
                  <a:lnTo>
                    <a:pt x="156" y="6"/>
                  </a:lnTo>
                  <a:lnTo>
                    <a:pt x="152" y="6"/>
                  </a:lnTo>
                  <a:lnTo>
                    <a:pt x="150" y="6"/>
                  </a:lnTo>
                  <a:lnTo>
                    <a:pt x="148" y="6"/>
                  </a:lnTo>
                  <a:lnTo>
                    <a:pt x="146" y="6"/>
                  </a:lnTo>
                  <a:lnTo>
                    <a:pt x="144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0" y="4"/>
                  </a:lnTo>
                  <a:lnTo>
                    <a:pt x="136" y="2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2" y="0"/>
                  </a:lnTo>
                  <a:lnTo>
                    <a:pt x="130" y="0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4"/>
                  </a:lnTo>
                  <a:lnTo>
                    <a:pt x="130" y="6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9"/>
                  </a:lnTo>
                  <a:lnTo>
                    <a:pt x="126" y="21"/>
                  </a:lnTo>
                  <a:lnTo>
                    <a:pt x="126" y="21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30" y="23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2" y="27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6" y="29"/>
                  </a:lnTo>
                  <a:lnTo>
                    <a:pt x="136" y="29"/>
                  </a:lnTo>
                  <a:lnTo>
                    <a:pt x="136" y="29"/>
                  </a:lnTo>
                  <a:lnTo>
                    <a:pt x="138" y="31"/>
                  </a:lnTo>
                  <a:lnTo>
                    <a:pt x="138" y="33"/>
                  </a:lnTo>
                  <a:lnTo>
                    <a:pt x="138" y="33"/>
                  </a:lnTo>
                  <a:lnTo>
                    <a:pt x="138" y="35"/>
                  </a:lnTo>
                  <a:lnTo>
                    <a:pt x="138" y="35"/>
                  </a:lnTo>
                  <a:lnTo>
                    <a:pt x="138" y="37"/>
                  </a:lnTo>
                  <a:lnTo>
                    <a:pt x="136" y="37"/>
                  </a:lnTo>
                  <a:lnTo>
                    <a:pt x="136" y="37"/>
                  </a:lnTo>
                  <a:lnTo>
                    <a:pt x="136" y="39"/>
                  </a:lnTo>
                  <a:lnTo>
                    <a:pt x="134" y="39"/>
                  </a:lnTo>
                  <a:lnTo>
                    <a:pt x="134" y="39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2" y="41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28" y="43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4" y="39"/>
                  </a:lnTo>
                  <a:lnTo>
                    <a:pt x="120" y="39"/>
                  </a:lnTo>
                  <a:lnTo>
                    <a:pt x="120" y="39"/>
                  </a:lnTo>
                  <a:lnTo>
                    <a:pt x="117" y="39"/>
                  </a:lnTo>
                  <a:lnTo>
                    <a:pt x="117" y="39"/>
                  </a:lnTo>
                  <a:lnTo>
                    <a:pt x="115" y="39"/>
                  </a:lnTo>
                  <a:lnTo>
                    <a:pt x="115" y="39"/>
                  </a:lnTo>
                  <a:lnTo>
                    <a:pt x="115" y="39"/>
                  </a:lnTo>
                  <a:lnTo>
                    <a:pt x="113" y="39"/>
                  </a:lnTo>
                  <a:lnTo>
                    <a:pt x="111" y="39"/>
                  </a:lnTo>
                  <a:lnTo>
                    <a:pt x="111" y="37"/>
                  </a:lnTo>
                  <a:lnTo>
                    <a:pt x="109" y="37"/>
                  </a:lnTo>
                  <a:lnTo>
                    <a:pt x="109" y="37"/>
                  </a:lnTo>
                  <a:lnTo>
                    <a:pt x="109" y="39"/>
                  </a:lnTo>
                  <a:lnTo>
                    <a:pt x="107" y="39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105" y="37"/>
                  </a:lnTo>
                  <a:lnTo>
                    <a:pt x="105" y="39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99" y="39"/>
                  </a:lnTo>
                  <a:lnTo>
                    <a:pt x="97" y="39"/>
                  </a:lnTo>
                  <a:lnTo>
                    <a:pt x="97" y="39"/>
                  </a:lnTo>
                  <a:lnTo>
                    <a:pt x="95" y="39"/>
                  </a:lnTo>
                  <a:lnTo>
                    <a:pt x="95" y="37"/>
                  </a:lnTo>
                  <a:lnTo>
                    <a:pt x="93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7" y="35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5" y="33"/>
                  </a:lnTo>
                  <a:lnTo>
                    <a:pt x="83" y="33"/>
                  </a:lnTo>
                  <a:lnTo>
                    <a:pt x="83" y="31"/>
                  </a:lnTo>
                  <a:lnTo>
                    <a:pt x="81" y="29"/>
                  </a:lnTo>
                  <a:lnTo>
                    <a:pt x="78" y="29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2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68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4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2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8" y="25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4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7" y="29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5" y="35"/>
                  </a:lnTo>
                  <a:lnTo>
                    <a:pt x="25" y="37"/>
                  </a:lnTo>
                  <a:lnTo>
                    <a:pt x="23" y="37"/>
                  </a:lnTo>
                  <a:lnTo>
                    <a:pt x="25" y="37"/>
                  </a:lnTo>
                  <a:lnTo>
                    <a:pt x="23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3" y="58"/>
                  </a:lnTo>
                  <a:lnTo>
                    <a:pt x="3" y="60"/>
                  </a:lnTo>
                  <a:lnTo>
                    <a:pt x="5" y="60"/>
                  </a:lnTo>
                  <a:lnTo>
                    <a:pt x="7" y="60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13" y="66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9" y="70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5" y="72"/>
                  </a:lnTo>
                  <a:lnTo>
                    <a:pt x="25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9" y="74"/>
                  </a:lnTo>
                  <a:lnTo>
                    <a:pt x="31" y="74"/>
                  </a:lnTo>
                  <a:lnTo>
                    <a:pt x="33" y="74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7" y="76"/>
                  </a:lnTo>
                  <a:lnTo>
                    <a:pt x="37" y="76"/>
                  </a:lnTo>
                  <a:lnTo>
                    <a:pt x="37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8" y="80"/>
                  </a:lnTo>
                  <a:lnTo>
                    <a:pt x="48" y="82"/>
                  </a:lnTo>
                  <a:lnTo>
                    <a:pt x="50" y="82"/>
                  </a:lnTo>
                  <a:lnTo>
                    <a:pt x="50" y="84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4" y="88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8" y="93"/>
                  </a:lnTo>
                  <a:lnTo>
                    <a:pt x="60" y="93"/>
                  </a:lnTo>
                  <a:lnTo>
                    <a:pt x="60" y="95"/>
                  </a:lnTo>
                  <a:lnTo>
                    <a:pt x="62" y="97"/>
                  </a:lnTo>
                  <a:lnTo>
                    <a:pt x="64" y="97"/>
                  </a:lnTo>
                  <a:lnTo>
                    <a:pt x="64" y="99"/>
                  </a:lnTo>
                  <a:lnTo>
                    <a:pt x="64" y="99"/>
                  </a:lnTo>
                  <a:lnTo>
                    <a:pt x="64" y="101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64" y="105"/>
                  </a:lnTo>
                  <a:lnTo>
                    <a:pt x="66" y="107"/>
                  </a:lnTo>
                  <a:lnTo>
                    <a:pt x="68" y="107"/>
                  </a:lnTo>
                  <a:lnTo>
                    <a:pt x="68" y="109"/>
                  </a:lnTo>
                  <a:lnTo>
                    <a:pt x="68" y="109"/>
                  </a:lnTo>
                  <a:lnTo>
                    <a:pt x="66" y="111"/>
                  </a:lnTo>
                  <a:lnTo>
                    <a:pt x="66" y="111"/>
                  </a:lnTo>
                  <a:lnTo>
                    <a:pt x="66" y="111"/>
                  </a:lnTo>
                  <a:lnTo>
                    <a:pt x="66" y="115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21"/>
                  </a:lnTo>
                  <a:lnTo>
                    <a:pt x="70" y="123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74" y="123"/>
                  </a:lnTo>
                  <a:lnTo>
                    <a:pt x="76" y="123"/>
                  </a:lnTo>
                  <a:lnTo>
                    <a:pt x="76" y="125"/>
                  </a:lnTo>
                  <a:lnTo>
                    <a:pt x="78" y="125"/>
                  </a:lnTo>
                  <a:lnTo>
                    <a:pt x="81" y="125"/>
                  </a:lnTo>
                  <a:lnTo>
                    <a:pt x="83" y="125"/>
                  </a:lnTo>
                  <a:lnTo>
                    <a:pt x="83" y="125"/>
                  </a:lnTo>
                  <a:lnTo>
                    <a:pt x="85" y="125"/>
                  </a:lnTo>
                  <a:lnTo>
                    <a:pt x="87" y="125"/>
                  </a:lnTo>
                  <a:lnTo>
                    <a:pt x="89" y="125"/>
                  </a:lnTo>
                  <a:lnTo>
                    <a:pt x="91" y="128"/>
                  </a:lnTo>
                  <a:lnTo>
                    <a:pt x="95" y="128"/>
                  </a:lnTo>
                  <a:lnTo>
                    <a:pt x="97" y="128"/>
                  </a:lnTo>
                  <a:lnTo>
                    <a:pt x="101" y="128"/>
                  </a:lnTo>
                  <a:lnTo>
                    <a:pt x="103" y="128"/>
                  </a:lnTo>
                  <a:lnTo>
                    <a:pt x="109" y="130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15" y="132"/>
                  </a:lnTo>
                  <a:lnTo>
                    <a:pt x="120" y="134"/>
                  </a:lnTo>
                  <a:lnTo>
                    <a:pt x="120" y="134"/>
                  </a:lnTo>
                  <a:lnTo>
                    <a:pt x="124" y="136"/>
                  </a:lnTo>
                  <a:lnTo>
                    <a:pt x="128" y="138"/>
                  </a:lnTo>
                  <a:lnTo>
                    <a:pt x="130" y="138"/>
                  </a:lnTo>
                  <a:lnTo>
                    <a:pt x="134" y="140"/>
                  </a:lnTo>
                  <a:lnTo>
                    <a:pt x="136" y="142"/>
                  </a:lnTo>
                  <a:lnTo>
                    <a:pt x="140" y="142"/>
                  </a:lnTo>
                  <a:lnTo>
                    <a:pt x="144" y="142"/>
                  </a:lnTo>
                  <a:lnTo>
                    <a:pt x="144" y="142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6"/>
                  </a:lnTo>
                  <a:lnTo>
                    <a:pt x="146" y="146"/>
                  </a:lnTo>
                  <a:lnTo>
                    <a:pt x="148" y="146"/>
                  </a:lnTo>
                  <a:lnTo>
                    <a:pt x="148" y="148"/>
                  </a:lnTo>
                  <a:lnTo>
                    <a:pt x="150" y="148"/>
                  </a:lnTo>
                  <a:lnTo>
                    <a:pt x="150" y="150"/>
                  </a:lnTo>
                  <a:lnTo>
                    <a:pt x="152" y="152"/>
                  </a:lnTo>
                  <a:lnTo>
                    <a:pt x="156" y="158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63" y="162"/>
                  </a:lnTo>
                  <a:lnTo>
                    <a:pt x="165" y="165"/>
                  </a:lnTo>
                  <a:lnTo>
                    <a:pt x="167" y="167"/>
                  </a:lnTo>
                  <a:lnTo>
                    <a:pt x="169" y="167"/>
                  </a:lnTo>
                  <a:lnTo>
                    <a:pt x="169" y="169"/>
                  </a:lnTo>
                  <a:lnTo>
                    <a:pt x="169" y="169"/>
                  </a:lnTo>
                  <a:lnTo>
                    <a:pt x="173" y="169"/>
                  </a:lnTo>
                  <a:lnTo>
                    <a:pt x="177" y="169"/>
                  </a:lnTo>
                  <a:lnTo>
                    <a:pt x="181" y="169"/>
                  </a:lnTo>
                  <a:lnTo>
                    <a:pt x="189" y="169"/>
                  </a:lnTo>
                  <a:lnTo>
                    <a:pt x="198" y="171"/>
                  </a:lnTo>
                  <a:lnTo>
                    <a:pt x="204" y="171"/>
                  </a:lnTo>
                  <a:lnTo>
                    <a:pt x="208" y="171"/>
                  </a:lnTo>
                  <a:lnTo>
                    <a:pt x="216" y="173"/>
                  </a:lnTo>
                  <a:lnTo>
                    <a:pt x="220" y="171"/>
                  </a:lnTo>
                  <a:lnTo>
                    <a:pt x="222" y="171"/>
                  </a:lnTo>
                  <a:lnTo>
                    <a:pt x="224" y="171"/>
                  </a:lnTo>
                  <a:lnTo>
                    <a:pt x="230" y="171"/>
                  </a:lnTo>
                  <a:lnTo>
                    <a:pt x="235" y="171"/>
                  </a:lnTo>
                  <a:lnTo>
                    <a:pt x="241" y="173"/>
                  </a:lnTo>
                  <a:lnTo>
                    <a:pt x="243" y="173"/>
                  </a:lnTo>
                  <a:lnTo>
                    <a:pt x="247" y="173"/>
                  </a:lnTo>
                  <a:lnTo>
                    <a:pt x="247" y="173"/>
                  </a:lnTo>
                  <a:lnTo>
                    <a:pt x="249" y="173"/>
                  </a:lnTo>
                  <a:lnTo>
                    <a:pt x="251" y="173"/>
                  </a:lnTo>
                  <a:lnTo>
                    <a:pt x="253" y="177"/>
                  </a:lnTo>
                  <a:lnTo>
                    <a:pt x="255" y="179"/>
                  </a:lnTo>
                  <a:lnTo>
                    <a:pt x="259" y="179"/>
                  </a:lnTo>
                  <a:lnTo>
                    <a:pt x="265" y="181"/>
                  </a:lnTo>
                  <a:lnTo>
                    <a:pt x="269" y="181"/>
                  </a:lnTo>
                  <a:lnTo>
                    <a:pt x="274" y="181"/>
                  </a:lnTo>
                  <a:lnTo>
                    <a:pt x="278" y="183"/>
                  </a:lnTo>
                  <a:lnTo>
                    <a:pt x="280" y="185"/>
                  </a:lnTo>
                  <a:lnTo>
                    <a:pt x="286" y="187"/>
                  </a:lnTo>
                  <a:lnTo>
                    <a:pt x="288" y="185"/>
                  </a:lnTo>
                  <a:lnTo>
                    <a:pt x="292" y="185"/>
                  </a:lnTo>
                  <a:lnTo>
                    <a:pt x="296" y="185"/>
                  </a:lnTo>
                  <a:lnTo>
                    <a:pt x="298" y="187"/>
                  </a:lnTo>
                  <a:lnTo>
                    <a:pt x="302" y="189"/>
                  </a:lnTo>
                  <a:lnTo>
                    <a:pt x="302" y="189"/>
                  </a:lnTo>
                  <a:lnTo>
                    <a:pt x="304" y="189"/>
                  </a:lnTo>
                  <a:lnTo>
                    <a:pt x="306" y="189"/>
                  </a:lnTo>
                  <a:lnTo>
                    <a:pt x="306" y="187"/>
                  </a:lnTo>
                  <a:lnTo>
                    <a:pt x="306" y="187"/>
                  </a:lnTo>
                  <a:lnTo>
                    <a:pt x="308" y="187"/>
                  </a:lnTo>
                  <a:lnTo>
                    <a:pt x="310" y="185"/>
                  </a:lnTo>
                  <a:lnTo>
                    <a:pt x="310" y="185"/>
                  </a:lnTo>
                  <a:lnTo>
                    <a:pt x="315" y="183"/>
                  </a:lnTo>
                  <a:lnTo>
                    <a:pt x="321" y="179"/>
                  </a:lnTo>
                  <a:lnTo>
                    <a:pt x="323" y="179"/>
                  </a:lnTo>
                  <a:lnTo>
                    <a:pt x="323" y="179"/>
                  </a:lnTo>
                  <a:lnTo>
                    <a:pt x="325" y="177"/>
                  </a:lnTo>
                  <a:lnTo>
                    <a:pt x="327" y="177"/>
                  </a:lnTo>
                  <a:lnTo>
                    <a:pt x="327" y="177"/>
                  </a:lnTo>
                  <a:lnTo>
                    <a:pt x="331" y="177"/>
                  </a:lnTo>
                  <a:lnTo>
                    <a:pt x="333" y="177"/>
                  </a:lnTo>
                  <a:lnTo>
                    <a:pt x="339" y="175"/>
                  </a:lnTo>
                  <a:lnTo>
                    <a:pt x="341" y="175"/>
                  </a:lnTo>
                  <a:lnTo>
                    <a:pt x="343" y="175"/>
                  </a:lnTo>
                  <a:lnTo>
                    <a:pt x="345" y="175"/>
                  </a:lnTo>
                  <a:lnTo>
                    <a:pt x="347" y="175"/>
                  </a:lnTo>
                  <a:lnTo>
                    <a:pt x="352" y="175"/>
                  </a:lnTo>
                  <a:lnTo>
                    <a:pt x="354" y="175"/>
                  </a:lnTo>
                  <a:lnTo>
                    <a:pt x="356" y="175"/>
                  </a:lnTo>
                  <a:lnTo>
                    <a:pt x="360" y="175"/>
                  </a:lnTo>
                  <a:lnTo>
                    <a:pt x="362" y="175"/>
                  </a:lnTo>
                  <a:lnTo>
                    <a:pt x="364" y="175"/>
                  </a:lnTo>
                  <a:lnTo>
                    <a:pt x="366" y="173"/>
                  </a:lnTo>
                  <a:lnTo>
                    <a:pt x="368" y="173"/>
                  </a:lnTo>
                  <a:lnTo>
                    <a:pt x="368" y="171"/>
                  </a:lnTo>
                  <a:lnTo>
                    <a:pt x="372" y="171"/>
                  </a:lnTo>
                  <a:lnTo>
                    <a:pt x="372" y="169"/>
                  </a:lnTo>
                  <a:lnTo>
                    <a:pt x="374" y="169"/>
                  </a:lnTo>
                  <a:lnTo>
                    <a:pt x="376" y="169"/>
                  </a:lnTo>
                  <a:lnTo>
                    <a:pt x="376" y="167"/>
                  </a:lnTo>
                  <a:lnTo>
                    <a:pt x="376" y="167"/>
                  </a:lnTo>
                  <a:lnTo>
                    <a:pt x="376" y="167"/>
                  </a:lnTo>
                  <a:lnTo>
                    <a:pt x="376" y="165"/>
                  </a:lnTo>
                  <a:lnTo>
                    <a:pt x="378" y="162"/>
                  </a:lnTo>
                  <a:lnTo>
                    <a:pt x="378" y="162"/>
                  </a:lnTo>
                  <a:lnTo>
                    <a:pt x="378" y="160"/>
                  </a:lnTo>
                  <a:lnTo>
                    <a:pt x="378" y="160"/>
                  </a:lnTo>
                  <a:lnTo>
                    <a:pt x="380" y="158"/>
                  </a:lnTo>
                  <a:lnTo>
                    <a:pt x="380" y="158"/>
                  </a:lnTo>
                  <a:lnTo>
                    <a:pt x="382" y="158"/>
                  </a:lnTo>
                  <a:lnTo>
                    <a:pt x="384" y="156"/>
                  </a:lnTo>
                  <a:lnTo>
                    <a:pt x="386" y="156"/>
                  </a:lnTo>
                  <a:lnTo>
                    <a:pt x="386" y="156"/>
                  </a:lnTo>
                  <a:lnTo>
                    <a:pt x="386" y="154"/>
                  </a:lnTo>
                  <a:lnTo>
                    <a:pt x="388" y="154"/>
                  </a:lnTo>
                  <a:lnTo>
                    <a:pt x="388" y="152"/>
                  </a:lnTo>
                  <a:lnTo>
                    <a:pt x="391" y="152"/>
                  </a:lnTo>
                  <a:lnTo>
                    <a:pt x="391" y="152"/>
                  </a:lnTo>
                  <a:lnTo>
                    <a:pt x="391" y="150"/>
                  </a:lnTo>
                  <a:lnTo>
                    <a:pt x="388" y="150"/>
                  </a:lnTo>
                  <a:lnTo>
                    <a:pt x="388" y="148"/>
                  </a:lnTo>
                  <a:lnTo>
                    <a:pt x="386" y="148"/>
                  </a:lnTo>
                  <a:lnTo>
                    <a:pt x="384" y="146"/>
                  </a:lnTo>
                  <a:lnTo>
                    <a:pt x="382" y="144"/>
                  </a:lnTo>
                  <a:lnTo>
                    <a:pt x="380" y="144"/>
                  </a:lnTo>
                  <a:lnTo>
                    <a:pt x="378" y="142"/>
                  </a:lnTo>
                  <a:lnTo>
                    <a:pt x="378" y="140"/>
                  </a:lnTo>
                  <a:lnTo>
                    <a:pt x="376" y="140"/>
                  </a:lnTo>
                  <a:lnTo>
                    <a:pt x="376" y="140"/>
                  </a:lnTo>
                  <a:lnTo>
                    <a:pt x="376" y="138"/>
                  </a:lnTo>
                  <a:lnTo>
                    <a:pt x="376" y="136"/>
                  </a:lnTo>
                  <a:lnTo>
                    <a:pt x="376" y="134"/>
                  </a:lnTo>
                  <a:lnTo>
                    <a:pt x="376" y="132"/>
                  </a:lnTo>
                  <a:lnTo>
                    <a:pt x="376" y="130"/>
                  </a:lnTo>
                  <a:lnTo>
                    <a:pt x="376" y="130"/>
                  </a:lnTo>
                  <a:lnTo>
                    <a:pt x="378" y="125"/>
                  </a:lnTo>
                  <a:lnTo>
                    <a:pt x="380" y="125"/>
                  </a:lnTo>
                  <a:lnTo>
                    <a:pt x="380" y="125"/>
                  </a:lnTo>
                  <a:lnTo>
                    <a:pt x="384" y="125"/>
                  </a:lnTo>
                  <a:lnTo>
                    <a:pt x="384" y="125"/>
                  </a:lnTo>
                  <a:lnTo>
                    <a:pt x="386" y="128"/>
                  </a:lnTo>
                  <a:lnTo>
                    <a:pt x="388" y="130"/>
                  </a:lnTo>
                  <a:lnTo>
                    <a:pt x="391" y="132"/>
                  </a:lnTo>
                  <a:lnTo>
                    <a:pt x="397" y="132"/>
                  </a:lnTo>
                  <a:lnTo>
                    <a:pt x="399" y="132"/>
                  </a:lnTo>
                  <a:lnTo>
                    <a:pt x="401" y="132"/>
                  </a:lnTo>
                  <a:lnTo>
                    <a:pt x="403" y="134"/>
                  </a:lnTo>
                  <a:lnTo>
                    <a:pt x="403" y="134"/>
                  </a:lnTo>
                  <a:lnTo>
                    <a:pt x="405" y="134"/>
                  </a:lnTo>
                  <a:lnTo>
                    <a:pt x="407" y="134"/>
                  </a:lnTo>
                  <a:lnTo>
                    <a:pt x="407" y="132"/>
                  </a:lnTo>
                  <a:lnTo>
                    <a:pt x="409" y="132"/>
                  </a:lnTo>
                  <a:lnTo>
                    <a:pt x="409" y="130"/>
                  </a:lnTo>
                  <a:lnTo>
                    <a:pt x="409" y="130"/>
                  </a:lnTo>
                  <a:lnTo>
                    <a:pt x="411" y="130"/>
                  </a:lnTo>
                  <a:lnTo>
                    <a:pt x="411" y="125"/>
                  </a:lnTo>
                  <a:lnTo>
                    <a:pt x="411" y="125"/>
                  </a:lnTo>
                  <a:lnTo>
                    <a:pt x="413" y="123"/>
                  </a:lnTo>
                  <a:lnTo>
                    <a:pt x="413" y="123"/>
                  </a:lnTo>
                  <a:lnTo>
                    <a:pt x="413" y="121"/>
                  </a:lnTo>
                  <a:lnTo>
                    <a:pt x="413" y="121"/>
                  </a:lnTo>
                  <a:lnTo>
                    <a:pt x="413" y="121"/>
                  </a:lnTo>
                  <a:lnTo>
                    <a:pt x="415" y="119"/>
                  </a:lnTo>
                  <a:lnTo>
                    <a:pt x="415" y="119"/>
                  </a:lnTo>
                  <a:lnTo>
                    <a:pt x="419" y="121"/>
                  </a:lnTo>
                  <a:lnTo>
                    <a:pt x="421" y="121"/>
                  </a:lnTo>
                  <a:lnTo>
                    <a:pt x="423" y="119"/>
                  </a:lnTo>
                  <a:lnTo>
                    <a:pt x="425" y="119"/>
                  </a:lnTo>
                  <a:lnTo>
                    <a:pt x="428" y="119"/>
                  </a:lnTo>
                  <a:lnTo>
                    <a:pt x="430" y="119"/>
                  </a:lnTo>
                  <a:lnTo>
                    <a:pt x="430" y="117"/>
                  </a:lnTo>
                  <a:lnTo>
                    <a:pt x="432" y="115"/>
                  </a:lnTo>
                  <a:lnTo>
                    <a:pt x="432" y="115"/>
                  </a:lnTo>
                  <a:lnTo>
                    <a:pt x="434" y="115"/>
                  </a:lnTo>
                  <a:lnTo>
                    <a:pt x="434" y="113"/>
                  </a:lnTo>
                  <a:lnTo>
                    <a:pt x="434" y="113"/>
                  </a:lnTo>
                  <a:lnTo>
                    <a:pt x="434" y="113"/>
                  </a:lnTo>
                  <a:lnTo>
                    <a:pt x="434" y="111"/>
                  </a:lnTo>
                  <a:lnTo>
                    <a:pt x="434" y="111"/>
                  </a:lnTo>
                  <a:lnTo>
                    <a:pt x="434" y="107"/>
                  </a:lnTo>
                  <a:lnTo>
                    <a:pt x="434" y="107"/>
                  </a:lnTo>
                  <a:lnTo>
                    <a:pt x="434" y="105"/>
                  </a:lnTo>
                  <a:lnTo>
                    <a:pt x="434" y="105"/>
                  </a:lnTo>
                  <a:lnTo>
                    <a:pt x="436" y="103"/>
                  </a:lnTo>
                  <a:lnTo>
                    <a:pt x="436" y="103"/>
                  </a:lnTo>
                  <a:lnTo>
                    <a:pt x="436" y="103"/>
                  </a:lnTo>
                  <a:lnTo>
                    <a:pt x="438" y="103"/>
                  </a:lnTo>
                  <a:lnTo>
                    <a:pt x="440" y="103"/>
                  </a:lnTo>
                  <a:lnTo>
                    <a:pt x="442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4" y="101"/>
                  </a:lnTo>
                  <a:lnTo>
                    <a:pt x="444" y="101"/>
                  </a:lnTo>
                  <a:lnTo>
                    <a:pt x="444" y="99"/>
                  </a:lnTo>
                  <a:lnTo>
                    <a:pt x="444" y="99"/>
                  </a:lnTo>
                  <a:lnTo>
                    <a:pt x="446" y="99"/>
                  </a:lnTo>
                  <a:lnTo>
                    <a:pt x="446" y="99"/>
                  </a:lnTo>
                  <a:lnTo>
                    <a:pt x="448" y="101"/>
                  </a:lnTo>
                  <a:lnTo>
                    <a:pt x="448" y="101"/>
                  </a:lnTo>
                  <a:lnTo>
                    <a:pt x="450" y="101"/>
                  </a:lnTo>
                  <a:lnTo>
                    <a:pt x="450" y="99"/>
                  </a:lnTo>
                  <a:lnTo>
                    <a:pt x="452" y="97"/>
                  </a:lnTo>
                  <a:lnTo>
                    <a:pt x="454" y="97"/>
                  </a:lnTo>
                  <a:lnTo>
                    <a:pt x="456" y="97"/>
                  </a:lnTo>
                  <a:lnTo>
                    <a:pt x="456" y="97"/>
                  </a:lnTo>
                  <a:lnTo>
                    <a:pt x="460" y="97"/>
                  </a:lnTo>
                  <a:lnTo>
                    <a:pt x="460" y="97"/>
                  </a:lnTo>
                  <a:lnTo>
                    <a:pt x="462" y="97"/>
                  </a:lnTo>
                  <a:lnTo>
                    <a:pt x="462" y="97"/>
                  </a:lnTo>
                  <a:lnTo>
                    <a:pt x="462" y="97"/>
                  </a:lnTo>
                  <a:lnTo>
                    <a:pt x="464" y="97"/>
                  </a:lnTo>
                  <a:lnTo>
                    <a:pt x="467" y="97"/>
                  </a:lnTo>
                  <a:lnTo>
                    <a:pt x="469" y="99"/>
                  </a:lnTo>
                  <a:lnTo>
                    <a:pt x="471" y="99"/>
                  </a:lnTo>
                  <a:lnTo>
                    <a:pt x="473" y="99"/>
                  </a:lnTo>
                  <a:lnTo>
                    <a:pt x="475" y="99"/>
                  </a:lnTo>
                  <a:lnTo>
                    <a:pt x="477" y="99"/>
                  </a:lnTo>
                  <a:lnTo>
                    <a:pt x="477" y="99"/>
                  </a:lnTo>
                  <a:lnTo>
                    <a:pt x="479" y="97"/>
                  </a:lnTo>
                  <a:lnTo>
                    <a:pt x="479" y="9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0" name="Freeform 107">
              <a:extLst>
                <a:ext uri="{FF2B5EF4-FFF2-40B4-BE49-F238E27FC236}">
                  <a16:creationId xmlns:a16="http://schemas.microsoft.com/office/drawing/2014/main" id="{FB56C537-D2E3-5448-A4C8-D440335EB3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4898" y="3323456"/>
              <a:ext cx="486051" cy="95071"/>
            </a:xfrm>
            <a:custGeom>
              <a:avLst/>
              <a:gdLst>
                <a:gd name="T0" fmla="*/ 409 w 409"/>
                <a:gd name="T1" fmla="*/ 78 h 80"/>
                <a:gd name="T2" fmla="*/ 409 w 409"/>
                <a:gd name="T3" fmla="*/ 78 h 80"/>
                <a:gd name="T4" fmla="*/ 407 w 409"/>
                <a:gd name="T5" fmla="*/ 80 h 80"/>
                <a:gd name="T6" fmla="*/ 407 w 409"/>
                <a:gd name="T7" fmla="*/ 80 h 80"/>
                <a:gd name="T8" fmla="*/ 409 w 409"/>
                <a:gd name="T9" fmla="*/ 80 h 80"/>
                <a:gd name="T10" fmla="*/ 409 w 409"/>
                <a:gd name="T11" fmla="*/ 78 h 80"/>
                <a:gd name="T12" fmla="*/ 331 w 409"/>
                <a:gd name="T13" fmla="*/ 50 h 80"/>
                <a:gd name="T14" fmla="*/ 329 w 409"/>
                <a:gd name="T15" fmla="*/ 50 h 80"/>
                <a:gd name="T16" fmla="*/ 329 w 409"/>
                <a:gd name="T17" fmla="*/ 50 h 80"/>
                <a:gd name="T18" fmla="*/ 329 w 409"/>
                <a:gd name="T19" fmla="*/ 50 h 80"/>
                <a:gd name="T20" fmla="*/ 329 w 409"/>
                <a:gd name="T21" fmla="*/ 52 h 80"/>
                <a:gd name="T22" fmla="*/ 329 w 409"/>
                <a:gd name="T23" fmla="*/ 52 h 80"/>
                <a:gd name="T24" fmla="*/ 331 w 409"/>
                <a:gd name="T25" fmla="*/ 52 h 80"/>
                <a:gd name="T26" fmla="*/ 331 w 409"/>
                <a:gd name="T27" fmla="*/ 52 h 80"/>
                <a:gd name="T28" fmla="*/ 331 w 409"/>
                <a:gd name="T29" fmla="*/ 52 h 80"/>
                <a:gd name="T30" fmla="*/ 331 w 409"/>
                <a:gd name="T31" fmla="*/ 50 h 80"/>
                <a:gd name="T32" fmla="*/ 331 w 409"/>
                <a:gd name="T33" fmla="*/ 50 h 80"/>
                <a:gd name="T34" fmla="*/ 222 w 409"/>
                <a:gd name="T35" fmla="*/ 41 h 80"/>
                <a:gd name="T36" fmla="*/ 222 w 409"/>
                <a:gd name="T37" fmla="*/ 41 h 80"/>
                <a:gd name="T38" fmla="*/ 222 w 409"/>
                <a:gd name="T39" fmla="*/ 41 h 80"/>
                <a:gd name="T40" fmla="*/ 222 w 409"/>
                <a:gd name="T41" fmla="*/ 41 h 80"/>
                <a:gd name="T42" fmla="*/ 222 w 409"/>
                <a:gd name="T43" fmla="*/ 41 h 80"/>
                <a:gd name="T44" fmla="*/ 222 w 409"/>
                <a:gd name="T45" fmla="*/ 41 h 80"/>
                <a:gd name="T46" fmla="*/ 222 w 409"/>
                <a:gd name="T47" fmla="*/ 41 h 80"/>
                <a:gd name="T48" fmla="*/ 222 w 409"/>
                <a:gd name="T49" fmla="*/ 43 h 80"/>
                <a:gd name="T50" fmla="*/ 222 w 409"/>
                <a:gd name="T51" fmla="*/ 43 h 80"/>
                <a:gd name="T52" fmla="*/ 222 w 409"/>
                <a:gd name="T53" fmla="*/ 41 h 80"/>
                <a:gd name="T54" fmla="*/ 222 w 409"/>
                <a:gd name="T55" fmla="*/ 41 h 80"/>
                <a:gd name="T56" fmla="*/ 222 w 409"/>
                <a:gd name="T57" fmla="*/ 41 h 80"/>
                <a:gd name="T58" fmla="*/ 222 w 409"/>
                <a:gd name="T59" fmla="*/ 41 h 80"/>
                <a:gd name="T60" fmla="*/ 226 w 409"/>
                <a:gd name="T61" fmla="*/ 39 h 80"/>
                <a:gd name="T62" fmla="*/ 226 w 409"/>
                <a:gd name="T63" fmla="*/ 39 h 80"/>
                <a:gd name="T64" fmla="*/ 226 w 409"/>
                <a:gd name="T65" fmla="*/ 39 h 80"/>
                <a:gd name="T66" fmla="*/ 226 w 409"/>
                <a:gd name="T67" fmla="*/ 41 h 80"/>
                <a:gd name="T68" fmla="*/ 226 w 409"/>
                <a:gd name="T69" fmla="*/ 41 h 80"/>
                <a:gd name="T70" fmla="*/ 226 w 409"/>
                <a:gd name="T71" fmla="*/ 41 h 80"/>
                <a:gd name="T72" fmla="*/ 226 w 409"/>
                <a:gd name="T73" fmla="*/ 39 h 80"/>
                <a:gd name="T74" fmla="*/ 226 w 409"/>
                <a:gd name="T75" fmla="*/ 39 h 80"/>
                <a:gd name="T76" fmla="*/ 226 w 409"/>
                <a:gd name="T77" fmla="*/ 39 h 80"/>
                <a:gd name="T78" fmla="*/ 2 w 409"/>
                <a:gd name="T79" fmla="*/ 0 h 80"/>
                <a:gd name="T80" fmla="*/ 0 w 409"/>
                <a:gd name="T81" fmla="*/ 2 h 80"/>
                <a:gd name="T82" fmla="*/ 0 w 409"/>
                <a:gd name="T83" fmla="*/ 2 h 80"/>
                <a:gd name="T84" fmla="*/ 0 w 409"/>
                <a:gd name="T85" fmla="*/ 4 h 80"/>
                <a:gd name="T86" fmla="*/ 0 w 409"/>
                <a:gd name="T87" fmla="*/ 4 h 80"/>
                <a:gd name="T88" fmla="*/ 2 w 409"/>
                <a:gd name="T89" fmla="*/ 2 h 80"/>
                <a:gd name="T90" fmla="*/ 2 w 409"/>
                <a:gd name="T91" fmla="*/ 2 h 80"/>
                <a:gd name="T92" fmla="*/ 2 w 409"/>
                <a:gd name="T93" fmla="*/ 2 h 80"/>
                <a:gd name="T94" fmla="*/ 2 w 409"/>
                <a:gd name="T95" fmla="*/ 0 h 80"/>
                <a:gd name="T96" fmla="*/ 2 w 409"/>
                <a:gd name="T9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9" h="80">
                  <a:moveTo>
                    <a:pt x="409" y="78"/>
                  </a:moveTo>
                  <a:lnTo>
                    <a:pt x="409" y="78"/>
                  </a:lnTo>
                  <a:lnTo>
                    <a:pt x="407" y="80"/>
                  </a:lnTo>
                  <a:lnTo>
                    <a:pt x="407" y="80"/>
                  </a:lnTo>
                  <a:lnTo>
                    <a:pt x="409" y="80"/>
                  </a:lnTo>
                  <a:lnTo>
                    <a:pt x="409" y="78"/>
                  </a:lnTo>
                  <a:close/>
                  <a:moveTo>
                    <a:pt x="331" y="50"/>
                  </a:moveTo>
                  <a:lnTo>
                    <a:pt x="329" y="50"/>
                  </a:lnTo>
                  <a:lnTo>
                    <a:pt x="329" y="50"/>
                  </a:lnTo>
                  <a:lnTo>
                    <a:pt x="329" y="50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1" y="50"/>
                  </a:lnTo>
                  <a:lnTo>
                    <a:pt x="331" y="50"/>
                  </a:lnTo>
                  <a:close/>
                  <a:moveTo>
                    <a:pt x="222" y="41"/>
                  </a:moveTo>
                  <a:lnTo>
                    <a:pt x="222" y="41"/>
                  </a:lnTo>
                  <a:lnTo>
                    <a:pt x="222" y="41"/>
                  </a:lnTo>
                  <a:lnTo>
                    <a:pt x="222" y="41"/>
                  </a:lnTo>
                  <a:lnTo>
                    <a:pt x="222" y="41"/>
                  </a:lnTo>
                  <a:lnTo>
                    <a:pt x="222" y="41"/>
                  </a:lnTo>
                  <a:lnTo>
                    <a:pt x="222" y="41"/>
                  </a:lnTo>
                  <a:lnTo>
                    <a:pt x="222" y="43"/>
                  </a:lnTo>
                  <a:lnTo>
                    <a:pt x="222" y="43"/>
                  </a:lnTo>
                  <a:lnTo>
                    <a:pt x="222" y="41"/>
                  </a:lnTo>
                  <a:lnTo>
                    <a:pt x="222" y="41"/>
                  </a:lnTo>
                  <a:lnTo>
                    <a:pt x="222" y="41"/>
                  </a:lnTo>
                  <a:lnTo>
                    <a:pt x="222" y="41"/>
                  </a:lnTo>
                  <a:close/>
                  <a:moveTo>
                    <a:pt x="226" y="39"/>
                  </a:moveTo>
                  <a:lnTo>
                    <a:pt x="226" y="39"/>
                  </a:lnTo>
                  <a:lnTo>
                    <a:pt x="226" y="39"/>
                  </a:lnTo>
                  <a:lnTo>
                    <a:pt x="226" y="41"/>
                  </a:lnTo>
                  <a:lnTo>
                    <a:pt x="226" y="41"/>
                  </a:lnTo>
                  <a:lnTo>
                    <a:pt x="226" y="41"/>
                  </a:lnTo>
                  <a:lnTo>
                    <a:pt x="226" y="39"/>
                  </a:lnTo>
                  <a:lnTo>
                    <a:pt x="226" y="39"/>
                  </a:lnTo>
                  <a:lnTo>
                    <a:pt x="226" y="39"/>
                  </a:lnTo>
                  <a:close/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1" name="Freeform 114">
              <a:extLst>
                <a:ext uri="{FF2B5EF4-FFF2-40B4-BE49-F238E27FC236}">
                  <a16:creationId xmlns:a16="http://schemas.microsoft.com/office/drawing/2014/main" id="{058472ED-43C6-8447-89BE-84063DEDF8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1556" y="3288993"/>
              <a:ext cx="105767" cy="117650"/>
            </a:xfrm>
            <a:custGeom>
              <a:avLst/>
              <a:gdLst>
                <a:gd name="T0" fmla="*/ 56 w 89"/>
                <a:gd name="T1" fmla="*/ 97 h 99"/>
                <a:gd name="T2" fmla="*/ 56 w 89"/>
                <a:gd name="T3" fmla="*/ 99 h 99"/>
                <a:gd name="T4" fmla="*/ 56 w 89"/>
                <a:gd name="T5" fmla="*/ 99 h 99"/>
                <a:gd name="T6" fmla="*/ 56 w 89"/>
                <a:gd name="T7" fmla="*/ 99 h 99"/>
                <a:gd name="T8" fmla="*/ 56 w 89"/>
                <a:gd name="T9" fmla="*/ 99 h 99"/>
                <a:gd name="T10" fmla="*/ 56 w 89"/>
                <a:gd name="T11" fmla="*/ 99 h 99"/>
                <a:gd name="T12" fmla="*/ 56 w 89"/>
                <a:gd name="T13" fmla="*/ 97 h 99"/>
                <a:gd name="T14" fmla="*/ 58 w 89"/>
                <a:gd name="T15" fmla="*/ 97 h 99"/>
                <a:gd name="T16" fmla="*/ 58 w 89"/>
                <a:gd name="T17" fmla="*/ 95 h 99"/>
                <a:gd name="T18" fmla="*/ 56 w 89"/>
                <a:gd name="T19" fmla="*/ 97 h 99"/>
                <a:gd name="T20" fmla="*/ 56 w 89"/>
                <a:gd name="T21" fmla="*/ 97 h 99"/>
                <a:gd name="T22" fmla="*/ 87 w 89"/>
                <a:gd name="T23" fmla="*/ 77 h 99"/>
                <a:gd name="T24" fmla="*/ 87 w 89"/>
                <a:gd name="T25" fmla="*/ 77 h 99"/>
                <a:gd name="T26" fmla="*/ 84 w 89"/>
                <a:gd name="T27" fmla="*/ 77 h 99"/>
                <a:gd name="T28" fmla="*/ 84 w 89"/>
                <a:gd name="T29" fmla="*/ 77 h 99"/>
                <a:gd name="T30" fmla="*/ 87 w 89"/>
                <a:gd name="T31" fmla="*/ 77 h 99"/>
                <a:gd name="T32" fmla="*/ 87 w 89"/>
                <a:gd name="T33" fmla="*/ 77 h 99"/>
                <a:gd name="T34" fmla="*/ 87 w 89"/>
                <a:gd name="T35" fmla="*/ 79 h 99"/>
                <a:gd name="T36" fmla="*/ 89 w 89"/>
                <a:gd name="T37" fmla="*/ 79 h 99"/>
                <a:gd name="T38" fmla="*/ 89 w 89"/>
                <a:gd name="T39" fmla="*/ 79 h 99"/>
                <a:gd name="T40" fmla="*/ 87 w 89"/>
                <a:gd name="T41" fmla="*/ 77 h 99"/>
                <a:gd name="T42" fmla="*/ 78 w 89"/>
                <a:gd name="T43" fmla="*/ 74 h 99"/>
                <a:gd name="T44" fmla="*/ 76 w 89"/>
                <a:gd name="T45" fmla="*/ 74 h 99"/>
                <a:gd name="T46" fmla="*/ 76 w 89"/>
                <a:gd name="T47" fmla="*/ 74 h 99"/>
                <a:gd name="T48" fmla="*/ 76 w 89"/>
                <a:gd name="T49" fmla="*/ 77 h 99"/>
                <a:gd name="T50" fmla="*/ 78 w 89"/>
                <a:gd name="T51" fmla="*/ 77 h 99"/>
                <a:gd name="T52" fmla="*/ 80 w 89"/>
                <a:gd name="T53" fmla="*/ 77 h 99"/>
                <a:gd name="T54" fmla="*/ 80 w 89"/>
                <a:gd name="T55" fmla="*/ 77 h 99"/>
                <a:gd name="T56" fmla="*/ 80 w 89"/>
                <a:gd name="T57" fmla="*/ 77 h 99"/>
                <a:gd name="T58" fmla="*/ 82 w 89"/>
                <a:gd name="T59" fmla="*/ 77 h 99"/>
                <a:gd name="T60" fmla="*/ 82 w 89"/>
                <a:gd name="T61" fmla="*/ 77 h 99"/>
                <a:gd name="T62" fmla="*/ 80 w 89"/>
                <a:gd name="T63" fmla="*/ 77 h 99"/>
                <a:gd name="T64" fmla="*/ 78 w 89"/>
                <a:gd name="T65" fmla="*/ 74 h 99"/>
                <a:gd name="T66" fmla="*/ 37 w 89"/>
                <a:gd name="T67" fmla="*/ 72 h 99"/>
                <a:gd name="T68" fmla="*/ 37 w 89"/>
                <a:gd name="T69" fmla="*/ 72 h 99"/>
                <a:gd name="T70" fmla="*/ 39 w 89"/>
                <a:gd name="T71" fmla="*/ 72 h 99"/>
                <a:gd name="T72" fmla="*/ 39 w 89"/>
                <a:gd name="T73" fmla="*/ 72 h 99"/>
                <a:gd name="T74" fmla="*/ 41 w 89"/>
                <a:gd name="T75" fmla="*/ 72 h 99"/>
                <a:gd name="T76" fmla="*/ 39 w 89"/>
                <a:gd name="T77" fmla="*/ 72 h 99"/>
                <a:gd name="T78" fmla="*/ 37 w 89"/>
                <a:gd name="T79" fmla="*/ 72 h 99"/>
                <a:gd name="T80" fmla="*/ 0 w 89"/>
                <a:gd name="T81" fmla="*/ 0 h 99"/>
                <a:gd name="T82" fmla="*/ 0 w 89"/>
                <a:gd name="T83" fmla="*/ 0 h 99"/>
                <a:gd name="T84" fmla="*/ 0 w 89"/>
                <a:gd name="T85" fmla="*/ 2 h 99"/>
                <a:gd name="T86" fmla="*/ 2 w 89"/>
                <a:gd name="T87" fmla="*/ 0 h 99"/>
                <a:gd name="T88" fmla="*/ 2 w 89"/>
                <a:gd name="T89" fmla="*/ 0 h 99"/>
                <a:gd name="T90" fmla="*/ 2 w 89"/>
                <a:gd name="T91" fmla="*/ 0 h 99"/>
                <a:gd name="T92" fmla="*/ 0 w 89"/>
                <a:gd name="T9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9" h="99">
                  <a:moveTo>
                    <a:pt x="56" y="97"/>
                  </a:move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8" y="95"/>
                  </a:lnTo>
                  <a:lnTo>
                    <a:pt x="56" y="97"/>
                  </a:lnTo>
                  <a:lnTo>
                    <a:pt x="56" y="97"/>
                  </a:lnTo>
                  <a:close/>
                  <a:moveTo>
                    <a:pt x="87" y="77"/>
                  </a:moveTo>
                  <a:lnTo>
                    <a:pt x="87" y="77"/>
                  </a:lnTo>
                  <a:lnTo>
                    <a:pt x="84" y="77"/>
                  </a:lnTo>
                  <a:lnTo>
                    <a:pt x="84" y="77"/>
                  </a:lnTo>
                  <a:lnTo>
                    <a:pt x="87" y="77"/>
                  </a:lnTo>
                  <a:lnTo>
                    <a:pt x="87" y="77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7" y="77"/>
                  </a:lnTo>
                  <a:close/>
                  <a:moveTo>
                    <a:pt x="78" y="74"/>
                  </a:moveTo>
                  <a:lnTo>
                    <a:pt x="76" y="74"/>
                  </a:lnTo>
                  <a:lnTo>
                    <a:pt x="76" y="74"/>
                  </a:lnTo>
                  <a:lnTo>
                    <a:pt x="76" y="77"/>
                  </a:lnTo>
                  <a:lnTo>
                    <a:pt x="78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2" y="77"/>
                  </a:lnTo>
                  <a:lnTo>
                    <a:pt x="82" y="77"/>
                  </a:lnTo>
                  <a:lnTo>
                    <a:pt x="80" y="77"/>
                  </a:lnTo>
                  <a:lnTo>
                    <a:pt x="78" y="74"/>
                  </a:lnTo>
                  <a:close/>
                  <a:moveTo>
                    <a:pt x="37" y="72"/>
                  </a:moveTo>
                  <a:lnTo>
                    <a:pt x="37" y="72"/>
                  </a:lnTo>
                  <a:lnTo>
                    <a:pt x="39" y="72"/>
                  </a:lnTo>
                  <a:lnTo>
                    <a:pt x="39" y="72"/>
                  </a:lnTo>
                  <a:lnTo>
                    <a:pt x="41" y="72"/>
                  </a:lnTo>
                  <a:lnTo>
                    <a:pt x="39" y="72"/>
                  </a:lnTo>
                  <a:lnTo>
                    <a:pt x="37" y="7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2" name="Freeform 117">
              <a:extLst>
                <a:ext uri="{FF2B5EF4-FFF2-40B4-BE49-F238E27FC236}">
                  <a16:creationId xmlns:a16="http://schemas.microsoft.com/office/drawing/2014/main" id="{605F0EDF-D685-3D48-91D4-E5E2DC4A55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0163" y="3441107"/>
              <a:ext cx="0" cy="21391"/>
            </a:xfrm>
            <a:custGeom>
              <a:avLst/>
              <a:gdLst>
                <a:gd name="T0" fmla="*/ 18 h 18"/>
                <a:gd name="T1" fmla="*/ 18 h 18"/>
                <a:gd name="T2" fmla="*/ 18 h 18"/>
                <a:gd name="T3" fmla="*/ 18 h 18"/>
                <a:gd name="T4" fmla="*/ 18 h 18"/>
                <a:gd name="T5" fmla="*/ 18 h 18"/>
                <a:gd name="T6" fmla="*/ 18 h 18"/>
                <a:gd name="T7" fmla="*/ 18 h 18"/>
                <a:gd name="T8" fmla="*/ 18 h 18"/>
                <a:gd name="T9" fmla="*/ 0 h 18"/>
                <a:gd name="T10" fmla="*/ 0 h 18"/>
                <a:gd name="T11" fmla="*/ 0 h 18"/>
                <a:gd name="T12" fmla="*/ 2 h 18"/>
                <a:gd name="T13" fmla="*/ 2 h 18"/>
                <a:gd name="T14" fmla="*/ 2 h 18"/>
                <a:gd name="T15" fmla="*/ 2 h 18"/>
                <a:gd name="T16" fmla="*/ 2 h 18"/>
                <a:gd name="T17" fmla="*/ 2 h 18"/>
                <a:gd name="T18" fmla="*/ 0 h 18"/>
                <a:gd name="T19" fmla="*/ 0 h 18"/>
                <a:gd name="T20" fmla="*/ 0 h 18"/>
                <a:gd name="T21" fmla="*/ 0 h 1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  <a:cxn ang="0">
                  <a:pos x="0" y="T15"/>
                </a:cxn>
                <a:cxn ang="0">
                  <a:pos x="0" y="T16"/>
                </a:cxn>
                <a:cxn ang="0">
                  <a:pos x="0" y="T17"/>
                </a:cxn>
                <a:cxn ang="0">
                  <a:pos x="0" y="T18"/>
                </a:cxn>
                <a:cxn ang="0">
                  <a:pos x="0" y="T19"/>
                </a:cxn>
                <a:cxn ang="0">
                  <a:pos x="0" y="T20"/>
                </a:cxn>
                <a:cxn ang="0">
                  <a:pos x="0" y="T21"/>
                </a:cxn>
              </a:cxnLst>
              <a:rect l="0" t="0" r="r" b="b"/>
              <a:pathLst>
                <a:path h="18"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3" name="Freeform 118">
              <a:extLst>
                <a:ext uri="{FF2B5EF4-FFF2-40B4-BE49-F238E27FC236}">
                  <a16:creationId xmlns:a16="http://schemas.microsoft.com/office/drawing/2014/main" id="{5D481B75-4ABE-B046-9F43-3843D21A88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2851" y="3372180"/>
              <a:ext cx="379096" cy="142607"/>
            </a:xfrm>
            <a:custGeom>
              <a:avLst/>
              <a:gdLst>
                <a:gd name="T0" fmla="*/ 191 w 319"/>
                <a:gd name="T1" fmla="*/ 87 h 120"/>
                <a:gd name="T2" fmla="*/ 74 w 319"/>
                <a:gd name="T3" fmla="*/ 85 h 120"/>
                <a:gd name="T4" fmla="*/ 29 w 319"/>
                <a:gd name="T5" fmla="*/ 81 h 120"/>
                <a:gd name="T6" fmla="*/ 294 w 319"/>
                <a:gd name="T7" fmla="*/ 58 h 120"/>
                <a:gd name="T8" fmla="*/ 11 w 319"/>
                <a:gd name="T9" fmla="*/ 35 h 120"/>
                <a:gd name="T10" fmla="*/ 0 w 319"/>
                <a:gd name="T11" fmla="*/ 21 h 120"/>
                <a:gd name="T12" fmla="*/ 72 w 319"/>
                <a:gd name="T13" fmla="*/ 95 h 120"/>
                <a:gd name="T14" fmla="*/ 64 w 319"/>
                <a:gd name="T15" fmla="*/ 72 h 120"/>
                <a:gd name="T16" fmla="*/ 56 w 319"/>
                <a:gd name="T17" fmla="*/ 37 h 120"/>
                <a:gd name="T18" fmla="*/ 39 w 319"/>
                <a:gd name="T19" fmla="*/ 23 h 120"/>
                <a:gd name="T20" fmla="*/ 33 w 319"/>
                <a:gd name="T21" fmla="*/ 29 h 120"/>
                <a:gd name="T22" fmla="*/ 25 w 319"/>
                <a:gd name="T23" fmla="*/ 33 h 120"/>
                <a:gd name="T24" fmla="*/ 23 w 319"/>
                <a:gd name="T25" fmla="*/ 23 h 120"/>
                <a:gd name="T26" fmla="*/ 17 w 319"/>
                <a:gd name="T27" fmla="*/ 17 h 120"/>
                <a:gd name="T28" fmla="*/ 7 w 319"/>
                <a:gd name="T29" fmla="*/ 17 h 120"/>
                <a:gd name="T30" fmla="*/ 17 w 319"/>
                <a:gd name="T31" fmla="*/ 50 h 120"/>
                <a:gd name="T32" fmla="*/ 21 w 319"/>
                <a:gd name="T33" fmla="*/ 66 h 120"/>
                <a:gd name="T34" fmla="*/ 31 w 319"/>
                <a:gd name="T35" fmla="*/ 85 h 120"/>
                <a:gd name="T36" fmla="*/ 62 w 319"/>
                <a:gd name="T37" fmla="*/ 107 h 120"/>
                <a:gd name="T38" fmla="*/ 72 w 319"/>
                <a:gd name="T39" fmla="*/ 109 h 120"/>
                <a:gd name="T40" fmla="*/ 76 w 319"/>
                <a:gd name="T41" fmla="*/ 111 h 120"/>
                <a:gd name="T42" fmla="*/ 317 w 319"/>
                <a:gd name="T43" fmla="*/ 37 h 120"/>
                <a:gd name="T44" fmla="*/ 304 w 319"/>
                <a:gd name="T45" fmla="*/ 31 h 120"/>
                <a:gd name="T46" fmla="*/ 296 w 319"/>
                <a:gd name="T47" fmla="*/ 29 h 120"/>
                <a:gd name="T48" fmla="*/ 290 w 319"/>
                <a:gd name="T49" fmla="*/ 27 h 120"/>
                <a:gd name="T50" fmla="*/ 290 w 319"/>
                <a:gd name="T51" fmla="*/ 17 h 120"/>
                <a:gd name="T52" fmla="*/ 282 w 319"/>
                <a:gd name="T53" fmla="*/ 9 h 120"/>
                <a:gd name="T54" fmla="*/ 278 w 319"/>
                <a:gd name="T55" fmla="*/ 11 h 120"/>
                <a:gd name="T56" fmla="*/ 265 w 319"/>
                <a:gd name="T57" fmla="*/ 29 h 120"/>
                <a:gd name="T58" fmla="*/ 257 w 319"/>
                <a:gd name="T59" fmla="*/ 33 h 120"/>
                <a:gd name="T60" fmla="*/ 255 w 319"/>
                <a:gd name="T61" fmla="*/ 46 h 120"/>
                <a:gd name="T62" fmla="*/ 255 w 319"/>
                <a:gd name="T63" fmla="*/ 56 h 120"/>
                <a:gd name="T64" fmla="*/ 249 w 319"/>
                <a:gd name="T65" fmla="*/ 48 h 120"/>
                <a:gd name="T66" fmla="*/ 247 w 319"/>
                <a:gd name="T67" fmla="*/ 56 h 120"/>
                <a:gd name="T68" fmla="*/ 243 w 319"/>
                <a:gd name="T69" fmla="*/ 62 h 120"/>
                <a:gd name="T70" fmla="*/ 237 w 319"/>
                <a:gd name="T71" fmla="*/ 54 h 120"/>
                <a:gd name="T72" fmla="*/ 232 w 319"/>
                <a:gd name="T73" fmla="*/ 56 h 120"/>
                <a:gd name="T74" fmla="*/ 218 w 319"/>
                <a:gd name="T75" fmla="*/ 78 h 120"/>
                <a:gd name="T76" fmla="*/ 193 w 319"/>
                <a:gd name="T77" fmla="*/ 91 h 120"/>
                <a:gd name="T78" fmla="*/ 189 w 319"/>
                <a:gd name="T79" fmla="*/ 95 h 120"/>
                <a:gd name="T80" fmla="*/ 187 w 319"/>
                <a:gd name="T81" fmla="*/ 105 h 120"/>
                <a:gd name="T82" fmla="*/ 185 w 319"/>
                <a:gd name="T83" fmla="*/ 107 h 120"/>
                <a:gd name="T84" fmla="*/ 169 w 319"/>
                <a:gd name="T85" fmla="*/ 105 h 120"/>
                <a:gd name="T86" fmla="*/ 165 w 319"/>
                <a:gd name="T87" fmla="*/ 103 h 120"/>
                <a:gd name="T88" fmla="*/ 173 w 319"/>
                <a:gd name="T89" fmla="*/ 113 h 120"/>
                <a:gd name="T90" fmla="*/ 187 w 319"/>
                <a:gd name="T91" fmla="*/ 118 h 120"/>
                <a:gd name="T92" fmla="*/ 202 w 319"/>
                <a:gd name="T93" fmla="*/ 115 h 120"/>
                <a:gd name="T94" fmla="*/ 218 w 319"/>
                <a:gd name="T95" fmla="*/ 107 h 120"/>
                <a:gd name="T96" fmla="*/ 226 w 319"/>
                <a:gd name="T97" fmla="*/ 111 h 120"/>
                <a:gd name="T98" fmla="*/ 237 w 319"/>
                <a:gd name="T99" fmla="*/ 109 h 120"/>
                <a:gd name="T100" fmla="*/ 247 w 319"/>
                <a:gd name="T101" fmla="*/ 103 h 120"/>
                <a:gd name="T102" fmla="*/ 247 w 319"/>
                <a:gd name="T103" fmla="*/ 97 h 120"/>
                <a:gd name="T104" fmla="*/ 253 w 319"/>
                <a:gd name="T105" fmla="*/ 89 h 120"/>
                <a:gd name="T106" fmla="*/ 253 w 319"/>
                <a:gd name="T107" fmla="*/ 83 h 120"/>
                <a:gd name="T108" fmla="*/ 259 w 319"/>
                <a:gd name="T109" fmla="*/ 76 h 120"/>
                <a:gd name="T110" fmla="*/ 259 w 319"/>
                <a:gd name="T111" fmla="*/ 64 h 120"/>
                <a:gd name="T112" fmla="*/ 267 w 319"/>
                <a:gd name="T113" fmla="*/ 56 h 120"/>
                <a:gd name="T114" fmla="*/ 276 w 319"/>
                <a:gd name="T115" fmla="*/ 56 h 120"/>
                <a:gd name="T116" fmla="*/ 292 w 319"/>
                <a:gd name="T117" fmla="*/ 60 h 120"/>
                <a:gd name="T118" fmla="*/ 304 w 319"/>
                <a:gd name="T119" fmla="*/ 56 h 120"/>
                <a:gd name="T120" fmla="*/ 302 w 319"/>
                <a:gd name="T121" fmla="*/ 44 h 120"/>
                <a:gd name="T122" fmla="*/ 317 w 319"/>
                <a:gd name="T123" fmla="*/ 41 h 120"/>
                <a:gd name="T124" fmla="*/ 284 w 319"/>
                <a:gd name="T125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9" h="120">
                  <a:moveTo>
                    <a:pt x="191" y="93"/>
                  </a:moveTo>
                  <a:lnTo>
                    <a:pt x="191" y="91"/>
                  </a:lnTo>
                  <a:lnTo>
                    <a:pt x="191" y="91"/>
                  </a:lnTo>
                  <a:lnTo>
                    <a:pt x="191" y="89"/>
                  </a:lnTo>
                  <a:lnTo>
                    <a:pt x="191" y="87"/>
                  </a:lnTo>
                  <a:lnTo>
                    <a:pt x="191" y="85"/>
                  </a:lnTo>
                  <a:lnTo>
                    <a:pt x="191" y="85"/>
                  </a:lnTo>
                  <a:lnTo>
                    <a:pt x="191" y="87"/>
                  </a:lnTo>
                  <a:lnTo>
                    <a:pt x="191" y="91"/>
                  </a:lnTo>
                  <a:lnTo>
                    <a:pt x="191" y="93"/>
                  </a:lnTo>
                  <a:close/>
                  <a:moveTo>
                    <a:pt x="74" y="87"/>
                  </a:moveTo>
                  <a:lnTo>
                    <a:pt x="76" y="87"/>
                  </a:lnTo>
                  <a:lnTo>
                    <a:pt x="76" y="85"/>
                  </a:lnTo>
                  <a:lnTo>
                    <a:pt x="74" y="83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7"/>
                  </a:lnTo>
                  <a:lnTo>
                    <a:pt x="74" y="87"/>
                  </a:lnTo>
                  <a:close/>
                  <a:moveTo>
                    <a:pt x="29" y="81"/>
                  </a:moveTo>
                  <a:lnTo>
                    <a:pt x="29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3"/>
                  </a:lnTo>
                  <a:lnTo>
                    <a:pt x="29" y="81"/>
                  </a:lnTo>
                  <a:lnTo>
                    <a:pt x="29" y="81"/>
                  </a:lnTo>
                  <a:close/>
                  <a:moveTo>
                    <a:pt x="294" y="58"/>
                  </a:moveTo>
                  <a:lnTo>
                    <a:pt x="292" y="58"/>
                  </a:lnTo>
                  <a:lnTo>
                    <a:pt x="292" y="58"/>
                  </a:lnTo>
                  <a:lnTo>
                    <a:pt x="292" y="60"/>
                  </a:lnTo>
                  <a:lnTo>
                    <a:pt x="294" y="60"/>
                  </a:lnTo>
                  <a:lnTo>
                    <a:pt x="296" y="60"/>
                  </a:lnTo>
                  <a:lnTo>
                    <a:pt x="294" y="58"/>
                  </a:lnTo>
                  <a:lnTo>
                    <a:pt x="294" y="58"/>
                  </a:lnTo>
                  <a:close/>
                  <a:moveTo>
                    <a:pt x="11" y="35"/>
                  </a:moveTo>
                  <a:lnTo>
                    <a:pt x="9" y="35"/>
                  </a:lnTo>
                  <a:lnTo>
                    <a:pt x="9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7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2" y="17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5" y="19"/>
                  </a:lnTo>
                  <a:lnTo>
                    <a:pt x="2" y="17"/>
                  </a:lnTo>
                  <a:lnTo>
                    <a:pt x="2" y="17"/>
                  </a:lnTo>
                  <a:close/>
                  <a:moveTo>
                    <a:pt x="72" y="95"/>
                  </a:moveTo>
                  <a:lnTo>
                    <a:pt x="70" y="91"/>
                  </a:lnTo>
                  <a:lnTo>
                    <a:pt x="70" y="89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4" y="76"/>
                  </a:lnTo>
                  <a:lnTo>
                    <a:pt x="62" y="74"/>
                  </a:lnTo>
                  <a:lnTo>
                    <a:pt x="64" y="72"/>
                  </a:lnTo>
                  <a:lnTo>
                    <a:pt x="62" y="68"/>
                  </a:lnTo>
                  <a:lnTo>
                    <a:pt x="62" y="66"/>
                  </a:lnTo>
                  <a:lnTo>
                    <a:pt x="62" y="64"/>
                  </a:lnTo>
                  <a:lnTo>
                    <a:pt x="62" y="56"/>
                  </a:lnTo>
                  <a:lnTo>
                    <a:pt x="62" y="50"/>
                  </a:lnTo>
                  <a:lnTo>
                    <a:pt x="62" y="48"/>
                  </a:lnTo>
                  <a:lnTo>
                    <a:pt x="58" y="39"/>
                  </a:lnTo>
                  <a:lnTo>
                    <a:pt x="56" y="37"/>
                  </a:lnTo>
                  <a:lnTo>
                    <a:pt x="54" y="35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48" y="29"/>
                  </a:lnTo>
                  <a:lnTo>
                    <a:pt x="44" y="23"/>
                  </a:lnTo>
                  <a:lnTo>
                    <a:pt x="41" y="23"/>
                  </a:lnTo>
                  <a:lnTo>
                    <a:pt x="39" y="21"/>
                  </a:lnTo>
                  <a:lnTo>
                    <a:pt x="39" y="23"/>
                  </a:lnTo>
                  <a:lnTo>
                    <a:pt x="39" y="25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3" y="31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29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1" y="31"/>
                  </a:lnTo>
                  <a:lnTo>
                    <a:pt x="21" y="29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1" y="21"/>
                  </a:lnTo>
                  <a:lnTo>
                    <a:pt x="19" y="21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1" y="17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5"/>
                  </a:lnTo>
                  <a:lnTo>
                    <a:pt x="7" y="17"/>
                  </a:lnTo>
                  <a:lnTo>
                    <a:pt x="7" y="19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11" y="27"/>
                  </a:lnTo>
                  <a:lnTo>
                    <a:pt x="13" y="29"/>
                  </a:lnTo>
                  <a:lnTo>
                    <a:pt x="11" y="33"/>
                  </a:lnTo>
                  <a:lnTo>
                    <a:pt x="15" y="44"/>
                  </a:lnTo>
                  <a:lnTo>
                    <a:pt x="17" y="50"/>
                  </a:lnTo>
                  <a:lnTo>
                    <a:pt x="17" y="56"/>
                  </a:lnTo>
                  <a:lnTo>
                    <a:pt x="17" y="58"/>
                  </a:lnTo>
                  <a:lnTo>
                    <a:pt x="19" y="60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9" y="64"/>
                  </a:lnTo>
                  <a:lnTo>
                    <a:pt x="19" y="66"/>
                  </a:lnTo>
                  <a:lnTo>
                    <a:pt x="21" y="66"/>
                  </a:lnTo>
                  <a:lnTo>
                    <a:pt x="23" y="70"/>
                  </a:lnTo>
                  <a:lnTo>
                    <a:pt x="25" y="72"/>
                  </a:lnTo>
                  <a:lnTo>
                    <a:pt x="29" y="76"/>
                  </a:lnTo>
                  <a:lnTo>
                    <a:pt x="29" y="78"/>
                  </a:lnTo>
                  <a:lnTo>
                    <a:pt x="29" y="81"/>
                  </a:lnTo>
                  <a:lnTo>
                    <a:pt x="29" y="83"/>
                  </a:lnTo>
                  <a:lnTo>
                    <a:pt x="29" y="85"/>
                  </a:lnTo>
                  <a:lnTo>
                    <a:pt x="31" y="85"/>
                  </a:lnTo>
                  <a:lnTo>
                    <a:pt x="31" y="87"/>
                  </a:lnTo>
                  <a:lnTo>
                    <a:pt x="37" y="89"/>
                  </a:lnTo>
                  <a:lnTo>
                    <a:pt x="37" y="91"/>
                  </a:lnTo>
                  <a:lnTo>
                    <a:pt x="44" y="95"/>
                  </a:lnTo>
                  <a:lnTo>
                    <a:pt x="50" y="99"/>
                  </a:lnTo>
                  <a:lnTo>
                    <a:pt x="52" y="101"/>
                  </a:lnTo>
                  <a:lnTo>
                    <a:pt x="56" y="103"/>
                  </a:lnTo>
                  <a:lnTo>
                    <a:pt x="62" y="107"/>
                  </a:lnTo>
                  <a:lnTo>
                    <a:pt x="64" y="109"/>
                  </a:lnTo>
                  <a:lnTo>
                    <a:pt x="64" y="109"/>
                  </a:lnTo>
                  <a:lnTo>
                    <a:pt x="64" y="111"/>
                  </a:lnTo>
                  <a:lnTo>
                    <a:pt x="66" y="111"/>
                  </a:lnTo>
                  <a:lnTo>
                    <a:pt x="68" y="109"/>
                  </a:lnTo>
                  <a:lnTo>
                    <a:pt x="70" y="109"/>
                  </a:lnTo>
                  <a:lnTo>
                    <a:pt x="72" y="109"/>
                  </a:lnTo>
                  <a:lnTo>
                    <a:pt x="72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74" y="107"/>
                  </a:lnTo>
                  <a:lnTo>
                    <a:pt x="74" y="109"/>
                  </a:lnTo>
                  <a:lnTo>
                    <a:pt x="74" y="109"/>
                  </a:lnTo>
                  <a:lnTo>
                    <a:pt x="74" y="109"/>
                  </a:lnTo>
                  <a:lnTo>
                    <a:pt x="76" y="111"/>
                  </a:lnTo>
                  <a:lnTo>
                    <a:pt x="76" y="111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6" y="105"/>
                  </a:lnTo>
                  <a:lnTo>
                    <a:pt x="72" y="95"/>
                  </a:lnTo>
                  <a:close/>
                  <a:moveTo>
                    <a:pt x="317" y="37"/>
                  </a:moveTo>
                  <a:lnTo>
                    <a:pt x="317" y="37"/>
                  </a:lnTo>
                  <a:lnTo>
                    <a:pt x="317" y="37"/>
                  </a:lnTo>
                  <a:lnTo>
                    <a:pt x="315" y="37"/>
                  </a:lnTo>
                  <a:lnTo>
                    <a:pt x="313" y="37"/>
                  </a:lnTo>
                  <a:lnTo>
                    <a:pt x="313" y="37"/>
                  </a:lnTo>
                  <a:lnTo>
                    <a:pt x="308" y="33"/>
                  </a:lnTo>
                  <a:lnTo>
                    <a:pt x="306" y="33"/>
                  </a:lnTo>
                  <a:lnTo>
                    <a:pt x="306" y="31"/>
                  </a:lnTo>
                  <a:lnTo>
                    <a:pt x="304" y="31"/>
                  </a:lnTo>
                  <a:lnTo>
                    <a:pt x="304" y="31"/>
                  </a:lnTo>
                  <a:lnTo>
                    <a:pt x="302" y="29"/>
                  </a:lnTo>
                  <a:lnTo>
                    <a:pt x="302" y="29"/>
                  </a:lnTo>
                  <a:lnTo>
                    <a:pt x="300" y="29"/>
                  </a:lnTo>
                  <a:lnTo>
                    <a:pt x="298" y="31"/>
                  </a:lnTo>
                  <a:lnTo>
                    <a:pt x="298" y="31"/>
                  </a:lnTo>
                  <a:lnTo>
                    <a:pt x="296" y="31"/>
                  </a:lnTo>
                  <a:lnTo>
                    <a:pt x="296" y="31"/>
                  </a:lnTo>
                  <a:lnTo>
                    <a:pt x="296" y="29"/>
                  </a:lnTo>
                  <a:lnTo>
                    <a:pt x="298" y="29"/>
                  </a:lnTo>
                  <a:lnTo>
                    <a:pt x="298" y="29"/>
                  </a:lnTo>
                  <a:lnTo>
                    <a:pt x="298" y="27"/>
                  </a:lnTo>
                  <a:lnTo>
                    <a:pt x="296" y="25"/>
                  </a:lnTo>
                  <a:lnTo>
                    <a:pt x="294" y="27"/>
                  </a:lnTo>
                  <a:lnTo>
                    <a:pt x="294" y="27"/>
                  </a:lnTo>
                  <a:lnTo>
                    <a:pt x="288" y="27"/>
                  </a:lnTo>
                  <a:lnTo>
                    <a:pt x="290" y="27"/>
                  </a:lnTo>
                  <a:lnTo>
                    <a:pt x="290" y="25"/>
                  </a:lnTo>
                  <a:lnTo>
                    <a:pt x="290" y="25"/>
                  </a:lnTo>
                  <a:lnTo>
                    <a:pt x="290" y="23"/>
                  </a:lnTo>
                  <a:lnTo>
                    <a:pt x="292" y="21"/>
                  </a:lnTo>
                  <a:lnTo>
                    <a:pt x="292" y="19"/>
                  </a:lnTo>
                  <a:lnTo>
                    <a:pt x="290" y="19"/>
                  </a:lnTo>
                  <a:lnTo>
                    <a:pt x="290" y="17"/>
                  </a:lnTo>
                  <a:lnTo>
                    <a:pt x="290" y="17"/>
                  </a:lnTo>
                  <a:lnTo>
                    <a:pt x="288" y="15"/>
                  </a:lnTo>
                  <a:lnTo>
                    <a:pt x="286" y="15"/>
                  </a:lnTo>
                  <a:lnTo>
                    <a:pt x="284" y="13"/>
                  </a:lnTo>
                  <a:lnTo>
                    <a:pt x="284" y="11"/>
                  </a:lnTo>
                  <a:lnTo>
                    <a:pt x="284" y="11"/>
                  </a:lnTo>
                  <a:lnTo>
                    <a:pt x="284" y="9"/>
                  </a:lnTo>
                  <a:lnTo>
                    <a:pt x="284" y="9"/>
                  </a:lnTo>
                  <a:lnTo>
                    <a:pt x="282" y="9"/>
                  </a:lnTo>
                  <a:lnTo>
                    <a:pt x="282" y="9"/>
                  </a:lnTo>
                  <a:lnTo>
                    <a:pt x="280" y="11"/>
                  </a:lnTo>
                  <a:lnTo>
                    <a:pt x="278" y="15"/>
                  </a:lnTo>
                  <a:lnTo>
                    <a:pt x="278" y="15"/>
                  </a:lnTo>
                  <a:lnTo>
                    <a:pt x="276" y="15"/>
                  </a:lnTo>
                  <a:lnTo>
                    <a:pt x="278" y="13"/>
                  </a:lnTo>
                  <a:lnTo>
                    <a:pt x="278" y="13"/>
                  </a:lnTo>
                  <a:lnTo>
                    <a:pt x="278" y="11"/>
                  </a:lnTo>
                  <a:lnTo>
                    <a:pt x="278" y="9"/>
                  </a:lnTo>
                  <a:lnTo>
                    <a:pt x="276" y="9"/>
                  </a:lnTo>
                  <a:lnTo>
                    <a:pt x="276" y="9"/>
                  </a:lnTo>
                  <a:lnTo>
                    <a:pt x="271" y="15"/>
                  </a:lnTo>
                  <a:lnTo>
                    <a:pt x="271" y="17"/>
                  </a:lnTo>
                  <a:lnTo>
                    <a:pt x="267" y="23"/>
                  </a:lnTo>
                  <a:lnTo>
                    <a:pt x="265" y="25"/>
                  </a:lnTo>
                  <a:lnTo>
                    <a:pt x="265" y="29"/>
                  </a:lnTo>
                  <a:lnTo>
                    <a:pt x="263" y="31"/>
                  </a:lnTo>
                  <a:lnTo>
                    <a:pt x="263" y="33"/>
                  </a:lnTo>
                  <a:lnTo>
                    <a:pt x="261" y="35"/>
                  </a:lnTo>
                  <a:lnTo>
                    <a:pt x="261" y="35"/>
                  </a:lnTo>
                  <a:lnTo>
                    <a:pt x="259" y="35"/>
                  </a:lnTo>
                  <a:lnTo>
                    <a:pt x="259" y="33"/>
                  </a:lnTo>
                  <a:lnTo>
                    <a:pt x="259" y="33"/>
                  </a:lnTo>
                  <a:lnTo>
                    <a:pt x="257" y="33"/>
                  </a:lnTo>
                  <a:lnTo>
                    <a:pt x="255" y="37"/>
                  </a:lnTo>
                  <a:lnTo>
                    <a:pt x="255" y="37"/>
                  </a:lnTo>
                  <a:lnTo>
                    <a:pt x="257" y="39"/>
                  </a:lnTo>
                  <a:lnTo>
                    <a:pt x="259" y="41"/>
                  </a:lnTo>
                  <a:lnTo>
                    <a:pt x="257" y="44"/>
                  </a:lnTo>
                  <a:lnTo>
                    <a:pt x="257" y="44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1" y="46"/>
                  </a:lnTo>
                  <a:lnTo>
                    <a:pt x="251" y="48"/>
                  </a:lnTo>
                  <a:lnTo>
                    <a:pt x="253" y="50"/>
                  </a:lnTo>
                  <a:lnTo>
                    <a:pt x="253" y="52"/>
                  </a:lnTo>
                  <a:lnTo>
                    <a:pt x="253" y="54"/>
                  </a:lnTo>
                  <a:lnTo>
                    <a:pt x="255" y="56"/>
                  </a:lnTo>
                  <a:lnTo>
                    <a:pt x="255" y="56"/>
                  </a:lnTo>
                  <a:lnTo>
                    <a:pt x="255" y="56"/>
                  </a:lnTo>
                  <a:lnTo>
                    <a:pt x="253" y="56"/>
                  </a:lnTo>
                  <a:lnTo>
                    <a:pt x="253" y="56"/>
                  </a:lnTo>
                  <a:lnTo>
                    <a:pt x="251" y="56"/>
                  </a:lnTo>
                  <a:lnTo>
                    <a:pt x="251" y="52"/>
                  </a:lnTo>
                  <a:lnTo>
                    <a:pt x="249" y="50"/>
                  </a:lnTo>
                  <a:lnTo>
                    <a:pt x="249" y="48"/>
                  </a:lnTo>
                  <a:lnTo>
                    <a:pt x="249" y="46"/>
                  </a:lnTo>
                  <a:lnTo>
                    <a:pt x="249" y="48"/>
                  </a:lnTo>
                  <a:lnTo>
                    <a:pt x="247" y="48"/>
                  </a:lnTo>
                  <a:lnTo>
                    <a:pt x="245" y="50"/>
                  </a:lnTo>
                  <a:lnTo>
                    <a:pt x="245" y="50"/>
                  </a:lnTo>
                  <a:lnTo>
                    <a:pt x="245" y="50"/>
                  </a:lnTo>
                  <a:lnTo>
                    <a:pt x="245" y="52"/>
                  </a:lnTo>
                  <a:lnTo>
                    <a:pt x="247" y="54"/>
                  </a:lnTo>
                  <a:lnTo>
                    <a:pt x="247" y="54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8"/>
                  </a:lnTo>
                  <a:lnTo>
                    <a:pt x="247" y="58"/>
                  </a:lnTo>
                  <a:lnTo>
                    <a:pt x="247" y="60"/>
                  </a:lnTo>
                  <a:lnTo>
                    <a:pt x="245" y="60"/>
                  </a:lnTo>
                  <a:lnTo>
                    <a:pt x="245" y="62"/>
                  </a:lnTo>
                  <a:lnTo>
                    <a:pt x="243" y="62"/>
                  </a:lnTo>
                  <a:lnTo>
                    <a:pt x="243" y="62"/>
                  </a:lnTo>
                  <a:lnTo>
                    <a:pt x="243" y="60"/>
                  </a:lnTo>
                  <a:lnTo>
                    <a:pt x="241" y="58"/>
                  </a:lnTo>
                  <a:lnTo>
                    <a:pt x="241" y="58"/>
                  </a:lnTo>
                  <a:lnTo>
                    <a:pt x="239" y="58"/>
                  </a:lnTo>
                  <a:lnTo>
                    <a:pt x="239" y="58"/>
                  </a:lnTo>
                  <a:lnTo>
                    <a:pt x="239" y="56"/>
                  </a:lnTo>
                  <a:lnTo>
                    <a:pt x="237" y="56"/>
                  </a:lnTo>
                  <a:lnTo>
                    <a:pt x="237" y="54"/>
                  </a:lnTo>
                  <a:lnTo>
                    <a:pt x="237" y="54"/>
                  </a:lnTo>
                  <a:lnTo>
                    <a:pt x="234" y="52"/>
                  </a:lnTo>
                  <a:lnTo>
                    <a:pt x="234" y="52"/>
                  </a:lnTo>
                  <a:lnTo>
                    <a:pt x="234" y="52"/>
                  </a:lnTo>
                  <a:lnTo>
                    <a:pt x="232" y="52"/>
                  </a:lnTo>
                  <a:lnTo>
                    <a:pt x="232" y="52"/>
                  </a:lnTo>
                  <a:lnTo>
                    <a:pt x="232" y="54"/>
                  </a:lnTo>
                  <a:lnTo>
                    <a:pt x="232" y="56"/>
                  </a:lnTo>
                  <a:lnTo>
                    <a:pt x="232" y="58"/>
                  </a:lnTo>
                  <a:lnTo>
                    <a:pt x="232" y="58"/>
                  </a:lnTo>
                  <a:lnTo>
                    <a:pt x="228" y="62"/>
                  </a:lnTo>
                  <a:lnTo>
                    <a:pt x="224" y="68"/>
                  </a:lnTo>
                  <a:lnTo>
                    <a:pt x="222" y="70"/>
                  </a:lnTo>
                  <a:lnTo>
                    <a:pt x="220" y="74"/>
                  </a:lnTo>
                  <a:lnTo>
                    <a:pt x="218" y="76"/>
                  </a:lnTo>
                  <a:lnTo>
                    <a:pt x="218" y="78"/>
                  </a:lnTo>
                  <a:lnTo>
                    <a:pt x="216" y="78"/>
                  </a:lnTo>
                  <a:lnTo>
                    <a:pt x="214" y="81"/>
                  </a:lnTo>
                  <a:lnTo>
                    <a:pt x="204" y="83"/>
                  </a:lnTo>
                  <a:lnTo>
                    <a:pt x="198" y="85"/>
                  </a:lnTo>
                  <a:lnTo>
                    <a:pt x="195" y="85"/>
                  </a:lnTo>
                  <a:lnTo>
                    <a:pt x="193" y="87"/>
                  </a:lnTo>
                  <a:lnTo>
                    <a:pt x="193" y="89"/>
                  </a:lnTo>
                  <a:lnTo>
                    <a:pt x="193" y="91"/>
                  </a:lnTo>
                  <a:lnTo>
                    <a:pt x="193" y="91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1" y="93"/>
                  </a:lnTo>
                  <a:lnTo>
                    <a:pt x="191" y="93"/>
                  </a:lnTo>
                  <a:lnTo>
                    <a:pt x="189" y="91"/>
                  </a:lnTo>
                  <a:lnTo>
                    <a:pt x="189" y="93"/>
                  </a:lnTo>
                  <a:lnTo>
                    <a:pt x="189" y="95"/>
                  </a:lnTo>
                  <a:lnTo>
                    <a:pt x="189" y="95"/>
                  </a:lnTo>
                  <a:lnTo>
                    <a:pt x="189" y="97"/>
                  </a:lnTo>
                  <a:lnTo>
                    <a:pt x="189" y="99"/>
                  </a:lnTo>
                  <a:lnTo>
                    <a:pt x="189" y="99"/>
                  </a:lnTo>
                  <a:lnTo>
                    <a:pt x="189" y="101"/>
                  </a:lnTo>
                  <a:lnTo>
                    <a:pt x="189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7"/>
                  </a:lnTo>
                  <a:lnTo>
                    <a:pt x="187" y="109"/>
                  </a:lnTo>
                  <a:lnTo>
                    <a:pt x="187" y="109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87" y="111"/>
                  </a:lnTo>
                  <a:lnTo>
                    <a:pt x="185" y="107"/>
                  </a:lnTo>
                  <a:lnTo>
                    <a:pt x="185" y="107"/>
                  </a:lnTo>
                  <a:lnTo>
                    <a:pt x="183" y="107"/>
                  </a:lnTo>
                  <a:lnTo>
                    <a:pt x="181" y="107"/>
                  </a:lnTo>
                  <a:lnTo>
                    <a:pt x="177" y="105"/>
                  </a:lnTo>
                  <a:lnTo>
                    <a:pt x="175" y="105"/>
                  </a:lnTo>
                  <a:lnTo>
                    <a:pt x="175" y="105"/>
                  </a:lnTo>
                  <a:lnTo>
                    <a:pt x="175" y="105"/>
                  </a:lnTo>
                  <a:lnTo>
                    <a:pt x="171" y="105"/>
                  </a:lnTo>
                  <a:lnTo>
                    <a:pt x="169" y="105"/>
                  </a:lnTo>
                  <a:lnTo>
                    <a:pt x="167" y="103"/>
                  </a:lnTo>
                  <a:lnTo>
                    <a:pt x="165" y="101"/>
                  </a:lnTo>
                  <a:lnTo>
                    <a:pt x="165" y="101"/>
                  </a:lnTo>
                  <a:lnTo>
                    <a:pt x="165" y="99"/>
                  </a:lnTo>
                  <a:lnTo>
                    <a:pt x="163" y="101"/>
                  </a:lnTo>
                  <a:lnTo>
                    <a:pt x="163" y="103"/>
                  </a:lnTo>
                  <a:lnTo>
                    <a:pt x="163" y="103"/>
                  </a:lnTo>
                  <a:lnTo>
                    <a:pt x="165" y="103"/>
                  </a:lnTo>
                  <a:lnTo>
                    <a:pt x="165" y="107"/>
                  </a:lnTo>
                  <a:lnTo>
                    <a:pt x="167" y="107"/>
                  </a:lnTo>
                  <a:lnTo>
                    <a:pt x="167" y="109"/>
                  </a:lnTo>
                  <a:lnTo>
                    <a:pt x="169" y="111"/>
                  </a:lnTo>
                  <a:lnTo>
                    <a:pt x="169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73" y="113"/>
                  </a:lnTo>
                  <a:lnTo>
                    <a:pt x="175" y="118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9" y="120"/>
                  </a:lnTo>
                  <a:lnTo>
                    <a:pt x="181" y="120"/>
                  </a:lnTo>
                  <a:lnTo>
                    <a:pt x="185" y="118"/>
                  </a:lnTo>
                  <a:lnTo>
                    <a:pt x="187" y="118"/>
                  </a:lnTo>
                  <a:lnTo>
                    <a:pt x="187" y="118"/>
                  </a:lnTo>
                  <a:lnTo>
                    <a:pt x="191" y="118"/>
                  </a:lnTo>
                  <a:lnTo>
                    <a:pt x="193" y="118"/>
                  </a:lnTo>
                  <a:lnTo>
                    <a:pt x="195" y="118"/>
                  </a:lnTo>
                  <a:lnTo>
                    <a:pt x="195" y="118"/>
                  </a:lnTo>
                  <a:lnTo>
                    <a:pt x="198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202" y="115"/>
                  </a:lnTo>
                  <a:lnTo>
                    <a:pt x="204" y="115"/>
                  </a:lnTo>
                  <a:lnTo>
                    <a:pt x="204" y="113"/>
                  </a:lnTo>
                  <a:lnTo>
                    <a:pt x="206" y="111"/>
                  </a:lnTo>
                  <a:lnTo>
                    <a:pt x="206" y="109"/>
                  </a:lnTo>
                  <a:lnTo>
                    <a:pt x="206" y="109"/>
                  </a:lnTo>
                  <a:lnTo>
                    <a:pt x="208" y="109"/>
                  </a:lnTo>
                  <a:lnTo>
                    <a:pt x="210" y="107"/>
                  </a:lnTo>
                  <a:lnTo>
                    <a:pt x="218" y="107"/>
                  </a:lnTo>
                  <a:lnTo>
                    <a:pt x="218" y="107"/>
                  </a:lnTo>
                  <a:lnTo>
                    <a:pt x="218" y="109"/>
                  </a:lnTo>
                  <a:lnTo>
                    <a:pt x="218" y="109"/>
                  </a:lnTo>
                  <a:lnTo>
                    <a:pt x="218" y="109"/>
                  </a:lnTo>
                  <a:lnTo>
                    <a:pt x="220" y="109"/>
                  </a:lnTo>
                  <a:lnTo>
                    <a:pt x="220" y="109"/>
                  </a:lnTo>
                  <a:lnTo>
                    <a:pt x="224" y="111"/>
                  </a:lnTo>
                  <a:lnTo>
                    <a:pt x="226" y="111"/>
                  </a:lnTo>
                  <a:lnTo>
                    <a:pt x="226" y="111"/>
                  </a:lnTo>
                  <a:lnTo>
                    <a:pt x="228" y="113"/>
                  </a:lnTo>
                  <a:lnTo>
                    <a:pt x="230" y="113"/>
                  </a:lnTo>
                  <a:lnTo>
                    <a:pt x="230" y="111"/>
                  </a:lnTo>
                  <a:lnTo>
                    <a:pt x="232" y="111"/>
                  </a:lnTo>
                  <a:lnTo>
                    <a:pt x="232" y="109"/>
                  </a:lnTo>
                  <a:lnTo>
                    <a:pt x="234" y="109"/>
                  </a:lnTo>
                  <a:lnTo>
                    <a:pt x="237" y="109"/>
                  </a:lnTo>
                  <a:lnTo>
                    <a:pt x="239" y="109"/>
                  </a:lnTo>
                  <a:lnTo>
                    <a:pt x="241" y="109"/>
                  </a:lnTo>
                  <a:lnTo>
                    <a:pt x="243" y="109"/>
                  </a:lnTo>
                  <a:lnTo>
                    <a:pt x="243" y="109"/>
                  </a:lnTo>
                  <a:lnTo>
                    <a:pt x="245" y="109"/>
                  </a:lnTo>
                  <a:lnTo>
                    <a:pt x="245" y="107"/>
                  </a:lnTo>
                  <a:lnTo>
                    <a:pt x="245" y="105"/>
                  </a:lnTo>
                  <a:lnTo>
                    <a:pt x="247" y="103"/>
                  </a:lnTo>
                  <a:lnTo>
                    <a:pt x="247" y="103"/>
                  </a:lnTo>
                  <a:lnTo>
                    <a:pt x="247" y="101"/>
                  </a:lnTo>
                  <a:lnTo>
                    <a:pt x="247" y="101"/>
                  </a:lnTo>
                  <a:lnTo>
                    <a:pt x="247" y="101"/>
                  </a:lnTo>
                  <a:lnTo>
                    <a:pt x="249" y="99"/>
                  </a:lnTo>
                  <a:lnTo>
                    <a:pt x="247" y="99"/>
                  </a:lnTo>
                  <a:lnTo>
                    <a:pt x="247" y="99"/>
                  </a:lnTo>
                  <a:lnTo>
                    <a:pt x="247" y="97"/>
                  </a:lnTo>
                  <a:lnTo>
                    <a:pt x="247" y="95"/>
                  </a:lnTo>
                  <a:lnTo>
                    <a:pt x="247" y="95"/>
                  </a:lnTo>
                  <a:lnTo>
                    <a:pt x="249" y="95"/>
                  </a:lnTo>
                  <a:lnTo>
                    <a:pt x="251" y="93"/>
                  </a:lnTo>
                  <a:lnTo>
                    <a:pt x="253" y="91"/>
                  </a:lnTo>
                  <a:lnTo>
                    <a:pt x="253" y="91"/>
                  </a:lnTo>
                  <a:lnTo>
                    <a:pt x="253" y="91"/>
                  </a:lnTo>
                  <a:lnTo>
                    <a:pt x="253" y="89"/>
                  </a:lnTo>
                  <a:lnTo>
                    <a:pt x="253" y="89"/>
                  </a:lnTo>
                  <a:lnTo>
                    <a:pt x="251" y="89"/>
                  </a:lnTo>
                  <a:lnTo>
                    <a:pt x="251" y="87"/>
                  </a:lnTo>
                  <a:lnTo>
                    <a:pt x="251" y="87"/>
                  </a:lnTo>
                  <a:lnTo>
                    <a:pt x="253" y="85"/>
                  </a:lnTo>
                  <a:lnTo>
                    <a:pt x="251" y="85"/>
                  </a:lnTo>
                  <a:lnTo>
                    <a:pt x="251" y="85"/>
                  </a:lnTo>
                  <a:lnTo>
                    <a:pt x="253" y="83"/>
                  </a:lnTo>
                  <a:lnTo>
                    <a:pt x="253" y="81"/>
                  </a:lnTo>
                  <a:lnTo>
                    <a:pt x="255" y="81"/>
                  </a:lnTo>
                  <a:lnTo>
                    <a:pt x="255" y="81"/>
                  </a:lnTo>
                  <a:lnTo>
                    <a:pt x="257" y="81"/>
                  </a:lnTo>
                  <a:lnTo>
                    <a:pt x="257" y="81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9" y="76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59" y="72"/>
                  </a:lnTo>
                  <a:lnTo>
                    <a:pt x="259" y="72"/>
                  </a:lnTo>
                  <a:lnTo>
                    <a:pt x="259" y="70"/>
                  </a:lnTo>
                  <a:lnTo>
                    <a:pt x="259" y="68"/>
                  </a:lnTo>
                  <a:lnTo>
                    <a:pt x="259" y="64"/>
                  </a:lnTo>
                  <a:lnTo>
                    <a:pt x="259" y="64"/>
                  </a:lnTo>
                  <a:lnTo>
                    <a:pt x="259" y="62"/>
                  </a:lnTo>
                  <a:lnTo>
                    <a:pt x="261" y="60"/>
                  </a:lnTo>
                  <a:lnTo>
                    <a:pt x="261" y="58"/>
                  </a:lnTo>
                  <a:lnTo>
                    <a:pt x="263" y="56"/>
                  </a:lnTo>
                  <a:lnTo>
                    <a:pt x="263" y="56"/>
                  </a:lnTo>
                  <a:lnTo>
                    <a:pt x="263" y="56"/>
                  </a:lnTo>
                  <a:lnTo>
                    <a:pt x="265" y="58"/>
                  </a:lnTo>
                  <a:lnTo>
                    <a:pt x="267" y="56"/>
                  </a:lnTo>
                  <a:lnTo>
                    <a:pt x="269" y="56"/>
                  </a:lnTo>
                  <a:lnTo>
                    <a:pt x="271" y="56"/>
                  </a:lnTo>
                  <a:lnTo>
                    <a:pt x="271" y="56"/>
                  </a:lnTo>
                  <a:lnTo>
                    <a:pt x="271" y="58"/>
                  </a:lnTo>
                  <a:lnTo>
                    <a:pt x="274" y="56"/>
                  </a:lnTo>
                  <a:lnTo>
                    <a:pt x="276" y="56"/>
                  </a:lnTo>
                  <a:lnTo>
                    <a:pt x="276" y="56"/>
                  </a:lnTo>
                  <a:lnTo>
                    <a:pt x="276" y="56"/>
                  </a:lnTo>
                  <a:lnTo>
                    <a:pt x="278" y="56"/>
                  </a:lnTo>
                  <a:lnTo>
                    <a:pt x="280" y="56"/>
                  </a:lnTo>
                  <a:lnTo>
                    <a:pt x="284" y="56"/>
                  </a:lnTo>
                  <a:lnTo>
                    <a:pt x="286" y="58"/>
                  </a:lnTo>
                  <a:lnTo>
                    <a:pt x="290" y="60"/>
                  </a:lnTo>
                  <a:lnTo>
                    <a:pt x="290" y="60"/>
                  </a:lnTo>
                  <a:lnTo>
                    <a:pt x="292" y="60"/>
                  </a:lnTo>
                  <a:lnTo>
                    <a:pt x="292" y="60"/>
                  </a:lnTo>
                  <a:lnTo>
                    <a:pt x="292" y="58"/>
                  </a:lnTo>
                  <a:lnTo>
                    <a:pt x="294" y="56"/>
                  </a:lnTo>
                  <a:lnTo>
                    <a:pt x="294" y="56"/>
                  </a:lnTo>
                  <a:lnTo>
                    <a:pt x="296" y="58"/>
                  </a:lnTo>
                  <a:lnTo>
                    <a:pt x="298" y="58"/>
                  </a:lnTo>
                  <a:lnTo>
                    <a:pt x="300" y="58"/>
                  </a:lnTo>
                  <a:lnTo>
                    <a:pt x="302" y="56"/>
                  </a:lnTo>
                  <a:lnTo>
                    <a:pt x="30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8" y="56"/>
                  </a:lnTo>
                  <a:lnTo>
                    <a:pt x="308" y="54"/>
                  </a:lnTo>
                  <a:lnTo>
                    <a:pt x="306" y="54"/>
                  </a:lnTo>
                  <a:lnTo>
                    <a:pt x="302" y="50"/>
                  </a:lnTo>
                  <a:lnTo>
                    <a:pt x="300" y="48"/>
                  </a:lnTo>
                  <a:lnTo>
                    <a:pt x="302" y="44"/>
                  </a:lnTo>
                  <a:lnTo>
                    <a:pt x="302" y="44"/>
                  </a:lnTo>
                  <a:lnTo>
                    <a:pt x="304" y="44"/>
                  </a:lnTo>
                  <a:lnTo>
                    <a:pt x="306" y="46"/>
                  </a:lnTo>
                  <a:lnTo>
                    <a:pt x="308" y="46"/>
                  </a:lnTo>
                  <a:lnTo>
                    <a:pt x="313" y="44"/>
                  </a:lnTo>
                  <a:lnTo>
                    <a:pt x="317" y="41"/>
                  </a:lnTo>
                  <a:lnTo>
                    <a:pt x="317" y="41"/>
                  </a:lnTo>
                  <a:lnTo>
                    <a:pt x="317" y="41"/>
                  </a:lnTo>
                  <a:lnTo>
                    <a:pt x="319" y="39"/>
                  </a:lnTo>
                  <a:lnTo>
                    <a:pt x="319" y="39"/>
                  </a:lnTo>
                  <a:lnTo>
                    <a:pt x="317" y="37"/>
                  </a:lnTo>
                  <a:close/>
                  <a:moveTo>
                    <a:pt x="280" y="7"/>
                  </a:moveTo>
                  <a:lnTo>
                    <a:pt x="282" y="4"/>
                  </a:lnTo>
                  <a:lnTo>
                    <a:pt x="284" y="4"/>
                  </a:lnTo>
                  <a:lnTo>
                    <a:pt x="284" y="4"/>
                  </a:lnTo>
                  <a:lnTo>
                    <a:pt x="284" y="2"/>
                  </a:lnTo>
                  <a:lnTo>
                    <a:pt x="284" y="0"/>
                  </a:lnTo>
                  <a:lnTo>
                    <a:pt x="282" y="2"/>
                  </a:lnTo>
                  <a:lnTo>
                    <a:pt x="280" y="2"/>
                  </a:lnTo>
                  <a:lnTo>
                    <a:pt x="280" y="4"/>
                  </a:lnTo>
                  <a:lnTo>
                    <a:pt x="280" y="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4" name="Freeform 122">
              <a:extLst>
                <a:ext uri="{FF2B5EF4-FFF2-40B4-BE49-F238E27FC236}">
                  <a16:creationId xmlns:a16="http://schemas.microsoft.com/office/drawing/2014/main" id="{A3B0EE70-E217-B54C-A27B-8D5A3F023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9833" y="3047750"/>
              <a:ext cx="0" cy="2377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2 h 2"/>
                <a:gd name="T4" fmla="*/ 2 h 2"/>
                <a:gd name="T5" fmla="*/ 2 h 2"/>
                <a:gd name="T6" fmla="*/ 2 h 2"/>
                <a:gd name="T7" fmla="*/ 2 h 2"/>
                <a:gd name="T8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5" name="Freeform 131">
              <a:extLst>
                <a:ext uri="{FF2B5EF4-FFF2-40B4-BE49-F238E27FC236}">
                  <a16:creationId xmlns:a16="http://schemas.microsoft.com/office/drawing/2014/main" id="{86A9F334-EFC2-6F48-A890-9B8D96F01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3837" y="3042997"/>
              <a:ext cx="155679" cy="187765"/>
            </a:xfrm>
            <a:custGeom>
              <a:avLst/>
              <a:gdLst>
                <a:gd name="T0" fmla="*/ 123 w 131"/>
                <a:gd name="T1" fmla="*/ 123 h 158"/>
                <a:gd name="T2" fmla="*/ 125 w 131"/>
                <a:gd name="T3" fmla="*/ 119 h 158"/>
                <a:gd name="T4" fmla="*/ 117 w 131"/>
                <a:gd name="T5" fmla="*/ 111 h 158"/>
                <a:gd name="T6" fmla="*/ 113 w 131"/>
                <a:gd name="T7" fmla="*/ 109 h 158"/>
                <a:gd name="T8" fmla="*/ 107 w 131"/>
                <a:gd name="T9" fmla="*/ 98 h 158"/>
                <a:gd name="T10" fmla="*/ 94 w 131"/>
                <a:gd name="T11" fmla="*/ 86 h 158"/>
                <a:gd name="T12" fmla="*/ 86 w 131"/>
                <a:gd name="T13" fmla="*/ 78 h 158"/>
                <a:gd name="T14" fmla="*/ 84 w 131"/>
                <a:gd name="T15" fmla="*/ 72 h 158"/>
                <a:gd name="T16" fmla="*/ 66 w 131"/>
                <a:gd name="T17" fmla="*/ 61 h 158"/>
                <a:gd name="T18" fmla="*/ 64 w 131"/>
                <a:gd name="T19" fmla="*/ 55 h 158"/>
                <a:gd name="T20" fmla="*/ 72 w 131"/>
                <a:gd name="T21" fmla="*/ 53 h 158"/>
                <a:gd name="T22" fmla="*/ 76 w 131"/>
                <a:gd name="T23" fmla="*/ 45 h 158"/>
                <a:gd name="T24" fmla="*/ 72 w 131"/>
                <a:gd name="T25" fmla="*/ 41 h 158"/>
                <a:gd name="T26" fmla="*/ 70 w 131"/>
                <a:gd name="T27" fmla="*/ 37 h 158"/>
                <a:gd name="T28" fmla="*/ 62 w 131"/>
                <a:gd name="T29" fmla="*/ 29 h 158"/>
                <a:gd name="T30" fmla="*/ 51 w 131"/>
                <a:gd name="T31" fmla="*/ 33 h 158"/>
                <a:gd name="T32" fmla="*/ 41 w 131"/>
                <a:gd name="T33" fmla="*/ 18 h 158"/>
                <a:gd name="T34" fmla="*/ 39 w 131"/>
                <a:gd name="T35" fmla="*/ 12 h 158"/>
                <a:gd name="T36" fmla="*/ 37 w 131"/>
                <a:gd name="T37" fmla="*/ 14 h 158"/>
                <a:gd name="T38" fmla="*/ 27 w 131"/>
                <a:gd name="T39" fmla="*/ 2 h 158"/>
                <a:gd name="T40" fmla="*/ 21 w 131"/>
                <a:gd name="T41" fmla="*/ 0 h 158"/>
                <a:gd name="T42" fmla="*/ 18 w 131"/>
                <a:gd name="T43" fmla="*/ 6 h 158"/>
                <a:gd name="T44" fmla="*/ 23 w 131"/>
                <a:gd name="T45" fmla="*/ 16 h 158"/>
                <a:gd name="T46" fmla="*/ 25 w 131"/>
                <a:gd name="T47" fmla="*/ 24 h 158"/>
                <a:gd name="T48" fmla="*/ 18 w 131"/>
                <a:gd name="T49" fmla="*/ 22 h 158"/>
                <a:gd name="T50" fmla="*/ 14 w 131"/>
                <a:gd name="T51" fmla="*/ 20 h 158"/>
                <a:gd name="T52" fmla="*/ 6 w 131"/>
                <a:gd name="T53" fmla="*/ 22 h 158"/>
                <a:gd name="T54" fmla="*/ 6 w 131"/>
                <a:gd name="T55" fmla="*/ 31 h 158"/>
                <a:gd name="T56" fmla="*/ 0 w 131"/>
                <a:gd name="T57" fmla="*/ 35 h 158"/>
                <a:gd name="T58" fmla="*/ 2 w 131"/>
                <a:gd name="T59" fmla="*/ 39 h 158"/>
                <a:gd name="T60" fmla="*/ 6 w 131"/>
                <a:gd name="T61" fmla="*/ 45 h 158"/>
                <a:gd name="T62" fmla="*/ 12 w 131"/>
                <a:gd name="T63" fmla="*/ 55 h 158"/>
                <a:gd name="T64" fmla="*/ 18 w 131"/>
                <a:gd name="T65" fmla="*/ 55 h 158"/>
                <a:gd name="T66" fmla="*/ 21 w 131"/>
                <a:gd name="T67" fmla="*/ 74 h 158"/>
                <a:gd name="T68" fmla="*/ 21 w 131"/>
                <a:gd name="T69" fmla="*/ 80 h 158"/>
                <a:gd name="T70" fmla="*/ 23 w 131"/>
                <a:gd name="T71" fmla="*/ 92 h 158"/>
                <a:gd name="T72" fmla="*/ 31 w 131"/>
                <a:gd name="T73" fmla="*/ 82 h 158"/>
                <a:gd name="T74" fmla="*/ 39 w 131"/>
                <a:gd name="T75" fmla="*/ 80 h 158"/>
                <a:gd name="T76" fmla="*/ 47 w 131"/>
                <a:gd name="T77" fmla="*/ 86 h 158"/>
                <a:gd name="T78" fmla="*/ 51 w 131"/>
                <a:gd name="T79" fmla="*/ 82 h 158"/>
                <a:gd name="T80" fmla="*/ 53 w 131"/>
                <a:gd name="T81" fmla="*/ 76 h 158"/>
                <a:gd name="T82" fmla="*/ 66 w 131"/>
                <a:gd name="T83" fmla="*/ 76 h 158"/>
                <a:gd name="T84" fmla="*/ 80 w 131"/>
                <a:gd name="T85" fmla="*/ 92 h 158"/>
                <a:gd name="T86" fmla="*/ 88 w 131"/>
                <a:gd name="T87" fmla="*/ 115 h 158"/>
                <a:gd name="T88" fmla="*/ 94 w 131"/>
                <a:gd name="T89" fmla="*/ 123 h 158"/>
                <a:gd name="T90" fmla="*/ 99 w 131"/>
                <a:gd name="T91" fmla="*/ 129 h 158"/>
                <a:gd name="T92" fmla="*/ 99 w 131"/>
                <a:gd name="T93" fmla="*/ 142 h 158"/>
                <a:gd name="T94" fmla="*/ 94 w 131"/>
                <a:gd name="T95" fmla="*/ 150 h 158"/>
                <a:gd name="T96" fmla="*/ 101 w 131"/>
                <a:gd name="T97" fmla="*/ 154 h 158"/>
                <a:gd name="T98" fmla="*/ 109 w 131"/>
                <a:gd name="T99" fmla="*/ 154 h 158"/>
                <a:gd name="T100" fmla="*/ 111 w 131"/>
                <a:gd name="T101" fmla="*/ 148 h 158"/>
                <a:gd name="T102" fmla="*/ 117 w 131"/>
                <a:gd name="T103" fmla="*/ 148 h 158"/>
                <a:gd name="T104" fmla="*/ 123 w 131"/>
                <a:gd name="T105" fmla="*/ 148 h 158"/>
                <a:gd name="T106" fmla="*/ 129 w 131"/>
                <a:gd name="T107" fmla="*/ 146 h 158"/>
                <a:gd name="T108" fmla="*/ 129 w 131"/>
                <a:gd name="T109" fmla="*/ 13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1" h="158">
                  <a:moveTo>
                    <a:pt x="131" y="131"/>
                  </a:moveTo>
                  <a:lnTo>
                    <a:pt x="129" y="131"/>
                  </a:lnTo>
                  <a:lnTo>
                    <a:pt x="129" y="129"/>
                  </a:lnTo>
                  <a:lnTo>
                    <a:pt x="127" y="127"/>
                  </a:lnTo>
                  <a:lnTo>
                    <a:pt x="125" y="127"/>
                  </a:lnTo>
                  <a:lnTo>
                    <a:pt x="125" y="125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125" y="121"/>
                  </a:lnTo>
                  <a:lnTo>
                    <a:pt x="127" y="121"/>
                  </a:lnTo>
                  <a:lnTo>
                    <a:pt x="127" y="119"/>
                  </a:lnTo>
                  <a:lnTo>
                    <a:pt x="125" y="119"/>
                  </a:lnTo>
                  <a:lnTo>
                    <a:pt x="125" y="119"/>
                  </a:lnTo>
                  <a:lnTo>
                    <a:pt x="125" y="117"/>
                  </a:lnTo>
                  <a:lnTo>
                    <a:pt x="123" y="117"/>
                  </a:lnTo>
                  <a:lnTo>
                    <a:pt x="121" y="115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7" y="109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3" y="111"/>
                  </a:lnTo>
                  <a:lnTo>
                    <a:pt x="113" y="109"/>
                  </a:lnTo>
                  <a:lnTo>
                    <a:pt x="113" y="109"/>
                  </a:lnTo>
                  <a:lnTo>
                    <a:pt x="111" y="107"/>
                  </a:lnTo>
                  <a:lnTo>
                    <a:pt x="111" y="105"/>
                  </a:lnTo>
                  <a:lnTo>
                    <a:pt x="111" y="103"/>
                  </a:lnTo>
                  <a:lnTo>
                    <a:pt x="109" y="103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07" y="98"/>
                  </a:lnTo>
                  <a:lnTo>
                    <a:pt x="105" y="96"/>
                  </a:lnTo>
                  <a:lnTo>
                    <a:pt x="101" y="94"/>
                  </a:lnTo>
                  <a:lnTo>
                    <a:pt x="101" y="92"/>
                  </a:lnTo>
                  <a:lnTo>
                    <a:pt x="99" y="92"/>
                  </a:lnTo>
                  <a:lnTo>
                    <a:pt x="97" y="88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2" y="84"/>
                  </a:lnTo>
                  <a:lnTo>
                    <a:pt x="92" y="82"/>
                  </a:lnTo>
                  <a:lnTo>
                    <a:pt x="90" y="82"/>
                  </a:lnTo>
                  <a:lnTo>
                    <a:pt x="90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6" y="78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0"/>
                  </a:lnTo>
                  <a:lnTo>
                    <a:pt x="82" y="70"/>
                  </a:lnTo>
                  <a:lnTo>
                    <a:pt x="76" y="68"/>
                  </a:lnTo>
                  <a:lnTo>
                    <a:pt x="74" y="68"/>
                  </a:lnTo>
                  <a:lnTo>
                    <a:pt x="74" y="66"/>
                  </a:lnTo>
                  <a:lnTo>
                    <a:pt x="72" y="66"/>
                  </a:lnTo>
                  <a:lnTo>
                    <a:pt x="66" y="61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2" y="59"/>
                  </a:lnTo>
                  <a:lnTo>
                    <a:pt x="62" y="57"/>
                  </a:lnTo>
                  <a:lnTo>
                    <a:pt x="64" y="57"/>
                  </a:lnTo>
                  <a:lnTo>
                    <a:pt x="64" y="57"/>
                  </a:lnTo>
                  <a:lnTo>
                    <a:pt x="64" y="55"/>
                  </a:lnTo>
                  <a:lnTo>
                    <a:pt x="64" y="53"/>
                  </a:lnTo>
                  <a:lnTo>
                    <a:pt x="64" y="53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6" y="51"/>
                  </a:lnTo>
                  <a:lnTo>
                    <a:pt x="68" y="51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4" y="51"/>
                  </a:lnTo>
                  <a:lnTo>
                    <a:pt x="76" y="49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4" y="43"/>
                  </a:lnTo>
                  <a:lnTo>
                    <a:pt x="72" y="43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2" y="39"/>
                  </a:lnTo>
                  <a:lnTo>
                    <a:pt x="70" y="39"/>
                  </a:lnTo>
                  <a:lnTo>
                    <a:pt x="68" y="39"/>
                  </a:lnTo>
                  <a:lnTo>
                    <a:pt x="68" y="39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70" y="37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3"/>
                  </a:lnTo>
                  <a:lnTo>
                    <a:pt x="68" y="33"/>
                  </a:lnTo>
                  <a:lnTo>
                    <a:pt x="66" y="31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3" y="33"/>
                  </a:lnTo>
                  <a:lnTo>
                    <a:pt x="51" y="33"/>
                  </a:lnTo>
                  <a:lnTo>
                    <a:pt x="47" y="31"/>
                  </a:lnTo>
                  <a:lnTo>
                    <a:pt x="45" y="31"/>
                  </a:lnTo>
                  <a:lnTo>
                    <a:pt x="41" y="24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0"/>
                  </a:lnTo>
                  <a:lnTo>
                    <a:pt x="41" y="18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39" y="14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4"/>
                  </a:lnTo>
                  <a:lnTo>
                    <a:pt x="37" y="14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5" y="12"/>
                  </a:lnTo>
                  <a:lnTo>
                    <a:pt x="35" y="10"/>
                  </a:lnTo>
                  <a:lnTo>
                    <a:pt x="33" y="10"/>
                  </a:lnTo>
                  <a:lnTo>
                    <a:pt x="33" y="8"/>
                  </a:lnTo>
                  <a:lnTo>
                    <a:pt x="29" y="6"/>
                  </a:lnTo>
                  <a:lnTo>
                    <a:pt x="27" y="4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3" y="16"/>
                  </a:lnTo>
                  <a:lnTo>
                    <a:pt x="23" y="18"/>
                  </a:lnTo>
                  <a:lnTo>
                    <a:pt x="23" y="20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2" y="16"/>
                  </a:lnTo>
                  <a:lnTo>
                    <a:pt x="12" y="18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6" y="22"/>
                  </a:lnTo>
                  <a:lnTo>
                    <a:pt x="6" y="24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0" y="39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4" y="39"/>
                  </a:lnTo>
                  <a:lnTo>
                    <a:pt x="4" y="41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7"/>
                  </a:lnTo>
                  <a:lnTo>
                    <a:pt x="6" y="51"/>
                  </a:lnTo>
                  <a:lnTo>
                    <a:pt x="6" y="53"/>
                  </a:lnTo>
                  <a:lnTo>
                    <a:pt x="8" y="53"/>
                  </a:lnTo>
                  <a:lnTo>
                    <a:pt x="10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5"/>
                  </a:lnTo>
                  <a:lnTo>
                    <a:pt x="18" y="57"/>
                  </a:lnTo>
                  <a:lnTo>
                    <a:pt x="21" y="61"/>
                  </a:lnTo>
                  <a:lnTo>
                    <a:pt x="21" y="63"/>
                  </a:lnTo>
                  <a:lnTo>
                    <a:pt x="23" y="66"/>
                  </a:lnTo>
                  <a:lnTo>
                    <a:pt x="21" y="68"/>
                  </a:lnTo>
                  <a:lnTo>
                    <a:pt x="21" y="72"/>
                  </a:lnTo>
                  <a:lnTo>
                    <a:pt x="21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6"/>
                  </a:lnTo>
                  <a:lnTo>
                    <a:pt x="21" y="76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80"/>
                  </a:lnTo>
                  <a:lnTo>
                    <a:pt x="21" y="82"/>
                  </a:lnTo>
                  <a:lnTo>
                    <a:pt x="21" y="86"/>
                  </a:lnTo>
                  <a:lnTo>
                    <a:pt x="18" y="90"/>
                  </a:lnTo>
                  <a:lnTo>
                    <a:pt x="21" y="90"/>
                  </a:lnTo>
                  <a:lnTo>
                    <a:pt x="21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5" y="90"/>
                  </a:lnTo>
                  <a:lnTo>
                    <a:pt x="27" y="88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2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35" y="82"/>
                  </a:lnTo>
                  <a:lnTo>
                    <a:pt x="35" y="80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9" y="80"/>
                  </a:lnTo>
                  <a:lnTo>
                    <a:pt x="41" y="82"/>
                  </a:lnTo>
                  <a:lnTo>
                    <a:pt x="43" y="82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5" y="86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7" y="84"/>
                  </a:lnTo>
                  <a:lnTo>
                    <a:pt x="49" y="84"/>
                  </a:lnTo>
                  <a:lnTo>
                    <a:pt x="49" y="84"/>
                  </a:lnTo>
                  <a:lnTo>
                    <a:pt x="51" y="82"/>
                  </a:lnTo>
                  <a:lnTo>
                    <a:pt x="51" y="82"/>
                  </a:lnTo>
                  <a:lnTo>
                    <a:pt x="53" y="80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5" y="78"/>
                  </a:lnTo>
                  <a:lnTo>
                    <a:pt x="55" y="78"/>
                  </a:lnTo>
                  <a:lnTo>
                    <a:pt x="55" y="76"/>
                  </a:lnTo>
                  <a:lnTo>
                    <a:pt x="53" y="76"/>
                  </a:lnTo>
                  <a:lnTo>
                    <a:pt x="55" y="76"/>
                  </a:lnTo>
                  <a:lnTo>
                    <a:pt x="55" y="76"/>
                  </a:lnTo>
                  <a:lnTo>
                    <a:pt x="57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6" y="78"/>
                  </a:lnTo>
                  <a:lnTo>
                    <a:pt x="66" y="76"/>
                  </a:lnTo>
                  <a:lnTo>
                    <a:pt x="68" y="78"/>
                  </a:lnTo>
                  <a:lnTo>
                    <a:pt x="70" y="82"/>
                  </a:lnTo>
                  <a:lnTo>
                    <a:pt x="72" y="86"/>
                  </a:lnTo>
                  <a:lnTo>
                    <a:pt x="74" y="88"/>
                  </a:lnTo>
                  <a:lnTo>
                    <a:pt x="76" y="90"/>
                  </a:lnTo>
                  <a:lnTo>
                    <a:pt x="78" y="90"/>
                  </a:lnTo>
                  <a:lnTo>
                    <a:pt x="80" y="92"/>
                  </a:lnTo>
                  <a:lnTo>
                    <a:pt x="82" y="96"/>
                  </a:lnTo>
                  <a:lnTo>
                    <a:pt x="82" y="101"/>
                  </a:lnTo>
                  <a:lnTo>
                    <a:pt x="82" y="103"/>
                  </a:lnTo>
                  <a:lnTo>
                    <a:pt x="82" y="107"/>
                  </a:lnTo>
                  <a:lnTo>
                    <a:pt x="84" y="111"/>
                  </a:lnTo>
                  <a:lnTo>
                    <a:pt x="86" y="113"/>
                  </a:lnTo>
                  <a:lnTo>
                    <a:pt x="88" y="115"/>
                  </a:lnTo>
                  <a:lnTo>
                    <a:pt x="88" y="117"/>
                  </a:lnTo>
                  <a:lnTo>
                    <a:pt x="90" y="117"/>
                  </a:lnTo>
                  <a:lnTo>
                    <a:pt x="92" y="119"/>
                  </a:lnTo>
                  <a:lnTo>
                    <a:pt x="94" y="119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9" y="125"/>
                  </a:lnTo>
                  <a:lnTo>
                    <a:pt x="99" y="125"/>
                  </a:lnTo>
                  <a:lnTo>
                    <a:pt x="99" y="127"/>
                  </a:lnTo>
                  <a:lnTo>
                    <a:pt x="99" y="129"/>
                  </a:lnTo>
                  <a:lnTo>
                    <a:pt x="99" y="129"/>
                  </a:lnTo>
                  <a:lnTo>
                    <a:pt x="99" y="131"/>
                  </a:lnTo>
                  <a:lnTo>
                    <a:pt x="97" y="131"/>
                  </a:lnTo>
                  <a:lnTo>
                    <a:pt x="97" y="133"/>
                  </a:lnTo>
                  <a:lnTo>
                    <a:pt x="99" y="135"/>
                  </a:lnTo>
                  <a:lnTo>
                    <a:pt x="99" y="138"/>
                  </a:lnTo>
                  <a:lnTo>
                    <a:pt x="99" y="140"/>
                  </a:lnTo>
                  <a:lnTo>
                    <a:pt x="99" y="142"/>
                  </a:lnTo>
                  <a:lnTo>
                    <a:pt x="99" y="144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9" y="148"/>
                  </a:lnTo>
                  <a:lnTo>
                    <a:pt x="97" y="148"/>
                  </a:lnTo>
                  <a:lnTo>
                    <a:pt x="94" y="150"/>
                  </a:lnTo>
                  <a:lnTo>
                    <a:pt x="94" y="150"/>
                  </a:lnTo>
                  <a:lnTo>
                    <a:pt x="94" y="150"/>
                  </a:lnTo>
                  <a:lnTo>
                    <a:pt x="94" y="152"/>
                  </a:lnTo>
                  <a:lnTo>
                    <a:pt x="97" y="152"/>
                  </a:lnTo>
                  <a:lnTo>
                    <a:pt x="97" y="154"/>
                  </a:lnTo>
                  <a:lnTo>
                    <a:pt x="97" y="154"/>
                  </a:lnTo>
                  <a:lnTo>
                    <a:pt x="99" y="154"/>
                  </a:lnTo>
                  <a:lnTo>
                    <a:pt x="101" y="154"/>
                  </a:lnTo>
                  <a:lnTo>
                    <a:pt x="105" y="154"/>
                  </a:lnTo>
                  <a:lnTo>
                    <a:pt x="105" y="156"/>
                  </a:lnTo>
                  <a:lnTo>
                    <a:pt x="105" y="156"/>
                  </a:lnTo>
                  <a:lnTo>
                    <a:pt x="107" y="158"/>
                  </a:lnTo>
                  <a:lnTo>
                    <a:pt x="109" y="158"/>
                  </a:lnTo>
                  <a:lnTo>
                    <a:pt x="111" y="156"/>
                  </a:lnTo>
                  <a:lnTo>
                    <a:pt x="109" y="154"/>
                  </a:lnTo>
                  <a:lnTo>
                    <a:pt x="107" y="152"/>
                  </a:lnTo>
                  <a:lnTo>
                    <a:pt x="107" y="150"/>
                  </a:lnTo>
                  <a:lnTo>
                    <a:pt x="107" y="150"/>
                  </a:lnTo>
                  <a:lnTo>
                    <a:pt x="111" y="150"/>
                  </a:lnTo>
                  <a:lnTo>
                    <a:pt x="111" y="150"/>
                  </a:lnTo>
                  <a:lnTo>
                    <a:pt x="111" y="148"/>
                  </a:lnTo>
                  <a:lnTo>
                    <a:pt x="111" y="148"/>
                  </a:lnTo>
                  <a:lnTo>
                    <a:pt x="113" y="148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7" y="148"/>
                  </a:lnTo>
                  <a:lnTo>
                    <a:pt x="117" y="148"/>
                  </a:lnTo>
                  <a:lnTo>
                    <a:pt x="117" y="148"/>
                  </a:lnTo>
                  <a:lnTo>
                    <a:pt x="119" y="150"/>
                  </a:lnTo>
                  <a:lnTo>
                    <a:pt x="119" y="150"/>
                  </a:lnTo>
                  <a:lnTo>
                    <a:pt x="121" y="150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3" y="150"/>
                  </a:lnTo>
                  <a:lnTo>
                    <a:pt x="123" y="148"/>
                  </a:lnTo>
                  <a:lnTo>
                    <a:pt x="125" y="148"/>
                  </a:lnTo>
                  <a:lnTo>
                    <a:pt x="125" y="148"/>
                  </a:lnTo>
                  <a:lnTo>
                    <a:pt x="127" y="148"/>
                  </a:lnTo>
                  <a:lnTo>
                    <a:pt x="127" y="146"/>
                  </a:lnTo>
                  <a:lnTo>
                    <a:pt x="127" y="146"/>
                  </a:lnTo>
                  <a:lnTo>
                    <a:pt x="129" y="146"/>
                  </a:lnTo>
                  <a:lnTo>
                    <a:pt x="129" y="146"/>
                  </a:lnTo>
                  <a:lnTo>
                    <a:pt x="129" y="144"/>
                  </a:lnTo>
                  <a:lnTo>
                    <a:pt x="131" y="144"/>
                  </a:lnTo>
                  <a:lnTo>
                    <a:pt x="131" y="142"/>
                  </a:lnTo>
                  <a:lnTo>
                    <a:pt x="131" y="140"/>
                  </a:lnTo>
                  <a:lnTo>
                    <a:pt x="131" y="140"/>
                  </a:lnTo>
                  <a:lnTo>
                    <a:pt x="129" y="138"/>
                  </a:lnTo>
                  <a:lnTo>
                    <a:pt x="129" y="138"/>
                  </a:lnTo>
                  <a:lnTo>
                    <a:pt x="131" y="138"/>
                  </a:lnTo>
                  <a:lnTo>
                    <a:pt x="131" y="135"/>
                  </a:lnTo>
                  <a:lnTo>
                    <a:pt x="131" y="133"/>
                  </a:lnTo>
                  <a:lnTo>
                    <a:pt x="131" y="133"/>
                  </a:lnTo>
                  <a:lnTo>
                    <a:pt x="131" y="131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6" name="Freeform 133">
              <a:extLst>
                <a:ext uri="{FF2B5EF4-FFF2-40B4-BE49-F238E27FC236}">
                  <a16:creationId xmlns:a16="http://schemas.microsoft.com/office/drawing/2014/main" id="{297DBCAE-45F1-4A4C-8AE3-EDDD35E6BC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4977" y="2592598"/>
              <a:ext cx="180635" cy="83187"/>
            </a:xfrm>
            <a:custGeom>
              <a:avLst/>
              <a:gdLst>
                <a:gd name="T0" fmla="*/ 150 w 152"/>
                <a:gd name="T1" fmla="*/ 19 h 70"/>
                <a:gd name="T2" fmla="*/ 135 w 152"/>
                <a:gd name="T3" fmla="*/ 13 h 70"/>
                <a:gd name="T4" fmla="*/ 127 w 152"/>
                <a:gd name="T5" fmla="*/ 9 h 70"/>
                <a:gd name="T6" fmla="*/ 111 w 152"/>
                <a:gd name="T7" fmla="*/ 7 h 70"/>
                <a:gd name="T8" fmla="*/ 98 w 152"/>
                <a:gd name="T9" fmla="*/ 5 h 70"/>
                <a:gd name="T10" fmla="*/ 80 w 152"/>
                <a:gd name="T11" fmla="*/ 5 h 70"/>
                <a:gd name="T12" fmla="*/ 59 w 152"/>
                <a:gd name="T13" fmla="*/ 0 h 70"/>
                <a:gd name="T14" fmla="*/ 49 w 152"/>
                <a:gd name="T15" fmla="*/ 2 h 70"/>
                <a:gd name="T16" fmla="*/ 47 w 152"/>
                <a:gd name="T17" fmla="*/ 13 h 70"/>
                <a:gd name="T18" fmla="*/ 35 w 152"/>
                <a:gd name="T19" fmla="*/ 11 h 70"/>
                <a:gd name="T20" fmla="*/ 18 w 152"/>
                <a:gd name="T21" fmla="*/ 9 h 70"/>
                <a:gd name="T22" fmla="*/ 12 w 152"/>
                <a:gd name="T23" fmla="*/ 15 h 70"/>
                <a:gd name="T24" fmla="*/ 16 w 152"/>
                <a:gd name="T25" fmla="*/ 19 h 70"/>
                <a:gd name="T26" fmla="*/ 12 w 152"/>
                <a:gd name="T27" fmla="*/ 23 h 70"/>
                <a:gd name="T28" fmla="*/ 6 w 152"/>
                <a:gd name="T29" fmla="*/ 31 h 70"/>
                <a:gd name="T30" fmla="*/ 16 w 152"/>
                <a:gd name="T31" fmla="*/ 35 h 70"/>
                <a:gd name="T32" fmla="*/ 25 w 152"/>
                <a:gd name="T33" fmla="*/ 37 h 70"/>
                <a:gd name="T34" fmla="*/ 27 w 152"/>
                <a:gd name="T35" fmla="*/ 31 h 70"/>
                <a:gd name="T36" fmla="*/ 29 w 152"/>
                <a:gd name="T37" fmla="*/ 31 h 70"/>
                <a:gd name="T38" fmla="*/ 35 w 152"/>
                <a:gd name="T39" fmla="*/ 37 h 70"/>
                <a:gd name="T40" fmla="*/ 39 w 152"/>
                <a:gd name="T41" fmla="*/ 40 h 70"/>
                <a:gd name="T42" fmla="*/ 49 w 152"/>
                <a:gd name="T43" fmla="*/ 44 h 70"/>
                <a:gd name="T44" fmla="*/ 47 w 152"/>
                <a:gd name="T45" fmla="*/ 48 h 70"/>
                <a:gd name="T46" fmla="*/ 43 w 152"/>
                <a:gd name="T47" fmla="*/ 50 h 70"/>
                <a:gd name="T48" fmla="*/ 39 w 152"/>
                <a:gd name="T49" fmla="*/ 50 h 70"/>
                <a:gd name="T50" fmla="*/ 35 w 152"/>
                <a:gd name="T51" fmla="*/ 56 h 70"/>
                <a:gd name="T52" fmla="*/ 29 w 152"/>
                <a:gd name="T53" fmla="*/ 54 h 70"/>
                <a:gd name="T54" fmla="*/ 20 w 152"/>
                <a:gd name="T55" fmla="*/ 56 h 70"/>
                <a:gd name="T56" fmla="*/ 14 w 152"/>
                <a:gd name="T57" fmla="*/ 56 h 70"/>
                <a:gd name="T58" fmla="*/ 2 w 152"/>
                <a:gd name="T59" fmla="*/ 58 h 70"/>
                <a:gd name="T60" fmla="*/ 0 w 152"/>
                <a:gd name="T61" fmla="*/ 60 h 70"/>
                <a:gd name="T62" fmla="*/ 8 w 152"/>
                <a:gd name="T63" fmla="*/ 64 h 70"/>
                <a:gd name="T64" fmla="*/ 16 w 152"/>
                <a:gd name="T65" fmla="*/ 64 h 70"/>
                <a:gd name="T66" fmla="*/ 27 w 152"/>
                <a:gd name="T67" fmla="*/ 68 h 70"/>
                <a:gd name="T68" fmla="*/ 33 w 152"/>
                <a:gd name="T69" fmla="*/ 64 h 70"/>
                <a:gd name="T70" fmla="*/ 39 w 152"/>
                <a:gd name="T71" fmla="*/ 66 h 70"/>
                <a:gd name="T72" fmla="*/ 43 w 152"/>
                <a:gd name="T73" fmla="*/ 68 h 70"/>
                <a:gd name="T74" fmla="*/ 51 w 152"/>
                <a:gd name="T75" fmla="*/ 68 h 70"/>
                <a:gd name="T76" fmla="*/ 64 w 152"/>
                <a:gd name="T77" fmla="*/ 66 h 70"/>
                <a:gd name="T78" fmla="*/ 70 w 152"/>
                <a:gd name="T79" fmla="*/ 64 h 70"/>
                <a:gd name="T80" fmla="*/ 68 w 152"/>
                <a:gd name="T81" fmla="*/ 58 h 70"/>
                <a:gd name="T82" fmla="*/ 78 w 152"/>
                <a:gd name="T83" fmla="*/ 52 h 70"/>
                <a:gd name="T84" fmla="*/ 80 w 152"/>
                <a:gd name="T85" fmla="*/ 50 h 70"/>
                <a:gd name="T86" fmla="*/ 90 w 152"/>
                <a:gd name="T87" fmla="*/ 48 h 70"/>
                <a:gd name="T88" fmla="*/ 100 w 152"/>
                <a:gd name="T89" fmla="*/ 50 h 70"/>
                <a:gd name="T90" fmla="*/ 105 w 152"/>
                <a:gd name="T91" fmla="*/ 46 h 70"/>
                <a:gd name="T92" fmla="*/ 111 w 152"/>
                <a:gd name="T93" fmla="*/ 40 h 70"/>
                <a:gd name="T94" fmla="*/ 127 w 152"/>
                <a:gd name="T95" fmla="*/ 35 h 70"/>
                <a:gd name="T96" fmla="*/ 139 w 152"/>
                <a:gd name="T97" fmla="*/ 25 h 70"/>
                <a:gd name="T98" fmla="*/ 152 w 152"/>
                <a:gd name="T99" fmla="*/ 21 h 70"/>
                <a:gd name="T100" fmla="*/ 16 w 152"/>
                <a:gd name="T101" fmla="*/ 58 h 70"/>
                <a:gd name="T102" fmla="*/ 29 w 152"/>
                <a:gd name="T103" fmla="*/ 58 h 70"/>
                <a:gd name="T104" fmla="*/ 25 w 152"/>
                <a:gd name="T105" fmla="*/ 58 h 70"/>
                <a:gd name="T106" fmla="*/ 27 w 152"/>
                <a:gd name="T107" fmla="*/ 58 h 70"/>
                <a:gd name="T108" fmla="*/ 37 w 152"/>
                <a:gd name="T109" fmla="*/ 58 h 70"/>
                <a:gd name="T110" fmla="*/ 37 w 152"/>
                <a:gd name="T111" fmla="*/ 5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2" h="70">
                  <a:moveTo>
                    <a:pt x="2" y="58"/>
                  </a:moveTo>
                  <a:lnTo>
                    <a:pt x="2" y="58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8"/>
                  </a:lnTo>
                  <a:close/>
                  <a:moveTo>
                    <a:pt x="150" y="19"/>
                  </a:moveTo>
                  <a:lnTo>
                    <a:pt x="150" y="19"/>
                  </a:lnTo>
                  <a:lnTo>
                    <a:pt x="148" y="17"/>
                  </a:lnTo>
                  <a:lnTo>
                    <a:pt x="144" y="15"/>
                  </a:lnTo>
                  <a:lnTo>
                    <a:pt x="142" y="15"/>
                  </a:lnTo>
                  <a:lnTo>
                    <a:pt x="139" y="15"/>
                  </a:lnTo>
                  <a:lnTo>
                    <a:pt x="137" y="15"/>
                  </a:lnTo>
                  <a:lnTo>
                    <a:pt x="137" y="13"/>
                  </a:lnTo>
                  <a:lnTo>
                    <a:pt x="135" y="13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29" y="9"/>
                  </a:lnTo>
                  <a:lnTo>
                    <a:pt x="127" y="9"/>
                  </a:lnTo>
                  <a:lnTo>
                    <a:pt x="127" y="9"/>
                  </a:lnTo>
                  <a:lnTo>
                    <a:pt x="125" y="9"/>
                  </a:lnTo>
                  <a:lnTo>
                    <a:pt x="123" y="7"/>
                  </a:lnTo>
                  <a:lnTo>
                    <a:pt x="121" y="7"/>
                  </a:lnTo>
                  <a:lnTo>
                    <a:pt x="119" y="7"/>
                  </a:lnTo>
                  <a:lnTo>
                    <a:pt x="117" y="7"/>
                  </a:lnTo>
                  <a:lnTo>
                    <a:pt x="115" y="7"/>
                  </a:lnTo>
                  <a:lnTo>
                    <a:pt x="111" y="7"/>
                  </a:lnTo>
                  <a:lnTo>
                    <a:pt x="109" y="7"/>
                  </a:lnTo>
                  <a:lnTo>
                    <a:pt x="107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3" y="7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4" y="7"/>
                  </a:lnTo>
                  <a:lnTo>
                    <a:pt x="92" y="7"/>
                  </a:lnTo>
                  <a:lnTo>
                    <a:pt x="86" y="7"/>
                  </a:lnTo>
                  <a:lnTo>
                    <a:pt x="82" y="7"/>
                  </a:lnTo>
                  <a:lnTo>
                    <a:pt x="82" y="5"/>
                  </a:lnTo>
                  <a:lnTo>
                    <a:pt x="80" y="5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6" y="7"/>
                  </a:lnTo>
                  <a:lnTo>
                    <a:pt x="70" y="7"/>
                  </a:lnTo>
                  <a:lnTo>
                    <a:pt x="66" y="5"/>
                  </a:lnTo>
                  <a:lnTo>
                    <a:pt x="64" y="2"/>
                  </a:lnTo>
                  <a:lnTo>
                    <a:pt x="59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3" y="0"/>
                  </a:lnTo>
                  <a:lnTo>
                    <a:pt x="51" y="2"/>
                  </a:lnTo>
                  <a:lnTo>
                    <a:pt x="49" y="2"/>
                  </a:lnTo>
                  <a:lnTo>
                    <a:pt x="47" y="2"/>
                  </a:lnTo>
                  <a:lnTo>
                    <a:pt x="47" y="5"/>
                  </a:lnTo>
                  <a:lnTo>
                    <a:pt x="47" y="9"/>
                  </a:lnTo>
                  <a:lnTo>
                    <a:pt x="47" y="11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5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5" y="11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0" y="9"/>
                  </a:lnTo>
                  <a:lnTo>
                    <a:pt x="18" y="9"/>
                  </a:lnTo>
                  <a:lnTo>
                    <a:pt x="16" y="9"/>
                  </a:lnTo>
                  <a:lnTo>
                    <a:pt x="14" y="9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2" y="13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6" y="17"/>
                  </a:lnTo>
                  <a:lnTo>
                    <a:pt x="16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8" y="27"/>
                  </a:lnTo>
                  <a:lnTo>
                    <a:pt x="4" y="29"/>
                  </a:lnTo>
                  <a:lnTo>
                    <a:pt x="4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8" y="31"/>
                  </a:lnTo>
                  <a:lnTo>
                    <a:pt x="10" y="33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4" y="33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20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3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1" y="35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41" y="40"/>
                  </a:lnTo>
                  <a:lnTo>
                    <a:pt x="43" y="40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7" y="42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42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1" y="44"/>
                  </a:lnTo>
                  <a:lnTo>
                    <a:pt x="47" y="46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35" y="54"/>
                  </a:lnTo>
                  <a:lnTo>
                    <a:pt x="35" y="56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5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6" y="58"/>
                  </a:lnTo>
                  <a:lnTo>
                    <a:pt x="14" y="56"/>
                  </a:lnTo>
                  <a:lnTo>
                    <a:pt x="12" y="56"/>
                  </a:lnTo>
                  <a:lnTo>
                    <a:pt x="10" y="56"/>
                  </a:lnTo>
                  <a:lnTo>
                    <a:pt x="8" y="54"/>
                  </a:lnTo>
                  <a:lnTo>
                    <a:pt x="6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4" y="64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6" y="64"/>
                  </a:lnTo>
                  <a:lnTo>
                    <a:pt x="18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2" y="66"/>
                  </a:lnTo>
                  <a:lnTo>
                    <a:pt x="22" y="68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6"/>
                  </a:lnTo>
                  <a:lnTo>
                    <a:pt x="35" y="66"/>
                  </a:lnTo>
                  <a:lnTo>
                    <a:pt x="35" y="66"/>
                  </a:lnTo>
                  <a:lnTo>
                    <a:pt x="37" y="66"/>
                  </a:lnTo>
                  <a:lnTo>
                    <a:pt x="39" y="66"/>
                  </a:lnTo>
                  <a:lnTo>
                    <a:pt x="39" y="68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5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68"/>
                  </a:lnTo>
                  <a:lnTo>
                    <a:pt x="49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5" y="68"/>
                  </a:lnTo>
                  <a:lnTo>
                    <a:pt x="57" y="68"/>
                  </a:lnTo>
                  <a:lnTo>
                    <a:pt x="59" y="68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8" y="66"/>
                  </a:lnTo>
                  <a:lnTo>
                    <a:pt x="70" y="66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2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58"/>
                  </a:lnTo>
                  <a:lnTo>
                    <a:pt x="68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6"/>
                  </a:lnTo>
                  <a:lnTo>
                    <a:pt x="72" y="56"/>
                  </a:lnTo>
                  <a:lnTo>
                    <a:pt x="74" y="56"/>
                  </a:lnTo>
                  <a:lnTo>
                    <a:pt x="78" y="54"/>
                  </a:lnTo>
                  <a:lnTo>
                    <a:pt x="78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2" y="50"/>
                  </a:lnTo>
                  <a:lnTo>
                    <a:pt x="84" y="50"/>
                  </a:lnTo>
                  <a:lnTo>
                    <a:pt x="86" y="50"/>
                  </a:lnTo>
                  <a:lnTo>
                    <a:pt x="88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8" y="52"/>
                  </a:lnTo>
                  <a:lnTo>
                    <a:pt x="100" y="52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3" y="52"/>
                  </a:lnTo>
                  <a:lnTo>
                    <a:pt x="103" y="52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48"/>
                  </a:lnTo>
                  <a:lnTo>
                    <a:pt x="105" y="46"/>
                  </a:lnTo>
                  <a:lnTo>
                    <a:pt x="105" y="44"/>
                  </a:lnTo>
                  <a:lnTo>
                    <a:pt x="105" y="44"/>
                  </a:lnTo>
                  <a:lnTo>
                    <a:pt x="105" y="44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9" y="40"/>
                  </a:lnTo>
                  <a:lnTo>
                    <a:pt x="111" y="40"/>
                  </a:lnTo>
                  <a:lnTo>
                    <a:pt x="113" y="40"/>
                  </a:lnTo>
                  <a:lnTo>
                    <a:pt x="117" y="40"/>
                  </a:lnTo>
                  <a:lnTo>
                    <a:pt x="119" y="40"/>
                  </a:lnTo>
                  <a:lnTo>
                    <a:pt x="121" y="40"/>
                  </a:lnTo>
                  <a:lnTo>
                    <a:pt x="123" y="40"/>
                  </a:lnTo>
                  <a:lnTo>
                    <a:pt x="125" y="40"/>
                  </a:lnTo>
                  <a:lnTo>
                    <a:pt x="127" y="35"/>
                  </a:lnTo>
                  <a:lnTo>
                    <a:pt x="127" y="33"/>
                  </a:lnTo>
                  <a:lnTo>
                    <a:pt x="127" y="33"/>
                  </a:lnTo>
                  <a:lnTo>
                    <a:pt x="127" y="33"/>
                  </a:lnTo>
                  <a:lnTo>
                    <a:pt x="129" y="31"/>
                  </a:lnTo>
                  <a:lnTo>
                    <a:pt x="131" y="29"/>
                  </a:lnTo>
                  <a:lnTo>
                    <a:pt x="137" y="27"/>
                  </a:lnTo>
                  <a:lnTo>
                    <a:pt x="139" y="25"/>
                  </a:lnTo>
                  <a:lnTo>
                    <a:pt x="139" y="25"/>
                  </a:lnTo>
                  <a:lnTo>
                    <a:pt x="142" y="25"/>
                  </a:lnTo>
                  <a:lnTo>
                    <a:pt x="146" y="23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52" y="21"/>
                  </a:lnTo>
                  <a:lnTo>
                    <a:pt x="152" y="21"/>
                  </a:lnTo>
                  <a:lnTo>
                    <a:pt x="152" y="21"/>
                  </a:lnTo>
                  <a:lnTo>
                    <a:pt x="150" y="19"/>
                  </a:lnTo>
                  <a:close/>
                  <a:moveTo>
                    <a:pt x="20" y="60"/>
                  </a:move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6" y="58"/>
                  </a:lnTo>
                  <a:lnTo>
                    <a:pt x="18" y="58"/>
                  </a:lnTo>
                  <a:lnTo>
                    <a:pt x="18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close/>
                  <a:moveTo>
                    <a:pt x="29" y="58"/>
                  </a:moveTo>
                  <a:lnTo>
                    <a:pt x="27" y="58"/>
                  </a:lnTo>
                  <a:lnTo>
                    <a:pt x="27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9" y="58"/>
                  </a:lnTo>
                  <a:lnTo>
                    <a:pt x="27" y="58"/>
                  </a:lnTo>
                  <a:lnTo>
                    <a:pt x="29" y="58"/>
                  </a:lnTo>
                  <a:lnTo>
                    <a:pt x="29" y="58"/>
                  </a:lnTo>
                  <a:close/>
                  <a:moveTo>
                    <a:pt x="37" y="58"/>
                  </a:move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8"/>
                  </a:lnTo>
                  <a:lnTo>
                    <a:pt x="37" y="5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7" name="Freeform 136">
              <a:extLst>
                <a:ext uri="{FF2B5EF4-FFF2-40B4-BE49-F238E27FC236}">
                  <a16:creationId xmlns:a16="http://schemas.microsoft.com/office/drawing/2014/main" id="{F6CE180C-ABF3-A84D-A887-4A3403097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1216" y="2333529"/>
              <a:ext cx="683323" cy="316111"/>
            </a:xfrm>
            <a:custGeom>
              <a:avLst/>
              <a:gdLst>
                <a:gd name="T0" fmla="*/ 66 w 575"/>
                <a:gd name="T1" fmla="*/ 183 h 266"/>
                <a:gd name="T2" fmla="*/ 561 w 575"/>
                <a:gd name="T3" fmla="*/ 103 h 266"/>
                <a:gd name="T4" fmla="*/ 542 w 575"/>
                <a:gd name="T5" fmla="*/ 103 h 266"/>
                <a:gd name="T6" fmla="*/ 520 w 575"/>
                <a:gd name="T7" fmla="*/ 87 h 266"/>
                <a:gd name="T8" fmla="*/ 491 w 575"/>
                <a:gd name="T9" fmla="*/ 83 h 266"/>
                <a:gd name="T10" fmla="*/ 473 w 575"/>
                <a:gd name="T11" fmla="*/ 75 h 266"/>
                <a:gd name="T12" fmla="*/ 462 w 575"/>
                <a:gd name="T13" fmla="*/ 79 h 266"/>
                <a:gd name="T14" fmla="*/ 409 w 575"/>
                <a:gd name="T15" fmla="*/ 35 h 266"/>
                <a:gd name="T16" fmla="*/ 382 w 575"/>
                <a:gd name="T17" fmla="*/ 19 h 266"/>
                <a:gd name="T18" fmla="*/ 364 w 575"/>
                <a:gd name="T19" fmla="*/ 33 h 266"/>
                <a:gd name="T20" fmla="*/ 349 w 575"/>
                <a:gd name="T21" fmla="*/ 25 h 266"/>
                <a:gd name="T22" fmla="*/ 333 w 575"/>
                <a:gd name="T23" fmla="*/ 25 h 266"/>
                <a:gd name="T24" fmla="*/ 312 w 575"/>
                <a:gd name="T25" fmla="*/ 17 h 266"/>
                <a:gd name="T26" fmla="*/ 276 w 575"/>
                <a:gd name="T27" fmla="*/ 0 h 266"/>
                <a:gd name="T28" fmla="*/ 251 w 575"/>
                <a:gd name="T29" fmla="*/ 13 h 266"/>
                <a:gd name="T30" fmla="*/ 222 w 575"/>
                <a:gd name="T31" fmla="*/ 19 h 266"/>
                <a:gd name="T32" fmla="*/ 191 w 575"/>
                <a:gd name="T33" fmla="*/ 25 h 266"/>
                <a:gd name="T34" fmla="*/ 185 w 575"/>
                <a:gd name="T35" fmla="*/ 33 h 266"/>
                <a:gd name="T36" fmla="*/ 198 w 575"/>
                <a:gd name="T37" fmla="*/ 44 h 266"/>
                <a:gd name="T38" fmla="*/ 183 w 575"/>
                <a:gd name="T39" fmla="*/ 56 h 266"/>
                <a:gd name="T40" fmla="*/ 200 w 575"/>
                <a:gd name="T41" fmla="*/ 72 h 266"/>
                <a:gd name="T42" fmla="*/ 177 w 575"/>
                <a:gd name="T43" fmla="*/ 87 h 266"/>
                <a:gd name="T44" fmla="*/ 148 w 575"/>
                <a:gd name="T45" fmla="*/ 77 h 266"/>
                <a:gd name="T46" fmla="*/ 124 w 575"/>
                <a:gd name="T47" fmla="*/ 85 h 266"/>
                <a:gd name="T48" fmla="*/ 105 w 575"/>
                <a:gd name="T49" fmla="*/ 87 h 266"/>
                <a:gd name="T50" fmla="*/ 78 w 575"/>
                <a:gd name="T51" fmla="*/ 70 h 266"/>
                <a:gd name="T52" fmla="*/ 56 w 575"/>
                <a:gd name="T53" fmla="*/ 68 h 266"/>
                <a:gd name="T54" fmla="*/ 31 w 575"/>
                <a:gd name="T55" fmla="*/ 79 h 266"/>
                <a:gd name="T56" fmla="*/ 21 w 575"/>
                <a:gd name="T57" fmla="*/ 99 h 266"/>
                <a:gd name="T58" fmla="*/ 0 w 575"/>
                <a:gd name="T59" fmla="*/ 105 h 266"/>
                <a:gd name="T60" fmla="*/ 11 w 575"/>
                <a:gd name="T61" fmla="*/ 134 h 266"/>
                <a:gd name="T62" fmla="*/ 37 w 575"/>
                <a:gd name="T63" fmla="*/ 155 h 266"/>
                <a:gd name="T64" fmla="*/ 46 w 575"/>
                <a:gd name="T65" fmla="*/ 159 h 266"/>
                <a:gd name="T66" fmla="*/ 72 w 575"/>
                <a:gd name="T67" fmla="*/ 149 h 266"/>
                <a:gd name="T68" fmla="*/ 101 w 575"/>
                <a:gd name="T69" fmla="*/ 155 h 266"/>
                <a:gd name="T70" fmla="*/ 85 w 575"/>
                <a:gd name="T71" fmla="*/ 177 h 266"/>
                <a:gd name="T72" fmla="*/ 83 w 575"/>
                <a:gd name="T73" fmla="*/ 196 h 266"/>
                <a:gd name="T74" fmla="*/ 80 w 575"/>
                <a:gd name="T75" fmla="*/ 208 h 266"/>
                <a:gd name="T76" fmla="*/ 97 w 575"/>
                <a:gd name="T77" fmla="*/ 225 h 266"/>
                <a:gd name="T78" fmla="*/ 113 w 575"/>
                <a:gd name="T79" fmla="*/ 239 h 266"/>
                <a:gd name="T80" fmla="*/ 148 w 575"/>
                <a:gd name="T81" fmla="*/ 247 h 266"/>
                <a:gd name="T82" fmla="*/ 154 w 575"/>
                <a:gd name="T83" fmla="*/ 220 h 266"/>
                <a:gd name="T84" fmla="*/ 171 w 575"/>
                <a:gd name="T85" fmla="*/ 179 h 266"/>
                <a:gd name="T86" fmla="*/ 212 w 575"/>
                <a:gd name="T87" fmla="*/ 192 h 266"/>
                <a:gd name="T88" fmla="*/ 249 w 575"/>
                <a:gd name="T89" fmla="*/ 212 h 266"/>
                <a:gd name="T90" fmla="*/ 286 w 575"/>
                <a:gd name="T91" fmla="*/ 212 h 266"/>
                <a:gd name="T92" fmla="*/ 306 w 575"/>
                <a:gd name="T93" fmla="*/ 239 h 266"/>
                <a:gd name="T94" fmla="*/ 337 w 575"/>
                <a:gd name="T95" fmla="*/ 255 h 266"/>
                <a:gd name="T96" fmla="*/ 352 w 575"/>
                <a:gd name="T97" fmla="*/ 264 h 266"/>
                <a:gd name="T98" fmla="*/ 368 w 575"/>
                <a:gd name="T99" fmla="*/ 243 h 266"/>
                <a:gd name="T100" fmla="*/ 380 w 575"/>
                <a:gd name="T101" fmla="*/ 229 h 266"/>
                <a:gd name="T102" fmla="*/ 413 w 575"/>
                <a:gd name="T103" fmla="*/ 231 h 266"/>
                <a:gd name="T104" fmla="*/ 442 w 575"/>
                <a:gd name="T105" fmla="*/ 225 h 266"/>
                <a:gd name="T106" fmla="*/ 481 w 575"/>
                <a:gd name="T107" fmla="*/ 225 h 266"/>
                <a:gd name="T108" fmla="*/ 510 w 575"/>
                <a:gd name="T109" fmla="*/ 233 h 266"/>
                <a:gd name="T110" fmla="*/ 514 w 575"/>
                <a:gd name="T111" fmla="*/ 223 h 266"/>
                <a:gd name="T112" fmla="*/ 508 w 575"/>
                <a:gd name="T113" fmla="*/ 202 h 266"/>
                <a:gd name="T114" fmla="*/ 495 w 575"/>
                <a:gd name="T115" fmla="*/ 188 h 266"/>
                <a:gd name="T116" fmla="*/ 528 w 575"/>
                <a:gd name="T117" fmla="*/ 181 h 266"/>
                <a:gd name="T118" fmla="*/ 526 w 575"/>
                <a:gd name="T119" fmla="*/ 165 h 266"/>
                <a:gd name="T120" fmla="*/ 551 w 575"/>
                <a:gd name="T121" fmla="*/ 151 h 266"/>
                <a:gd name="T122" fmla="*/ 559 w 575"/>
                <a:gd name="T123" fmla="*/ 136 h 266"/>
                <a:gd name="T124" fmla="*/ 567 w 575"/>
                <a:gd name="T125" fmla="*/ 11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5" h="266">
                  <a:moveTo>
                    <a:pt x="62" y="188"/>
                  </a:moveTo>
                  <a:lnTo>
                    <a:pt x="62" y="186"/>
                  </a:lnTo>
                  <a:lnTo>
                    <a:pt x="62" y="183"/>
                  </a:lnTo>
                  <a:lnTo>
                    <a:pt x="62" y="183"/>
                  </a:lnTo>
                  <a:lnTo>
                    <a:pt x="62" y="183"/>
                  </a:lnTo>
                  <a:lnTo>
                    <a:pt x="62" y="186"/>
                  </a:lnTo>
                  <a:lnTo>
                    <a:pt x="62" y="188"/>
                  </a:lnTo>
                  <a:lnTo>
                    <a:pt x="62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2" y="190"/>
                  </a:lnTo>
                  <a:lnTo>
                    <a:pt x="62" y="188"/>
                  </a:lnTo>
                  <a:close/>
                  <a:moveTo>
                    <a:pt x="64" y="183"/>
                  </a:moveTo>
                  <a:lnTo>
                    <a:pt x="64" y="186"/>
                  </a:lnTo>
                  <a:lnTo>
                    <a:pt x="64" y="188"/>
                  </a:lnTo>
                  <a:lnTo>
                    <a:pt x="66" y="188"/>
                  </a:lnTo>
                  <a:lnTo>
                    <a:pt x="66" y="188"/>
                  </a:lnTo>
                  <a:lnTo>
                    <a:pt x="66" y="183"/>
                  </a:lnTo>
                  <a:lnTo>
                    <a:pt x="64" y="183"/>
                  </a:lnTo>
                  <a:close/>
                  <a:moveTo>
                    <a:pt x="99" y="177"/>
                  </a:moveTo>
                  <a:lnTo>
                    <a:pt x="99" y="177"/>
                  </a:lnTo>
                  <a:lnTo>
                    <a:pt x="97" y="175"/>
                  </a:lnTo>
                  <a:lnTo>
                    <a:pt x="97" y="175"/>
                  </a:lnTo>
                  <a:lnTo>
                    <a:pt x="97" y="177"/>
                  </a:lnTo>
                  <a:lnTo>
                    <a:pt x="97" y="177"/>
                  </a:lnTo>
                  <a:lnTo>
                    <a:pt x="99" y="177"/>
                  </a:lnTo>
                  <a:lnTo>
                    <a:pt x="99" y="177"/>
                  </a:lnTo>
                  <a:close/>
                  <a:moveTo>
                    <a:pt x="573" y="112"/>
                  </a:moveTo>
                  <a:lnTo>
                    <a:pt x="573" y="109"/>
                  </a:lnTo>
                  <a:lnTo>
                    <a:pt x="571" y="109"/>
                  </a:lnTo>
                  <a:lnTo>
                    <a:pt x="569" y="109"/>
                  </a:lnTo>
                  <a:lnTo>
                    <a:pt x="569" y="109"/>
                  </a:lnTo>
                  <a:lnTo>
                    <a:pt x="567" y="107"/>
                  </a:lnTo>
                  <a:lnTo>
                    <a:pt x="565" y="105"/>
                  </a:lnTo>
                  <a:lnTo>
                    <a:pt x="563" y="103"/>
                  </a:lnTo>
                  <a:lnTo>
                    <a:pt x="561" y="103"/>
                  </a:lnTo>
                  <a:lnTo>
                    <a:pt x="561" y="103"/>
                  </a:lnTo>
                  <a:lnTo>
                    <a:pt x="561" y="101"/>
                  </a:lnTo>
                  <a:lnTo>
                    <a:pt x="561" y="101"/>
                  </a:lnTo>
                  <a:lnTo>
                    <a:pt x="561" y="101"/>
                  </a:lnTo>
                  <a:lnTo>
                    <a:pt x="561" y="99"/>
                  </a:lnTo>
                  <a:lnTo>
                    <a:pt x="559" y="99"/>
                  </a:lnTo>
                  <a:lnTo>
                    <a:pt x="559" y="101"/>
                  </a:lnTo>
                  <a:lnTo>
                    <a:pt x="557" y="101"/>
                  </a:lnTo>
                  <a:lnTo>
                    <a:pt x="557" y="103"/>
                  </a:lnTo>
                  <a:lnTo>
                    <a:pt x="557" y="103"/>
                  </a:lnTo>
                  <a:lnTo>
                    <a:pt x="555" y="105"/>
                  </a:lnTo>
                  <a:lnTo>
                    <a:pt x="555" y="105"/>
                  </a:lnTo>
                  <a:lnTo>
                    <a:pt x="553" y="105"/>
                  </a:lnTo>
                  <a:lnTo>
                    <a:pt x="553" y="105"/>
                  </a:lnTo>
                  <a:lnTo>
                    <a:pt x="551" y="103"/>
                  </a:lnTo>
                  <a:lnTo>
                    <a:pt x="551" y="103"/>
                  </a:lnTo>
                  <a:lnTo>
                    <a:pt x="544" y="103"/>
                  </a:lnTo>
                  <a:lnTo>
                    <a:pt x="542" y="103"/>
                  </a:lnTo>
                  <a:lnTo>
                    <a:pt x="542" y="103"/>
                  </a:lnTo>
                  <a:lnTo>
                    <a:pt x="540" y="103"/>
                  </a:lnTo>
                  <a:lnTo>
                    <a:pt x="540" y="101"/>
                  </a:lnTo>
                  <a:lnTo>
                    <a:pt x="538" y="101"/>
                  </a:lnTo>
                  <a:lnTo>
                    <a:pt x="538" y="99"/>
                  </a:lnTo>
                  <a:lnTo>
                    <a:pt x="536" y="97"/>
                  </a:lnTo>
                  <a:lnTo>
                    <a:pt x="534" y="97"/>
                  </a:lnTo>
                  <a:lnTo>
                    <a:pt x="534" y="95"/>
                  </a:lnTo>
                  <a:lnTo>
                    <a:pt x="534" y="95"/>
                  </a:lnTo>
                  <a:lnTo>
                    <a:pt x="534" y="95"/>
                  </a:lnTo>
                  <a:lnTo>
                    <a:pt x="532" y="95"/>
                  </a:lnTo>
                  <a:lnTo>
                    <a:pt x="528" y="93"/>
                  </a:lnTo>
                  <a:lnTo>
                    <a:pt x="526" y="91"/>
                  </a:lnTo>
                  <a:lnTo>
                    <a:pt x="524" y="91"/>
                  </a:lnTo>
                  <a:lnTo>
                    <a:pt x="524" y="91"/>
                  </a:lnTo>
                  <a:lnTo>
                    <a:pt x="522" y="91"/>
                  </a:lnTo>
                  <a:lnTo>
                    <a:pt x="520" y="89"/>
                  </a:lnTo>
                  <a:lnTo>
                    <a:pt x="520" y="87"/>
                  </a:lnTo>
                  <a:lnTo>
                    <a:pt x="518" y="85"/>
                  </a:lnTo>
                  <a:lnTo>
                    <a:pt x="516" y="83"/>
                  </a:lnTo>
                  <a:lnTo>
                    <a:pt x="514" y="83"/>
                  </a:lnTo>
                  <a:lnTo>
                    <a:pt x="514" y="81"/>
                  </a:lnTo>
                  <a:lnTo>
                    <a:pt x="510" y="81"/>
                  </a:lnTo>
                  <a:lnTo>
                    <a:pt x="508" y="79"/>
                  </a:lnTo>
                  <a:lnTo>
                    <a:pt x="505" y="79"/>
                  </a:lnTo>
                  <a:lnTo>
                    <a:pt x="503" y="79"/>
                  </a:lnTo>
                  <a:lnTo>
                    <a:pt x="501" y="79"/>
                  </a:lnTo>
                  <a:lnTo>
                    <a:pt x="501" y="79"/>
                  </a:lnTo>
                  <a:lnTo>
                    <a:pt x="501" y="81"/>
                  </a:lnTo>
                  <a:lnTo>
                    <a:pt x="499" y="81"/>
                  </a:lnTo>
                  <a:lnTo>
                    <a:pt x="497" y="81"/>
                  </a:lnTo>
                  <a:lnTo>
                    <a:pt x="497" y="81"/>
                  </a:lnTo>
                  <a:lnTo>
                    <a:pt x="497" y="81"/>
                  </a:lnTo>
                  <a:lnTo>
                    <a:pt x="495" y="83"/>
                  </a:lnTo>
                  <a:lnTo>
                    <a:pt x="495" y="83"/>
                  </a:lnTo>
                  <a:lnTo>
                    <a:pt x="491" y="83"/>
                  </a:lnTo>
                  <a:lnTo>
                    <a:pt x="491" y="83"/>
                  </a:lnTo>
                  <a:lnTo>
                    <a:pt x="489" y="83"/>
                  </a:lnTo>
                  <a:lnTo>
                    <a:pt x="487" y="83"/>
                  </a:lnTo>
                  <a:lnTo>
                    <a:pt x="485" y="83"/>
                  </a:lnTo>
                  <a:lnTo>
                    <a:pt x="483" y="83"/>
                  </a:lnTo>
                  <a:lnTo>
                    <a:pt x="481" y="83"/>
                  </a:lnTo>
                  <a:lnTo>
                    <a:pt x="479" y="83"/>
                  </a:lnTo>
                  <a:lnTo>
                    <a:pt x="479" y="81"/>
                  </a:lnTo>
                  <a:lnTo>
                    <a:pt x="479" y="81"/>
                  </a:lnTo>
                  <a:lnTo>
                    <a:pt x="479" y="79"/>
                  </a:lnTo>
                  <a:lnTo>
                    <a:pt x="477" y="79"/>
                  </a:lnTo>
                  <a:lnTo>
                    <a:pt x="477" y="79"/>
                  </a:lnTo>
                  <a:lnTo>
                    <a:pt x="475" y="79"/>
                  </a:lnTo>
                  <a:lnTo>
                    <a:pt x="473" y="79"/>
                  </a:lnTo>
                  <a:lnTo>
                    <a:pt x="473" y="79"/>
                  </a:lnTo>
                  <a:lnTo>
                    <a:pt x="473" y="77"/>
                  </a:lnTo>
                  <a:lnTo>
                    <a:pt x="473" y="75"/>
                  </a:lnTo>
                  <a:lnTo>
                    <a:pt x="473" y="75"/>
                  </a:lnTo>
                  <a:lnTo>
                    <a:pt x="471" y="75"/>
                  </a:lnTo>
                  <a:lnTo>
                    <a:pt x="471" y="75"/>
                  </a:lnTo>
                  <a:lnTo>
                    <a:pt x="469" y="75"/>
                  </a:lnTo>
                  <a:lnTo>
                    <a:pt x="469" y="72"/>
                  </a:lnTo>
                  <a:lnTo>
                    <a:pt x="466" y="72"/>
                  </a:lnTo>
                  <a:lnTo>
                    <a:pt x="466" y="72"/>
                  </a:lnTo>
                  <a:lnTo>
                    <a:pt x="464" y="72"/>
                  </a:lnTo>
                  <a:lnTo>
                    <a:pt x="464" y="75"/>
                  </a:lnTo>
                  <a:lnTo>
                    <a:pt x="464" y="75"/>
                  </a:lnTo>
                  <a:lnTo>
                    <a:pt x="462" y="75"/>
                  </a:lnTo>
                  <a:lnTo>
                    <a:pt x="462" y="75"/>
                  </a:lnTo>
                  <a:lnTo>
                    <a:pt x="462" y="77"/>
                  </a:lnTo>
                  <a:lnTo>
                    <a:pt x="462" y="77"/>
                  </a:lnTo>
                  <a:lnTo>
                    <a:pt x="464" y="79"/>
                  </a:lnTo>
                  <a:lnTo>
                    <a:pt x="464" y="79"/>
                  </a:lnTo>
                  <a:lnTo>
                    <a:pt x="462" y="79"/>
                  </a:lnTo>
                  <a:lnTo>
                    <a:pt x="462" y="79"/>
                  </a:lnTo>
                  <a:lnTo>
                    <a:pt x="462" y="79"/>
                  </a:lnTo>
                  <a:lnTo>
                    <a:pt x="460" y="81"/>
                  </a:lnTo>
                  <a:lnTo>
                    <a:pt x="460" y="81"/>
                  </a:lnTo>
                  <a:lnTo>
                    <a:pt x="460" y="81"/>
                  </a:lnTo>
                  <a:lnTo>
                    <a:pt x="460" y="83"/>
                  </a:lnTo>
                  <a:lnTo>
                    <a:pt x="458" y="83"/>
                  </a:lnTo>
                  <a:lnTo>
                    <a:pt x="456" y="79"/>
                  </a:lnTo>
                  <a:lnTo>
                    <a:pt x="452" y="75"/>
                  </a:lnTo>
                  <a:lnTo>
                    <a:pt x="448" y="70"/>
                  </a:lnTo>
                  <a:lnTo>
                    <a:pt x="446" y="68"/>
                  </a:lnTo>
                  <a:lnTo>
                    <a:pt x="440" y="62"/>
                  </a:lnTo>
                  <a:lnTo>
                    <a:pt x="436" y="60"/>
                  </a:lnTo>
                  <a:lnTo>
                    <a:pt x="430" y="54"/>
                  </a:lnTo>
                  <a:lnTo>
                    <a:pt x="425" y="50"/>
                  </a:lnTo>
                  <a:lnTo>
                    <a:pt x="419" y="44"/>
                  </a:lnTo>
                  <a:lnTo>
                    <a:pt x="415" y="42"/>
                  </a:lnTo>
                  <a:lnTo>
                    <a:pt x="411" y="37"/>
                  </a:lnTo>
                  <a:lnTo>
                    <a:pt x="411" y="37"/>
                  </a:lnTo>
                  <a:lnTo>
                    <a:pt x="409" y="35"/>
                  </a:lnTo>
                  <a:lnTo>
                    <a:pt x="405" y="33"/>
                  </a:lnTo>
                  <a:lnTo>
                    <a:pt x="399" y="31"/>
                  </a:lnTo>
                  <a:lnTo>
                    <a:pt x="395" y="29"/>
                  </a:lnTo>
                  <a:lnTo>
                    <a:pt x="388" y="27"/>
                  </a:lnTo>
                  <a:lnTo>
                    <a:pt x="388" y="25"/>
                  </a:lnTo>
                  <a:lnTo>
                    <a:pt x="388" y="25"/>
                  </a:lnTo>
                  <a:lnTo>
                    <a:pt x="386" y="25"/>
                  </a:lnTo>
                  <a:lnTo>
                    <a:pt x="386" y="23"/>
                  </a:lnTo>
                  <a:lnTo>
                    <a:pt x="386" y="23"/>
                  </a:lnTo>
                  <a:lnTo>
                    <a:pt x="388" y="23"/>
                  </a:lnTo>
                  <a:lnTo>
                    <a:pt x="388" y="23"/>
                  </a:lnTo>
                  <a:lnTo>
                    <a:pt x="391" y="19"/>
                  </a:lnTo>
                  <a:lnTo>
                    <a:pt x="388" y="17"/>
                  </a:lnTo>
                  <a:lnTo>
                    <a:pt x="388" y="17"/>
                  </a:lnTo>
                  <a:lnTo>
                    <a:pt x="386" y="19"/>
                  </a:lnTo>
                  <a:lnTo>
                    <a:pt x="386" y="19"/>
                  </a:lnTo>
                  <a:lnTo>
                    <a:pt x="386" y="19"/>
                  </a:lnTo>
                  <a:lnTo>
                    <a:pt x="382" y="19"/>
                  </a:lnTo>
                  <a:lnTo>
                    <a:pt x="380" y="21"/>
                  </a:lnTo>
                  <a:lnTo>
                    <a:pt x="378" y="23"/>
                  </a:lnTo>
                  <a:lnTo>
                    <a:pt x="376" y="23"/>
                  </a:lnTo>
                  <a:lnTo>
                    <a:pt x="376" y="23"/>
                  </a:lnTo>
                  <a:lnTo>
                    <a:pt x="372" y="23"/>
                  </a:lnTo>
                  <a:lnTo>
                    <a:pt x="372" y="25"/>
                  </a:lnTo>
                  <a:lnTo>
                    <a:pt x="372" y="25"/>
                  </a:lnTo>
                  <a:lnTo>
                    <a:pt x="372" y="25"/>
                  </a:lnTo>
                  <a:lnTo>
                    <a:pt x="372" y="27"/>
                  </a:lnTo>
                  <a:lnTo>
                    <a:pt x="370" y="29"/>
                  </a:lnTo>
                  <a:lnTo>
                    <a:pt x="368" y="29"/>
                  </a:lnTo>
                  <a:lnTo>
                    <a:pt x="368" y="27"/>
                  </a:lnTo>
                  <a:lnTo>
                    <a:pt x="366" y="29"/>
                  </a:lnTo>
                  <a:lnTo>
                    <a:pt x="366" y="29"/>
                  </a:lnTo>
                  <a:lnTo>
                    <a:pt x="362" y="31"/>
                  </a:lnTo>
                  <a:lnTo>
                    <a:pt x="362" y="31"/>
                  </a:lnTo>
                  <a:lnTo>
                    <a:pt x="364" y="33"/>
                  </a:lnTo>
                  <a:lnTo>
                    <a:pt x="364" y="33"/>
                  </a:lnTo>
                  <a:lnTo>
                    <a:pt x="362" y="33"/>
                  </a:lnTo>
                  <a:lnTo>
                    <a:pt x="362" y="33"/>
                  </a:lnTo>
                  <a:lnTo>
                    <a:pt x="360" y="33"/>
                  </a:lnTo>
                  <a:lnTo>
                    <a:pt x="358" y="31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2" y="33"/>
                  </a:lnTo>
                  <a:lnTo>
                    <a:pt x="349" y="35"/>
                  </a:lnTo>
                  <a:lnTo>
                    <a:pt x="349" y="35"/>
                  </a:lnTo>
                  <a:lnTo>
                    <a:pt x="349" y="35"/>
                  </a:lnTo>
                  <a:lnTo>
                    <a:pt x="349" y="33"/>
                  </a:lnTo>
                  <a:lnTo>
                    <a:pt x="347" y="33"/>
                  </a:lnTo>
                  <a:lnTo>
                    <a:pt x="347" y="31"/>
                  </a:lnTo>
                  <a:lnTo>
                    <a:pt x="347" y="31"/>
                  </a:lnTo>
                  <a:lnTo>
                    <a:pt x="347" y="29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9" y="25"/>
                  </a:lnTo>
                  <a:lnTo>
                    <a:pt x="349" y="25"/>
                  </a:lnTo>
                  <a:lnTo>
                    <a:pt x="349" y="25"/>
                  </a:lnTo>
                  <a:lnTo>
                    <a:pt x="347" y="25"/>
                  </a:lnTo>
                  <a:lnTo>
                    <a:pt x="347" y="25"/>
                  </a:lnTo>
                  <a:lnTo>
                    <a:pt x="347" y="25"/>
                  </a:lnTo>
                  <a:lnTo>
                    <a:pt x="345" y="25"/>
                  </a:lnTo>
                  <a:lnTo>
                    <a:pt x="343" y="25"/>
                  </a:lnTo>
                  <a:lnTo>
                    <a:pt x="343" y="25"/>
                  </a:lnTo>
                  <a:lnTo>
                    <a:pt x="341" y="25"/>
                  </a:lnTo>
                  <a:lnTo>
                    <a:pt x="339" y="23"/>
                  </a:lnTo>
                  <a:lnTo>
                    <a:pt x="335" y="23"/>
                  </a:lnTo>
                  <a:lnTo>
                    <a:pt x="335" y="23"/>
                  </a:lnTo>
                  <a:lnTo>
                    <a:pt x="333" y="23"/>
                  </a:lnTo>
                  <a:lnTo>
                    <a:pt x="333" y="23"/>
                  </a:lnTo>
                  <a:lnTo>
                    <a:pt x="335" y="25"/>
                  </a:lnTo>
                  <a:lnTo>
                    <a:pt x="335" y="25"/>
                  </a:lnTo>
                  <a:lnTo>
                    <a:pt x="335" y="25"/>
                  </a:lnTo>
                  <a:lnTo>
                    <a:pt x="333" y="25"/>
                  </a:lnTo>
                  <a:lnTo>
                    <a:pt x="333" y="27"/>
                  </a:lnTo>
                  <a:lnTo>
                    <a:pt x="333" y="25"/>
                  </a:lnTo>
                  <a:lnTo>
                    <a:pt x="331" y="25"/>
                  </a:lnTo>
                  <a:lnTo>
                    <a:pt x="331" y="23"/>
                  </a:lnTo>
                  <a:lnTo>
                    <a:pt x="329" y="23"/>
                  </a:lnTo>
                  <a:lnTo>
                    <a:pt x="329" y="21"/>
                  </a:lnTo>
                  <a:lnTo>
                    <a:pt x="327" y="19"/>
                  </a:lnTo>
                  <a:lnTo>
                    <a:pt x="327" y="19"/>
                  </a:lnTo>
                  <a:lnTo>
                    <a:pt x="327" y="21"/>
                  </a:lnTo>
                  <a:lnTo>
                    <a:pt x="325" y="21"/>
                  </a:lnTo>
                  <a:lnTo>
                    <a:pt x="323" y="21"/>
                  </a:lnTo>
                  <a:lnTo>
                    <a:pt x="321" y="23"/>
                  </a:lnTo>
                  <a:lnTo>
                    <a:pt x="317" y="23"/>
                  </a:lnTo>
                  <a:lnTo>
                    <a:pt x="312" y="21"/>
                  </a:lnTo>
                  <a:lnTo>
                    <a:pt x="312" y="21"/>
                  </a:lnTo>
                  <a:lnTo>
                    <a:pt x="312" y="19"/>
                  </a:lnTo>
                  <a:lnTo>
                    <a:pt x="312" y="17"/>
                  </a:lnTo>
                  <a:lnTo>
                    <a:pt x="312" y="17"/>
                  </a:lnTo>
                  <a:lnTo>
                    <a:pt x="312" y="15"/>
                  </a:lnTo>
                  <a:lnTo>
                    <a:pt x="310" y="13"/>
                  </a:lnTo>
                  <a:lnTo>
                    <a:pt x="306" y="9"/>
                  </a:lnTo>
                  <a:lnTo>
                    <a:pt x="304" y="7"/>
                  </a:lnTo>
                  <a:lnTo>
                    <a:pt x="302" y="3"/>
                  </a:lnTo>
                  <a:lnTo>
                    <a:pt x="300" y="3"/>
                  </a:lnTo>
                  <a:lnTo>
                    <a:pt x="298" y="3"/>
                  </a:lnTo>
                  <a:lnTo>
                    <a:pt x="296" y="5"/>
                  </a:lnTo>
                  <a:lnTo>
                    <a:pt x="296" y="5"/>
                  </a:lnTo>
                  <a:lnTo>
                    <a:pt x="296" y="5"/>
                  </a:lnTo>
                  <a:lnTo>
                    <a:pt x="294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0" y="5"/>
                  </a:lnTo>
                  <a:lnTo>
                    <a:pt x="288" y="3"/>
                  </a:lnTo>
                  <a:lnTo>
                    <a:pt x="284" y="3"/>
                  </a:lnTo>
                  <a:lnTo>
                    <a:pt x="280" y="3"/>
                  </a:lnTo>
                  <a:lnTo>
                    <a:pt x="276" y="0"/>
                  </a:lnTo>
                  <a:lnTo>
                    <a:pt x="276" y="3"/>
                  </a:lnTo>
                  <a:lnTo>
                    <a:pt x="273" y="3"/>
                  </a:lnTo>
                  <a:lnTo>
                    <a:pt x="271" y="5"/>
                  </a:lnTo>
                  <a:lnTo>
                    <a:pt x="269" y="5"/>
                  </a:lnTo>
                  <a:lnTo>
                    <a:pt x="269" y="5"/>
                  </a:lnTo>
                  <a:lnTo>
                    <a:pt x="267" y="5"/>
                  </a:lnTo>
                  <a:lnTo>
                    <a:pt x="267" y="7"/>
                  </a:lnTo>
                  <a:lnTo>
                    <a:pt x="269" y="7"/>
                  </a:lnTo>
                  <a:lnTo>
                    <a:pt x="269" y="9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5" y="9"/>
                  </a:lnTo>
                  <a:lnTo>
                    <a:pt x="263" y="9"/>
                  </a:lnTo>
                  <a:lnTo>
                    <a:pt x="263" y="11"/>
                  </a:lnTo>
                  <a:lnTo>
                    <a:pt x="259" y="11"/>
                  </a:lnTo>
                  <a:lnTo>
                    <a:pt x="257" y="11"/>
                  </a:lnTo>
                  <a:lnTo>
                    <a:pt x="255" y="11"/>
                  </a:lnTo>
                  <a:lnTo>
                    <a:pt x="251" y="13"/>
                  </a:lnTo>
                  <a:lnTo>
                    <a:pt x="249" y="13"/>
                  </a:lnTo>
                  <a:lnTo>
                    <a:pt x="243" y="13"/>
                  </a:lnTo>
                  <a:lnTo>
                    <a:pt x="241" y="15"/>
                  </a:lnTo>
                  <a:lnTo>
                    <a:pt x="239" y="13"/>
                  </a:lnTo>
                  <a:lnTo>
                    <a:pt x="237" y="15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2" y="15"/>
                  </a:lnTo>
                  <a:lnTo>
                    <a:pt x="232" y="15"/>
                  </a:lnTo>
                  <a:lnTo>
                    <a:pt x="230" y="17"/>
                  </a:lnTo>
                  <a:lnTo>
                    <a:pt x="230" y="17"/>
                  </a:lnTo>
                  <a:lnTo>
                    <a:pt x="230" y="19"/>
                  </a:lnTo>
                  <a:lnTo>
                    <a:pt x="230" y="19"/>
                  </a:lnTo>
                  <a:lnTo>
                    <a:pt x="228" y="19"/>
                  </a:lnTo>
                  <a:lnTo>
                    <a:pt x="228" y="19"/>
                  </a:lnTo>
                  <a:lnTo>
                    <a:pt x="226" y="19"/>
                  </a:lnTo>
                  <a:lnTo>
                    <a:pt x="224" y="19"/>
                  </a:lnTo>
                  <a:lnTo>
                    <a:pt x="222" y="19"/>
                  </a:lnTo>
                  <a:lnTo>
                    <a:pt x="222" y="19"/>
                  </a:lnTo>
                  <a:lnTo>
                    <a:pt x="218" y="19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4" y="21"/>
                  </a:lnTo>
                  <a:lnTo>
                    <a:pt x="212" y="21"/>
                  </a:lnTo>
                  <a:lnTo>
                    <a:pt x="212" y="21"/>
                  </a:lnTo>
                  <a:lnTo>
                    <a:pt x="210" y="21"/>
                  </a:lnTo>
                  <a:lnTo>
                    <a:pt x="208" y="23"/>
                  </a:lnTo>
                  <a:lnTo>
                    <a:pt x="208" y="23"/>
                  </a:lnTo>
                  <a:lnTo>
                    <a:pt x="206" y="23"/>
                  </a:lnTo>
                  <a:lnTo>
                    <a:pt x="206" y="23"/>
                  </a:lnTo>
                  <a:lnTo>
                    <a:pt x="204" y="23"/>
                  </a:lnTo>
                  <a:lnTo>
                    <a:pt x="198" y="25"/>
                  </a:lnTo>
                  <a:lnTo>
                    <a:pt x="198" y="25"/>
                  </a:lnTo>
                  <a:lnTo>
                    <a:pt x="198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89" y="25"/>
                  </a:lnTo>
                  <a:lnTo>
                    <a:pt x="189" y="27"/>
                  </a:lnTo>
                  <a:lnTo>
                    <a:pt x="185" y="25"/>
                  </a:lnTo>
                  <a:lnTo>
                    <a:pt x="181" y="25"/>
                  </a:lnTo>
                  <a:lnTo>
                    <a:pt x="179" y="25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9" y="29"/>
                  </a:lnTo>
                  <a:lnTo>
                    <a:pt x="179" y="29"/>
                  </a:lnTo>
                  <a:lnTo>
                    <a:pt x="179" y="31"/>
                  </a:lnTo>
                  <a:lnTo>
                    <a:pt x="179" y="31"/>
                  </a:lnTo>
                  <a:lnTo>
                    <a:pt x="179" y="31"/>
                  </a:lnTo>
                  <a:lnTo>
                    <a:pt x="181" y="33"/>
                  </a:lnTo>
                  <a:lnTo>
                    <a:pt x="183" y="33"/>
                  </a:lnTo>
                  <a:lnTo>
                    <a:pt x="183" y="33"/>
                  </a:lnTo>
                  <a:lnTo>
                    <a:pt x="185" y="33"/>
                  </a:lnTo>
                  <a:lnTo>
                    <a:pt x="185" y="33"/>
                  </a:lnTo>
                  <a:lnTo>
                    <a:pt x="185" y="33"/>
                  </a:lnTo>
                  <a:lnTo>
                    <a:pt x="187" y="33"/>
                  </a:lnTo>
                  <a:lnTo>
                    <a:pt x="187" y="33"/>
                  </a:lnTo>
                  <a:lnTo>
                    <a:pt x="187" y="33"/>
                  </a:lnTo>
                  <a:lnTo>
                    <a:pt x="185" y="35"/>
                  </a:lnTo>
                  <a:lnTo>
                    <a:pt x="183" y="35"/>
                  </a:lnTo>
                  <a:lnTo>
                    <a:pt x="183" y="35"/>
                  </a:lnTo>
                  <a:lnTo>
                    <a:pt x="183" y="35"/>
                  </a:lnTo>
                  <a:lnTo>
                    <a:pt x="183" y="37"/>
                  </a:lnTo>
                  <a:lnTo>
                    <a:pt x="183" y="37"/>
                  </a:lnTo>
                  <a:lnTo>
                    <a:pt x="185" y="37"/>
                  </a:lnTo>
                  <a:lnTo>
                    <a:pt x="187" y="40"/>
                  </a:lnTo>
                  <a:lnTo>
                    <a:pt x="189" y="40"/>
                  </a:lnTo>
                  <a:lnTo>
                    <a:pt x="189" y="40"/>
                  </a:lnTo>
                  <a:lnTo>
                    <a:pt x="191" y="40"/>
                  </a:lnTo>
                  <a:lnTo>
                    <a:pt x="195" y="42"/>
                  </a:lnTo>
                  <a:lnTo>
                    <a:pt x="198" y="42"/>
                  </a:lnTo>
                  <a:lnTo>
                    <a:pt x="198" y="44"/>
                  </a:lnTo>
                  <a:lnTo>
                    <a:pt x="198" y="44"/>
                  </a:lnTo>
                  <a:lnTo>
                    <a:pt x="195" y="44"/>
                  </a:lnTo>
                  <a:lnTo>
                    <a:pt x="195" y="44"/>
                  </a:lnTo>
                  <a:lnTo>
                    <a:pt x="191" y="44"/>
                  </a:lnTo>
                  <a:lnTo>
                    <a:pt x="189" y="44"/>
                  </a:lnTo>
                  <a:lnTo>
                    <a:pt x="187" y="44"/>
                  </a:lnTo>
                  <a:lnTo>
                    <a:pt x="185" y="44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1" y="46"/>
                  </a:lnTo>
                  <a:lnTo>
                    <a:pt x="181" y="46"/>
                  </a:lnTo>
                  <a:lnTo>
                    <a:pt x="181" y="48"/>
                  </a:lnTo>
                  <a:lnTo>
                    <a:pt x="181" y="48"/>
                  </a:lnTo>
                  <a:lnTo>
                    <a:pt x="181" y="50"/>
                  </a:lnTo>
                  <a:lnTo>
                    <a:pt x="185" y="54"/>
                  </a:lnTo>
                  <a:lnTo>
                    <a:pt x="185" y="54"/>
                  </a:lnTo>
                  <a:lnTo>
                    <a:pt x="185" y="56"/>
                  </a:lnTo>
                  <a:lnTo>
                    <a:pt x="183" y="56"/>
                  </a:lnTo>
                  <a:lnTo>
                    <a:pt x="181" y="58"/>
                  </a:lnTo>
                  <a:lnTo>
                    <a:pt x="179" y="58"/>
                  </a:lnTo>
                  <a:lnTo>
                    <a:pt x="179" y="58"/>
                  </a:lnTo>
                  <a:lnTo>
                    <a:pt x="177" y="60"/>
                  </a:lnTo>
                  <a:lnTo>
                    <a:pt x="175" y="60"/>
                  </a:lnTo>
                  <a:lnTo>
                    <a:pt x="175" y="62"/>
                  </a:lnTo>
                  <a:lnTo>
                    <a:pt x="175" y="62"/>
                  </a:lnTo>
                  <a:lnTo>
                    <a:pt x="179" y="64"/>
                  </a:lnTo>
                  <a:lnTo>
                    <a:pt x="181" y="64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5" y="66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95" y="70"/>
                  </a:lnTo>
                  <a:lnTo>
                    <a:pt x="195" y="70"/>
                  </a:lnTo>
                  <a:lnTo>
                    <a:pt x="200" y="72"/>
                  </a:lnTo>
                  <a:lnTo>
                    <a:pt x="200" y="75"/>
                  </a:lnTo>
                  <a:lnTo>
                    <a:pt x="200" y="77"/>
                  </a:lnTo>
                  <a:lnTo>
                    <a:pt x="200" y="79"/>
                  </a:lnTo>
                  <a:lnTo>
                    <a:pt x="200" y="81"/>
                  </a:lnTo>
                  <a:lnTo>
                    <a:pt x="198" y="83"/>
                  </a:lnTo>
                  <a:lnTo>
                    <a:pt x="193" y="83"/>
                  </a:lnTo>
                  <a:lnTo>
                    <a:pt x="189" y="85"/>
                  </a:lnTo>
                  <a:lnTo>
                    <a:pt x="187" y="85"/>
                  </a:lnTo>
                  <a:lnTo>
                    <a:pt x="185" y="83"/>
                  </a:lnTo>
                  <a:lnTo>
                    <a:pt x="183" y="83"/>
                  </a:lnTo>
                  <a:lnTo>
                    <a:pt x="183" y="83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79" y="81"/>
                  </a:lnTo>
                  <a:lnTo>
                    <a:pt x="179" y="81"/>
                  </a:lnTo>
                  <a:lnTo>
                    <a:pt x="179" y="83"/>
                  </a:lnTo>
                  <a:lnTo>
                    <a:pt x="179" y="85"/>
                  </a:lnTo>
                  <a:lnTo>
                    <a:pt x="177" y="87"/>
                  </a:lnTo>
                  <a:lnTo>
                    <a:pt x="175" y="87"/>
                  </a:lnTo>
                  <a:lnTo>
                    <a:pt x="175" y="87"/>
                  </a:lnTo>
                  <a:lnTo>
                    <a:pt x="175" y="85"/>
                  </a:lnTo>
                  <a:lnTo>
                    <a:pt x="173" y="85"/>
                  </a:lnTo>
                  <a:lnTo>
                    <a:pt x="173" y="85"/>
                  </a:lnTo>
                  <a:lnTo>
                    <a:pt x="169" y="85"/>
                  </a:lnTo>
                  <a:lnTo>
                    <a:pt x="167" y="85"/>
                  </a:lnTo>
                  <a:lnTo>
                    <a:pt x="167" y="83"/>
                  </a:lnTo>
                  <a:lnTo>
                    <a:pt x="165" y="83"/>
                  </a:lnTo>
                  <a:lnTo>
                    <a:pt x="163" y="83"/>
                  </a:lnTo>
                  <a:lnTo>
                    <a:pt x="161" y="81"/>
                  </a:lnTo>
                  <a:lnTo>
                    <a:pt x="159" y="79"/>
                  </a:lnTo>
                  <a:lnTo>
                    <a:pt x="156" y="77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0" y="77"/>
                  </a:lnTo>
                  <a:lnTo>
                    <a:pt x="148" y="77"/>
                  </a:lnTo>
                  <a:lnTo>
                    <a:pt x="148" y="77"/>
                  </a:lnTo>
                  <a:lnTo>
                    <a:pt x="148" y="77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2" y="79"/>
                  </a:lnTo>
                  <a:lnTo>
                    <a:pt x="140" y="77"/>
                  </a:lnTo>
                  <a:lnTo>
                    <a:pt x="136" y="77"/>
                  </a:lnTo>
                  <a:lnTo>
                    <a:pt x="134" y="77"/>
                  </a:lnTo>
                  <a:lnTo>
                    <a:pt x="134" y="77"/>
                  </a:lnTo>
                  <a:lnTo>
                    <a:pt x="132" y="79"/>
                  </a:lnTo>
                  <a:lnTo>
                    <a:pt x="130" y="79"/>
                  </a:lnTo>
                  <a:lnTo>
                    <a:pt x="130" y="79"/>
                  </a:lnTo>
                  <a:lnTo>
                    <a:pt x="128" y="79"/>
                  </a:lnTo>
                  <a:lnTo>
                    <a:pt x="126" y="81"/>
                  </a:lnTo>
                  <a:lnTo>
                    <a:pt x="126" y="83"/>
                  </a:lnTo>
                  <a:lnTo>
                    <a:pt x="126" y="83"/>
                  </a:lnTo>
                  <a:lnTo>
                    <a:pt x="124" y="85"/>
                  </a:lnTo>
                  <a:lnTo>
                    <a:pt x="122" y="85"/>
                  </a:lnTo>
                  <a:lnTo>
                    <a:pt x="120" y="85"/>
                  </a:lnTo>
                  <a:lnTo>
                    <a:pt x="117" y="85"/>
                  </a:lnTo>
                  <a:lnTo>
                    <a:pt x="115" y="85"/>
                  </a:lnTo>
                  <a:lnTo>
                    <a:pt x="113" y="83"/>
                  </a:lnTo>
                  <a:lnTo>
                    <a:pt x="109" y="81"/>
                  </a:lnTo>
                  <a:lnTo>
                    <a:pt x="107" y="79"/>
                  </a:lnTo>
                  <a:lnTo>
                    <a:pt x="105" y="79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3" y="81"/>
                  </a:lnTo>
                  <a:lnTo>
                    <a:pt x="105" y="83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5" y="87"/>
                  </a:lnTo>
                  <a:lnTo>
                    <a:pt x="105" y="87"/>
                  </a:lnTo>
                  <a:lnTo>
                    <a:pt x="105" y="87"/>
                  </a:lnTo>
                  <a:lnTo>
                    <a:pt x="103" y="85"/>
                  </a:lnTo>
                  <a:lnTo>
                    <a:pt x="103" y="85"/>
                  </a:lnTo>
                  <a:lnTo>
                    <a:pt x="101" y="83"/>
                  </a:lnTo>
                  <a:lnTo>
                    <a:pt x="99" y="79"/>
                  </a:lnTo>
                  <a:lnTo>
                    <a:pt x="97" y="79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3" y="75"/>
                  </a:lnTo>
                  <a:lnTo>
                    <a:pt x="91" y="75"/>
                  </a:lnTo>
                  <a:lnTo>
                    <a:pt x="89" y="75"/>
                  </a:lnTo>
                  <a:lnTo>
                    <a:pt x="87" y="70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3" y="68"/>
                  </a:lnTo>
                  <a:lnTo>
                    <a:pt x="83" y="70"/>
                  </a:lnTo>
                  <a:lnTo>
                    <a:pt x="80" y="70"/>
                  </a:lnTo>
                  <a:lnTo>
                    <a:pt x="78" y="70"/>
                  </a:lnTo>
                  <a:lnTo>
                    <a:pt x="76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2" y="70"/>
                  </a:lnTo>
                  <a:lnTo>
                    <a:pt x="72" y="68"/>
                  </a:lnTo>
                  <a:lnTo>
                    <a:pt x="70" y="68"/>
                  </a:lnTo>
                  <a:lnTo>
                    <a:pt x="68" y="66"/>
                  </a:lnTo>
                  <a:lnTo>
                    <a:pt x="66" y="66"/>
                  </a:lnTo>
                  <a:lnTo>
                    <a:pt x="64" y="66"/>
                  </a:lnTo>
                  <a:lnTo>
                    <a:pt x="62" y="68"/>
                  </a:lnTo>
                  <a:lnTo>
                    <a:pt x="60" y="70"/>
                  </a:lnTo>
                  <a:lnTo>
                    <a:pt x="58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4" y="68"/>
                  </a:lnTo>
                  <a:lnTo>
                    <a:pt x="52" y="66"/>
                  </a:lnTo>
                  <a:lnTo>
                    <a:pt x="50" y="66"/>
                  </a:lnTo>
                  <a:lnTo>
                    <a:pt x="48" y="66"/>
                  </a:lnTo>
                  <a:lnTo>
                    <a:pt x="48" y="64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39" y="75"/>
                  </a:lnTo>
                  <a:lnTo>
                    <a:pt x="37" y="75"/>
                  </a:lnTo>
                  <a:lnTo>
                    <a:pt x="35" y="77"/>
                  </a:lnTo>
                  <a:lnTo>
                    <a:pt x="33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9"/>
                  </a:lnTo>
                  <a:lnTo>
                    <a:pt x="31" y="81"/>
                  </a:lnTo>
                  <a:lnTo>
                    <a:pt x="27" y="83"/>
                  </a:lnTo>
                  <a:lnTo>
                    <a:pt x="25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3" y="87"/>
                  </a:lnTo>
                  <a:lnTo>
                    <a:pt x="23" y="89"/>
                  </a:lnTo>
                  <a:lnTo>
                    <a:pt x="25" y="91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7" y="95"/>
                  </a:lnTo>
                  <a:lnTo>
                    <a:pt x="27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5" y="95"/>
                  </a:lnTo>
                  <a:lnTo>
                    <a:pt x="13" y="91"/>
                  </a:lnTo>
                  <a:lnTo>
                    <a:pt x="9" y="89"/>
                  </a:lnTo>
                  <a:lnTo>
                    <a:pt x="9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5" y="91"/>
                  </a:lnTo>
                  <a:lnTo>
                    <a:pt x="5" y="91"/>
                  </a:lnTo>
                  <a:lnTo>
                    <a:pt x="5" y="91"/>
                  </a:lnTo>
                  <a:lnTo>
                    <a:pt x="5" y="93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2" y="97"/>
                  </a:lnTo>
                  <a:lnTo>
                    <a:pt x="0" y="99"/>
                  </a:lnTo>
                  <a:lnTo>
                    <a:pt x="0" y="101"/>
                  </a:lnTo>
                  <a:lnTo>
                    <a:pt x="0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2" y="109"/>
                  </a:lnTo>
                  <a:lnTo>
                    <a:pt x="5" y="109"/>
                  </a:lnTo>
                  <a:lnTo>
                    <a:pt x="5" y="112"/>
                  </a:lnTo>
                  <a:lnTo>
                    <a:pt x="5" y="112"/>
                  </a:lnTo>
                  <a:lnTo>
                    <a:pt x="5" y="114"/>
                  </a:lnTo>
                  <a:lnTo>
                    <a:pt x="2" y="114"/>
                  </a:lnTo>
                  <a:lnTo>
                    <a:pt x="0" y="118"/>
                  </a:lnTo>
                  <a:lnTo>
                    <a:pt x="0" y="122"/>
                  </a:lnTo>
                  <a:lnTo>
                    <a:pt x="2" y="124"/>
                  </a:lnTo>
                  <a:lnTo>
                    <a:pt x="5" y="126"/>
                  </a:lnTo>
                  <a:lnTo>
                    <a:pt x="7" y="126"/>
                  </a:lnTo>
                  <a:lnTo>
                    <a:pt x="9" y="128"/>
                  </a:lnTo>
                  <a:lnTo>
                    <a:pt x="9" y="130"/>
                  </a:lnTo>
                  <a:lnTo>
                    <a:pt x="9" y="132"/>
                  </a:lnTo>
                  <a:lnTo>
                    <a:pt x="9" y="132"/>
                  </a:lnTo>
                  <a:lnTo>
                    <a:pt x="11" y="134"/>
                  </a:lnTo>
                  <a:lnTo>
                    <a:pt x="11" y="136"/>
                  </a:lnTo>
                  <a:lnTo>
                    <a:pt x="13" y="136"/>
                  </a:lnTo>
                  <a:lnTo>
                    <a:pt x="15" y="136"/>
                  </a:lnTo>
                  <a:lnTo>
                    <a:pt x="15" y="134"/>
                  </a:lnTo>
                  <a:lnTo>
                    <a:pt x="17" y="136"/>
                  </a:lnTo>
                  <a:lnTo>
                    <a:pt x="21" y="136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7" y="138"/>
                  </a:lnTo>
                  <a:lnTo>
                    <a:pt x="29" y="142"/>
                  </a:lnTo>
                  <a:lnTo>
                    <a:pt x="31" y="144"/>
                  </a:lnTo>
                  <a:lnTo>
                    <a:pt x="33" y="144"/>
                  </a:lnTo>
                  <a:lnTo>
                    <a:pt x="35" y="149"/>
                  </a:lnTo>
                  <a:lnTo>
                    <a:pt x="37" y="151"/>
                  </a:lnTo>
                  <a:lnTo>
                    <a:pt x="39" y="153"/>
                  </a:lnTo>
                  <a:lnTo>
                    <a:pt x="39" y="155"/>
                  </a:lnTo>
                  <a:lnTo>
                    <a:pt x="39" y="155"/>
                  </a:lnTo>
                  <a:lnTo>
                    <a:pt x="37" y="155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3" y="155"/>
                  </a:lnTo>
                  <a:lnTo>
                    <a:pt x="33" y="155"/>
                  </a:lnTo>
                  <a:lnTo>
                    <a:pt x="33" y="155"/>
                  </a:lnTo>
                  <a:lnTo>
                    <a:pt x="33" y="157"/>
                  </a:lnTo>
                  <a:lnTo>
                    <a:pt x="35" y="157"/>
                  </a:lnTo>
                  <a:lnTo>
                    <a:pt x="35" y="157"/>
                  </a:lnTo>
                  <a:lnTo>
                    <a:pt x="35" y="157"/>
                  </a:lnTo>
                  <a:lnTo>
                    <a:pt x="37" y="159"/>
                  </a:lnTo>
                  <a:lnTo>
                    <a:pt x="41" y="159"/>
                  </a:lnTo>
                  <a:lnTo>
                    <a:pt x="44" y="161"/>
                  </a:lnTo>
                  <a:lnTo>
                    <a:pt x="46" y="161"/>
                  </a:lnTo>
                  <a:lnTo>
                    <a:pt x="46" y="161"/>
                  </a:lnTo>
                  <a:lnTo>
                    <a:pt x="46" y="159"/>
                  </a:lnTo>
                  <a:lnTo>
                    <a:pt x="48" y="161"/>
                  </a:lnTo>
                  <a:lnTo>
                    <a:pt x="46" y="159"/>
                  </a:lnTo>
                  <a:lnTo>
                    <a:pt x="46" y="159"/>
                  </a:lnTo>
                  <a:lnTo>
                    <a:pt x="48" y="159"/>
                  </a:lnTo>
                  <a:lnTo>
                    <a:pt x="50" y="157"/>
                  </a:lnTo>
                  <a:lnTo>
                    <a:pt x="50" y="157"/>
                  </a:lnTo>
                  <a:lnTo>
                    <a:pt x="52" y="157"/>
                  </a:lnTo>
                  <a:lnTo>
                    <a:pt x="54" y="157"/>
                  </a:lnTo>
                  <a:lnTo>
                    <a:pt x="56" y="157"/>
                  </a:lnTo>
                  <a:lnTo>
                    <a:pt x="56" y="155"/>
                  </a:lnTo>
                  <a:lnTo>
                    <a:pt x="60" y="153"/>
                  </a:lnTo>
                  <a:lnTo>
                    <a:pt x="60" y="153"/>
                  </a:lnTo>
                  <a:lnTo>
                    <a:pt x="62" y="153"/>
                  </a:lnTo>
                  <a:lnTo>
                    <a:pt x="62" y="153"/>
                  </a:lnTo>
                  <a:lnTo>
                    <a:pt x="62" y="153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6" y="149"/>
                  </a:lnTo>
                  <a:lnTo>
                    <a:pt x="70" y="149"/>
                  </a:lnTo>
                  <a:lnTo>
                    <a:pt x="72" y="149"/>
                  </a:lnTo>
                  <a:lnTo>
                    <a:pt x="76" y="149"/>
                  </a:lnTo>
                  <a:lnTo>
                    <a:pt x="78" y="149"/>
                  </a:lnTo>
                  <a:lnTo>
                    <a:pt x="78" y="151"/>
                  </a:lnTo>
                  <a:lnTo>
                    <a:pt x="83" y="151"/>
                  </a:lnTo>
                  <a:lnTo>
                    <a:pt x="83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7" y="153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93" y="151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9" y="153"/>
                  </a:lnTo>
                  <a:lnTo>
                    <a:pt x="99" y="155"/>
                  </a:lnTo>
                  <a:lnTo>
                    <a:pt x="101" y="155"/>
                  </a:lnTo>
                  <a:lnTo>
                    <a:pt x="101" y="157"/>
                  </a:lnTo>
                  <a:lnTo>
                    <a:pt x="99" y="157"/>
                  </a:lnTo>
                  <a:lnTo>
                    <a:pt x="99" y="159"/>
                  </a:lnTo>
                  <a:lnTo>
                    <a:pt x="101" y="161"/>
                  </a:lnTo>
                  <a:lnTo>
                    <a:pt x="101" y="165"/>
                  </a:lnTo>
                  <a:lnTo>
                    <a:pt x="101" y="167"/>
                  </a:lnTo>
                  <a:lnTo>
                    <a:pt x="99" y="171"/>
                  </a:lnTo>
                  <a:lnTo>
                    <a:pt x="99" y="175"/>
                  </a:lnTo>
                  <a:lnTo>
                    <a:pt x="101" y="177"/>
                  </a:lnTo>
                  <a:lnTo>
                    <a:pt x="105" y="177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1" y="179"/>
                  </a:lnTo>
                  <a:lnTo>
                    <a:pt x="99" y="179"/>
                  </a:lnTo>
                  <a:lnTo>
                    <a:pt x="97" y="177"/>
                  </a:lnTo>
                  <a:lnTo>
                    <a:pt x="95" y="177"/>
                  </a:lnTo>
                  <a:lnTo>
                    <a:pt x="89" y="179"/>
                  </a:lnTo>
                  <a:lnTo>
                    <a:pt x="85" y="177"/>
                  </a:lnTo>
                  <a:lnTo>
                    <a:pt x="83" y="179"/>
                  </a:lnTo>
                  <a:lnTo>
                    <a:pt x="80" y="179"/>
                  </a:lnTo>
                  <a:lnTo>
                    <a:pt x="78" y="179"/>
                  </a:lnTo>
                  <a:lnTo>
                    <a:pt x="78" y="181"/>
                  </a:lnTo>
                  <a:lnTo>
                    <a:pt x="78" y="183"/>
                  </a:lnTo>
                  <a:lnTo>
                    <a:pt x="78" y="186"/>
                  </a:lnTo>
                  <a:lnTo>
                    <a:pt x="76" y="188"/>
                  </a:lnTo>
                  <a:lnTo>
                    <a:pt x="76" y="188"/>
                  </a:lnTo>
                  <a:lnTo>
                    <a:pt x="76" y="190"/>
                  </a:lnTo>
                  <a:lnTo>
                    <a:pt x="76" y="190"/>
                  </a:lnTo>
                  <a:lnTo>
                    <a:pt x="80" y="192"/>
                  </a:lnTo>
                  <a:lnTo>
                    <a:pt x="80" y="194"/>
                  </a:lnTo>
                  <a:lnTo>
                    <a:pt x="83" y="194"/>
                  </a:lnTo>
                  <a:lnTo>
                    <a:pt x="83" y="194"/>
                  </a:lnTo>
                  <a:lnTo>
                    <a:pt x="85" y="194"/>
                  </a:lnTo>
                  <a:lnTo>
                    <a:pt x="85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0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4" y="194"/>
                  </a:lnTo>
                  <a:lnTo>
                    <a:pt x="72" y="194"/>
                  </a:lnTo>
                  <a:lnTo>
                    <a:pt x="68" y="194"/>
                  </a:lnTo>
                  <a:lnTo>
                    <a:pt x="66" y="194"/>
                  </a:lnTo>
                  <a:lnTo>
                    <a:pt x="66" y="196"/>
                  </a:lnTo>
                  <a:lnTo>
                    <a:pt x="66" y="196"/>
                  </a:lnTo>
                  <a:lnTo>
                    <a:pt x="66" y="198"/>
                  </a:lnTo>
                  <a:lnTo>
                    <a:pt x="66" y="198"/>
                  </a:lnTo>
                  <a:lnTo>
                    <a:pt x="68" y="198"/>
                  </a:lnTo>
                  <a:lnTo>
                    <a:pt x="70" y="200"/>
                  </a:lnTo>
                  <a:lnTo>
                    <a:pt x="74" y="200"/>
                  </a:lnTo>
                  <a:lnTo>
                    <a:pt x="74" y="200"/>
                  </a:lnTo>
                  <a:lnTo>
                    <a:pt x="76" y="202"/>
                  </a:lnTo>
                  <a:lnTo>
                    <a:pt x="78" y="206"/>
                  </a:lnTo>
                  <a:lnTo>
                    <a:pt x="80" y="208"/>
                  </a:lnTo>
                  <a:lnTo>
                    <a:pt x="83" y="210"/>
                  </a:lnTo>
                  <a:lnTo>
                    <a:pt x="85" y="212"/>
                  </a:lnTo>
                  <a:lnTo>
                    <a:pt x="85" y="212"/>
                  </a:lnTo>
                  <a:lnTo>
                    <a:pt x="85" y="214"/>
                  </a:lnTo>
                  <a:lnTo>
                    <a:pt x="85" y="214"/>
                  </a:lnTo>
                  <a:lnTo>
                    <a:pt x="87" y="216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89" y="218"/>
                  </a:lnTo>
                  <a:lnTo>
                    <a:pt x="91" y="220"/>
                  </a:lnTo>
                  <a:lnTo>
                    <a:pt x="93" y="220"/>
                  </a:lnTo>
                  <a:lnTo>
                    <a:pt x="93" y="223"/>
                  </a:lnTo>
                  <a:lnTo>
                    <a:pt x="95" y="223"/>
                  </a:lnTo>
                  <a:lnTo>
                    <a:pt x="95" y="225"/>
                  </a:lnTo>
                  <a:lnTo>
                    <a:pt x="95" y="225"/>
                  </a:lnTo>
                  <a:lnTo>
                    <a:pt x="97" y="225"/>
                  </a:lnTo>
                  <a:lnTo>
                    <a:pt x="97" y="225"/>
                  </a:lnTo>
                  <a:lnTo>
                    <a:pt x="99" y="225"/>
                  </a:lnTo>
                  <a:lnTo>
                    <a:pt x="101" y="225"/>
                  </a:lnTo>
                  <a:lnTo>
                    <a:pt x="101" y="227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5" y="225"/>
                  </a:lnTo>
                  <a:lnTo>
                    <a:pt x="105" y="227"/>
                  </a:lnTo>
                  <a:lnTo>
                    <a:pt x="107" y="227"/>
                  </a:lnTo>
                  <a:lnTo>
                    <a:pt x="107" y="231"/>
                  </a:lnTo>
                  <a:lnTo>
                    <a:pt x="107" y="233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9"/>
                  </a:lnTo>
                  <a:lnTo>
                    <a:pt x="107" y="239"/>
                  </a:lnTo>
                  <a:lnTo>
                    <a:pt x="107" y="243"/>
                  </a:lnTo>
                  <a:lnTo>
                    <a:pt x="109" y="243"/>
                  </a:lnTo>
                  <a:lnTo>
                    <a:pt x="111" y="241"/>
                  </a:lnTo>
                  <a:lnTo>
                    <a:pt x="113" y="239"/>
                  </a:lnTo>
                  <a:lnTo>
                    <a:pt x="115" y="237"/>
                  </a:lnTo>
                  <a:lnTo>
                    <a:pt x="115" y="237"/>
                  </a:lnTo>
                  <a:lnTo>
                    <a:pt x="117" y="237"/>
                  </a:lnTo>
                  <a:lnTo>
                    <a:pt x="122" y="235"/>
                  </a:lnTo>
                  <a:lnTo>
                    <a:pt x="124" y="235"/>
                  </a:lnTo>
                  <a:lnTo>
                    <a:pt x="128" y="235"/>
                  </a:lnTo>
                  <a:lnTo>
                    <a:pt x="130" y="235"/>
                  </a:lnTo>
                  <a:lnTo>
                    <a:pt x="130" y="235"/>
                  </a:lnTo>
                  <a:lnTo>
                    <a:pt x="132" y="235"/>
                  </a:lnTo>
                  <a:lnTo>
                    <a:pt x="134" y="235"/>
                  </a:lnTo>
                  <a:lnTo>
                    <a:pt x="136" y="237"/>
                  </a:lnTo>
                  <a:lnTo>
                    <a:pt x="140" y="239"/>
                  </a:lnTo>
                  <a:lnTo>
                    <a:pt x="142" y="241"/>
                  </a:lnTo>
                  <a:lnTo>
                    <a:pt x="144" y="241"/>
                  </a:lnTo>
                  <a:lnTo>
                    <a:pt x="144" y="243"/>
                  </a:lnTo>
                  <a:lnTo>
                    <a:pt x="144" y="243"/>
                  </a:lnTo>
                  <a:lnTo>
                    <a:pt x="148" y="247"/>
                  </a:lnTo>
                  <a:lnTo>
                    <a:pt x="148" y="247"/>
                  </a:lnTo>
                  <a:lnTo>
                    <a:pt x="150" y="249"/>
                  </a:lnTo>
                  <a:lnTo>
                    <a:pt x="152" y="251"/>
                  </a:lnTo>
                  <a:lnTo>
                    <a:pt x="152" y="251"/>
                  </a:lnTo>
                  <a:lnTo>
                    <a:pt x="154" y="253"/>
                  </a:lnTo>
                  <a:lnTo>
                    <a:pt x="154" y="253"/>
                  </a:lnTo>
                  <a:lnTo>
                    <a:pt x="154" y="253"/>
                  </a:lnTo>
                  <a:lnTo>
                    <a:pt x="156" y="253"/>
                  </a:lnTo>
                  <a:lnTo>
                    <a:pt x="159" y="253"/>
                  </a:lnTo>
                  <a:lnTo>
                    <a:pt x="161" y="251"/>
                  </a:lnTo>
                  <a:lnTo>
                    <a:pt x="161" y="251"/>
                  </a:lnTo>
                  <a:lnTo>
                    <a:pt x="161" y="247"/>
                  </a:lnTo>
                  <a:lnTo>
                    <a:pt x="161" y="243"/>
                  </a:lnTo>
                  <a:lnTo>
                    <a:pt x="159" y="239"/>
                  </a:lnTo>
                  <a:lnTo>
                    <a:pt x="159" y="235"/>
                  </a:lnTo>
                  <a:lnTo>
                    <a:pt x="156" y="231"/>
                  </a:lnTo>
                  <a:lnTo>
                    <a:pt x="156" y="227"/>
                  </a:lnTo>
                  <a:lnTo>
                    <a:pt x="156" y="223"/>
                  </a:lnTo>
                  <a:lnTo>
                    <a:pt x="154" y="220"/>
                  </a:lnTo>
                  <a:lnTo>
                    <a:pt x="154" y="216"/>
                  </a:lnTo>
                  <a:lnTo>
                    <a:pt x="152" y="212"/>
                  </a:lnTo>
                  <a:lnTo>
                    <a:pt x="152" y="208"/>
                  </a:lnTo>
                  <a:lnTo>
                    <a:pt x="150" y="204"/>
                  </a:lnTo>
                  <a:lnTo>
                    <a:pt x="150" y="200"/>
                  </a:lnTo>
                  <a:lnTo>
                    <a:pt x="150" y="196"/>
                  </a:lnTo>
                  <a:lnTo>
                    <a:pt x="148" y="192"/>
                  </a:lnTo>
                  <a:lnTo>
                    <a:pt x="148" y="188"/>
                  </a:lnTo>
                  <a:lnTo>
                    <a:pt x="150" y="186"/>
                  </a:lnTo>
                  <a:lnTo>
                    <a:pt x="152" y="183"/>
                  </a:lnTo>
                  <a:lnTo>
                    <a:pt x="154" y="183"/>
                  </a:lnTo>
                  <a:lnTo>
                    <a:pt x="156" y="183"/>
                  </a:lnTo>
                  <a:lnTo>
                    <a:pt x="159" y="181"/>
                  </a:lnTo>
                  <a:lnTo>
                    <a:pt x="161" y="181"/>
                  </a:lnTo>
                  <a:lnTo>
                    <a:pt x="165" y="181"/>
                  </a:lnTo>
                  <a:lnTo>
                    <a:pt x="167" y="179"/>
                  </a:lnTo>
                  <a:lnTo>
                    <a:pt x="169" y="179"/>
                  </a:lnTo>
                  <a:lnTo>
                    <a:pt x="171" y="179"/>
                  </a:lnTo>
                  <a:lnTo>
                    <a:pt x="175" y="177"/>
                  </a:lnTo>
                  <a:lnTo>
                    <a:pt x="177" y="177"/>
                  </a:lnTo>
                  <a:lnTo>
                    <a:pt x="179" y="175"/>
                  </a:lnTo>
                  <a:lnTo>
                    <a:pt x="181" y="175"/>
                  </a:lnTo>
                  <a:lnTo>
                    <a:pt x="183" y="175"/>
                  </a:lnTo>
                  <a:lnTo>
                    <a:pt x="185" y="177"/>
                  </a:lnTo>
                  <a:lnTo>
                    <a:pt x="187" y="177"/>
                  </a:lnTo>
                  <a:lnTo>
                    <a:pt x="189" y="179"/>
                  </a:lnTo>
                  <a:lnTo>
                    <a:pt x="191" y="179"/>
                  </a:lnTo>
                  <a:lnTo>
                    <a:pt x="193" y="181"/>
                  </a:lnTo>
                  <a:lnTo>
                    <a:pt x="195" y="181"/>
                  </a:lnTo>
                  <a:lnTo>
                    <a:pt x="198" y="183"/>
                  </a:lnTo>
                  <a:lnTo>
                    <a:pt x="200" y="183"/>
                  </a:lnTo>
                  <a:lnTo>
                    <a:pt x="204" y="188"/>
                  </a:lnTo>
                  <a:lnTo>
                    <a:pt x="206" y="188"/>
                  </a:lnTo>
                  <a:lnTo>
                    <a:pt x="208" y="190"/>
                  </a:lnTo>
                  <a:lnTo>
                    <a:pt x="210" y="190"/>
                  </a:lnTo>
                  <a:lnTo>
                    <a:pt x="212" y="192"/>
                  </a:lnTo>
                  <a:lnTo>
                    <a:pt x="214" y="194"/>
                  </a:lnTo>
                  <a:lnTo>
                    <a:pt x="216" y="194"/>
                  </a:lnTo>
                  <a:lnTo>
                    <a:pt x="218" y="196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4" y="200"/>
                  </a:lnTo>
                  <a:lnTo>
                    <a:pt x="226" y="202"/>
                  </a:lnTo>
                  <a:lnTo>
                    <a:pt x="228" y="204"/>
                  </a:lnTo>
                  <a:lnTo>
                    <a:pt x="230" y="204"/>
                  </a:lnTo>
                  <a:lnTo>
                    <a:pt x="232" y="206"/>
                  </a:lnTo>
                  <a:lnTo>
                    <a:pt x="234" y="208"/>
                  </a:lnTo>
                  <a:lnTo>
                    <a:pt x="237" y="210"/>
                  </a:lnTo>
                  <a:lnTo>
                    <a:pt x="241" y="212"/>
                  </a:lnTo>
                  <a:lnTo>
                    <a:pt x="241" y="214"/>
                  </a:lnTo>
                  <a:lnTo>
                    <a:pt x="243" y="214"/>
                  </a:lnTo>
                  <a:lnTo>
                    <a:pt x="245" y="212"/>
                  </a:lnTo>
                  <a:lnTo>
                    <a:pt x="249" y="212"/>
                  </a:lnTo>
                  <a:lnTo>
                    <a:pt x="251" y="212"/>
                  </a:lnTo>
                  <a:lnTo>
                    <a:pt x="253" y="212"/>
                  </a:lnTo>
                  <a:lnTo>
                    <a:pt x="257" y="212"/>
                  </a:lnTo>
                  <a:lnTo>
                    <a:pt x="259" y="210"/>
                  </a:lnTo>
                  <a:lnTo>
                    <a:pt x="263" y="212"/>
                  </a:lnTo>
                  <a:lnTo>
                    <a:pt x="265" y="212"/>
                  </a:lnTo>
                  <a:lnTo>
                    <a:pt x="267" y="212"/>
                  </a:lnTo>
                  <a:lnTo>
                    <a:pt x="271" y="212"/>
                  </a:lnTo>
                  <a:lnTo>
                    <a:pt x="273" y="212"/>
                  </a:lnTo>
                  <a:lnTo>
                    <a:pt x="276" y="212"/>
                  </a:lnTo>
                  <a:lnTo>
                    <a:pt x="278" y="212"/>
                  </a:lnTo>
                  <a:lnTo>
                    <a:pt x="278" y="212"/>
                  </a:lnTo>
                  <a:lnTo>
                    <a:pt x="280" y="212"/>
                  </a:lnTo>
                  <a:lnTo>
                    <a:pt x="280" y="210"/>
                  </a:lnTo>
                  <a:lnTo>
                    <a:pt x="282" y="210"/>
                  </a:lnTo>
                  <a:lnTo>
                    <a:pt x="284" y="210"/>
                  </a:lnTo>
                  <a:lnTo>
                    <a:pt x="286" y="210"/>
                  </a:lnTo>
                  <a:lnTo>
                    <a:pt x="286" y="212"/>
                  </a:lnTo>
                  <a:lnTo>
                    <a:pt x="288" y="214"/>
                  </a:lnTo>
                  <a:lnTo>
                    <a:pt x="290" y="214"/>
                  </a:lnTo>
                  <a:lnTo>
                    <a:pt x="292" y="216"/>
                  </a:lnTo>
                  <a:lnTo>
                    <a:pt x="294" y="216"/>
                  </a:lnTo>
                  <a:lnTo>
                    <a:pt x="296" y="218"/>
                  </a:lnTo>
                  <a:lnTo>
                    <a:pt x="298" y="220"/>
                  </a:lnTo>
                  <a:lnTo>
                    <a:pt x="298" y="223"/>
                  </a:lnTo>
                  <a:lnTo>
                    <a:pt x="300" y="225"/>
                  </a:lnTo>
                  <a:lnTo>
                    <a:pt x="302" y="225"/>
                  </a:lnTo>
                  <a:lnTo>
                    <a:pt x="302" y="223"/>
                  </a:lnTo>
                  <a:lnTo>
                    <a:pt x="304" y="223"/>
                  </a:lnTo>
                  <a:lnTo>
                    <a:pt x="304" y="225"/>
                  </a:lnTo>
                  <a:lnTo>
                    <a:pt x="304" y="227"/>
                  </a:lnTo>
                  <a:lnTo>
                    <a:pt x="304" y="229"/>
                  </a:lnTo>
                  <a:lnTo>
                    <a:pt x="306" y="231"/>
                  </a:lnTo>
                  <a:lnTo>
                    <a:pt x="306" y="235"/>
                  </a:lnTo>
                  <a:lnTo>
                    <a:pt x="306" y="237"/>
                  </a:lnTo>
                  <a:lnTo>
                    <a:pt x="306" y="239"/>
                  </a:lnTo>
                  <a:lnTo>
                    <a:pt x="306" y="239"/>
                  </a:lnTo>
                  <a:lnTo>
                    <a:pt x="310" y="241"/>
                  </a:lnTo>
                  <a:lnTo>
                    <a:pt x="312" y="241"/>
                  </a:lnTo>
                  <a:lnTo>
                    <a:pt x="315" y="241"/>
                  </a:lnTo>
                  <a:lnTo>
                    <a:pt x="315" y="241"/>
                  </a:lnTo>
                  <a:lnTo>
                    <a:pt x="317" y="245"/>
                  </a:lnTo>
                  <a:lnTo>
                    <a:pt x="317" y="247"/>
                  </a:lnTo>
                  <a:lnTo>
                    <a:pt x="319" y="249"/>
                  </a:lnTo>
                  <a:lnTo>
                    <a:pt x="319" y="251"/>
                  </a:lnTo>
                  <a:lnTo>
                    <a:pt x="321" y="253"/>
                  </a:lnTo>
                  <a:lnTo>
                    <a:pt x="321" y="255"/>
                  </a:lnTo>
                  <a:lnTo>
                    <a:pt x="323" y="255"/>
                  </a:lnTo>
                  <a:lnTo>
                    <a:pt x="323" y="255"/>
                  </a:lnTo>
                  <a:lnTo>
                    <a:pt x="327" y="255"/>
                  </a:lnTo>
                  <a:lnTo>
                    <a:pt x="329" y="255"/>
                  </a:lnTo>
                  <a:lnTo>
                    <a:pt x="331" y="255"/>
                  </a:lnTo>
                  <a:lnTo>
                    <a:pt x="333" y="255"/>
                  </a:lnTo>
                  <a:lnTo>
                    <a:pt x="337" y="255"/>
                  </a:lnTo>
                  <a:lnTo>
                    <a:pt x="337" y="255"/>
                  </a:lnTo>
                  <a:lnTo>
                    <a:pt x="339" y="255"/>
                  </a:lnTo>
                  <a:lnTo>
                    <a:pt x="339" y="255"/>
                  </a:lnTo>
                  <a:lnTo>
                    <a:pt x="341" y="255"/>
                  </a:lnTo>
                  <a:lnTo>
                    <a:pt x="341" y="255"/>
                  </a:lnTo>
                  <a:lnTo>
                    <a:pt x="341" y="258"/>
                  </a:lnTo>
                  <a:lnTo>
                    <a:pt x="343" y="258"/>
                  </a:lnTo>
                  <a:lnTo>
                    <a:pt x="343" y="260"/>
                  </a:lnTo>
                  <a:lnTo>
                    <a:pt x="343" y="260"/>
                  </a:lnTo>
                  <a:lnTo>
                    <a:pt x="343" y="262"/>
                  </a:lnTo>
                  <a:lnTo>
                    <a:pt x="343" y="262"/>
                  </a:lnTo>
                  <a:lnTo>
                    <a:pt x="345" y="264"/>
                  </a:lnTo>
                  <a:lnTo>
                    <a:pt x="347" y="264"/>
                  </a:lnTo>
                  <a:lnTo>
                    <a:pt x="349" y="266"/>
                  </a:lnTo>
                  <a:lnTo>
                    <a:pt x="349" y="266"/>
                  </a:lnTo>
                  <a:lnTo>
                    <a:pt x="352" y="266"/>
                  </a:lnTo>
                  <a:lnTo>
                    <a:pt x="352" y="264"/>
                  </a:lnTo>
                  <a:lnTo>
                    <a:pt x="352" y="264"/>
                  </a:lnTo>
                  <a:lnTo>
                    <a:pt x="352" y="262"/>
                  </a:lnTo>
                  <a:lnTo>
                    <a:pt x="349" y="262"/>
                  </a:lnTo>
                  <a:lnTo>
                    <a:pt x="349" y="260"/>
                  </a:lnTo>
                  <a:lnTo>
                    <a:pt x="352" y="260"/>
                  </a:lnTo>
                  <a:lnTo>
                    <a:pt x="352" y="258"/>
                  </a:lnTo>
                  <a:lnTo>
                    <a:pt x="354" y="255"/>
                  </a:lnTo>
                  <a:lnTo>
                    <a:pt x="356" y="253"/>
                  </a:lnTo>
                  <a:lnTo>
                    <a:pt x="356" y="253"/>
                  </a:lnTo>
                  <a:lnTo>
                    <a:pt x="356" y="251"/>
                  </a:lnTo>
                  <a:lnTo>
                    <a:pt x="356" y="251"/>
                  </a:lnTo>
                  <a:lnTo>
                    <a:pt x="358" y="249"/>
                  </a:lnTo>
                  <a:lnTo>
                    <a:pt x="360" y="249"/>
                  </a:lnTo>
                  <a:lnTo>
                    <a:pt x="360" y="249"/>
                  </a:lnTo>
                  <a:lnTo>
                    <a:pt x="362" y="247"/>
                  </a:lnTo>
                  <a:lnTo>
                    <a:pt x="362" y="245"/>
                  </a:lnTo>
                  <a:lnTo>
                    <a:pt x="364" y="245"/>
                  </a:lnTo>
                  <a:lnTo>
                    <a:pt x="366" y="245"/>
                  </a:lnTo>
                  <a:lnTo>
                    <a:pt x="368" y="243"/>
                  </a:lnTo>
                  <a:lnTo>
                    <a:pt x="370" y="241"/>
                  </a:lnTo>
                  <a:lnTo>
                    <a:pt x="370" y="239"/>
                  </a:lnTo>
                  <a:lnTo>
                    <a:pt x="372" y="239"/>
                  </a:lnTo>
                  <a:lnTo>
                    <a:pt x="372" y="239"/>
                  </a:lnTo>
                  <a:lnTo>
                    <a:pt x="374" y="239"/>
                  </a:lnTo>
                  <a:lnTo>
                    <a:pt x="374" y="239"/>
                  </a:lnTo>
                  <a:lnTo>
                    <a:pt x="374" y="239"/>
                  </a:lnTo>
                  <a:lnTo>
                    <a:pt x="376" y="239"/>
                  </a:lnTo>
                  <a:lnTo>
                    <a:pt x="376" y="237"/>
                  </a:lnTo>
                  <a:lnTo>
                    <a:pt x="376" y="237"/>
                  </a:lnTo>
                  <a:lnTo>
                    <a:pt x="378" y="237"/>
                  </a:lnTo>
                  <a:lnTo>
                    <a:pt x="378" y="235"/>
                  </a:lnTo>
                  <a:lnTo>
                    <a:pt x="378" y="235"/>
                  </a:lnTo>
                  <a:lnTo>
                    <a:pt x="378" y="235"/>
                  </a:lnTo>
                  <a:lnTo>
                    <a:pt x="378" y="233"/>
                  </a:lnTo>
                  <a:lnTo>
                    <a:pt x="378" y="233"/>
                  </a:lnTo>
                  <a:lnTo>
                    <a:pt x="378" y="231"/>
                  </a:lnTo>
                  <a:lnTo>
                    <a:pt x="380" y="229"/>
                  </a:lnTo>
                  <a:lnTo>
                    <a:pt x="380" y="229"/>
                  </a:lnTo>
                  <a:lnTo>
                    <a:pt x="380" y="227"/>
                  </a:lnTo>
                  <a:lnTo>
                    <a:pt x="382" y="227"/>
                  </a:lnTo>
                  <a:lnTo>
                    <a:pt x="384" y="227"/>
                  </a:lnTo>
                  <a:lnTo>
                    <a:pt x="386" y="227"/>
                  </a:lnTo>
                  <a:lnTo>
                    <a:pt x="388" y="225"/>
                  </a:lnTo>
                  <a:lnTo>
                    <a:pt x="388" y="225"/>
                  </a:lnTo>
                  <a:lnTo>
                    <a:pt x="388" y="225"/>
                  </a:lnTo>
                  <a:lnTo>
                    <a:pt x="395" y="227"/>
                  </a:lnTo>
                  <a:lnTo>
                    <a:pt x="397" y="227"/>
                  </a:lnTo>
                  <a:lnTo>
                    <a:pt x="401" y="229"/>
                  </a:lnTo>
                  <a:lnTo>
                    <a:pt x="403" y="229"/>
                  </a:lnTo>
                  <a:lnTo>
                    <a:pt x="403" y="229"/>
                  </a:lnTo>
                  <a:lnTo>
                    <a:pt x="405" y="229"/>
                  </a:lnTo>
                  <a:lnTo>
                    <a:pt x="405" y="231"/>
                  </a:lnTo>
                  <a:lnTo>
                    <a:pt x="411" y="231"/>
                  </a:lnTo>
                  <a:lnTo>
                    <a:pt x="413" y="231"/>
                  </a:lnTo>
                  <a:lnTo>
                    <a:pt x="413" y="231"/>
                  </a:lnTo>
                  <a:lnTo>
                    <a:pt x="415" y="233"/>
                  </a:lnTo>
                  <a:lnTo>
                    <a:pt x="415" y="233"/>
                  </a:lnTo>
                  <a:lnTo>
                    <a:pt x="413" y="229"/>
                  </a:lnTo>
                  <a:lnTo>
                    <a:pt x="413" y="227"/>
                  </a:lnTo>
                  <a:lnTo>
                    <a:pt x="413" y="223"/>
                  </a:lnTo>
                  <a:lnTo>
                    <a:pt x="413" y="220"/>
                  </a:lnTo>
                  <a:lnTo>
                    <a:pt x="415" y="220"/>
                  </a:lnTo>
                  <a:lnTo>
                    <a:pt x="417" y="220"/>
                  </a:lnTo>
                  <a:lnTo>
                    <a:pt x="419" y="218"/>
                  </a:lnTo>
                  <a:lnTo>
                    <a:pt x="421" y="218"/>
                  </a:lnTo>
                  <a:lnTo>
                    <a:pt x="421" y="218"/>
                  </a:lnTo>
                  <a:lnTo>
                    <a:pt x="421" y="218"/>
                  </a:lnTo>
                  <a:lnTo>
                    <a:pt x="421" y="218"/>
                  </a:lnTo>
                  <a:lnTo>
                    <a:pt x="425" y="218"/>
                  </a:lnTo>
                  <a:lnTo>
                    <a:pt x="430" y="220"/>
                  </a:lnTo>
                  <a:lnTo>
                    <a:pt x="432" y="223"/>
                  </a:lnTo>
                  <a:lnTo>
                    <a:pt x="436" y="225"/>
                  </a:lnTo>
                  <a:lnTo>
                    <a:pt x="442" y="225"/>
                  </a:lnTo>
                  <a:lnTo>
                    <a:pt x="446" y="225"/>
                  </a:lnTo>
                  <a:lnTo>
                    <a:pt x="446" y="225"/>
                  </a:lnTo>
                  <a:lnTo>
                    <a:pt x="446" y="223"/>
                  </a:lnTo>
                  <a:lnTo>
                    <a:pt x="448" y="223"/>
                  </a:lnTo>
                  <a:lnTo>
                    <a:pt x="448" y="225"/>
                  </a:lnTo>
                  <a:lnTo>
                    <a:pt x="452" y="225"/>
                  </a:lnTo>
                  <a:lnTo>
                    <a:pt x="458" y="225"/>
                  </a:lnTo>
                  <a:lnTo>
                    <a:pt x="460" y="225"/>
                  </a:lnTo>
                  <a:lnTo>
                    <a:pt x="464" y="223"/>
                  </a:lnTo>
                  <a:lnTo>
                    <a:pt x="464" y="223"/>
                  </a:lnTo>
                  <a:lnTo>
                    <a:pt x="464" y="223"/>
                  </a:lnTo>
                  <a:lnTo>
                    <a:pt x="469" y="225"/>
                  </a:lnTo>
                  <a:lnTo>
                    <a:pt x="471" y="225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5" y="225"/>
                  </a:lnTo>
                  <a:lnTo>
                    <a:pt x="477" y="225"/>
                  </a:lnTo>
                  <a:lnTo>
                    <a:pt x="481" y="225"/>
                  </a:lnTo>
                  <a:lnTo>
                    <a:pt x="483" y="225"/>
                  </a:lnTo>
                  <a:lnTo>
                    <a:pt x="485" y="225"/>
                  </a:lnTo>
                  <a:lnTo>
                    <a:pt x="487" y="225"/>
                  </a:lnTo>
                  <a:lnTo>
                    <a:pt x="489" y="225"/>
                  </a:lnTo>
                  <a:lnTo>
                    <a:pt x="491" y="227"/>
                  </a:lnTo>
                  <a:lnTo>
                    <a:pt x="493" y="227"/>
                  </a:lnTo>
                  <a:lnTo>
                    <a:pt x="493" y="227"/>
                  </a:lnTo>
                  <a:lnTo>
                    <a:pt x="495" y="227"/>
                  </a:lnTo>
                  <a:lnTo>
                    <a:pt x="497" y="227"/>
                  </a:lnTo>
                  <a:lnTo>
                    <a:pt x="497" y="227"/>
                  </a:lnTo>
                  <a:lnTo>
                    <a:pt x="499" y="229"/>
                  </a:lnTo>
                  <a:lnTo>
                    <a:pt x="499" y="229"/>
                  </a:lnTo>
                  <a:lnTo>
                    <a:pt x="501" y="231"/>
                  </a:lnTo>
                  <a:lnTo>
                    <a:pt x="503" y="231"/>
                  </a:lnTo>
                  <a:lnTo>
                    <a:pt x="503" y="233"/>
                  </a:lnTo>
                  <a:lnTo>
                    <a:pt x="505" y="233"/>
                  </a:lnTo>
                  <a:lnTo>
                    <a:pt x="508" y="233"/>
                  </a:lnTo>
                  <a:lnTo>
                    <a:pt x="510" y="233"/>
                  </a:lnTo>
                  <a:lnTo>
                    <a:pt x="514" y="235"/>
                  </a:lnTo>
                  <a:lnTo>
                    <a:pt x="516" y="237"/>
                  </a:lnTo>
                  <a:lnTo>
                    <a:pt x="516" y="237"/>
                  </a:lnTo>
                  <a:lnTo>
                    <a:pt x="516" y="235"/>
                  </a:lnTo>
                  <a:lnTo>
                    <a:pt x="516" y="235"/>
                  </a:lnTo>
                  <a:lnTo>
                    <a:pt x="514" y="233"/>
                  </a:lnTo>
                  <a:lnTo>
                    <a:pt x="514" y="231"/>
                  </a:lnTo>
                  <a:lnTo>
                    <a:pt x="514" y="229"/>
                  </a:lnTo>
                  <a:lnTo>
                    <a:pt x="512" y="229"/>
                  </a:lnTo>
                  <a:lnTo>
                    <a:pt x="512" y="227"/>
                  </a:lnTo>
                  <a:lnTo>
                    <a:pt x="514" y="227"/>
                  </a:lnTo>
                  <a:lnTo>
                    <a:pt x="516" y="225"/>
                  </a:lnTo>
                  <a:lnTo>
                    <a:pt x="518" y="225"/>
                  </a:lnTo>
                  <a:lnTo>
                    <a:pt x="516" y="225"/>
                  </a:lnTo>
                  <a:lnTo>
                    <a:pt x="516" y="223"/>
                  </a:lnTo>
                  <a:lnTo>
                    <a:pt x="514" y="223"/>
                  </a:lnTo>
                  <a:lnTo>
                    <a:pt x="514" y="223"/>
                  </a:lnTo>
                  <a:lnTo>
                    <a:pt x="514" y="223"/>
                  </a:lnTo>
                  <a:lnTo>
                    <a:pt x="514" y="223"/>
                  </a:lnTo>
                  <a:lnTo>
                    <a:pt x="516" y="220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20" y="220"/>
                  </a:lnTo>
                  <a:lnTo>
                    <a:pt x="518" y="218"/>
                  </a:lnTo>
                  <a:lnTo>
                    <a:pt x="518" y="218"/>
                  </a:lnTo>
                  <a:lnTo>
                    <a:pt x="518" y="218"/>
                  </a:lnTo>
                  <a:lnTo>
                    <a:pt x="516" y="216"/>
                  </a:lnTo>
                  <a:lnTo>
                    <a:pt x="516" y="216"/>
                  </a:lnTo>
                  <a:lnTo>
                    <a:pt x="516" y="214"/>
                  </a:lnTo>
                  <a:lnTo>
                    <a:pt x="514" y="212"/>
                  </a:lnTo>
                  <a:lnTo>
                    <a:pt x="514" y="210"/>
                  </a:lnTo>
                  <a:lnTo>
                    <a:pt x="510" y="206"/>
                  </a:lnTo>
                  <a:lnTo>
                    <a:pt x="510" y="206"/>
                  </a:lnTo>
                  <a:lnTo>
                    <a:pt x="508" y="204"/>
                  </a:lnTo>
                  <a:lnTo>
                    <a:pt x="508" y="202"/>
                  </a:lnTo>
                  <a:lnTo>
                    <a:pt x="508" y="202"/>
                  </a:lnTo>
                  <a:lnTo>
                    <a:pt x="505" y="200"/>
                  </a:lnTo>
                  <a:lnTo>
                    <a:pt x="505" y="198"/>
                  </a:lnTo>
                  <a:lnTo>
                    <a:pt x="505" y="196"/>
                  </a:lnTo>
                  <a:lnTo>
                    <a:pt x="503" y="194"/>
                  </a:lnTo>
                  <a:lnTo>
                    <a:pt x="503" y="194"/>
                  </a:lnTo>
                  <a:lnTo>
                    <a:pt x="503" y="194"/>
                  </a:lnTo>
                  <a:lnTo>
                    <a:pt x="503" y="192"/>
                  </a:lnTo>
                  <a:lnTo>
                    <a:pt x="505" y="192"/>
                  </a:lnTo>
                  <a:lnTo>
                    <a:pt x="505" y="192"/>
                  </a:lnTo>
                  <a:lnTo>
                    <a:pt x="505" y="192"/>
                  </a:lnTo>
                  <a:lnTo>
                    <a:pt x="503" y="192"/>
                  </a:lnTo>
                  <a:lnTo>
                    <a:pt x="501" y="190"/>
                  </a:lnTo>
                  <a:lnTo>
                    <a:pt x="499" y="190"/>
                  </a:lnTo>
                  <a:lnTo>
                    <a:pt x="497" y="190"/>
                  </a:lnTo>
                  <a:lnTo>
                    <a:pt x="497" y="190"/>
                  </a:lnTo>
                  <a:lnTo>
                    <a:pt x="495" y="190"/>
                  </a:lnTo>
                  <a:lnTo>
                    <a:pt x="495" y="190"/>
                  </a:lnTo>
                  <a:lnTo>
                    <a:pt x="495" y="188"/>
                  </a:lnTo>
                  <a:lnTo>
                    <a:pt x="497" y="186"/>
                  </a:lnTo>
                  <a:lnTo>
                    <a:pt x="499" y="186"/>
                  </a:lnTo>
                  <a:lnTo>
                    <a:pt x="501" y="183"/>
                  </a:lnTo>
                  <a:lnTo>
                    <a:pt x="503" y="183"/>
                  </a:lnTo>
                  <a:lnTo>
                    <a:pt x="505" y="183"/>
                  </a:lnTo>
                  <a:lnTo>
                    <a:pt x="508" y="183"/>
                  </a:lnTo>
                  <a:lnTo>
                    <a:pt x="508" y="183"/>
                  </a:lnTo>
                  <a:lnTo>
                    <a:pt x="510" y="181"/>
                  </a:lnTo>
                  <a:lnTo>
                    <a:pt x="514" y="181"/>
                  </a:lnTo>
                  <a:lnTo>
                    <a:pt x="518" y="179"/>
                  </a:lnTo>
                  <a:lnTo>
                    <a:pt x="518" y="179"/>
                  </a:lnTo>
                  <a:lnTo>
                    <a:pt x="520" y="179"/>
                  </a:lnTo>
                  <a:lnTo>
                    <a:pt x="522" y="181"/>
                  </a:lnTo>
                  <a:lnTo>
                    <a:pt x="522" y="181"/>
                  </a:lnTo>
                  <a:lnTo>
                    <a:pt x="524" y="183"/>
                  </a:lnTo>
                  <a:lnTo>
                    <a:pt x="524" y="183"/>
                  </a:lnTo>
                  <a:lnTo>
                    <a:pt x="526" y="181"/>
                  </a:lnTo>
                  <a:lnTo>
                    <a:pt x="528" y="181"/>
                  </a:lnTo>
                  <a:lnTo>
                    <a:pt x="528" y="181"/>
                  </a:lnTo>
                  <a:lnTo>
                    <a:pt x="530" y="181"/>
                  </a:lnTo>
                  <a:lnTo>
                    <a:pt x="532" y="183"/>
                  </a:lnTo>
                  <a:lnTo>
                    <a:pt x="532" y="183"/>
                  </a:lnTo>
                  <a:lnTo>
                    <a:pt x="532" y="183"/>
                  </a:lnTo>
                  <a:lnTo>
                    <a:pt x="532" y="181"/>
                  </a:lnTo>
                  <a:lnTo>
                    <a:pt x="532" y="179"/>
                  </a:lnTo>
                  <a:lnTo>
                    <a:pt x="532" y="179"/>
                  </a:lnTo>
                  <a:lnTo>
                    <a:pt x="532" y="177"/>
                  </a:lnTo>
                  <a:lnTo>
                    <a:pt x="530" y="177"/>
                  </a:lnTo>
                  <a:lnTo>
                    <a:pt x="528" y="177"/>
                  </a:lnTo>
                  <a:lnTo>
                    <a:pt x="526" y="175"/>
                  </a:lnTo>
                  <a:lnTo>
                    <a:pt x="526" y="175"/>
                  </a:lnTo>
                  <a:lnTo>
                    <a:pt x="526" y="175"/>
                  </a:lnTo>
                  <a:lnTo>
                    <a:pt x="526" y="173"/>
                  </a:lnTo>
                  <a:lnTo>
                    <a:pt x="526" y="171"/>
                  </a:lnTo>
                  <a:lnTo>
                    <a:pt x="526" y="167"/>
                  </a:lnTo>
                  <a:lnTo>
                    <a:pt x="526" y="165"/>
                  </a:lnTo>
                  <a:lnTo>
                    <a:pt x="526" y="161"/>
                  </a:lnTo>
                  <a:lnTo>
                    <a:pt x="526" y="157"/>
                  </a:lnTo>
                  <a:lnTo>
                    <a:pt x="528" y="151"/>
                  </a:lnTo>
                  <a:lnTo>
                    <a:pt x="526" y="149"/>
                  </a:lnTo>
                  <a:lnTo>
                    <a:pt x="526" y="146"/>
                  </a:lnTo>
                  <a:lnTo>
                    <a:pt x="526" y="146"/>
                  </a:lnTo>
                  <a:lnTo>
                    <a:pt x="528" y="146"/>
                  </a:lnTo>
                  <a:lnTo>
                    <a:pt x="528" y="146"/>
                  </a:lnTo>
                  <a:lnTo>
                    <a:pt x="532" y="149"/>
                  </a:lnTo>
                  <a:lnTo>
                    <a:pt x="536" y="149"/>
                  </a:lnTo>
                  <a:lnTo>
                    <a:pt x="536" y="149"/>
                  </a:lnTo>
                  <a:lnTo>
                    <a:pt x="538" y="151"/>
                  </a:lnTo>
                  <a:lnTo>
                    <a:pt x="542" y="151"/>
                  </a:lnTo>
                  <a:lnTo>
                    <a:pt x="542" y="151"/>
                  </a:lnTo>
                  <a:lnTo>
                    <a:pt x="544" y="151"/>
                  </a:lnTo>
                  <a:lnTo>
                    <a:pt x="547" y="151"/>
                  </a:lnTo>
                  <a:lnTo>
                    <a:pt x="549" y="151"/>
                  </a:lnTo>
                  <a:lnTo>
                    <a:pt x="551" y="151"/>
                  </a:lnTo>
                  <a:lnTo>
                    <a:pt x="551" y="151"/>
                  </a:lnTo>
                  <a:lnTo>
                    <a:pt x="553" y="151"/>
                  </a:lnTo>
                  <a:lnTo>
                    <a:pt x="553" y="153"/>
                  </a:lnTo>
                  <a:lnTo>
                    <a:pt x="555" y="153"/>
                  </a:lnTo>
                  <a:lnTo>
                    <a:pt x="555" y="153"/>
                  </a:lnTo>
                  <a:lnTo>
                    <a:pt x="557" y="151"/>
                  </a:lnTo>
                  <a:lnTo>
                    <a:pt x="557" y="151"/>
                  </a:lnTo>
                  <a:lnTo>
                    <a:pt x="559" y="149"/>
                  </a:lnTo>
                  <a:lnTo>
                    <a:pt x="561" y="149"/>
                  </a:lnTo>
                  <a:lnTo>
                    <a:pt x="563" y="149"/>
                  </a:lnTo>
                  <a:lnTo>
                    <a:pt x="563" y="149"/>
                  </a:lnTo>
                  <a:lnTo>
                    <a:pt x="563" y="146"/>
                  </a:lnTo>
                  <a:lnTo>
                    <a:pt x="563" y="144"/>
                  </a:lnTo>
                  <a:lnTo>
                    <a:pt x="563" y="144"/>
                  </a:lnTo>
                  <a:lnTo>
                    <a:pt x="563" y="142"/>
                  </a:lnTo>
                  <a:lnTo>
                    <a:pt x="561" y="140"/>
                  </a:lnTo>
                  <a:lnTo>
                    <a:pt x="561" y="140"/>
                  </a:lnTo>
                  <a:lnTo>
                    <a:pt x="559" y="136"/>
                  </a:lnTo>
                  <a:lnTo>
                    <a:pt x="557" y="132"/>
                  </a:lnTo>
                  <a:lnTo>
                    <a:pt x="557" y="130"/>
                  </a:lnTo>
                  <a:lnTo>
                    <a:pt x="557" y="128"/>
                  </a:lnTo>
                  <a:lnTo>
                    <a:pt x="557" y="128"/>
                  </a:lnTo>
                  <a:lnTo>
                    <a:pt x="557" y="126"/>
                  </a:lnTo>
                  <a:lnTo>
                    <a:pt x="557" y="124"/>
                  </a:lnTo>
                  <a:lnTo>
                    <a:pt x="559" y="124"/>
                  </a:lnTo>
                  <a:lnTo>
                    <a:pt x="561" y="124"/>
                  </a:lnTo>
                  <a:lnTo>
                    <a:pt x="563" y="124"/>
                  </a:lnTo>
                  <a:lnTo>
                    <a:pt x="565" y="124"/>
                  </a:lnTo>
                  <a:lnTo>
                    <a:pt x="567" y="122"/>
                  </a:lnTo>
                  <a:lnTo>
                    <a:pt x="567" y="122"/>
                  </a:lnTo>
                  <a:lnTo>
                    <a:pt x="569" y="120"/>
                  </a:lnTo>
                  <a:lnTo>
                    <a:pt x="569" y="120"/>
                  </a:lnTo>
                  <a:lnTo>
                    <a:pt x="567" y="116"/>
                  </a:lnTo>
                  <a:lnTo>
                    <a:pt x="567" y="116"/>
                  </a:lnTo>
                  <a:lnTo>
                    <a:pt x="567" y="114"/>
                  </a:lnTo>
                  <a:lnTo>
                    <a:pt x="567" y="114"/>
                  </a:lnTo>
                  <a:lnTo>
                    <a:pt x="569" y="112"/>
                  </a:lnTo>
                  <a:lnTo>
                    <a:pt x="569" y="112"/>
                  </a:lnTo>
                  <a:lnTo>
                    <a:pt x="571" y="112"/>
                  </a:lnTo>
                  <a:lnTo>
                    <a:pt x="573" y="112"/>
                  </a:lnTo>
                  <a:lnTo>
                    <a:pt x="575" y="112"/>
                  </a:lnTo>
                  <a:lnTo>
                    <a:pt x="573" y="11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8" name="Freeform 140">
              <a:extLst>
                <a:ext uri="{FF2B5EF4-FFF2-40B4-BE49-F238E27FC236}">
                  <a16:creationId xmlns:a16="http://schemas.microsoft.com/office/drawing/2014/main" id="{26AD9CE7-5C61-544D-BA1C-2B248143C8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2845" y="2541497"/>
              <a:ext cx="335125" cy="462283"/>
            </a:xfrm>
            <a:custGeom>
              <a:avLst/>
              <a:gdLst>
                <a:gd name="T0" fmla="*/ 9 w 282"/>
                <a:gd name="T1" fmla="*/ 389 h 389"/>
                <a:gd name="T2" fmla="*/ 282 w 282"/>
                <a:gd name="T3" fmla="*/ 346 h 389"/>
                <a:gd name="T4" fmla="*/ 56 w 282"/>
                <a:gd name="T5" fmla="*/ 354 h 389"/>
                <a:gd name="T6" fmla="*/ 62 w 282"/>
                <a:gd name="T7" fmla="*/ 344 h 389"/>
                <a:gd name="T8" fmla="*/ 76 w 282"/>
                <a:gd name="T9" fmla="*/ 311 h 389"/>
                <a:gd name="T10" fmla="*/ 76 w 282"/>
                <a:gd name="T11" fmla="*/ 313 h 389"/>
                <a:gd name="T12" fmla="*/ 82 w 282"/>
                <a:gd name="T13" fmla="*/ 276 h 389"/>
                <a:gd name="T14" fmla="*/ 60 w 282"/>
                <a:gd name="T15" fmla="*/ 241 h 389"/>
                <a:gd name="T16" fmla="*/ 35 w 282"/>
                <a:gd name="T17" fmla="*/ 235 h 389"/>
                <a:gd name="T18" fmla="*/ 202 w 282"/>
                <a:gd name="T19" fmla="*/ 226 h 389"/>
                <a:gd name="T20" fmla="*/ 43 w 282"/>
                <a:gd name="T21" fmla="*/ 226 h 389"/>
                <a:gd name="T22" fmla="*/ 82 w 282"/>
                <a:gd name="T23" fmla="*/ 249 h 389"/>
                <a:gd name="T24" fmla="*/ 74 w 282"/>
                <a:gd name="T25" fmla="*/ 224 h 389"/>
                <a:gd name="T26" fmla="*/ 54 w 282"/>
                <a:gd name="T27" fmla="*/ 214 h 389"/>
                <a:gd name="T28" fmla="*/ 48 w 282"/>
                <a:gd name="T29" fmla="*/ 226 h 389"/>
                <a:gd name="T30" fmla="*/ 56 w 282"/>
                <a:gd name="T31" fmla="*/ 235 h 389"/>
                <a:gd name="T32" fmla="*/ 58 w 282"/>
                <a:gd name="T33" fmla="*/ 228 h 389"/>
                <a:gd name="T34" fmla="*/ 68 w 282"/>
                <a:gd name="T35" fmla="*/ 255 h 389"/>
                <a:gd name="T36" fmla="*/ 74 w 282"/>
                <a:gd name="T37" fmla="*/ 253 h 389"/>
                <a:gd name="T38" fmla="*/ 80 w 282"/>
                <a:gd name="T39" fmla="*/ 212 h 389"/>
                <a:gd name="T40" fmla="*/ 85 w 282"/>
                <a:gd name="T41" fmla="*/ 210 h 389"/>
                <a:gd name="T42" fmla="*/ 101 w 282"/>
                <a:gd name="T43" fmla="*/ 206 h 389"/>
                <a:gd name="T44" fmla="*/ 89 w 282"/>
                <a:gd name="T45" fmla="*/ 214 h 389"/>
                <a:gd name="T46" fmla="*/ 91 w 282"/>
                <a:gd name="T47" fmla="*/ 228 h 389"/>
                <a:gd name="T48" fmla="*/ 109 w 282"/>
                <a:gd name="T49" fmla="*/ 220 h 389"/>
                <a:gd name="T50" fmla="*/ 107 w 282"/>
                <a:gd name="T51" fmla="*/ 202 h 389"/>
                <a:gd name="T52" fmla="*/ 33 w 282"/>
                <a:gd name="T53" fmla="*/ 206 h 389"/>
                <a:gd name="T54" fmla="*/ 185 w 282"/>
                <a:gd name="T55" fmla="*/ 198 h 389"/>
                <a:gd name="T56" fmla="*/ 140 w 282"/>
                <a:gd name="T57" fmla="*/ 134 h 389"/>
                <a:gd name="T58" fmla="*/ 187 w 282"/>
                <a:gd name="T59" fmla="*/ 159 h 389"/>
                <a:gd name="T60" fmla="*/ 183 w 282"/>
                <a:gd name="T61" fmla="*/ 122 h 389"/>
                <a:gd name="T62" fmla="*/ 177 w 282"/>
                <a:gd name="T63" fmla="*/ 101 h 389"/>
                <a:gd name="T64" fmla="*/ 146 w 282"/>
                <a:gd name="T65" fmla="*/ 78 h 389"/>
                <a:gd name="T66" fmla="*/ 146 w 282"/>
                <a:gd name="T67" fmla="*/ 80 h 389"/>
                <a:gd name="T68" fmla="*/ 140 w 282"/>
                <a:gd name="T69" fmla="*/ 91 h 389"/>
                <a:gd name="T70" fmla="*/ 154 w 282"/>
                <a:gd name="T71" fmla="*/ 111 h 389"/>
                <a:gd name="T72" fmla="*/ 150 w 282"/>
                <a:gd name="T73" fmla="*/ 144 h 389"/>
                <a:gd name="T74" fmla="*/ 128 w 282"/>
                <a:gd name="T75" fmla="*/ 152 h 389"/>
                <a:gd name="T76" fmla="*/ 124 w 282"/>
                <a:gd name="T77" fmla="*/ 175 h 389"/>
                <a:gd name="T78" fmla="*/ 99 w 282"/>
                <a:gd name="T79" fmla="*/ 183 h 389"/>
                <a:gd name="T80" fmla="*/ 70 w 282"/>
                <a:gd name="T81" fmla="*/ 196 h 389"/>
                <a:gd name="T82" fmla="*/ 66 w 282"/>
                <a:gd name="T83" fmla="*/ 212 h 389"/>
                <a:gd name="T84" fmla="*/ 95 w 282"/>
                <a:gd name="T85" fmla="*/ 204 h 389"/>
                <a:gd name="T86" fmla="*/ 124 w 282"/>
                <a:gd name="T87" fmla="*/ 200 h 389"/>
                <a:gd name="T88" fmla="*/ 142 w 282"/>
                <a:gd name="T89" fmla="*/ 210 h 389"/>
                <a:gd name="T90" fmla="*/ 146 w 282"/>
                <a:gd name="T91" fmla="*/ 196 h 389"/>
                <a:gd name="T92" fmla="*/ 163 w 282"/>
                <a:gd name="T93" fmla="*/ 200 h 389"/>
                <a:gd name="T94" fmla="*/ 179 w 282"/>
                <a:gd name="T95" fmla="*/ 198 h 389"/>
                <a:gd name="T96" fmla="*/ 183 w 282"/>
                <a:gd name="T97" fmla="*/ 183 h 389"/>
                <a:gd name="T98" fmla="*/ 189 w 282"/>
                <a:gd name="T99" fmla="*/ 194 h 389"/>
                <a:gd name="T100" fmla="*/ 117 w 282"/>
                <a:gd name="T101" fmla="*/ 62 h 389"/>
                <a:gd name="T102" fmla="*/ 105 w 282"/>
                <a:gd name="T103" fmla="*/ 2 h 389"/>
                <a:gd name="T104" fmla="*/ 130 w 282"/>
                <a:gd name="T105" fmla="*/ 35 h 389"/>
                <a:gd name="T106" fmla="*/ 121 w 282"/>
                <a:gd name="T107" fmla="*/ 52 h 389"/>
                <a:gd name="T108" fmla="*/ 134 w 282"/>
                <a:gd name="T109" fmla="*/ 74 h 389"/>
                <a:gd name="T110" fmla="*/ 134 w 282"/>
                <a:gd name="T111" fmla="*/ 62 h 389"/>
                <a:gd name="T112" fmla="*/ 169 w 282"/>
                <a:gd name="T113" fmla="*/ 64 h 389"/>
                <a:gd name="T114" fmla="*/ 189 w 282"/>
                <a:gd name="T115" fmla="*/ 48 h 389"/>
                <a:gd name="T116" fmla="*/ 185 w 282"/>
                <a:gd name="T117" fmla="*/ 35 h 389"/>
                <a:gd name="T118" fmla="*/ 158 w 282"/>
                <a:gd name="T119" fmla="*/ 27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2" h="389">
                  <a:moveTo>
                    <a:pt x="0" y="387"/>
                  </a:moveTo>
                  <a:lnTo>
                    <a:pt x="0" y="387"/>
                  </a:lnTo>
                  <a:lnTo>
                    <a:pt x="0" y="389"/>
                  </a:lnTo>
                  <a:lnTo>
                    <a:pt x="0" y="389"/>
                  </a:lnTo>
                  <a:lnTo>
                    <a:pt x="0" y="389"/>
                  </a:lnTo>
                  <a:lnTo>
                    <a:pt x="2" y="389"/>
                  </a:lnTo>
                  <a:lnTo>
                    <a:pt x="2" y="389"/>
                  </a:lnTo>
                  <a:lnTo>
                    <a:pt x="4" y="389"/>
                  </a:lnTo>
                  <a:lnTo>
                    <a:pt x="4" y="389"/>
                  </a:lnTo>
                  <a:lnTo>
                    <a:pt x="4" y="389"/>
                  </a:lnTo>
                  <a:lnTo>
                    <a:pt x="0" y="387"/>
                  </a:lnTo>
                  <a:close/>
                  <a:moveTo>
                    <a:pt x="9" y="387"/>
                  </a:moveTo>
                  <a:lnTo>
                    <a:pt x="7" y="387"/>
                  </a:lnTo>
                  <a:lnTo>
                    <a:pt x="7" y="387"/>
                  </a:lnTo>
                  <a:lnTo>
                    <a:pt x="7" y="387"/>
                  </a:lnTo>
                  <a:lnTo>
                    <a:pt x="7" y="389"/>
                  </a:lnTo>
                  <a:lnTo>
                    <a:pt x="9" y="389"/>
                  </a:lnTo>
                  <a:lnTo>
                    <a:pt x="9" y="389"/>
                  </a:lnTo>
                  <a:lnTo>
                    <a:pt x="9" y="385"/>
                  </a:lnTo>
                  <a:lnTo>
                    <a:pt x="9" y="385"/>
                  </a:lnTo>
                  <a:lnTo>
                    <a:pt x="9" y="385"/>
                  </a:lnTo>
                  <a:lnTo>
                    <a:pt x="9" y="387"/>
                  </a:lnTo>
                  <a:close/>
                  <a:moveTo>
                    <a:pt x="25" y="381"/>
                  </a:moveTo>
                  <a:lnTo>
                    <a:pt x="23" y="379"/>
                  </a:lnTo>
                  <a:lnTo>
                    <a:pt x="23" y="379"/>
                  </a:lnTo>
                  <a:lnTo>
                    <a:pt x="23" y="381"/>
                  </a:lnTo>
                  <a:lnTo>
                    <a:pt x="25" y="381"/>
                  </a:lnTo>
                  <a:lnTo>
                    <a:pt x="27" y="381"/>
                  </a:lnTo>
                  <a:lnTo>
                    <a:pt x="25" y="381"/>
                  </a:lnTo>
                  <a:lnTo>
                    <a:pt x="25" y="381"/>
                  </a:lnTo>
                  <a:close/>
                  <a:moveTo>
                    <a:pt x="280" y="346"/>
                  </a:moveTo>
                  <a:lnTo>
                    <a:pt x="280" y="344"/>
                  </a:lnTo>
                  <a:lnTo>
                    <a:pt x="280" y="344"/>
                  </a:lnTo>
                  <a:lnTo>
                    <a:pt x="282" y="346"/>
                  </a:lnTo>
                  <a:lnTo>
                    <a:pt x="282" y="346"/>
                  </a:lnTo>
                  <a:lnTo>
                    <a:pt x="282" y="346"/>
                  </a:lnTo>
                  <a:lnTo>
                    <a:pt x="280" y="346"/>
                  </a:lnTo>
                  <a:close/>
                  <a:moveTo>
                    <a:pt x="62" y="342"/>
                  </a:moveTo>
                  <a:lnTo>
                    <a:pt x="62" y="344"/>
                  </a:lnTo>
                  <a:lnTo>
                    <a:pt x="60" y="346"/>
                  </a:lnTo>
                  <a:lnTo>
                    <a:pt x="60" y="346"/>
                  </a:lnTo>
                  <a:lnTo>
                    <a:pt x="60" y="346"/>
                  </a:lnTo>
                  <a:lnTo>
                    <a:pt x="60" y="346"/>
                  </a:lnTo>
                  <a:lnTo>
                    <a:pt x="58" y="346"/>
                  </a:lnTo>
                  <a:lnTo>
                    <a:pt x="56" y="346"/>
                  </a:lnTo>
                  <a:lnTo>
                    <a:pt x="56" y="346"/>
                  </a:lnTo>
                  <a:lnTo>
                    <a:pt x="58" y="346"/>
                  </a:lnTo>
                  <a:lnTo>
                    <a:pt x="58" y="348"/>
                  </a:lnTo>
                  <a:lnTo>
                    <a:pt x="58" y="348"/>
                  </a:lnTo>
                  <a:lnTo>
                    <a:pt x="56" y="350"/>
                  </a:lnTo>
                  <a:lnTo>
                    <a:pt x="56" y="350"/>
                  </a:lnTo>
                  <a:lnTo>
                    <a:pt x="56" y="350"/>
                  </a:lnTo>
                  <a:lnTo>
                    <a:pt x="56" y="352"/>
                  </a:lnTo>
                  <a:lnTo>
                    <a:pt x="56" y="354"/>
                  </a:lnTo>
                  <a:lnTo>
                    <a:pt x="56" y="356"/>
                  </a:lnTo>
                  <a:lnTo>
                    <a:pt x="56" y="356"/>
                  </a:lnTo>
                  <a:lnTo>
                    <a:pt x="56" y="356"/>
                  </a:lnTo>
                  <a:lnTo>
                    <a:pt x="58" y="356"/>
                  </a:lnTo>
                  <a:lnTo>
                    <a:pt x="58" y="354"/>
                  </a:lnTo>
                  <a:lnTo>
                    <a:pt x="58" y="354"/>
                  </a:lnTo>
                  <a:lnTo>
                    <a:pt x="58" y="354"/>
                  </a:lnTo>
                  <a:lnTo>
                    <a:pt x="58" y="352"/>
                  </a:lnTo>
                  <a:lnTo>
                    <a:pt x="58" y="352"/>
                  </a:lnTo>
                  <a:lnTo>
                    <a:pt x="58" y="350"/>
                  </a:lnTo>
                  <a:lnTo>
                    <a:pt x="58" y="350"/>
                  </a:lnTo>
                  <a:lnTo>
                    <a:pt x="58" y="350"/>
                  </a:lnTo>
                  <a:lnTo>
                    <a:pt x="60" y="348"/>
                  </a:lnTo>
                  <a:lnTo>
                    <a:pt x="60" y="348"/>
                  </a:lnTo>
                  <a:lnTo>
                    <a:pt x="62" y="346"/>
                  </a:lnTo>
                  <a:lnTo>
                    <a:pt x="62" y="346"/>
                  </a:lnTo>
                  <a:lnTo>
                    <a:pt x="64" y="344"/>
                  </a:lnTo>
                  <a:lnTo>
                    <a:pt x="62" y="344"/>
                  </a:lnTo>
                  <a:lnTo>
                    <a:pt x="62" y="342"/>
                  </a:lnTo>
                  <a:close/>
                  <a:moveTo>
                    <a:pt x="68" y="323"/>
                  </a:moveTo>
                  <a:lnTo>
                    <a:pt x="66" y="323"/>
                  </a:lnTo>
                  <a:lnTo>
                    <a:pt x="66" y="323"/>
                  </a:lnTo>
                  <a:lnTo>
                    <a:pt x="68" y="325"/>
                  </a:lnTo>
                  <a:lnTo>
                    <a:pt x="68" y="327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8" y="325"/>
                  </a:lnTo>
                  <a:lnTo>
                    <a:pt x="68" y="323"/>
                  </a:lnTo>
                  <a:close/>
                  <a:moveTo>
                    <a:pt x="70" y="319"/>
                  </a:moveTo>
                  <a:lnTo>
                    <a:pt x="70" y="317"/>
                  </a:lnTo>
                  <a:lnTo>
                    <a:pt x="70" y="317"/>
                  </a:lnTo>
                  <a:lnTo>
                    <a:pt x="70" y="319"/>
                  </a:lnTo>
                  <a:lnTo>
                    <a:pt x="72" y="319"/>
                  </a:lnTo>
                  <a:lnTo>
                    <a:pt x="72" y="319"/>
                  </a:lnTo>
                  <a:lnTo>
                    <a:pt x="70" y="319"/>
                  </a:lnTo>
                  <a:close/>
                  <a:moveTo>
                    <a:pt x="76" y="311"/>
                  </a:moveTo>
                  <a:lnTo>
                    <a:pt x="74" y="313"/>
                  </a:lnTo>
                  <a:lnTo>
                    <a:pt x="74" y="313"/>
                  </a:lnTo>
                  <a:lnTo>
                    <a:pt x="74" y="313"/>
                  </a:lnTo>
                  <a:lnTo>
                    <a:pt x="74" y="313"/>
                  </a:lnTo>
                  <a:lnTo>
                    <a:pt x="72" y="313"/>
                  </a:lnTo>
                  <a:lnTo>
                    <a:pt x="70" y="315"/>
                  </a:lnTo>
                  <a:lnTo>
                    <a:pt x="70" y="315"/>
                  </a:lnTo>
                  <a:lnTo>
                    <a:pt x="70" y="315"/>
                  </a:lnTo>
                  <a:lnTo>
                    <a:pt x="70" y="317"/>
                  </a:lnTo>
                  <a:lnTo>
                    <a:pt x="68" y="317"/>
                  </a:lnTo>
                  <a:lnTo>
                    <a:pt x="70" y="317"/>
                  </a:lnTo>
                  <a:lnTo>
                    <a:pt x="72" y="319"/>
                  </a:lnTo>
                  <a:lnTo>
                    <a:pt x="74" y="317"/>
                  </a:lnTo>
                  <a:lnTo>
                    <a:pt x="72" y="317"/>
                  </a:lnTo>
                  <a:lnTo>
                    <a:pt x="74" y="317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6" y="313"/>
                  </a:lnTo>
                  <a:lnTo>
                    <a:pt x="76" y="313"/>
                  </a:lnTo>
                  <a:lnTo>
                    <a:pt x="76" y="313"/>
                  </a:lnTo>
                  <a:lnTo>
                    <a:pt x="76" y="311"/>
                  </a:lnTo>
                  <a:close/>
                  <a:moveTo>
                    <a:pt x="76" y="276"/>
                  </a:moveTo>
                  <a:lnTo>
                    <a:pt x="76" y="278"/>
                  </a:lnTo>
                  <a:lnTo>
                    <a:pt x="78" y="280"/>
                  </a:lnTo>
                  <a:lnTo>
                    <a:pt x="78" y="280"/>
                  </a:lnTo>
                  <a:lnTo>
                    <a:pt x="80" y="280"/>
                  </a:lnTo>
                  <a:lnTo>
                    <a:pt x="80" y="278"/>
                  </a:lnTo>
                  <a:lnTo>
                    <a:pt x="80" y="278"/>
                  </a:lnTo>
                  <a:lnTo>
                    <a:pt x="76" y="276"/>
                  </a:lnTo>
                  <a:close/>
                  <a:moveTo>
                    <a:pt x="85" y="270"/>
                  </a:moveTo>
                  <a:lnTo>
                    <a:pt x="85" y="270"/>
                  </a:lnTo>
                  <a:lnTo>
                    <a:pt x="82" y="270"/>
                  </a:lnTo>
                  <a:lnTo>
                    <a:pt x="82" y="270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6"/>
                  </a:lnTo>
                  <a:lnTo>
                    <a:pt x="82" y="278"/>
                  </a:lnTo>
                  <a:lnTo>
                    <a:pt x="85" y="278"/>
                  </a:lnTo>
                  <a:lnTo>
                    <a:pt x="85" y="274"/>
                  </a:lnTo>
                  <a:lnTo>
                    <a:pt x="85" y="272"/>
                  </a:lnTo>
                  <a:lnTo>
                    <a:pt x="85" y="270"/>
                  </a:lnTo>
                  <a:close/>
                  <a:moveTo>
                    <a:pt x="58" y="253"/>
                  </a:moveTo>
                  <a:lnTo>
                    <a:pt x="58" y="255"/>
                  </a:lnTo>
                  <a:lnTo>
                    <a:pt x="58" y="253"/>
                  </a:lnTo>
                  <a:lnTo>
                    <a:pt x="58" y="253"/>
                  </a:lnTo>
                  <a:lnTo>
                    <a:pt x="58" y="251"/>
                  </a:lnTo>
                  <a:lnTo>
                    <a:pt x="58" y="253"/>
                  </a:lnTo>
                  <a:close/>
                  <a:moveTo>
                    <a:pt x="62" y="241"/>
                  </a:moveTo>
                  <a:lnTo>
                    <a:pt x="62" y="241"/>
                  </a:lnTo>
                  <a:lnTo>
                    <a:pt x="64" y="239"/>
                  </a:lnTo>
                  <a:lnTo>
                    <a:pt x="64" y="239"/>
                  </a:lnTo>
                  <a:lnTo>
                    <a:pt x="62" y="239"/>
                  </a:lnTo>
                  <a:lnTo>
                    <a:pt x="60" y="239"/>
                  </a:lnTo>
                  <a:lnTo>
                    <a:pt x="60" y="241"/>
                  </a:lnTo>
                  <a:lnTo>
                    <a:pt x="62" y="241"/>
                  </a:lnTo>
                  <a:close/>
                  <a:moveTo>
                    <a:pt x="58" y="239"/>
                  </a:moveTo>
                  <a:lnTo>
                    <a:pt x="56" y="239"/>
                  </a:lnTo>
                  <a:lnTo>
                    <a:pt x="58" y="239"/>
                  </a:lnTo>
                  <a:lnTo>
                    <a:pt x="58" y="241"/>
                  </a:lnTo>
                  <a:lnTo>
                    <a:pt x="58" y="243"/>
                  </a:lnTo>
                  <a:lnTo>
                    <a:pt x="58" y="243"/>
                  </a:lnTo>
                  <a:lnTo>
                    <a:pt x="58" y="243"/>
                  </a:lnTo>
                  <a:lnTo>
                    <a:pt x="58" y="243"/>
                  </a:lnTo>
                  <a:lnTo>
                    <a:pt x="58" y="245"/>
                  </a:lnTo>
                  <a:lnTo>
                    <a:pt x="60" y="243"/>
                  </a:lnTo>
                  <a:lnTo>
                    <a:pt x="60" y="241"/>
                  </a:lnTo>
                  <a:lnTo>
                    <a:pt x="60" y="239"/>
                  </a:lnTo>
                  <a:lnTo>
                    <a:pt x="58" y="239"/>
                  </a:lnTo>
                  <a:close/>
                  <a:moveTo>
                    <a:pt x="37" y="235"/>
                  </a:moveTo>
                  <a:lnTo>
                    <a:pt x="35" y="233"/>
                  </a:lnTo>
                  <a:lnTo>
                    <a:pt x="35" y="235"/>
                  </a:lnTo>
                  <a:lnTo>
                    <a:pt x="35" y="235"/>
                  </a:lnTo>
                  <a:lnTo>
                    <a:pt x="33" y="233"/>
                  </a:lnTo>
                  <a:lnTo>
                    <a:pt x="35" y="237"/>
                  </a:lnTo>
                  <a:lnTo>
                    <a:pt x="35" y="237"/>
                  </a:lnTo>
                  <a:lnTo>
                    <a:pt x="35" y="237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7" y="235"/>
                  </a:lnTo>
                  <a:lnTo>
                    <a:pt x="37" y="235"/>
                  </a:lnTo>
                  <a:close/>
                  <a:moveTo>
                    <a:pt x="202" y="226"/>
                  </a:moveTo>
                  <a:lnTo>
                    <a:pt x="202" y="228"/>
                  </a:lnTo>
                  <a:lnTo>
                    <a:pt x="204" y="228"/>
                  </a:lnTo>
                  <a:lnTo>
                    <a:pt x="204" y="228"/>
                  </a:lnTo>
                  <a:lnTo>
                    <a:pt x="204" y="228"/>
                  </a:lnTo>
                  <a:lnTo>
                    <a:pt x="204" y="228"/>
                  </a:lnTo>
                  <a:lnTo>
                    <a:pt x="204" y="226"/>
                  </a:lnTo>
                  <a:lnTo>
                    <a:pt x="202" y="226"/>
                  </a:lnTo>
                  <a:close/>
                  <a:moveTo>
                    <a:pt x="39" y="228"/>
                  </a:moveTo>
                  <a:lnTo>
                    <a:pt x="39" y="226"/>
                  </a:lnTo>
                  <a:lnTo>
                    <a:pt x="39" y="231"/>
                  </a:lnTo>
                  <a:lnTo>
                    <a:pt x="37" y="231"/>
                  </a:lnTo>
                  <a:lnTo>
                    <a:pt x="39" y="231"/>
                  </a:lnTo>
                  <a:lnTo>
                    <a:pt x="39" y="233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31"/>
                  </a:lnTo>
                  <a:lnTo>
                    <a:pt x="41" y="231"/>
                  </a:lnTo>
                  <a:lnTo>
                    <a:pt x="39" y="228"/>
                  </a:lnTo>
                  <a:lnTo>
                    <a:pt x="39" y="228"/>
                  </a:lnTo>
                  <a:close/>
                  <a:moveTo>
                    <a:pt x="43" y="222"/>
                  </a:moveTo>
                  <a:lnTo>
                    <a:pt x="43" y="224"/>
                  </a:lnTo>
                  <a:lnTo>
                    <a:pt x="41" y="224"/>
                  </a:lnTo>
                  <a:lnTo>
                    <a:pt x="43" y="224"/>
                  </a:lnTo>
                  <a:lnTo>
                    <a:pt x="41" y="226"/>
                  </a:lnTo>
                  <a:lnTo>
                    <a:pt x="43" y="226"/>
                  </a:lnTo>
                  <a:lnTo>
                    <a:pt x="43" y="224"/>
                  </a:lnTo>
                  <a:lnTo>
                    <a:pt x="43" y="224"/>
                  </a:lnTo>
                  <a:lnTo>
                    <a:pt x="43" y="222"/>
                  </a:lnTo>
                  <a:lnTo>
                    <a:pt x="43" y="222"/>
                  </a:lnTo>
                  <a:close/>
                  <a:moveTo>
                    <a:pt x="43" y="216"/>
                  </a:moveTo>
                  <a:lnTo>
                    <a:pt x="46" y="216"/>
                  </a:lnTo>
                  <a:lnTo>
                    <a:pt x="43" y="214"/>
                  </a:lnTo>
                  <a:lnTo>
                    <a:pt x="43" y="214"/>
                  </a:lnTo>
                  <a:lnTo>
                    <a:pt x="43" y="214"/>
                  </a:lnTo>
                  <a:lnTo>
                    <a:pt x="43" y="216"/>
                  </a:lnTo>
                  <a:lnTo>
                    <a:pt x="43" y="216"/>
                  </a:lnTo>
                  <a:close/>
                  <a:moveTo>
                    <a:pt x="80" y="257"/>
                  </a:moveTo>
                  <a:lnTo>
                    <a:pt x="80" y="257"/>
                  </a:lnTo>
                  <a:lnTo>
                    <a:pt x="82" y="259"/>
                  </a:lnTo>
                  <a:lnTo>
                    <a:pt x="85" y="259"/>
                  </a:lnTo>
                  <a:lnTo>
                    <a:pt x="85" y="253"/>
                  </a:lnTo>
                  <a:lnTo>
                    <a:pt x="85" y="251"/>
                  </a:lnTo>
                  <a:lnTo>
                    <a:pt x="82" y="249"/>
                  </a:lnTo>
                  <a:lnTo>
                    <a:pt x="82" y="247"/>
                  </a:lnTo>
                  <a:lnTo>
                    <a:pt x="82" y="245"/>
                  </a:lnTo>
                  <a:lnTo>
                    <a:pt x="82" y="243"/>
                  </a:lnTo>
                  <a:lnTo>
                    <a:pt x="82" y="241"/>
                  </a:lnTo>
                  <a:lnTo>
                    <a:pt x="82" y="239"/>
                  </a:lnTo>
                  <a:lnTo>
                    <a:pt x="82" y="237"/>
                  </a:lnTo>
                  <a:lnTo>
                    <a:pt x="85" y="233"/>
                  </a:lnTo>
                  <a:lnTo>
                    <a:pt x="85" y="233"/>
                  </a:lnTo>
                  <a:lnTo>
                    <a:pt x="85" y="231"/>
                  </a:lnTo>
                  <a:lnTo>
                    <a:pt x="82" y="231"/>
                  </a:lnTo>
                  <a:lnTo>
                    <a:pt x="82" y="228"/>
                  </a:lnTo>
                  <a:lnTo>
                    <a:pt x="82" y="228"/>
                  </a:lnTo>
                  <a:lnTo>
                    <a:pt x="82" y="228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4"/>
                  </a:lnTo>
                  <a:lnTo>
                    <a:pt x="78" y="224"/>
                  </a:lnTo>
                  <a:lnTo>
                    <a:pt x="74" y="224"/>
                  </a:lnTo>
                  <a:lnTo>
                    <a:pt x="74" y="222"/>
                  </a:lnTo>
                  <a:lnTo>
                    <a:pt x="76" y="220"/>
                  </a:lnTo>
                  <a:lnTo>
                    <a:pt x="76" y="220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0" y="218"/>
                  </a:lnTo>
                  <a:lnTo>
                    <a:pt x="70" y="218"/>
                  </a:lnTo>
                  <a:lnTo>
                    <a:pt x="70" y="218"/>
                  </a:lnTo>
                  <a:lnTo>
                    <a:pt x="66" y="218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2" y="214"/>
                  </a:lnTo>
                  <a:lnTo>
                    <a:pt x="60" y="212"/>
                  </a:lnTo>
                  <a:lnTo>
                    <a:pt x="58" y="212"/>
                  </a:lnTo>
                  <a:lnTo>
                    <a:pt x="58" y="212"/>
                  </a:lnTo>
                  <a:lnTo>
                    <a:pt x="54" y="214"/>
                  </a:lnTo>
                  <a:lnTo>
                    <a:pt x="54" y="214"/>
                  </a:lnTo>
                  <a:lnTo>
                    <a:pt x="54" y="216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2" y="218"/>
                  </a:lnTo>
                  <a:lnTo>
                    <a:pt x="52" y="218"/>
                  </a:lnTo>
                  <a:lnTo>
                    <a:pt x="52" y="220"/>
                  </a:lnTo>
                  <a:lnTo>
                    <a:pt x="50" y="220"/>
                  </a:lnTo>
                  <a:lnTo>
                    <a:pt x="48" y="220"/>
                  </a:lnTo>
                  <a:lnTo>
                    <a:pt x="48" y="222"/>
                  </a:lnTo>
                  <a:lnTo>
                    <a:pt x="48" y="222"/>
                  </a:lnTo>
                  <a:lnTo>
                    <a:pt x="48" y="222"/>
                  </a:lnTo>
                  <a:lnTo>
                    <a:pt x="48" y="224"/>
                  </a:lnTo>
                  <a:lnTo>
                    <a:pt x="46" y="222"/>
                  </a:lnTo>
                  <a:lnTo>
                    <a:pt x="46" y="222"/>
                  </a:lnTo>
                  <a:lnTo>
                    <a:pt x="46" y="222"/>
                  </a:lnTo>
                  <a:lnTo>
                    <a:pt x="46" y="224"/>
                  </a:lnTo>
                  <a:lnTo>
                    <a:pt x="48" y="226"/>
                  </a:lnTo>
                  <a:lnTo>
                    <a:pt x="50" y="228"/>
                  </a:lnTo>
                  <a:lnTo>
                    <a:pt x="52" y="228"/>
                  </a:lnTo>
                  <a:lnTo>
                    <a:pt x="52" y="231"/>
                  </a:lnTo>
                  <a:lnTo>
                    <a:pt x="54" y="233"/>
                  </a:lnTo>
                  <a:lnTo>
                    <a:pt x="52" y="233"/>
                  </a:lnTo>
                  <a:lnTo>
                    <a:pt x="52" y="231"/>
                  </a:lnTo>
                  <a:lnTo>
                    <a:pt x="50" y="231"/>
                  </a:lnTo>
                  <a:lnTo>
                    <a:pt x="48" y="228"/>
                  </a:lnTo>
                  <a:lnTo>
                    <a:pt x="48" y="231"/>
                  </a:lnTo>
                  <a:lnTo>
                    <a:pt x="48" y="231"/>
                  </a:lnTo>
                  <a:lnTo>
                    <a:pt x="50" y="233"/>
                  </a:lnTo>
                  <a:lnTo>
                    <a:pt x="52" y="233"/>
                  </a:lnTo>
                  <a:lnTo>
                    <a:pt x="52" y="235"/>
                  </a:lnTo>
                  <a:lnTo>
                    <a:pt x="52" y="237"/>
                  </a:lnTo>
                  <a:lnTo>
                    <a:pt x="52" y="237"/>
                  </a:lnTo>
                  <a:lnTo>
                    <a:pt x="54" y="237"/>
                  </a:lnTo>
                  <a:lnTo>
                    <a:pt x="54" y="235"/>
                  </a:lnTo>
                  <a:lnTo>
                    <a:pt x="56" y="235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60" y="235"/>
                  </a:lnTo>
                  <a:lnTo>
                    <a:pt x="60" y="235"/>
                  </a:lnTo>
                  <a:lnTo>
                    <a:pt x="60" y="235"/>
                  </a:lnTo>
                  <a:lnTo>
                    <a:pt x="60" y="235"/>
                  </a:lnTo>
                  <a:lnTo>
                    <a:pt x="60" y="233"/>
                  </a:lnTo>
                  <a:lnTo>
                    <a:pt x="60" y="233"/>
                  </a:lnTo>
                  <a:lnTo>
                    <a:pt x="58" y="233"/>
                  </a:lnTo>
                  <a:lnTo>
                    <a:pt x="58" y="233"/>
                  </a:lnTo>
                  <a:lnTo>
                    <a:pt x="56" y="233"/>
                  </a:lnTo>
                  <a:lnTo>
                    <a:pt x="56" y="231"/>
                  </a:lnTo>
                  <a:lnTo>
                    <a:pt x="56" y="228"/>
                  </a:lnTo>
                  <a:lnTo>
                    <a:pt x="54" y="228"/>
                  </a:lnTo>
                  <a:lnTo>
                    <a:pt x="54" y="226"/>
                  </a:lnTo>
                  <a:lnTo>
                    <a:pt x="56" y="226"/>
                  </a:lnTo>
                  <a:lnTo>
                    <a:pt x="56" y="226"/>
                  </a:lnTo>
                  <a:lnTo>
                    <a:pt x="58" y="228"/>
                  </a:lnTo>
                  <a:lnTo>
                    <a:pt x="60" y="231"/>
                  </a:lnTo>
                  <a:lnTo>
                    <a:pt x="62" y="233"/>
                  </a:lnTo>
                  <a:lnTo>
                    <a:pt x="64" y="235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6" y="237"/>
                  </a:lnTo>
                  <a:lnTo>
                    <a:pt x="66" y="239"/>
                  </a:lnTo>
                  <a:lnTo>
                    <a:pt x="64" y="243"/>
                  </a:lnTo>
                  <a:lnTo>
                    <a:pt x="64" y="243"/>
                  </a:lnTo>
                  <a:lnTo>
                    <a:pt x="64" y="245"/>
                  </a:lnTo>
                  <a:lnTo>
                    <a:pt x="62" y="245"/>
                  </a:lnTo>
                  <a:lnTo>
                    <a:pt x="62" y="247"/>
                  </a:lnTo>
                  <a:lnTo>
                    <a:pt x="64" y="249"/>
                  </a:lnTo>
                  <a:lnTo>
                    <a:pt x="64" y="251"/>
                  </a:lnTo>
                  <a:lnTo>
                    <a:pt x="64" y="251"/>
                  </a:lnTo>
                  <a:lnTo>
                    <a:pt x="64" y="253"/>
                  </a:lnTo>
                  <a:lnTo>
                    <a:pt x="66" y="253"/>
                  </a:lnTo>
                  <a:lnTo>
                    <a:pt x="68" y="255"/>
                  </a:lnTo>
                  <a:lnTo>
                    <a:pt x="68" y="257"/>
                  </a:lnTo>
                  <a:lnTo>
                    <a:pt x="68" y="257"/>
                  </a:lnTo>
                  <a:lnTo>
                    <a:pt x="68" y="257"/>
                  </a:lnTo>
                  <a:lnTo>
                    <a:pt x="66" y="259"/>
                  </a:lnTo>
                  <a:lnTo>
                    <a:pt x="68" y="261"/>
                  </a:lnTo>
                  <a:lnTo>
                    <a:pt x="68" y="261"/>
                  </a:lnTo>
                  <a:lnTo>
                    <a:pt x="70" y="261"/>
                  </a:lnTo>
                  <a:lnTo>
                    <a:pt x="74" y="263"/>
                  </a:lnTo>
                  <a:lnTo>
                    <a:pt x="74" y="261"/>
                  </a:lnTo>
                  <a:lnTo>
                    <a:pt x="74" y="261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7"/>
                  </a:lnTo>
                  <a:lnTo>
                    <a:pt x="70" y="255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4" y="253"/>
                  </a:lnTo>
                  <a:lnTo>
                    <a:pt x="74" y="253"/>
                  </a:lnTo>
                  <a:lnTo>
                    <a:pt x="74" y="255"/>
                  </a:lnTo>
                  <a:lnTo>
                    <a:pt x="74" y="255"/>
                  </a:lnTo>
                  <a:lnTo>
                    <a:pt x="74" y="255"/>
                  </a:lnTo>
                  <a:lnTo>
                    <a:pt x="74" y="255"/>
                  </a:lnTo>
                  <a:lnTo>
                    <a:pt x="74" y="257"/>
                  </a:lnTo>
                  <a:lnTo>
                    <a:pt x="76" y="259"/>
                  </a:lnTo>
                  <a:lnTo>
                    <a:pt x="76" y="261"/>
                  </a:lnTo>
                  <a:lnTo>
                    <a:pt x="76" y="263"/>
                  </a:lnTo>
                  <a:lnTo>
                    <a:pt x="76" y="263"/>
                  </a:lnTo>
                  <a:lnTo>
                    <a:pt x="76" y="263"/>
                  </a:lnTo>
                  <a:lnTo>
                    <a:pt x="76" y="265"/>
                  </a:lnTo>
                  <a:lnTo>
                    <a:pt x="76" y="265"/>
                  </a:lnTo>
                  <a:lnTo>
                    <a:pt x="78" y="263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80" y="257"/>
                  </a:lnTo>
                  <a:close/>
                  <a:moveTo>
                    <a:pt x="80" y="212"/>
                  </a:moveTo>
                  <a:lnTo>
                    <a:pt x="80" y="212"/>
                  </a:lnTo>
                  <a:lnTo>
                    <a:pt x="80" y="212"/>
                  </a:lnTo>
                  <a:lnTo>
                    <a:pt x="80" y="214"/>
                  </a:lnTo>
                  <a:lnTo>
                    <a:pt x="82" y="214"/>
                  </a:lnTo>
                  <a:lnTo>
                    <a:pt x="82" y="214"/>
                  </a:lnTo>
                  <a:lnTo>
                    <a:pt x="85" y="214"/>
                  </a:lnTo>
                  <a:lnTo>
                    <a:pt x="85" y="212"/>
                  </a:lnTo>
                  <a:lnTo>
                    <a:pt x="85" y="212"/>
                  </a:lnTo>
                  <a:lnTo>
                    <a:pt x="82" y="212"/>
                  </a:lnTo>
                  <a:lnTo>
                    <a:pt x="80" y="212"/>
                  </a:lnTo>
                  <a:close/>
                  <a:moveTo>
                    <a:pt x="85" y="210"/>
                  </a:moveTo>
                  <a:lnTo>
                    <a:pt x="85" y="208"/>
                  </a:lnTo>
                  <a:lnTo>
                    <a:pt x="85" y="208"/>
                  </a:lnTo>
                  <a:lnTo>
                    <a:pt x="85" y="208"/>
                  </a:lnTo>
                  <a:lnTo>
                    <a:pt x="82" y="208"/>
                  </a:lnTo>
                  <a:lnTo>
                    <a:pt x="82" y="210"/>
                  </a:lnTo>
                  <a:lnTo>
                    <a:pt x="85" y="210"/>
                  </a:lnTo>
                  <a:lnTo>
                    <a:pt x="85" y="210"/>
                  </a:lnTo>
                  <a:close/>
                  <a:moveTo>
                    <a:pt x="33" y="206"/>
                  </a:moveTo>
                  <a:lnTo>
                    <a:pt x="33" y="206"/>
                  </a:lnTo>
                  <a:lnTo>
                    <a:pt x="31" y="206"/>
                  </a:lnTo>
                  <a:lnTo>
                    <a:pt x="33" y="208"/>
                  </a:lnTo>
                  <a:lnTo>
                    <a:pt x="33" y="210"/>
                  </a:lnTo>
                  <a:lnTo>
                    <a:pt x="33" y="208"/>
                  </a:lnTo>
                  <a:lnTo>
                    <a:pt x="33" y="206"/>
                  </a:lnTo>
                  <a:close/>
                  <a:moveTo>
                    <a:pt x="119" y="212"/>
                  </a:moveTo>
                  <a:lnTo>
                    <a:pt x="117" y="212"/>
                  </a:lnTo>
                  <a:lnTo>
                    <a:pt x="117" y="210"/>
                  </a:lnTo>
                  <a:lnTo>
                    <a:pt x="115" y="208"/>
                  </a:lnTo>
                  <a:lnTo>
                    <a:pt x="113" y="208"/>
                  </a:lnTo>
                  <a:lnTo>
                    <a:pt x="111" y="206"/>
                  </a:lnTo>
                  <a:lnTo>
                    <a:pt x="109" y="206"/>
                  </a:lnTo>
                  <a:lnTo>
                    <a:pt x="105" y="204"/>
                  </a:lnTo>
                  <a:lnTo>
                    <a:pt x="103" y="204"/>
                  </a:lnTo>
                  <a:lnTo>
                    <a:pt x="103" y="206"/>
                  </a:lnTo>
                  <a:lnTo>
                    <a:pt x="101" y="206"/>
                  </a:lnTo>
                  <a:lnTo>
                    <a:pt x="101" y="206"/>
                  </a:lnTo>
                  <a:lnTo>
                    <a:pt x="99" y="206"/>
                  </a:lnTo>
                  <a:lnTo>
                    <a:pt x="101" y="208"/>
                  </a:lnTo>
                  <a:lnTo>
                    <a:pt x="101" y="210"/>
                  </a:lnTo>
                  <a:lnTo>
                    <a:pt x="101" y="210"/>
                  </a:lnTo>
                  <a:lnTo>
                    <a:pt x="99" y="212"/>
                  </a:lnTo>
                  <a:lnTo>
                    <a:pt x="97" y="212"/>
                  </a:lnTo>
                  <a:lnTo>
                    <a:pt x="97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3" y="212"/>
                  </a:lnTo>
                  <a:lnTo>
                    <a:pt x="91" y="210"/>
                  </a:lnTo>
                  <a:lnTo>
                    <a:pt x="91" y="210"/>
                  </a:lnTo>
                  <a:lnTo>
                    <a:pt x="89" y="210"/>
                  </a:lnTo>
                  <a:lnTo>
                    <a:pt x="89" y="212"/>
                  </a:lnTo>
                  <a:lnTo>
                    <a:pt x="89" y="212"/>
                  </a:lnTo>
                  <a:lnTo>
                    <a:pt x="89" y="214"/>
                  </a:lnTo>
                  <a:lnTo>
                    <a:pt x="89" y="214"/>
                  </a:lnTo>
                  <a:lnTo>
                    <a:pt x="89" y="216"/>
                  </a:lnTo>
                  <a:lnTo>
                    <a:pt x="87" y="218"/>
                  </a:lnTo>
                  <a:lnTo>
                    <a:pt x="87" y="220"/>
                  </a:lnTo>
                  <a:lnTo>
                    <a:pt x="85" y="220"/>
                  </a:lnTo>
                  <a:lnTo>
                    <a:pt x="82" y="222"/>
                  </a:lnTo>
                  <a:lnTo>
                    <a:pt x="82" y="222"/>
                  </a:lnTo>
                  <a:lnTo>
                    <a:pt x="82" y="222"/>
                  </a:lnTo>
                  <a:lnTo>
                    <a:pt x="85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91" y="224"/>
                  </a:lnTo>
                  <a:lnTo>
                    <a:pt x="91" y="226"/>
                  </a:lnTo>
                  <a:lnTo>
                    <a:pt x="91" y="226"/>
                  </a:lnTo>
                  <a:lnTo>
                    <a:pt x="91" y="226"/>
                  </a:lnTo>
                  <a:lnTo>
                    <a:pt x="91" y="228"/>
                  </a:lnTo>
                  <a:lnTo>
                    <a:pt x="91" y="228"/>
                  </a:lnTo>
                  <a:lnTo>
                    <a:pt x="93" y="231"/>
                  </a:lnTo>
                  <a:lnTo>
                    <a:pt x="93" y="231"/>
                  </a:lnTo>
                  <a:lnTo>
                    <a:pt x="95" y="231"/>
                  </a:lnTo>
                  <a:lnTo>
                    <a:pt x="95" y="235"/>
                  </a:lnTo>
                  <a:lnTo>
                    <a:pt x="97" y="233"/>
                  </a:lnTo>
                  <a:lnTo>
                    <a:pt x="99" y="235"/>
                  </a:lnTo>
                  <a:lnTo>
                    <a:pt x="99" y="235"/>
                  </a:lnTo>
                  <a:lnTo>
                    <a:pt x="99" y="233"/>
                  </a:lnTo>
                  <a:lnTo>
                    <a:pt x="99" y="231"/>
                  </a:lnTo>
                  <a:lnTo>
                    <a:pt x="99" y="228"/>
                  </a:lnTo>
                  <a:lnTo>
                    <a:pt x="101" y="228"/>
                  </a:lnTo>
                  <a:lnTo>
                    <a:pt x="101" y="228"/>
                  </a:lnTo>
                  <a:lnTo>
                    <a:pt x="101" y="224"/>
                  </a:lnTo>
                  <a:lnTo>
                    <a:pt x="101" y="222"/>
                  </a:lnTo>
                  <a:lnTo>
                    <a:pt x="105" y="220"/>
                  </a:lnTo>
                  <a:lnTo>
                    <a:pt x="105" y="220"/>
                  </a:lnTo>
                  <a:lnTo>
                    <a:pt x="109" y="220"/>
                  </a:lnTo>
                  <a:lnTo>
                    <a:pt x="111" y="220"/>
                  </a:lnTo>
                  <a:lnTo>
                    <a:pt x="115" y="224"/>
                  </a:lnTo>
                  <a:lnTo>
                    <a:pt x="115" y="224"/>
                  </a:lnTo>
                  <a:lnTo>
                    <a:pt x="115" y="222"/>
                  </a:lnTo>
                  <a:lnTo>
                    <a:pt x="115" y="222"/>
                  </a:lnTo>
                  <a:lnTo>
                    <a:pt x="115" y="220"/>
                  </a:lnTo>
                  <a:lnTo>
                    <a:pt x="115" y="218"/>
                  </a:lnTo>
                  <a:lnTo>
                    <a:pt x="117" y="216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19" y="212"/>
                  </a:lnTo>
                  <a:close/>
                  <a:moveTo>
                    <a:pt x="107" y="204"/>
                  </a:moveTo>
                  <a:lnTo>
                    <a:pt x="109" y="202"/>
                  </a:lnTo>
                  <a:lnTo>
                    <a:pt x="109" y="202"/>
                  </a:lnTo>
                  <a:lnTo>
                    <a:pt x="109" y="202"/>
                  </a:lnTo>
                  <a:lnTo>
                    <a:pt x="109" y="202"/>
                  </a:lnTo>
                  <a:lnTo>
                    <a:pt x="109" y="202"/>
                  </a:lnTo>
                  <a:lnTo>
                    <a:pt x="107" y="202"/>
                  </a:lnTo>
                  <a:lnTo>
                    <a:pt x="107" y="202"/>
                  </a:lnTo>
                  <a:lnTo>
                    <a:pt x="107" y="202"/>
                  </a:lnTo>
                  <a:lnTo>
                    <a:pt x="107" y="204"/>
                  </a:lnTo>
                  <a:close/>
                  <a:moveTo>
                    <a:pt x="117" y="202"/>
                  </a:moveTo>
                  <a:lnTo>
                    <a:pt x="117" y="202"/>
                  </a:lnTo>
                  <a:lnTo>
                    <a:pt x="117" y="202"/>
                  </a:lnTo>
                  <a:lnTo>
                    <a:pt x="115" y="204"/>
                  </a:lnTo>
                  <a:lnTo>
                    <a:pt x="115" y="206"/>
                  </a:lnTo>
                  <a:lnTo>
                    <a:pt x="115" y="206"/>
                  </a:lnTo>
                  <a:lnTo>
                    <a:pt x="117" y="208"/>
                  </a:lnTo>
                  <a:lnTo>
                    <a:pt x="119" y="208"/>
                  </a:lnTo>
                  <a:lnTo>
                    <a:pt x="119" y="206"/>
                  </a:lnTo>
                  <a:lnTo>
                    <a:pt x="117" y="204"/>
                  </a:lnTo>
                  <a:lnTo>
                    <a:pt x="119" y="202"/>
                  </a:lnTo>
                  <a:lnTo>
                    <a:pt x="117" y="202"/>
                  </a:lnTo>
                  <a:close/>
                  <a:moveTo>
                    <a:pt x="31" y="204"/>
                  </a:moveTo>
                  <a:lnTo>
                    <a:pt x="33" y="204"/>
                  </a:lnTo>
                  <a:lnTo>
                    <a:pt x="33" y="206"/>
                  </a:lnTo>
                  <a:lnTo>
                    <a:pt x="33" y="204"/>
                  </a:lnTo>
                  <a:lnTo>
                    <a:pt x="33" y="204"/>
                  </a:lnTo>
                  <a:lnTo>
                    <a:pt x="33" y="202"/>
                  </a:lnTo>
                  <a:lnTo>
                    <a:pt x="33" y="200"/>
                  </a:lnTo>
                  <a:lnTo>
                    <a:pt x="33" y="200"/>
                  </a:lnTo>
                  <a:lnTo>
                    <a:pt x="33" y="200"/>
                  </a:lnTo>
                  <a:lnTo>
                    <a:pt x="33" y="198"/>
                  </a:lnTo>
                  <a:lnTo>
                    <a:pt x="31" y="200"/>
                  </a:lnTo>
                  <a:lnTo>
                    <a:pt x="31" y="200"/>
                  </a:lnTo>
                  <a:lnTo>
                    <a:pt x="31" y="202"/>
                  </a:lnTo>
                  <a:lnTo>
                    <a:pt x="31" y="204"/>
                  </a:lnTo>
                  <a:close/>
                  <a:moveTo>
                    <a:pt x="185" y="198"/>
                  </a:moveTo>
                  <a:lnTo>
                    <a:pt x="183" y="198"/>
                  </a:lnTo>
                  <a:lnTo>
                    <a:pt x="183" y="198"/>
                  </a:lnTo>
                  <a:lnTo>
                    <a:pt x="185" y="198"/>
                  </a:lnTo>
                  <a:lnTo>
                    <a:pt x="185" y="198"/>
                  </a:lnTo>
                  <a:lnTo>
                    <a:pt x="185" y="198"/>
                  </a:lnTo>
                  <a:lnTo>
                    <a:pt x="185" y="198"/>
                  </a:lnTo>
                  <a:close/>
                  <a:moveTo>
                    <a:pt x="78" y="171"/>
                  </a:moveTo>
                  <a:lnTo>
                    <a:pt x="80" y="171"/>
                  </a:lnTo>
                  <a:lnTo>
                    <a:pt x="80" y="171"/>
                  </a:lnTo>
                  <a:lnTo>
                    <a:pt x="80" y="169"/>
                  </a:lnTo>
                  <a:lnTo>
                    <a:pt x="78" y="167"/>
                  </a:lnTo>
                  <a:lnTo>
                    <a:pt x="78" y="169"/>
                  </a:lnTo>
                  <a:lnTo>
                    <a:pt x="78" y="169"/>
                  </a:lnTo>
                  <a:lnTo>
                    <a:pt x="78" y="171"/>
                  </a:lnTo>
                  <a:close/>
                  <a:moveTo>
                    <a:pt x="142" y="140"/>
                  </a:moveTo>
                  <a:lnTo>
                    <a:pt x="142" y="140"/>
                  </a:lnTo>
                  <a:lnTo>
                    <a:pt x="144" y="138"/>
                  </a:lnTo>
                  <a:lnTo>
                    <a:pt x="144" y="136"/>
                  </a:lnTo>
                  <a:lnTo>
                    <a:pt x="142" y="136"/>
                  </a:lnTo>
                  <a:lnTo>
                    <a:pt x="142" y="134"/>
                  </a:lnTo>
                  <a:lnTo>
                    <a:pt x="142" y="132"/>
                  </a:lnTo>
                  <a:lnTo>
                    <a:pt x="140" y="130"/>
                  </a:lnTo>
                  <a:lnTo>
                    <a:pt x="140" y="132"/>
                  </a:lnTo>
                  <a:lnTo>
                    <a:pt x="140" y="134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2" y="138"/>
                  </a:lnTo>
                  <a:lnTo>
                    <a:pt x="142" y="138"/>
                  </a:lnTo>
                  <a:lnTo>
                    <a:pt x="142" y="140"/>
                  </a:lnTo>
                  <a:lnTo>
                    <a:pt x="140" y="140"/>
                  </a:lnTo>
                  <a:lnTo>
                    <a:pt x="142" y="140"/>
                  </a:lnTo>
                  <a:close/>
                  <a:moveTo>
                    <a:pt x="195" y="177"/>
                  </a:moveTo>
                  <a:lnTo>
                    <a:pt x="191" y="173"/>
                  </a:lnTo>
                  <a:lnTo>
                    <a:pt x="191" y="171"/>
                  </a:lnTo>
                  <a:lnTo>
                    <a:pt x="189" y="169"/>
                  </a:lnTo>
                  <a:lnTo>
                    <a:pt x="189" y="169"/>
                  </a:lnTo>
                  <a:lnTo>
                    <a:pt x="189" y="167"/>
                  </a:lnTo>
                  <a:lnTo>
                    <a:pt x="189" y="165"/>
                  </a:lnTo>
                  <a:lnTo>
                    <a:pt x="189" y="165"/>
                  </a:lnTo>
                  <a:lnTo>
                    <a:pt x="189" y="161"/>
                  </a:lnTo>
                  <a:lnTo>
                    <a:pt x="187" y="159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89" y="154"/>
                  </a:lnTo>
                  <a:lnTo>
                    <a:pt x="189" y="152"/>
                  </a:lnTo>
                  <a:lnTo>
                    <a:pt x="187" y="146"/>
                  </a:lnTo>
                  <a:lnTo>
                    <a:pt x="183" y="142"/>
                  </a:lnTo>
                  <a:lnTo>
                    <a:pt x="183" y="140"/>
                  </a:lnTo>
                  <a:lnTo>
                    <a:pt x="181" y="138"/>
                  </a:lnTo>
                  <a:lnTo>
                    <a:pt x="179" y="136"/>
                  </a:lnTo>
                  <a:lnTo>
                    <a:pt x="179" y="134"/>
                  </a:lnTo>
                  <a:lnTo>
                    <a:pt x="179" y="130"/>
                  </a:lnTo>
                  <a:lnTo>
                    <a:pt x="179" y="130"/>
                  </a:lnTo>
                  <a:lnTo>
                    <a:pt x="181" y="130"/>
                  </a:lnTo>
                  <a:lnTo>
                    <a:pt x="183" y="130"/>
                  </a:lnTo>
                  <a:lnTo>
                    <a:pt x="185" y="130"/>
                  </a:lnTo>
                  <a:lnTo>
                    <a:pt x="185" y="128"/>
                  </a:lnTo>
                  <a:lnTo>
                    <a:pt x="183" y="126"/>
                  </a:lnTo>
                  <a:lnTo>
                    <a:pt x="183" y="122"/>
                  </a:lnTo>
                  <a:lnTo>
                    <a:pt x="183" y="122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81" y="117"/>
                  </a:lnTo>
                  <a:lnTo>
                    <a:pt x="183" y="117"/>
                  </a:lnTo>
                  <a:lnTo>
                    <a:pt x="183" y="117"/>
                  </a:lnTo>
                  <a:lnTo>
                    <a:pt x="183" y="117"/>
                  </a:lnTo>
                  <a:lnTo>
                    <a:pt x="183" y="117"/>
                  </a:lnTo>
                  <a:lnTo>
                    <a:pt x="183" y="115"/>
                  </a:lnTo>
                  <a:lnTo>
                    <a:pt x="185" y="115"/>
                  </a:lnTo>
                  <a:lnTo>
                    <a:pt x="183" y="113"/>
                  </a:lnTo>
                  <a:lnTo>
                    <a:pt x="183" y="109"/>
                  </a:lnTo>
                  <a:lnTo>
                    <a:pt x="181" y="107"/>
                  </a:lnTo>
                  <a:lnTo>
                    <a:pt x="181" y="105"/>
                  </a:lnTo>
                  <a:lnTo>
                    <a:pt x="179" y="105"/>
                  </a:lnTo>
                  <a:lnTo>
                    <a:pt x="179" y="103"/>
                  </a:lnTo>
                  <a:lnTo>
                    <a:pt x="179" y="103"/>
                  </a:lnTo>
                  <a:lnTo>
                    <a:pt x="177" y="101"/>
                  </a:lnTo>
                  <a:lnTo>
                    <a:pt x="175" y="99"/>
                  </a:lnTo>
                  <a:lnTo>
                    <a:pt x="171" y="95"/>
                  </a:lnTo>
                  <a:lnTo>
                    <a:pt x="167" y="93"/>
                  </a:lnTo>
                  <a:lnTo>
                    <a:pt x="165" y="91"/>
                  </a:lnTo>
                  <a:lnTo>
                    <a:pt x="163" y="91"/>
                  </a:lnTo>
                  <a:lnTo>
                    <a:pt x="161" y="89"/>
                  </a:lnTo>
                  <a:lnTo>
                    <a:pt x="161" y="87"/>
                  </a:lnTo>
                  <a:lnTo>
                    <a:pt x="156" y="80"/>
                  </a:lnTo>
                  <a:lnTo>
                    <a:pt x="156" y="78"/>
                  </a:lnTo>
                  <a:lnTo>
                    <a:pt x="154" y="76"/>
                  </a:lnTo>
                  <a:lnTo>
                    <a:pt x="152" y="76"/>
                  </a:lnTo>
                  <a:lnTo>
                    <a:pt x="152" y="76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8" y="80"/>
                  </a:lnTo>
                  <a:lnTo>
                    <a:pt x="152" y="80"/>
                  </a:lnTo>
                  <a:lnTo>
                    <a:pt x="152" y="78"/>
                  </a:lnTo>
                  <a:lnTo>
                    <a:pt x="152" y="78"/>
                  </a:lnTo>
                  <a:lnTo>
                    <a:pt x="152" y="78"/>
                  </a:lnTo>
                  <a:lnTo>
                    <a:pt x="154" y="78"/>
                  </a:lnTo>
                  <a:lnTo>
                    <a:pt x="154" y="80"/>
                  </a:lnTo>
                  <a:lnTo>
                    <a:pt x="156" y="83"/>
                  </a:lnTo>
                  <a:lnTo>
                    <a:pt x="156" y="85"/>
                  </a:lnTo>
                  <a:lnTo>
                    <a:pt x="154" y="85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0" y="85"/>
                  </a:lnTo>
                  <a:lnTo>
                    <a:pt x="150" y="87"/>
                  </a:lnTo>
                  <a:lnTo>
                    <a:pt x="150" y="87"/>
                  </a:lnTo>
                  <a:lnTo>
                    <a:pt x="150" y="85"/>
                  </a:lnTo>
                  <a:lnTo>
                    <a:pt x="148" y="85"/>
                  </a:lnTo>
                  <a:lnTo>
                    <a:pt x="146" y="80"/>
                  </a:lnTo>
                  <a:lnTo>
                    <a:pt x="144" y="80"/>
                  </a:lnTo>
                  <a:lnTo>
                    <a:pt x="144" y="78"/>
                  </a:lnTo>
                  <a:lnTo>
                    <a:pt x="142" y="78"/>
                  </a:lnTo>
                  <a:lnTo>
                    <a:pt x="142" y="78"/>
                  </a:lnTo>
                  <a:lnTo>
                    <a:pt x="140" y="78"/>
                  </a:lnTo>
                  <a:lnTo>
                    <a:pt x="140" y="78"/>
                  </a:lnTo>
                  <a:lnTo>
                    <a:pt x="140" y="80"/>
                  </a:lnTo>
                  <a:lnTo>
                    <a:pt x="142" y="83"/>
                  </a:lnTo>
                  <a:lnTo>
                    <a:pt x="142" y="85"/>
                  </a:lnTo>
                  <a:lnTo>
                    <a:pt x="144" y="87"/>
                  </a:lnTo>
                  <a:lnTo>
                    <a:pt x="144" y="87"/>
                  </a:lnTo>
                  <a:lnTo>
                    <a:pt x="142" y="87"/>
                  </a:lnTo>
                  <a:lnTo>
                    <a:pt x="142" y="87"/>
                  </a:lnTo>
                  <a:lnTo>
                    <a:pt x="142" y="87"/>
                  </a:lnTo>
                  <a:lnTo>
                    <a:pt x="140" y="89"/>
                  </a:lnTo>
                  <a:lnTo>
                    <a:pt x="140" y="89"/>
                  </a:lnTo>
                  <a:lnTo>
                    <a:pt x="140" y="91"/>
                  </a:lnTo>
                  <a:lnTo>
                    <a:pt x="140" y="91"/>
                  </a:lnTo>
                  <a:lnTo>
                    <a:pt x="142" y="93"/>
                  </a:lnTo>
                  <a:lnTo>
                    <a:pt x="144" y="95"/>
                  </a:lnTo>
                  <a:lnTo>
                    <a:pt x="144" y="97"/>
                  </a:lnTo>
                  <a:lnTo>
                    <a:pt x="146" y="99"/>
                  </a:lnTo>
                  <a:lnTo>
                    <a:pt x="146" y="101"/>
                  </a:lnTo>
                  <a:lnTo>
                    <a:pt x="146" y="99"/>
                  </a:lnTo>
                  <a:lnTo>
                    <a:pt x="146" y="101"/>
                  </a:lnTo>
                  <a:lnTo>
                    <a:pt x="144" y="101"/>
                  </a:lnTo>
                  <a:lnTo>
                    <a:pt x="144" y="101"/>
                  </a:lnTo>
                  <a:lnTo>
                    <a:pt x="146" y="101"/>
                  </a:lnTo>
                  <a:lnTo>
                    <a:pt x="146" y="101"/>
                  </a:lnTo>
                  <a:lnTo>
                    <a:pt x="148" y="101"/>
                  </a:lnTo>
                  <a:lnTo>
                    <a:pt x="148" y="103"/>
                  </a:lnTo>
                  <a:lnTo>
                    <a:pt x="150" y="105"/>
                  </a:lnTo>
                  <a:lnTo>
                    <a:pt x="152" y="107"/>
                  </a:lnTo>
                  <a:lnTo>
                    <a:pt x="152" y="109"/>
                  </a:lnTo>
                  <a:lnTo>
                    <a:pt x="154" y="111"/>
                  </a:lnTo>
                  <a:lnTo>
                    <a:pt x="154" y="111"/>
                  </a:lnTo>
                  <a:lnTo>
                    <a:pt x="154" y="111"/>
                  </a:lnTo>
                  <a:lnTo>
                    <a:pt x="154" y="113"/>
                  </a:lnTo>
                  <a:lnTo>
                    <a:pt x="154" y="113"/>
                  </a:lnTo>
                  <a:lnTo>
                    <a:pt x="154" y="115"/>
                  </a:lnTo>
                  <a:lnTo>
                    <a:pt x="154" y="120"/>
                  </a:lnTo>
                  <a:lnTo>
                    <a:pt x="154" y="122"/>
                  </a:lnTo>
                  <a:lnTo>
                    <a:pt x="154" y="124"/>
                  </a:lnTo>
                  <a:lnTo>
                    <a:pt x="154" y="126"/>
                  </a:lnTo>
                  <a:lnTo>
                    <a:pt x="154" y="128"/>
                  </a:lnTo>
                  <a:lnTo>
                    <a:pt x="154" y="130"/>
                  </a:lnTo>
                  <a:lnTo>
                    <a:pt x="154" y="132"/>
                  </a:lnTo>
                  <a:lnTo>
                    <a:pt x="156" y="134"/>
                  </a:lnTo>
                  <a:lnTo>
                    <a:pt x="156" y="134"/>
                  </a:lnTo>
                  <a:lnTo>
                    <a:pt x="154" y="136"/>
                  </a:lnTo>
                  <a:lnTo>
                    <a:pt x="150" y="140"/>
                  </a:lnTo>
                  <a:lnTo>
                    <a:pt x="150" y="140"/>
                  </a:lnTo>
                  <a:lnTo>
                    <a:pt x="150" y="142"/>
                  </a:lnTo>
                  <a:lnTo>
                    <a:pt x="150" y="144"/>
                  </a:lnTo>
                  <a:lnTo>
                    <a:pt x="150" y="146"/>
                  </a:lnTo>
                  <a:lnTo>
                    <a:pt x="150" y="148"/>
                  </a:lnTo>
                  <a:lnTo>
                    <a:pt x="148" y="150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2" y="154"/>
                  </a:lnTo>
                  <a:lnTo>
                    <a:pt x="138" y="157"/>
                  </a:lnTo>
                  <a:lnTo>
                    <a:pt x="138" y="157"/>
                  </a:lnTo>
                  <a:lnTo>
                    <a:pt x="136" y="159"/>
                  </a:lnTo>
                  <a:lnTo>
                    <a:pt x="136" y="161"/>
                  </a:lnTo>
                  <a:lnTo>
                    <a:pt x="136" y="161"/>
                  </a:lnTo>
                  <a:lnTo>
                    <a:pt x="134" y="159"/>
                  </a:lnTo>
                  <a:lnTo>
                    <a:pt x="132" y="159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4"/>
                  </a:lnTo>
                  <a:lnTo>
                    <a:pt x="128" y="152"/>
                  </a:lnTo>
                  <a:lnTo>
                    <a:pt x="128" y="152"/>
                  </a:lnTo>
                  <a:lnTo>
                    <a:pt x="128" y="152"/>
                  </a:lnTo>
                  <a:lnTo>
                    <a:pt x="128" y="150"/>
                  </a:lnTo>
                  <a:lnTo>
                    <a:pt x="130" y="150"/>
                  </a:lnTo>
                  <a:lnTo>
                    <a:pt x="132" y="146"/>
                  </a:lnTo>
                  <a:lnTo>
                    <a:pt x="130" y="146"/>
                  </a:lnTo>
                  <a:lnTo>
                    <a:pt x="130" y="146"/>
                  </a:lnTo>
                  <a:lnTo>
                    <a:pt x="128" y="146"/>
                  </a:lnTo>
                  <a:lnTo>
                    <a:pt x="126" y="148"/>
                  </a:lnTo>
                  <a:lnTo>
                    <a:pt x="124" y="148"/>
                  </a:lnTo>
                  <a:lnTo>
                    <a:pt x="124" y="152"/>
                  </a:lnTo>
                  <a:lnTo>
                    <a:pt x="126" y="157"/>
                  </a:lnTo>
                  <a:lnTo>
                    <a:pt x="128" y="161"/>
                  </a:lnTo>
                  <a:lnTo>
                    <a:pt x="126" y="163"/>
                  </a:lnTo>
                  <a:lnTo>
                    <a:pt x="126" y="167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4" y="171"/>
                  </a:lnTo>
                  <a:lnTo>
                    <a:pt x="124" y="175"/>
                  </a:lnTo>
                  <a:lnTo>
                    <a:pt x="124" y="177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4" y="181"/>
                  </a:lnTo>
                  <a:lnTo>
                    <a:pt x="124" y="183"/>
                  </a:lnTo>
                  <a:lnTo>
                    <a:pt x="121" y="183"/>
                  </a:lnTo>
                  <a:lnTo>
                    <a:pt x="119" y="183"/>
                  </a:lnTo>
                  <a:lnTo>
                    <a:pt x="115" y="183"/>
                  </a:lnTo>
                  <a:lnTo>
                    <a:pt x="115" y="183"/>
                  </a:lnTo>
                  <a:lnTo>
                    <a:pt x="113" y="181"/>
                  </a:lnTo>
                  <a:lnTo>
                    <a:pt x="113" y="181"/>
                  </a:lnTo>
                  <a:lnTo>
                    <a:pt x="113" y="179"/>
                  </a:lnTo>
                  <a:lnTo>
                    <a:pt x="113" y="179"/>
                  </a:lnTo>
                  <a:lnTo>
                    <a:pt x="111" y="179"/>
                  </a:lnTo>
                  <a:lnTo>
                    <a:pt x="109" y="181"/>
                  </a:lnTo>
                  <a:lnTo>
                    <a:pt x="101" y="181"/>
                  </a:lnTo>
                  <a:lnTo>
                    <a:pt x="101" y="181"/>
                  </a:lnTo>
                  <a:lnTo>
                    <a:pt x="99" y="183"/>
                  </a:lnTo>
                  <a:lnTo>
                    <a:pt x="95" y="183"/>
                  </a:lnTo>
                  <a:lnTo>
                    <a:pt x="95" y="183"/>
                  </a:lnTo>
                  <a:lnTo>
                    <a:pt x="93" y="183"/>
                  </a:lnTo>
                  <a:lnTo>
                    <a:pt x="91" y="183"/>
                  </a:lnTo>
                  <a:lnTo>
                    <a:pt x="89" y="183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5" y="181"/>
                  </a:lnTo>
                  <a:lnTo>
                    <a:pt x="82" y="181"/>
                  </a:lnTo>
                  <a:lnTo>
                    <a:pt x="80" y="183"/>
                  </a:lnTo>
                  <a:lnTo>
                    <a:pt x="76" y="183"/>
                  </a:lnTo>
                  <a:lnTo>
                    <a:pt x="76" y="185"/>
                  </a:lnTo>
                  <a:lnTo>
                    <a:pt x="76" y="187"/>
                  </a:lnTo>
                  <a:lnTo>
                    <a:pt x="74" y="189"/>
                  </a:lnTo>
                  <a:lnTo>
                    <a:pt x="72" y="191"/>
                  </a:lnTo>
                  <a:lnTo>
                    <a:pt x="72" y="194"/>
                  </a:lnTo>
                  <a:lnTo>
                    <a:pt x="70" y="194"/>
                  </a:lnTo>
                  <a:lnTo>
                    <a:pt x="70" y="196"/>
                  </a:lnTo>
                  <a:lnTo>
                    <a:pt x="70" y="198"/>
                  </a:lnTo>
                  <a:lnTo>
                    <a:pt x="68" y="200"/>
                  </a:lnTo>
                  <a:lnTo>
                    <a:pt x="66" y="200"/>
                  </a:lnTo>
                  <a:lnTo>
                    <a:pt x="66" y="202"/>
                  </a:lnTo>
                  <a:lnTo>
                    <a:pt x="64" y="202"/>
                  </a:lnTo>
                  <a:lnTo>
                    <a:pt x="64" y="204"/>
                  </a:lnTo>
                  <a:lnTo>
                    <a:pt x="62" y="204"/>
                  </a:lnTo>
                  <a:lnTo>
                    <a:pt x="60" y="204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8" y="206"/>
                  </a:lnTo>
                  <a:lnTo>
                    <a:pt x="58" y="206"/>
                  </a:lnTo>
                  <a:lnTo>
                    <a:pt x="60" y="212"/>
                  </a:lnTo>
                  <a:lnTo>
                    <a:pt x="62" y="210"/>
                  </a:lnTo>
                  <a:lnTo>
                    <a:pt x="62" y="210"/>
                  </a:lnTo>
                  <a:lnTo>
                    <a:pt x="64" y="212"/>
                  </a:lnTo>
                  <a:lnTo>
                    <a:pt x="66" y="212"/>
                  </a:lnTo>
                  <a:lnTo>
                    <a:pt x="66" y="212"/>
                  </a:lnTo>
                  <a:lnTo>
                    <a:pt x="68" y="212"/>
                  </a:lnTo>
                  <a:lnTo>
                    <a:pt x="68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8" y="214"/>
                  </a:lnTo>
                  <a:lnTo>
                    <a:pt x="80" y="214"/>
                  </a:lnTo>
                  <a:lnTo>
                    <a:pt x="80" y="212"/>
                  </a:lnTo>
                  <a:lnTo>
                    <a:pt x="80" y="210"/>
                  </a:lnTo>
                  <a:lnTo>
                    <a:pt x="78" y="208"/>
                  </a:lnTo>
                  <a:lnTo>
                    <a:pt x="78" y="206"/>
                  </a:lnTo>
                  <a:lnTo>
                    <a:pt x="80" y="204"/>
                  </a:lnTo>
                  <a:lnTo>
                    <a:pt x="82" y="206"/>
                  </a:lnTo>
                  <a:lnTo>
                    <a:pt x="85" y="206"/>
                  </a:lnTo>
                  <a:lnTo>
                    <a:pt x="87" y="206"/>
                  </a:lnTo>
                  <a:lnTo>
                    <a:pt x="91" y="206"/>
                  </a:lnTo>
                  <a:lnTo>
                    <a:pt x="93" y="206"/>
                  </a:lnTo>
                  <a:lnTo>
                    <a:pt x="93" y="204"/>
                  </a:lnTo>
                  <a:lnTo>
                    <a:pt x="95" y="204"/>
                  </a:lnTo>
                  <a:lnTo>
                    <a:pt x="95" y="204"/>
                  </a:lnTo>
                  <a:lnTo>
                    <a:pt x="97" y="204"/>
                  </a:lnTo>
                  <a:lnTo>
                    <a:pt x="97" y="202"/>
                  </a:lnTo>
                  <a:lnTo>
                    <a:pt x="99" y="202"/>
                  </a:lnTo>
                  <a:lnTo>
                    <a:pt x="101" y="202"/>
                  </a:lnTo>
                  <a:lnTo>
                    <a:pt x="103" y="202"/>
                  </a:lnTo>
                  <a:lnTo>
                    <a:pt x="105" y="200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7" y="198"/>
                  </a:lnTo>
                  <a:lnTo>
                    <a:pt x="109" y="198"/>
                  </a:lnTo>
                  <a:lnTo>
                    <a:pt x="111" y="198"/>
                  </a:lnTo>
                  <a:lnTo>
                    <a:pt x="113" y="198"/>
                  </a:lnTo>
                  <a:lnTo>
                    <a:pt x="113" y="198"/>
                  </a:lnTo>
                  <a:lnTo>
                    <a:pt x="117" y="200"/>
                  </a:lnTo>
                  <a:lnTo>
                    <a:pt x="119" y="200"/>
                  </a:lnTo>
                  <a:lnTo>
                    <a:pt x="121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1" y="206"/>
                  </a:lnTo>
                  <a:lnTo>
                    <a:pt x="121" y="206"/>
                  </a:lnTo>
                  <a:lnTo>
                    <a:pt x="124" y="208"/>
                  </a:lnTo>
                  <a:lnTo>
                    <a:pt x="126" y="210"/>
                  </a:lnTo>
                  <a:lnTo>
                    <a:pt x="126" y="212"/>
                  </a:lnTo>
                  <a:lnTo>
                    <a:pt x="128" y="214"/>
                  </a:lnTo>
                  <a:lnTo>
                    <a:pt x="130" y="216"/>
                  </a:lnTo>
                  <a:lnTo>
                    <a:pt x="132" y="218"/>
                  </a:lnTo>
                  <a:lnTo>
                    <a:pt x="134" y="220"/>
                  </a:lnTo>
                  <a:lnTo>
                    <a:pt x="138" y="220"/>
                  </a:lnTo>
                  <a:lnTo>
                    <a:pt x="140" y="218"/>
                  </a:lnTo>
                  <a:lnTo>
                    <a:pt x="140" y="216"/>
                  </a:lnTo>
                  <a:lnTo>
                    <a:pt x="142" y="210"/>
                  </a:lnTo>
                  <a:lnTo>
                    <a:pt x="142" y="208"/>
                  </a:lnTo>
                  <a:lnTo>
                    <a:pt x="144" y="206"/>
                  </a:lnTo>
                  <a:lnTo>
                    <a:pt x="148" y="206"/>
                  </a:lnTo>
                  <a:lnTo>
                    <a:pt x="148" y="206"/>
                  </a:lnTo>
                  <a:lnTo>
                    <a:pt x="148" y="204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42" y="200"/>
                  </a:lnTo>
                  <a:lnTo>
                    <a:pt x="142" y="198"/>
                  </a:lnTo>
                  <a:lnTo>
                    <a:pt x="140" y="196"/>
                  </a:lnTo>
                  <a:lnTo>
                    <a:pt x="142" y="194"/>
                  </a:lnTo>
                  <a:lnTo>
                    <a:pt x="142" y="191"/>
                  </a:lnTo>
                  <a:lnTo>
                    <a:pt x="142" y="191"/>
                  </a:lnTo>
                  <a:lnTo>
                    <a:pt x="142" y="191"/>
                  </a:lnTo>
                  <a:lnTo>
                    <a:pt x="144" y="191"/>
                  </a:lnTo>
                  <a:lnTo>
                    <a:pt x="144" y="194"/>
                  </a:lnTo>
                  <a:lnTo>
                    <a:pt x="144" y="194"/>
                  </a:lnTo>
                  <a:lnTo>
                    <a:pt x="146" y="196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8" y="196"/>
                  </a:lnTo>
                  <a:lnTo>
                    <a:pt x="148" y="198"/>
                  </a:lnTo>
                  <a:lnTo>
                    <a:pt x="148" y="198"/>
                  </a:lnTo>
                  <a:lnTo>
                    <a:pt x="150" y="198"/>
                  </a:lnTo>
                  <a:lnTo>
                    <a:pt x="152" y="198"/>
                  </a:lnTo>
                  <a:lnTo>
                    <a:pt x="152" y="198"/>
                  </a:lnTo>
                  <a:lnTo>
                    <a:pt x="152" y="198"/>
                  </a:lnTo>
                  <a:lnTo>
                    <a:pt x="150" y="200"/>
                  </a:lnTo>
                  <a:lnTo>
                    <a:pt x="150" y="200"/>
                  </a:lnTo>
                  <a:lnTo>
                    <a:pt x="154" y="200"/>
                  </a:lnTo>
                  <a:lnTo>
                    <a:pt x="156" y="200"/>
                  </a:lnTo>
                  <a:lnTo>
                    <a:pt x="161" y="200"/>
                  </a:lnTo>
                  <a:lnTo>
                    <a:pt x="163" y="200"/>
                  </a:lnTo>
                  <a:lnTo>
                    <a:pt x="163" y="200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7" y="196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69" y="191"/>
                  </a:lnTo>
                  <a:lnTo>
                    <a:pt x="169" y="191"/>
                  </a:lnTo>
                  <a:lnTo>
                    <a:pt x="171" y="189"/>
                  </a:lnTo>
                  <a:lnTo>
                    <a:pt x="173" y="191"/>
                  </a:lnTo>
                  <a:lnTo>
                    <a:pt x="175" y="191"/>
                  </a:lnTo>
                  <a:lnTo>
                    <a:pt x="173" y="194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6"/>
                  </a:lnTo>
                  <a:lnTo>
                    <a:pt x="179" y="194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7"/>
                  </a:lnTo>
                  <a:lnTo>
                    <a:pt x="179" y="187"/>
                  </a:lnTo>
                  <a:lnTo>
                    <a:pt x="181" y="187"/>
                  </a:lnTo>
                  <a:lnTo>
                    <a:pt x="183" y="187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3" y="187"/>
                  </a:lnTo>
                  <a:lnTo>
                    <a:pt x="183" y="185"/>
                  </a:lnTo>
                  <a:lnTo>
                    <a:pt x="183" y="183"/>
                  </a:lnTo>
                  <a:lnTo>
                    <a:pt x="183" y="183"/>
                  </a:lnTo>
                  <a:lnTo>
                    <a:pt x="183" y="183"/>
                  </a:lnTo>
                  <a:lnTo>
                    <a:pt x="183" y="181"/>
                  </a:lnTo>
                  <a:lnTo>
                    <a:pt x="183" y="181"/>
                  </a:lnTo>
                  <a:lnTo>
                    <a:pt x="185" y="179"/>
                  </a:lnTo>
                  <a:lnTo>
                    <a:pt x="185" y="179"/>
                  </a:lnTo>
                  <a:lnTo>
                    <a:pt x="187" y="181"/>
                  </a:lnTo>
                  <a:lnTo>
                    <a:pt x="187" y="181"/>
                  </a:lnTo>
                  <a:lnTo>
                    <a:pt x="189" y="183"/>
                  </a:lnTo>
                  <a:lnTo>
                    <a:pt x="187" y="183"/>
                  </a:lnTo>
                  <a:lnTo>
                    <a:pt x="187" y="185"/>
                  </a:lnTo>
                  <a:lnTo>
                    <a:pt x="187" y="185"/>
                  </a:lnTo>
                  <a:lnTo>
                    <a:pt x="187" y="187"/>
                  </a:lnTo>
                  <a:lnTo>
                    <a:pt x="187" y="187"/>
                  </a:lnTo>
                  <a:lnTo>
                    <a:pt x="189" y="191"/>
                  </a:lnTo>
                  <a:lnTo>
                    <a:pt x="189" y="191"/>
                  </a:lnTo>
                  <a:lnTo>
                    <a:pt x="189" y="194"/>
                  </a:lnTo>
                  <a:lnTo>
                    <a:pt x="189" y="194"/>
                  </a:lnTo>
                  <a:lnTo>
                    <a:pt x="191" y="194"/>
                  </a:lnTo>
                  <a:lnTo>
                    <a:pt x="191" y="194"/>
                  </a:lnTo>
                  <a:lnTo>
                    <a:pt x="191" y="191"/>
                  </a:lnTo>
                  <a:lnTo>
                    <a:pt x="193" y="191"/>
                  </a:lnTo>
                  <a:lnTo>
                    <a:pt x="195" y="189"/>
                  </a:lnTo>
                  <a:lnTo>
                    <a:pt x="195" y="189"/>
                  </a:lnTo>
                  <a:lnTo>
                    <a:pt x="195" y="189"/>
                  </a:lnTo>
                  <a:lnTo>
                    <a:pt x="195" y="187"/>
                  </a:lnTo>
                  <a:lnTo>
                    <a:pt x="195" y="185"/>
                  </a:lnTo>
                  <a:lnTo>
                    <a:pt x="193" y="183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200" y="179"/>
                  </a:lnTo>
                  <a:lnTo>
                    <a:pt x="197" y="177"/>
                  </a:lnTo>
                  <a:lnTo>
                    <a:pt x="195" y="177"/>
                  </a:lnTo>
                  <a:close/>
                  <a:moveTo>
                    <a:pt x="117" y="62"/>
                  </a:moveTo>
                  <a:lnTo>
                    <a:pt x="117" y="62"/>
                  </a:lnTo>
                  <a:lnTo>
                    <a:pt x="117" y="62"/>
                  </a:lnTo>
                  <a:lnTo>
                    <a:pt x="117" y="64"/>
                  </a:lnTo>
                  <a:lnTo>
                    <a:pt x="117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7" y="60"/>
                  </a:lnTo>
                  <a:lnTo>
                    <a:pt x="117" y="62"/>
                  </a:lnTo>
                  <a:close/>
                  <a:moveTo>
                    <a:pt x="111" y="8"/>
                  </a:moveTo>
                  <a:lnTo>
                    <a:pt x="111" y="8"/>
                  </a:lnTo>
                  <a:lnTo>
                    <a:pt x="111" y="8"/>
                  </a:lnTo>
                  <a:lnTo>
                    <a:pt x="111" y="6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09" y="8"/>
                  </a:lnTo>
                  <a:lnTo>
                    <a:pt x="111" y="8"/>
                  </a:lnTo>
                  <a:close/>
                  <a:moveTo>
                    <a:pt x="107" y="6"/>
                  </a:moveTo>
                  <a:lnTo>
                    <a:pt x="107" y="4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5" y="4"/>
                  </a:lnTo>
                  <a:lnTo>
                    <a:pt x="107" y="6"/>
                  </a:lnTo>
                  <a:close/>
                  <a:moveTo>
                    <a:pt x="115" y="4"/>
                  </a:move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9" y="13"/>
                  </a:lnTo>
                  <a:lnTo>
                    <a:pt x="124" y="17"/>
                  </a:lnTo>
                  <a:lnTo>
                    <a:pt x="126" y="21"/>
                  </a:lnTo>
                  <a:lnTo>
                    <a:pt x="126" y="23"/>
                  </a:lnTo>
                  <a:lnTo>
                    <a:pt x="128" y="25"/>
                  </a:lnTo>
                  <a:lnTo>
                    <a:pt x="130" y="29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0" y="35"/>
                  </a:lnTo>
                  <a:lnTo>
                    <a:pt x="132" y="37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4" y="43"/>
                  </a:lnTo>
                  <a:lnTo>
                    <a:pt x="132" y="43"/>
                  </a:lnTo>
                  <a:lnTo>
                    <a:pt x="132" y="43"/>
                  </a:lnTo>
                  <a:lnTo>
                    <a:pt x="128" y="43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1" y="41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19" y="43"/>
                  </a:lnTo>
                  <a:lnTo>
                    <a:pt x="119" y="43"/>
                  </a:lnTo>
                  <a:lnTo>
                    <a:pt x="124" y="45"/>
                  </a:lnTo>
                  <a:lnTo>
                    <a:pt x="124" y="48"/>
                  </a:lnTo>
                  <a:lnTo>
                    <a:pt x="124" y="50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8"/>
                  </a:lnTo>
                  <a:lnTo>
                    <a:pt x="119" y="58"/>
                  </a:lnTo>
                  <a:lnTo>
                    <a:pt x="121" y="60"/>
                  </a:lnTo>
                  <a:lnTo>
                    <a:pt x="124" y="62"/>
                  </a:lnTo>
                  <a:lnTo>
                    <a:pt x="126" y="64"/>
                  </a:lnTo>
                  <a:lnTo>
                    <a:pt x="128" y="64"/>
                  </a:lnTo>
                  <a:lnTo>
                    <a:pt x="130" y="66"/>
                  </a:lnTo>
                  <a:lnTo>
                    <a:pt x="130" y="68"/>
                  </a:lnTo>
                  <a:lnTo>
                    <a:pt x="130" y="70"/>
                  </a:lnTo>
                  <a:lnTo>
                    <a:pt x="132" y="72"/>
                  </a:lnTo>
                  <a:lnTo>
                    <a:pt x="132" y="74"/>
                  </a:lnTo>
                  <a:lnTo>
                    <a:pt x="134" y="74"/>
                  </a:lnTo>
                  <a:lnTo>
                    <a:pt x="134" y="74"/>
                  </a:lnTo>
                  <a:lnTo>
                    <a:pt x="136" y="76"/>
                  </a:lnTo>
                  <a:lnTo>
                    <a:pt x="136" y="74"/>
                  </a:lnTo>
                  <a:lnTo>
                    <a:pt x="138" y="74"/>
                  </a:lnTo>
                  <a:lnTo>
                    <a:pt x="138" y="72"/>
                  </a:lnTo>
                  <a:lnTo>
                    <a:pt x="138" y="70"/>
                  </a:lnTo>
                  <a:lnTo>
                    <a:pt x="138" y="70"/>
                  </a:lnTo>
                  <a:lnTo>
                    <a:pt x="138" y="68"/>
                  </a:lnTo>
                  <a:lnTo>
                    <a:pt x="142" y="70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6" y="70"/>
                  </a:lnTo>
                  <a:lnTo>
                    <a:pt x="146" y="68"/>
                  </a:lnTo>
                  <a:lnTo>
                    <a:pt x="144" y="68"/>
                  </a:lnTo>
                  <a:lnTo>
                    <a:pt x="140" y="66"/>
                  </a:lnTo>
                  <a:lnTo>
                    <a:pt x="136" y="64"/>
                  </a:lnTo>
                  <a:lnTo>
                    <a:pt x="136" y="62"/>
                  </a:lnTo>
                  <a:lnTo>
                    <a:pt x="134" y="64"/>
                  </a:lnTo>
                  <a:lnTo>
                    <a:pt x="134" y="62"/>
                  </a:lnTo>
                  <a:lnTo>
                    <a:pt x="132" y="62"/>
                  </a:lnTo>
                  <a:lnTo>
                    <a:pt x="130" y="60"/>
                  </a:lnTo>
                  <a:lnTo>
                    <a:pt x="128" y="60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2" y="56"/>
                  </a:lnTo>
                  <a:lnTo>
                    <a:pt x="134" y="56"/>
                  </a:lnTo>
                  <a:lnTo>
                    <a:pt x="138" y="58"/>
                  </a:lnTo>
                  <a:lnTo>
                    <a:pt x="138" y="60"/>
                  </a:lnTo>
                  <a:lnTo>
                    <a:pt x="142" y="56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61" y="60"/>
                  </a:lnTo>
                  <a:lnTo>
                    <a:pt x="169" y="64"/>
                  </a:lnTo>
                  <a:lnTo>
                    <a:pt x="173" y="64"/>
                  </a:lnTo>
                  <a:lnTo>
                    <a:pt x="175" y="66"/>
                  </a:lnTo>
                  <a:lnTo>
                    <a:pt x="175" y="64"/>
                  </a:lnTo>
                  <a:lnTo>
                    <a:pt x="175" y="64"/>
                  </a:lnTo>
                  <a:lnTo>
                    <a:pt x="175" y="62"/>
                  </a:lnTo>
                  <a:lnTo>
                    <a:pt x="175" y="62"/>
                  </a:lnTo>
                  <a:lnTo>
                    <a:pt x="173" y="60"/>
                  </a:lnTo>
                  <a:lnTo>
                    <a:pt x="173" y="58"/>
                  </a:lnTo>
                  <a:lnTo>
                    <a:pt x="173" y="54"/>
                  </a:lnTo>
                  <a:lnTo>
                    <a:pt x="175" y="52"/>
                  </a:lnTo>
                  <a:lnTo>
                    <a:pt x="177" y="50"/>
                  </a:lnTo>
                  <a:lnTo>
                    <a:pt x="179" y="48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5" y="48"/>
                  </a:lnTo>
                  <a:lnTo>
                    <a:pt x="187" y="48"/>
                  </a:lnTo>
                  <a:lnTo>
                    <a:pt x="189" y="48"/>
                  </a:lnTo>
                  <a:lnTo>
                    <a:pt x="189" y="48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5" y="43"/>
                  </a:lnTo>
                  <a:lnTo>
                    <a:pt x="195" y="43"/>
                  </a:lnTo>
                  <a:lnTo>
                    <a:pt x="195" y="41"/>
                  </a:lnTo>
                  <a:lnTo>
                    <a:pt x="197" y="41"/>
                  </a:lnTo>
                  <a:lnTo>
                    <a:pt x="197" y="41"/>
                  </a:lnTo>
                  <a:lnTo>
                    <a:pt x="195" y="39"/>
                  </a:lnTo>
                  <a:lnTo>
                    <a:pt x="195" y="41"/>
                  </a:lnTo>
                  <a:lnTo>
                    <a:pt x="195" y="41"/>
                  </a:lnTo>
                  <a:lnTo>
                    <a:pt x="193" y="41"/>
                  </a:lnTo>
                  <a:lnTo>
                    <a:pt x="193" y="41"/>
                  </a:lnTo>
                  <a:lnTo>
                    <a:pt x="191" y="41"/>
                  </a:lnTo>
                  <a:lnTo>
                    <a:pt x="189" y="39"/>
                  </a:lnTo>
                  <a:lnTo>
                    <a:pt x="187" y="37"/>
                  </a:lnTo>
                  <a:lnTo>
                    <a:pt x="185" y="35"/>
                  </a:lnTo>
                  <a:lnTo>
                    <a:pt x="183" y="33"/>
                  </a:lnTo>
                  <a:lnTo>
                    <a:pt x="181" y="31"/>
                  </a:lnTo>
                  <a:lnTo>
                    <a:pt x="181" y="29"/>
                  </a:lnTo>
                  <a:lnTo>
                    <a:pt x="181" y="25"/>
                  </a:lnTo>
                  <a:lnTo>
                    <a:pt x="181" y="25"/>
                  </a:lnTo>
                  <a:lnTo>
                    <a:pt x="181" y="23"/>
                  </a:lnTo>
                  <a:lnTo>
                    <a:pt x="179" y="23"/>
                  </a:lnTo>
                  <a:lnTo>
                    <a:pt x="179" y="27"/>
                  </a:lnTo>
                  <a:lnTo>
                    <a:pt x="177" y="29"/>
                  </a:lnTo>
                  <a:lnTo>
                    <a:pt x="177" y="31"/>
                  </a:lnTo>
                  <a:lnTo>
                    <a:pt x="175" y="31"/>
                  </a:lnTo>
                  <a:lnTo>
                    <a:pt x="173" y="31"/>
                  </a:lnTo>
                  <a:lnTo>
                    <a:pt x="171" y="31"/>
                  </a:lnTo>
                  <a:lnTo>
                    <a:pt x="165" y="27"/>
                  </a:lnTo>
                  <a:lnTo>
                    <a:pt x="163" y="27"/>
                  </a:lnTo>
                  <a:lnTo>
                    <a:pt x="163" y="27"/>
                  </a:lnTo>
                  <a:lnTo>
                    <a:pt x="161" y="27"/>
                  </a:lnTo>
                  <a:lnTo>
                    <a:pt x="158" y="27"/>
                  </a:lnTo>
                  <a:lnTo>
                    <a:pt x="156" y="25"/>
                  </a:lnTo>
                  <a:lnTo>
                    <a:pt x="154" y="25"/>
                  </a:lnTo>
                  <a:lnTo>
                    <a:pt x="148" y="23"/>
                  </a:lnTo>
                  <a:lnTo>
                    <a:pt x="144" y="21"/>
                  </a:lnTo>
                  <a:lnTo>
                    <a:pt x="140" y="17"/>
                  </a:lnTo>
                  <a:lnTo>
                    <a:pt x="136" y="15"/>
                  </a:lnTo>
                  <a:lnTo>
                    <a:pt x="128" y="8"/>
                  </a:lnTo>
                  <a:lnTo>
                    <a:pt x="121" y="4"/>
                  </a:lnTo>
                  <a:lnTo>
                    <a:pt x="119" y="2"/>
                  </a:lnTo>
                  <a:lnTo>
                    <a:pt x="117" y="2"/>
                  </a:lnTo>
                  <a:lnTo>
                    <a:pt x="117" y="0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3" y="2"/>
                  </a:lnTo>
                  <a:lnTo>
                    <a:pt x="113" y="4"/>
                  </a:lnTo>
                  <a:lnTo>
                    <a:pt x="115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9" name="Freeform 149">
              <a:extLst>
                <a:ext uri="{FF2B5EF4-FFF2-40B4-BE49-F238E27FC236}">
                  <a16:creationId xmlns:a16="http://schemas.microsoft.com/office/drawing/2014/main" id="{5578C044-8242-A34C-BBE1-2BA02EBC92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8476" y="3404267"/>
              <a:ext cx="882972" cy="366023"/>
            </a:xfrm>
            <a:custGeom>
              <a:avLst/>
              <a:gdLst>
                <a:gd name="T0" fmla="*/ 379 w 743"/>
                <a:gd name="T1" fmla="*/ 284 h 308"/>
                <a:gd name="T2" fmla="*/ 457 w 743"/>
                <a:gd name="T3" fmla="*/ 298 h 308"/>
                <a:gd name="T4" fmla="*/ 390 w 743"/>
                <a:gd name="T5" fmla="*/ 267 h 308"/>
                <a:gd name="T6" fmla="*/ 462 w 743"/>
                <a:gd name="T7" fmla="*/ 261 h 308"/>
                <a:gd name="T8" fmla="*/ 468 w 743"/>
                <a:gd name="T9" fmla="*/ 261 h 308"/>
                <a:gd name="T10" fmla="*/ 408 w 743"/>
                <a:gd name="T11" fmla="*/ 261 h 308"/>
                <a:gd name="T12" fmla="*/ 379 w 743"/>
                <a:gd name="T13" fmla="*/ 269 h 308"/>
                <a:gd name="T14" fmla="*/ 345 w 743"/>
                <a:gd name="T15" fmla="*/ 271 h 308"/>
                <a:gd name="T16" fmla="*/ 320 w 743"/>
                <a:gd name="T17" fmla="*/ 271 h 308"/>
                <a:gd name="T18" fmla="*/ 694 w 743"/>
                <a:gd name="T19" fmla="*/ 245 h 308"/>
                <a:gd name="T20" fmla="*/ 308 w 743"/>
                <a:gd name="T21" fmla="*/ 241 h 308"/>
                <a:gd name="T22" fmla="*/ 638 w 743"/>
                <a:gd name="T23" fmla="*/ 230 h 308"/>
                <a:gd name="T24" fmla="*/ 293 w 743"/>
                <a:gd name="T25" fmla="*/ 251 h 308"/>
                <a:gd name="T26" fmla="*/ 207 w 743"/>
                <a:gd name="T27" fmla="*/ 224 h 308"/>
                <a:gd name="T28" fmla="*/ 199 w 743"/>
                <a:gd name="T29" fmla="*/ 249 h 308"/>
                <a:gd name="T30" fmla="*/ 283 w 743"/>
                <a:gd name="T31" fmla="*/ 214 h 308"/>
                <a:gd name="T32" fmla="*/ 611 w 743"/>
                <a:gd name="T33" fmla="*/ 212 h 308"/>
                <a:gd name="T34" fmla="*/ 439 w 743"/>
                <a:gd name="T35" fmla="*/ 202 h 308"/>
                <a:gd name="T36" fmla="*/ 453 w 743"/>
                <a:gd name="T37" fmla="*/ 183 h 308"/>
                <a:gd name="T38" fmla="*/ 342 w 743"/>
                <a:gd name="T39" fmla="*/ 175 h 308"/>
                <a:gd name="T40" fmla="*/ 191 w 743"/>
                <a:gd name="T41" fmla="*/ 165 h 308"/>
                <a:gd name="T42" fmla="*/ 540 w 743"/>
                <a:gd name="T43" fmla="*/ 173 h 308"/>
                <a:gd name="T44" fmla="*/ 211 w 743"/>
                <a:gd name="T45" fmla="*/ 165 h 308"/>
                <a:gd name="T46" fmla="*/ 464 w 743"/>
                <a:gd name="T47" fmla="*/ 146 h 308"/>
                <a:gd name="T48" fmla="*/ 476 w 743"/>
                <a:gd name="T49" fmla="*/ 146 h 308"/>
                <a:gd name="T50" fmla="*/ 186 w 743"/>
                <a:gd name="T51" fmla="*/ 158 h 308"/>
                <a:gd name="T52" fmla="*/ 459 w 743"/>
                <a:gd name="T53" fmla="*/ 134 h 308"/>
                <a:gd name="T54" fmla="*/ 63 w 743"/>
                <a:gd name="T55" fmla="*/ 128 h 308"/>
                <a:gd name="T56" fmla="*/ 667 w 743"/>
                <a:gd name="T57" fmla="*/ 130 h 308"/>
                <a:gd name="T58" fmla="*/ 696 w 743"/>
                <a:gd name="T59" fmla="*/ 138 h 308"/>
                <a:gd name="T60" fmla="*/ 632 w 743"/>
                <a:gd name="T61" fmla="*/ 128 h 308"/>
                <a:gd name="T62" fmla="*/ 628 w 743"/>
                <a:gd name="T63" fmla="*/ 150 h 308"/>
                <a:gd name="T64" fmla="*/ 624 w 743"/>
                <a:gd name="T65" fmla="*/ 171 h 308"/>
                <a:gd name="T66" fmla="*/ 698 w 743"/>
                <a:gd name="T67" fmla="*/ 214 h 308"/>
                <a:gd name="T68" fmla="*/ 720 w 743"/>
                <a:gd name="T69" fmla="*/ 257 h 308"/>
                <a:gd name="T70" fmla="*/ 154 w 743"/>
                <a:gd name="T71" fmla="*/ 117 h 308"/>
                <a:gd name="T72" fmla="*/ 579 w 743"/>
                <a:gd name="T73" fmla="*/ 115 h 308"/>
                <a:gd name="T74" fmla="*/ 160 w 743"/>
                <a:gd name="T75" fmla="*/ 113 h 308"/>
                <a:gd name="T76" fmla="*/ 135 w 743"/>
                <a:gd name="T77" fmla="*/ 97 h 308"/>
                <a:gd name="T78" fmla="*/ 123 w 743"/>
                <a:gd name="T79" fmla="*/ 88 h 308"/>
                <a:gd name="T80" fmla="*/ 37 w 743"/>
                <a:gd name="T81" fmla="*/ 82 h 308"/>
                <a:gd name="T82" fmla="*/ 392 w 743"/>
                <a:gd name="T83" fmla="*/ 204 h 308"/>
                <a:gd name="T84" fmla="*/ 429 w 743"/>
                <a:gd name="T85" fmla="*/ 197 h 308"/>
                <a:gd name="T86" fmla="*/ 429 w 743"/>
                <a:gd name="T87" fmla="*/ 144 h 308"/>
                <a:gd name="T88" fmla="*/ 404 w 743"/>
                <a:gd name="T89" fmla="*/ 119 h 308"/>
                <a:gd name="T90" fmla="*/ 472 w 743"/>
                <a:gd name="T91" fmla="*/ 91 h 308"/>
                <a:gd name="T92" fmla="*/ 400 w 743"/>
                <a:gd name="T93" fmla="*/ 123 h 308"/>
                <a:gd name="T94" fmla="*/ 533 w 743"/>
                <a:gd name="T95" fmla="*/ 113 h 308"/>
                <a:gd name="T96" fmla="*/ 531 w 743"/>
                <a:gd name="T97" fmla="*/ 74 h 308"/>
                <a:gd name="T98" fmla="*/ 18 w 743"/>
                <a:gd name="T99" fmla="*/ 64 h 308"/>
                <a:gd name="T100" fmla="*/ 513 w 743"/>
                <a:gd name="T101" fmla="*/ 39 h 308"/>
                <a:gd name="T102" fmla="*/ 236 w 743"/>
                <a:gd name="T103" fmla="*/ 125 h 308"/>
                <a:gd name="T104" fmla="*/ 299 w 743"/>
                <a:gd name="T105" fmla="*/ 171 h 308"/>
                <a:gd name="T106" fmla="*/ 342 w 743"/>
                <a:gd name="T107" fmla="*/ 142 h 308"/>
                <a:gd name="T108" fmla="*/ 369 w 743"/>
                <a:gd name="T109" fmla="*/ 70 h 308"/>
                <a:gd name="T110" fmla="*/ 342 w 743"/>
                <a:gd name="T111" fmla="*/ 29 h 308"/>
                <a:gd name="T112" fmla="*/ 308 w 743"/>
                <a:gd name="T113" fmla="*/ 82 h 308"/>
                <a:gd name="T114" fmla="*/ 225 w 743"/>
                <a:gd name="T115" fmla="*/ 86 h 308"/>
                <a:gd name="T116" fmla="*/ 164 w 743"/>
                <a:gd name="T117" fmla="*/ 152 h 308"/>
                <a:gd name="T118" fmla="*/ 127 w 743"/>
                <a:gd name="T119" fmla="*/ 97 h 308"/>
                <a:gd name="T120" fmla="*/ 37 w 743"/>
                <a:gd name="T121" fmla="*/ 12 h 308"/>
                <a:gd name="T122" fmla="*/ 73 w 743"/>
                <a:gd name="T123" fmla="*/ 109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43" h="308">
                  <a:moveTo>
                    <a:pt x="449" y="302"/>
                  </a:moveTo>
                  <a:lnTo>
                    <a:pt x="449" y="302"/>
                  </a:lnTo>
                  <a:lnTo>
                    <a:pt x="449" y="302"/>
                  </a:lnTo>
                  <a:lnTo>
                    <a:pt x="449" y="302"/>
                  </a:lnTo>
                  <a:lnTo>
                    <a:pt x="447" y="302"/>
                  </a:lnTo>
                  <a:lnTo>
                    <a:pt x="445" y="304"/>
                  </a:lnTo>
                  <a:lnTo>
                    <a:pt x="443" y="306"/>
                  </a:lnTo>
                  <a:lnTo>
                    <a:pt x="439" y="306"/>
                  </a:lnTo>
                  <a:lnTo>
                    <a:pt x="439" y="308"/>
                  </a:lnTo>
                  <a:lnTo>
                    <a:pt x="439" y="308"/>
                  </a:lnTo>
                  <a:lnTo>
                    <a:pt x="439" y="308"/>
                  </a:lnTo>
                  <a:lnTo>
                    <a:pt x="441" y="308"/>
                  </a:lnTo>
                  <a:lnTo>
                    <a:pt x="443" y="308"/>
                  </a:lnTo>
                  <a:lnTo>
                    <a:pt x="445" y="308"/>
                  </a:lnTo>
                  <a:lnTo>
                    <a:pt x="447" y="306"/>
                  </a:lnTo>
                  <a:lnTo>
                    <a:pt x="449" y="304"/>
                  </a:lnTo>
                  <a:lnTo>
                    <a:pt x="449" y="304"/>
                  </a:lnTo>
                  <a:lnTo>
                    <a:pt x="449" y="302"/>
                  </a:lnTo>
                  <a:close/>
                  <a:moveTo>
                    <a:pt x="425" y="300"/>
                  </a:moveTo>
                  <a:lnTo>
                    <a:pt x="423" y="302"/>
                  </a:lnTo>
                  <a:lnTo>
                    <a:pt x="423" y="302"/>
                  </a:lnTo>
                  <a:lnTo>
                    <a:pt x="423" y="302"/>
                  </a:lnTo>
                  <a:lnTo>
                    <a:pt x="425" y="304"/>
                  </a:lnTo>
                  <a:lnTo>
                    <a:pt x="425" y="304"/>
                  </a:lnTo>
                  <a:lnTo>
                    <a:pt x="427" y="302"/>
                  </a:lnTo>
                  <a:lnTo>
                    <a:pt x="427" y="300"/>
                  </a:lnTo>
                  <a:lnTo>
                    <a:pt x="427" y="300"/>
                  </a:lnTo>
                  <a:lnTo>
                    <a:pt x="425" y="300"/>
                  </a:lnTo>
                  <a:close/>
                  <a:moveTo>
                    <a:pt x="451" y="296"/>
                  </a:moveTo>
                  <a:lnTo>
                    <a:pt x="451" y="296"/>
                  </a:lnTo>
                  <a:lnTo>
                    <a:pt x="449" y="296"/>
                  </a:lnTo>
                  <a:lnTo>
                    <a:pt x="449" y="298"/>
                  </a:lnTo>
                  <a:lnTo>
                    <a:pt x="449" y="298"/>
                  </a:lnTo>
                  <a:lnTo>
                    <a:pt x="449" y="298"/>
                  </a:lnTo>
                  <a:lnTo>
                    <a:pt x="449" y="296"/>
                  </a:lnTo>
                  <a:lnTo>
                    <a:pt x="451" y="296"/>
                  </a:lnTo>
                  <a:lnTo>
                    <a:pt x="451" y="296"/>
                  </a:lnTo>
                  <a:close/>
                  <a:moveTo>
                    <a:pt x="406" y="290"/>
                  </a:moveTo>
                  <a:lnTo>
                    <a:pt x="406" y="290"/>
                  </a:lnTo>
                  <a:lnTo>
                    <a:pt x="404" y="288"/>
                  </a:lnTo>
                  <a:lnTo>
                    <a:pt x="404" y="286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0" y="286"/>
                  </a:lnTo>
                  <a:lnTo>
                    <a:pt x="400" y="286"/>
                  </a:lnTo>
                  <a:lnTo>
                    <a:pt x="400" y="284"/>
                  </a:lnTo>
                  <a:lnTo>
                    <a:pt x="400" y="284"/>
                  </a:lnTo>
                  <a:lnTo>
                    <a:pt x="398" y="282"/>
                  </a:lnTo>
                  <a:lnTo>
                    <a:pt x="396" y="282"/>
                  </a:lnTo>
                  <a:lnTo>
                    <a:pt x="396" y="280"/>
                  </a:lnTo>
                  <a:lnTo>
                    <a:pt x="396" y="280"/>
                  </a:lnTo>
                  <a:lnTo>
                    <a:pt x="394" y="282"/>
                  </a:lnTo>
                  <a:lnTo>
                    <a:pt x="392" y="282"/>
                  </a:lnTo>
                  <a:lnTo>
                    <a:pt x="390" y="282"/>
                  </a:lnTo>
                  <a:lnTo>
                    <a:pt x="388" y="282"/>
                  </a:lnTo>
                  <a:lnTo>
                    <a:pt x="386" y="282"/>
                  </a:lnTo>
                  <a:lnTo>
                    <a:pt x="384" y="282"/>
                  </a:lnTo>
                  <a:lnTo>
                    <a:pt x="379" y="282"/>
                  </a:lnTo>
                  <a:lnTo>
                    <a:pt x="379" y="284"/>
                  </a:lnTo>
                  <a:lnTo>
                    <a:pt x="379" y="284"/>
                  </a:lnTo>
                  <a:lnTo>
                    <a:pt x="379" y="286"/>
                  </a:lnTo>
                  <a:lnTo>
                    <a:pt x="379" y="286"/>
                  </a:lnTo>
                  <a:lnTo>
                    <a:pt x="379" y="286"/>
                  </a:lnTo>
                  <a:lnTo>
                    <a:pt x="381" y="288"/>
                  </a:lnTo>
                  <a:lnTo>
                    <a:pt x="386" y="288"/>
                  </a:lnTo>
                  <a:lnTo>
                    <a:pt x="386" y="288"/>
                  </a:lnTo>
                  <a:lnTo>
                    <a:pt x="388" y="288"/>
                  </a:lnTo>
                  <a:lnTo>
                    <a:pt x="390" y="288"/>
                  </a:lnTo>
                  <a:lnTo>
                    <a:pt x="392" y="292"/>
                  </a:lnTo>
                  <a:lnTo>
                    <a:pt x="394" y="292"/>
                  </a:lnTo>
                  <a:lnTo>
                    <a:pt x="396" y="294"/>
                  </a:lnTo>
                  <a:lnTo>
                    <a:pt x="396" y="294"/>
                  </a:lnTo>
                  <a:lnTo>
                    <a:pt x="398" y="296"/>
                  </a:lnTo>
                  <a:lnTo>
                    <a:pt x="398" y="296"/>
                  </a:lnTo>
                  <a:lnTo>
                    <a:pt x="402" y="298"/>
                  </a:lnTo>
                  <a:lnTo>
                    <a:pt x="402" y="298"/>
                  </a:lnTo>
                  <a:lnTo>
                    <a:pt x="404" y="296"/>
                  </a:lnTo>
                  <a:lnTo>
                    <a:pt x="406" y="296"/>
                  </a:lnTo>
                  <a:lnTo>
                    <a:pt x="406" y="296"/>
                  </a:lnTo>
                  <a:lnTo>
                    <a:pt x="408" y="294"/>
                  </a:lnTo>
                  <a:lnTo>
                    <a:pt x="408" y="294"/>
                  </a:lnTo>
                  <a:lnTo>
                    <a:pt x="408" y="292"/>
                  </a:lnTo>
                  <a:lnTo>
                    <a:pt x="406" y="290"/>
                  </a:lnTo>
                  <a:close/>
                  <a:moveTo>
                    <a:pt x="478" y="274"/>
                  </a:moveTo>
                  <a:lnTo>
                    <a:pt x="476" y="276"/>
                  </a:lnTo>
                  <a:lnTo>
                    <a:pt x="476" y="276"/>
                  </a:lnTo>
                  <a:lnTo>
                    <a:pt x="476" y="276"/>
                  </a:lnTo>
                  <a:lnTo>
                    <a:pt x="476" y="274"/>
                  </a:lnTo>
                  <a:lnTo>
                    <a:pt x="476" y="274"/>
                  </a:lnTo>
                  <a:lnTo>
                    <a:pt x="472" y="276"/>
                  </a:lnTo>
                  <a:lnTo>
                    <a:pt x="472" y="276"/>
                  </a:lnTo>
                  <a:lnTo>
                    <a:pt x="470" y="278"/>
                  </a:lnTo>
                  <a:lnTo>
                    <a:pt x="468" y="278"/>
                  </a:lnTo>
                  <a:lnTo>
                    <a:pt x="468" y="280"/>
                  </a:lnTo>
                  <a:lnTo>
                    <a:pt x="468" y="280"/>
                  </a:lnTo>
                  <a:lnTo>
                    <a:pt x="466" y="282"/>
                  </a:lnTo>
                  <a:lnTo>
                    <a:pt x="466" y="282"/>
                  </a:lnTo>
                  <a:lnTo>
                    <a:pt x="466" y="282"/>
                  </a:lnTo>
                  <a:lnTo>
                    <a:pt x="464" y="282"/>
                  </a:lnTo>
                  <a:lnTo>
                    <a:pt x="462" y="282"/>
                  </a:lnTo>
                  <a:lnTo>
                    <a:pt x="462" y="282"/>
                  </a:lnTo>
                  <a:lnTo>
                    <a:pt x="462" y="282"/>
                  </a:lnTo>
                  <a:lnTo>
                    <a:pt x="462" y="280"/>
                  </a:lnTo>
                  <a:lnTo>
                    <a:pt x="459" y="282"/>
                  </a:lnTo>
                  <a:lnTo>
                    <a:pt x="457" y="282"/>
                  </a:lnTo>
                  <a:lnTo>
                    <a:pt x="455" y="286"/>
                  </a:lnTo>
                  <a:lnTo>
                    <a:pt x="455" y="288"/>
                  </a:lnTo>
                  <a:lnTo>
                    <a:pt x="453" y="290"/>
                  </a:lnTo>
                  <a:lnTo>
                    <a:pt x="453" y="292"/>
                  </a:lnTo>
                  <a:lnTo>
                    <a:pt x="453" y="292"/>
                  </a:lnTo>
                  <a:lnTo>
                    <a:pt x="455" y="294"/>
                  </a:lnTo>
                  <a:lnTo>
                    <a:pt x="455" y="294"/>
                  </a:lnTo>
                  <a:lnTo>
                    <a:pt x="453" y="296"/>
                  </a:lnTo>
                  <a:lnTo>
                    <a:pt x="453" y="296"/>
                  </a:lnTo>
                  <a:lnTo>
                    <a:pt x="453" y="298"/>
                  </a:lnTo>
                  <a:lnTo>
                    <a:pt x="453" y="298"/>
                  </a:lnTo>
                  <a:lnTo>
                    <a:pt x="455" y="298"/>
                  </a:lnTo>
                  <a:lnTo>
                    <a:pt x="457" y="298"/>
                  </a:lnTo>
                  <a:lnTo>
                    <a:pt x="459" y="298"/>
                  </a:lnTo>
                  <a:lnTo>
                    <a:pt x="462" y="296"/>
                  </a:lnTo>
                  <a:lnTo>
                    <a:pt x="466" y="296"/>
                  </a:lnTo>
                  <a:lnTo>
                    <a:pt x="466" y="296"/>
                  </a:lnTo>
                  <a:lnTo>
                    <a:pt x="468" y="294"/>
                  </a:lnTo>
                  <a:lnTo>
                    <a:pt x="470" y="292"/>
                  </a:lnTo>
                  <a:lnTo>
                    <a:pt x="472" y="292"/>
                  </a:lnTo>
                  <a:lnTo>
                    <a:pt x="474" y="288"/>
                  </a:lnTo>
                  <a:lnTo>
                    <a:pt x="476" y="286"/>
                  </a:lnTo>
                  <a:lnTo>
                    <a:pt x="476" y="284"/>
                  </a:lnTo>
                  <a:lnTo>
                    <a:pt x="478" y="284"/>
                  </a:lnTo>
                  <a:lnTo>
                    <a:pt x="478" y="282"/>
                  </a:lnTo>
                  <a:lnTo>
                    <a:pt x="476" y="280"/>
                  </a:lnTo>
                  <a:lnTo>
                    <a:pt x="476" y="280"/>
                  </a:lnTo>
                  <a:lnTo>
                    <a:pt x="476" y="280"/>
                  </a:lnTo>
                  <a:lnTo>
                    <a:pt x="476" y="278"/>
                  </a:lnTo>
                  <a:lnTo>
                    <a:pt x="476" y="278"/>
                  </a:lnTo>
                  <a:lnTo>
                    <a:pt x="478" y="278"/>
                  </a:lnTo>
                  <a:lnTo>
                    <a:pt x="480" y="276"/>
                  </a:lnTo>
                  <a:lnTo>
                    <a:pt x="480" y="276"/>
                  </a:lnTo>
                  <a:lnTo>
                    <a:pt x="480" y="276"/>
                  </a:lnTo>
                  <a:lnTo>
                    <a:pt x="478" y="274"/>
                  </a:lnTo>
                  <a:close/>
                  <a:moveTo>
                    <a:pt x="324" y="267"/>
                  </a:moveTo>
                  <a:lnTo>
                    <a:pt x="324" y="269"/>
                  </a:lnTo>
                  <a:lnTo>
                    <a:pt x="324" y="269"/>
                  </a:lnTo>
                  <a:lnTo>
                    <a:pt x="326" y="271"/>
                  </a:lnTo>
                  <a:lnTo>
                    <a:pt x="326" y="269"/>
                  </a:lnTo>
                  <a:lnTo>
                    <a:pt x="326" y="269"/>
                  </a:lnTo>
                  <a:lnTo>
                    <a:pt x="326" y="267"/>
                  </a:lnTo>
                  <a:lnTo>
                    <a:pt x="324" y="267"/>
                  </a:lnTo>
                  <a:close/>
                  <a:moveTo>
                    <a:pt x="445" y="263"/>
                  </a:moveTo>
                  <a:lnTo>
                    <a:pt x="445" y="265"/>
                  </a:lnTo>
                  <a:lnTo>
                    <a:pt x="443" y="265"/>
                  </a:lnTo>
                  <a:lnTo>
                    <a:pt x="443" y="267"/>
                  </a:lnTo>
                  <a:lnTo>
                    <a:pt x="445" y="267"/>
                  </a:lnTo>
                  <a:lnTo>
                    <a:pt x="445" y="265"/>
                  </a:lnTo>
                  <a:lnTo>
                    <a:pt x="445" y="265"/>
                  </a:lnTo>
                  <a:lnTo>
                    <a:pt x="447" y="265"/>
                  </a:lnTo>
                  <a:lnTo>
                    <a:pt x="447" y="265"/>
                  </a:lnTo>
                  <a:lnTo>
                    <a:pt x="447" y="263"/>
                  </a:lnTo>
                  <a:lnTo>
                    <a:pt x="445" y="263"/>
                  </a:lnTo>
                  <a:close/>
                  <a:moveTo>
                    <a:pt x="390" y="267"/>
                  </a:moveTo>
                  <a:lnTo>
                    <a:pt x="390" y="265"/>
                  </a:lnTo>
                  <a:lnTo>
                    <a:pt x="390" y="265"/>
                  </a:lnTo>
                  <a:lnTo>
                    <a:pt x="390" y="265"/>
                  </a:lnTo>
                  <a:lnTo>
                    <a:pt x="390" y="265"/>
                  </a:lnTo>
                  <a:lnTo>
                    <a:pt x="390" y="265"/>
                  </a:lnTo>
                  <a:lnTo>
                    <a:pt x="390" y="265"/>
                  </a:lnTo>
                  <a:lnTo>
                    <a:pt x="388" y="263"/>
                  </a:lnTo>
                  <a:lnTo>
                    <a:pt x="388" y="265"/>
                  </a:lnTo>
                  <a:lnTo>
                    <a:pt x="388" y="265"/>
                  </a:lnTo>
                  <a:lnTo>
                    <a:pt x="388" y="267"/>
                  </a:lnTo>
                  <a:lnTo>
                    <a:pt x="388" y="267"/>
                  </a:lnTo>
                  <a:lnTo>
                    <a:pt x="388" y="269"/>
                  </a:lnTo>
                  <a:lnTo>
                    <a:pt x="388" y="269"/>
                  </a:lnTo>
                  <a:lnTo>
                    <a:pt x="388" y="269"/>
                  </a:lnTo>
                  <a:lnTo>
                    <a:pt x="388" y="267"/>
                  </a:lnTo>
                  <a:lnTo>
                    <a:pt x="390" y="267"/>
                  </a:lnTo>
                  <a:lnTo>
                    <a:pt x="390" y="267"/>
                  </a:lnTo>
                  <a:close/>
                  <a:moveTo>
                    <a:pt x="451" y="263"/>
                  </a:moveTo>
                  <a:lnTo>
                    <a:pt x="451" y="261"/>
                  </a:lnTo>
                  <a:lnTo>
                    <a:pt x="449" y="261"/>
                  </a:lnTo>
                  <a:lnTo>
                    <a:pt x="447" y="261"/>
                  </a:lnTo>
                  <a:lnTo>
                    <a:pt x="447" y="261"/>
                  </a:lnTo>
                  <a:lnTo>
                    <a:pt x="447" y="261"/>
                  </a:lnTo>
                  <a:lnTo>
                    <a:pt x="445" y="263"/>
                  </a:lnTo>
                  <a:lnTo>
                    <a:pt x="451" y="263"/>
                  </a:lnTo>
                  <a:lnTo>
                    <a:pt x="451" y="263"/>
                  </a:lnTo>
                  <a:close/>
                  <a:moveTo>
                    <a:pt x="345" y="263"/>
                  </a:moveTo>
                  <a:lnTo>
                    <a:pt x="345" y="261"/>
                  </a:lnTo>
                  <a:lnTo>
                    <a:pt x="345" y="261"/>
                  </a:lnTo>
                  <a:lnTo>
                    <a:pt x="342" y="261"/>
                  </a:lnTo>
                  <a:lnTo>
                    <a:pt x="340" y="259"/>
                  </a:lnTo>
                  <a:lnTo>
                    <a:pt x="338" y="261"/>
                  </a:lnTo>
                  <a:lnTo>
                    <a:pt x="336" y="261"/>
                  </a:lnTo>
                  <a:lnTo>
                    <a:pt x="334" y="263"/>
                  </a:lnTo>
                  <a:lnTo>
                    <a:pt x="334" y="267"/>
                  </a:lnTo>
                  <a:lnTo>
                    <a:pt x="334" y="269"/>
                  </a:lnTo>
                  <a:lnTo>
                    <a:pt x="332" y="269"/>
                  </a:lnTo>
                  <a:lnTo>
                    <a:pt x="330" y="269"/>
                  </a:lnTo>
                  <a:lnTo>
                    <a:pt x="330" y="269"/>
                  </a:lnTo>
                  <a:lnTo>
                    <a:pt x="330" y="269"/>
                  </a:lnTo>
                  <a:lnTo>
                    <a:pt x="330" y="271"/>
                  </a:lnTo>
                  <a:lnTo>
                    <a:pt x="332" y="271"/>
                  </a:lnTo>
                  <a:lnTo>
                    <a:pt x="336" y="274"/>
                  </a:lnTo>
                  <a:lnTo>
                    <a:pt x="336" y="274"/>
                  </a:lnTo>
                  <a:lnTo>
                    <a:pt x="338" y="274"/>
                  </a:lnTo>
                  <a:lnTo>
                    <a:pt x="342" y="271"/>
                  </a:lnTo>
                  <a:lnTo>
                    <a:pt x="340" y="271"/>
                  </a:lnTo>
                  <a:lnTo>
                    <a:pt x="340" y="271"/>
                  </a:lnTo>
                  <a:lnTo>
                    <a:pt x="342" y="267"/>
                  </a:lnTo>
                  <a:lnTo>
                    <a:pt x="345" y="263"/>
                  </a:lnTo>
                  <a:close/>
                  <a:moveTo>
                    <a:pt x="462" y="263"/>
                  </a:moveTo>
                  <a:lnTo>
                    <a:pt x="464" y="265"/>
                  </a:lnTo>
                  <a:lnTo>
                    <a:pt x="464" y="265"/>
                  </a:lnTo>
                  <a:lnTo>
                    <a:pt x="466" y="265"/>
                  </a:lnTo>
                  <a:lnTo>
                    <a:pt x="466" y="263"/>
                  </a:lnTo>
                  <a:lnTo>
                    <a:pt x="466" y="261"/>
                  </a:lnTo>
                  <a:lnTo>
                    <a:pt x="468" y="261"/>
                  </a:lnTo>
                  <a:lnTo>
                    <a:pt x="468" y="259"/>
                  </a:lnTo>
                  <a:lnTo>
                    <a:pt x="466" y="259"/>
                  </a:lnTo>
                  <a:lnTo>
                    <a:pt x="466" y="259"/>
                  </a:lnTo>
                  <a:lnTo>
                    <a:pt x="464" y="263"/>
                  </a:lnTo>
                  <a:lnTo>
                    <a:pt x="464" y="263"/>
                  </a:lnTo>
                  <a:lnTo>
                    <a:pt x="464" y="261"/>
                  </a:lnTo>
                  <a:lnTo>
                    <a:pt x="462" y="261"/>
                  </a:lnTo>
                  <a:lnTo>
                    <a:pt x="462" y="263"/>
                  </a:lnTo>
                  <a:lnTo>
                    <a:pt x="462" y="263"/>
                  </a:lnTo>
                  <a:lnTo>
                    <a:pt x="462" y="263"/>
                  </a:lnTo>
                  <a:close/>
                  <a:moveTo>
                    <a:pt x="455" y="267"/>
                  </a:moveTo>
                  <a:lnTo>
                    <a:pt x="455" y="265"/>
                  </a:lnTo>
                  <a:lnTo>
                    <a:pt x="455" y="265"/>
                  </a:lnTo>
                  <a:lnTo>
                    <a:pt x="455" y="265"/>
                  </a:lnTo>
                  <a:lnTo>
                    <a:pt x="455" y="265"/>
                  </a:lnTo>
                  <a:lnTo>
                    <a:pt x="455" y="263"/>
                  </a:lnTo>
                  <a:lnTo>
                    <a:pt x="457" y="263"/>
                  </a:lnTo>
                  <a:lnTo>
                    <a:pt x="459" y="261"/>
                  </a:lnTo>
                  <a:lnTo>
                    <a:pt x="462" y="261"/>
                  </a:lnTo>
                  <a:lnTo>
                    <a:pt x="459" y="261"/>
                  </a:lnTo>
                  <a:lnTo>
                    <a:pt x="459" y="259"/>
                  </a:lnTo>
                  <a:lnTo>
                    <a:pt x="459" y="259"/>
                  </a:lnTo>
                  <a:lnTo>
                    <a:pt x="455" y="261"/>
                  </a:lnTo>
                  <a:lnTo>
                    <a:pt x="455" y="261"/>
                  </a:lnTo>
                  <a:lnTo>
                    <a:pt x="455" y="261"/>
                  </a:lnTo>
                  <a:lnTo>
                    <a:pt x="453" y="261"/>
                  </a:lnTo>
                  <a:lnTo>
                    <a:pt x="451" y="261"/>
                  </a:lnTo>
                  <a:lnTo>
                    <a:pt x="451" y="261"/>
                  </a:lnTo>
                  <a:lnTo>
                    <a:pt x="453" y="261"/>
                  </a:lnTo>
                  <a:lnTo>
                    <a:pt x="453" y="261"/>
                  </a:lnTo>
                  <a:lnTo>
                    <a:pt x="453" y="263"/>
                  </a:lnTo>
                  <a:lnTo>
                    <a:pt x="451" y="263"/>
                  </a:lnTo>
                  <a:lnTo>
                    <a:pt x="449" y="265"/>
                  </a:lnTo>
                  <a:lnTo>
                    <a:pt x="449" y="265"/>
                  </a:lnTo>
                  <a:lnTo>
                    <a:pt x="451" y="265"/>
                  </a:lnTo>
                  <a:lnTo>
                    <a:pt x="451" y="267"/>
                  </a:lnTo>
                  <a:lnTo>
                    <a:pt x="453" y="267"/>
                  </a:lnTo>
                  <a:lnTo>
                    <a:pt x="453" y="265"/>
                  </a:lnTo>
                  <a:lnTo>
                    <a:pt x="455" y="267"/>
                  </a:lnTo>
                  <a:close/>
                  <a:moveTo>
                    <a:pt x="700" y="259"/>
                  </a:moveTo>
                  <a:lnTo>
                    <a:pt x="700" y="259"/>
                  </a:lnTo>
                  <a:lnTo>
                    <a:pt x="698" y="261"/>
                  </a:lnTo>
                  <a:lnTo>
                    <a:pt x="698" y="261"/>
                  </a:lnTo>
                  <a:lnTo>
                    <a:pt x="698" y="261"/>
                  </a:lnTo>
                  <a:lnTo>
                    <a:pt x="698" y="263"/>
                  </a:lnTo>
                  <a:lnTo>
                    <a:pt x="702" y="263"/>
                  </a:lnTo>
                  <a:lnTo>
                    <a:pt x="702" y="263"/>
                  </a:lnTo>
                  <a:lnTo>
                    <a:pt x="702" y="261"/>
                  </a:lnTo>
                  <a:lnTo>
                    <a:pt x="702" y="259"/>
                  </a:lnTo>
                  <a:lnTo>
                    <a:pt x="700" y="259"/>
                  </a:lnTo>
                  <a:close/>
                  <a:moveTo>
                    <a:pt x="357" y="263"/>
                  </a:moveTo>
                  <a:lnTo>
                    <a:pt x="359" y="263"/>
                  </a:lnTo>
                  <a:lnTo>
                    <a:pt x="361" y="259"/>
                  </a:lnTo>
                  <a:lnTo>
                    <a:pt x="359" y="259"/>
                  </a:lnTo>
                  <a:lnTo>
                    <a:pt x="359" y="259"/>
                  </a:lnTo>
                  <a:lnTo>
                    <a:pt x="357" y="259"/>
                  </a:lnTo>
                  <a:lnTo>
                    <a:pt x="357" y="261"/>
                  </a:lnTo>
                  <a:lnTo>
                    <a:pt x="357" y="261"/>
                  </a:lnTo>
                  <a:lnTo>
                    <a:pt x="357" y="263"/>
                  </a:lnTo>
                  <a:lnTo>
                    <a:pt x="357" y="263"/>
                  </a:lnTo>
                  <a:close/>
                  <a:moveTo>
                    <a:pt x="384" y="259"/>
                  </a:moveTo>
                  <a:lnTo>
                    <a:pt x="381" y="259"/>
                  </a:lnTo>
                  <a:lnTo>
                    <a:pt x="381" y="259"/>
                  </a:lnTo>
                  <a:lnTo>
                    <a:pt x="381" y="261"/>
                  </a:lnTo>
                  <a:lnTo>
                    <a:pt x="384" y="261"/>
                  </a:lnTo>
                  <a:lnTo>
                    <a:pt x="384" y="259"/>
                  </a:lnTo>
                  <a:lnTo>
                    <a:pt x="384" y="259"/>
                  </a:lnTo>
                  <a:lnTo>
                    <a:pt x="384" y="259"/>
                  </a:lnTo>
                  <a:lnTo>
                    <a:pt x="384" y="259"/>
                  </a:lnTo>
                  <a:lnTo>
                    <a:pt x="384" y="259"/>
                  </a:lnTo>
                  <a:close/>
                  <a:moveTo>
                    <a:pt x="478" y="259"/>
                  </a:moveTo>
                  <a:lnTo>
                    <a:pt x="474" y="259"/>
                  </a:lnTo>
                  <a:lnTo>
                    <a:pt x="474" y="259"/>
                  </a:lnTo>
                  <a:lnTo>
                    <a:pt x="472" y="259"/>
                  </a:lnTo>
                  <a:lnTo>
                    <a:pt x="472" y="259"/>
                  </a:lnTo>
                  <a:lnTo>
                    <a:pt x="470" y="259"/>
                  </a:lnTo>
                  <a:lnTo>
                    <a:pt x="470" y="259"/>
                  </a:lnTo>
                  <a:lnTo>
                    <a:pt x="468" y="261"/>
                  </a:lnTo>
                  <a:lnTo>
                    <a:pt x="470" y="261"/>
                  </a:lnTo>
                  <a:lnTo>
                    <a:pt x="468" y="263"/>
                  </a:lnTo>
                  <a:lnTo>
                    <a:pt x="468" y="263"/>
                  </a:lnTo>
                  <a:lnTo>
                    <a:pt x="470" y="263"/>
                  </a:lnTo>
                  <a:lnTo>
                    <a:pt x="480" y="263"/>
                  </a:lnTo>
                  <a:lnTo>
                    <a:pt x="480" y="261"/>
                  </a:lnTo>
                  <a:lnTo>
                    <a:pt x="480" y="259"/>
                  </a:lnTo>
                  <a:lnTo>
                    <a:pt x="480" y="259"/>
                  </a:lnTo>
                  <a:lnTo>
                    <a:pt x="478" y="259"/>
                  </a:lnTo>
                  <a:close/>
                  <a:moveTo>
                    <a:pt x="527" y="259"/>
                  </a:moveTo>
                  <a:lnTo>
                    <a:pt x="523" y="257"/>
                  </a:lnTo>
                  <a:lnTo>
                    <a:pt x="523" y="259"/>
                  </a:lnTo>
                  <a:lnTo>
                    <a:pt x="523" y="259"/>
                  </a:lnTo>
                  <a:lnTo>
                    <a:pt x="527" y="261"/>
                  </a:lnTo>
                  <a:lnTo>
                    <a:pt x="529" y="259"/>
                  </a:lnTo>
                  <a:lnTo>
                    <a:pt x="529" y="259"/>
                  </a:lnTo>
                  <a:lnTo>
                    <a:pt x="527" y="259"/>
                  </a:lnTo>
                  <a:close/>
                  <a:moveTo>
                    <a:pt x="441" y="267"/>
                  </a:moveTo>
                  <a:lnTo>
                    <a:pt x="443" y="267"/>
                  </a:lnTo>
                  <a:lnTo>
                    <a:pt x="443" y="265"/>
                  </a:lnTo>
                  <a:lnTo>
                    <a:pt x="443" y="265"/>
                  </a:lnTo>
                  <a:lnTo>
                    <a:pt x="445" y="263"/>
                  </a:lnTo>
                  <a:lnTo>
                    <a:pt x="445" y="263"/>
                  </a:lnTo>
                  <a:lnTo>
                    <a:pt x="445" y="263"/>
                  </a:lnTo>
                  <a:lnTo>
                    <a:pt x="445" y="261"/>
                  </a:lnTo>
                  <a:lnTo>
                    <a:pt x="445" y="259"/>
                  </a:lnTo>
                  <a:lnTo>
                    <a:pt x="445" y="257"/>
                  </a:lnTo>
                  <a:lnTo>
                    <a:pt x="443" y="257"/>
                  </a:lnTo>
                  <a:lnTo>
                    <a:pt x="443" y="259"/>
                  </a:lnTo>
                  <a:lnTo>
                    <a:pt x="443" y="259"/>
                  </a:lnTo>
                  <a:lnTo>
                    <a:pt x="445" y="259"/>
                  </a:lnTo>
                  <a:lnTo>
                    <a:pt x="443" y="261"/>
                  </a:lnTo>
                  <a:lnTo>
                    <a:pt x="441" y="263"/>
                  </a:lnTo>
                  <a:lnTo>
                    <a:pt x="439" y="263"/>
                  </a:lnTo>
                  <a:lnTo>
                    <a:pt x="439" y="263"/>
                  </a:lnTo>
                  <a:lnTo>
                    <a:pt x="437" y="265"/>
                  </a:lnTo>
                  <a:lnTo>
                    <a:pt x="437" y="265"/>
                  </a:lnTo>
                  <a:lnTo>
                    <a:pt x="437" y="267"/>
                  </a:lnTo>
                  <a:lnTo>
                    <a:pt x="437" y="267"/>
                  </a:lnTo>
                  <a:lnTo>
                    <a:pt x="435" y="267"/>
                  </a:lnTo>
                  <a:lnTo>
                    <a:pt x="433" y="267"/>
                  </a:lnTo>
                  <a:lnTo>
                    <a:pt x="431" y="265"/>
                  </a:lnTo>
                  <a:lnTo>
                    <a:pt x="431" y="265"/>
                  </a:lnTo>
                  <a:lnTo>
                    <a:pt x="429" y="265"/>
                  </a:lnTo>
                  <a:lnTo>
                    <a:pt x="429" y="265"/>
                  </a:lnTo>
                  <a:lnTo>
                    <a:pt x="427" y="265"/>
                  </a:lnTo>
                  <a:lnTo>
                    <a:pt x="425" y="265"/>
                  </a:lnTo>
                  <a:lnTo>
                    <a:pt x="425" y="265"/>
                  </a:lnTo>
                  <a:lnTo>
                    <a:pt x="423" y="265"/>
                  </a:lnTo>
                  <a:lnTo>
                    <a:pt x="423" y="267"/>
                  </a:lnTo>
                  <a:lnTo>
                    <a:pt x="420" y="267"/>
                  </a:lnTo>
                  <a:lnTo>
                    <a:pt x="420" y="267"/>
                  </a:lnTo>
                  <a:lnTo>
                    <a:pt x="418" y="265"/>
                  </a:lnTo>
                  <a:lnTo>
                    <a:pt x="418" y="265"/>
                  </a:lnTo>
                  <a:lnTo>
                    <a:pt x="414" y="263"/>
                  </a:lnTo>
                  <a:lnTo>
                    <a:pt x="414" y="263"/>
                  </a:lnTo>
                  <a:lnTo>
                    <a:pt x="412" y="261"/>
                  </a:lnTo>
                  <a:lnTo>
                    <a:pt x="410" y="261"/>
                  </a:lnTo>
                  <a:lnTo>
                    <a:pt x="408" y="261"/>
                  </a:lnTo>
                  <a:lnTo>
                    <a:pt x="408" y="261"/>
                  </a:lnTo>
                  <a:lnTo>
                    <a:pt x="406" y="261"/>
                  </a:lnTo>
                  <a:lnTo>
                    <a:pt x="406" y="261"/>
                  </a:lnTo>
                  <a:lnTo>
                    <a:pt x="404" y="261"/>
                  </a:lnTo>
                  <a:lnTo>
                    <a:pt x="404" y="261"/>
                  </a:lnTo>
                  <a:lnTo>
                    <a:pt x="402" y="261"/>
                  </a:lnTo>
                  <a:lnTo>
                    <a:pt x="400" y="263"/>
                  </a:lnTo>
                  <a:lnTo>
                    <a:pt x="396" y="263"/>
                  </a:lnTo>
                  <a:lnTo>
                    <a:pt x="396" y="263"/>
                  </a:lnTo>
                  <a:lnTo>
                    <a:pt x="396" y="263"/>
                  </a:lnTo>
                  <a:lnTo>
                    <a:pt x="396" y="265"/>
                  </a:lnTo>
                  <a:lnTo>
                    <a:pt x="394" y="265"/>
                  </a:lnTo>
                  <a:lnTo>
                    <a:pt x="394" y="267"/>
                  </a:lnTo>
                  <a:lnTo>
                    <a:pt x="394" y="267"/>
                  </a:lnTo>
                  <a:lnTo>
                    <a:pt x="394" y="269"/>
                  </a:lnTo>
                  <a:lnTo>
                    <a:pt x="394" y="269"/>
                  </a:lnTo>
                  <a:lnTo>
                    <a:pt x="396" y="271"/>
                  </a:lnTo>
                  <a:lnTo>
                    <a:pt x="396" y="271"/>
                  </a:lnTo>
                  <a:lnTo>
                    <a:pt x="398" y="271"/>
                  </a:lnTo>
                  <a:lnTo>
                    <a:pt x="398" y="269"/>
                  </a:lnTo>
                  <a:lnTo>
                    <a:pt x="402" y="271"/>
                  </a:lnTo>
                  <a:lnTo>
                    <a:pt x="406" y="271"/>
                  </a:lnTo>
                  <a:lnTo>
                    <a:pt x="410" y="271"/>
                  </a:lnTo>
                  <a:lnTo>
                    <a:pt x="412" y="274"/>
                  </a:lnTo>
                  <a:lnTo>
                    <a:pt x="414" y="274"/>
                  </a:lnTo>
                  <a:lnTo>
                    <a:pt x="414" y="274"/>
                  </a:lnTo>
                  <a:lnTo>
                    <a:pt x="414" y="274"/>
                  </a:lnTo>
                  <a:lnTo>
                    <a:pt x="416" y="271"/>
                  </a:lnTo>
                  <a:lnTo>
                    <a:pt x="418" y="274"/>
                  </a:lnTo>
                  <a:lnTo>
                    <a:pt x="420" y="271"/>
                  </a:lnTo>
                  <a:lnTo>
                    <a:pt x="420" y="271"/>
                  </a:lnTo>
                  <a:lnTo>
                    <a:pt x="423" y="271"/>
                  </a:lnTo>
                  <a:lnTo>
                    <a:pt x="423" y="271"/>
                  </a:lnTo>
                  <a:lnTo>
                    <a:pt x="423" y="271"/>
                  </a:lnTo>
                  <a:lnTo>
                    <a:pt x="425" y="271"/>
                  </a:lnTo>
                  <a:lnTo>
                    <a:pt x="427" y="271"/>
                  </a:lnTo>
                  <a:lnTo>
                    <a:pt x="431" y="269"/>
                  </a:lnTo>
                  <a:lnTo>
                    <a:pt x="433" y="269"/>
                  </a:lnTo>
                  <a:lnTo>
                    <a:pt x="435" y="269"/>
                  </a:lnTo>
                  <a:lnTo>
                    <a:pt x="437" y="269"/>
                  </a:lnTo>
                  <a:lnTo>
                    <a:pt x="437" y="269"/>
                  </a:lnTo>
                  <a:lnTo>
                    <a:pt x="439" y="269"/>
                  </a:lnTo>
                  <a:lnTo>
                    <a:pt x="439" y="267"/>
                  </a:lnTo>
                  <a:lnTo>
                    <a:pt x="441" y="267"/>
                  </a:lnTo>
                  <a:close/>
                  <a:moveTo>
                    <a:pt x="577" y="257"/>
                  </a:moveTo>
                  <a:lnTo>
                    <a:pt x="572" y="261"/>
                  </a:lnTo>
                  <a:lnTo>
                    <a:pt x="570" y="263"/>
                  </a:lnTo>
                  <a:lnTo>
                    <a:pt x="572" y="261"/>
                  </a:lnTo>
                  <a:lnTo>
                    <a:pt x="574" y="261"/>
                  </a:lnTo>
                  <a:lnTo>
                    <a:pt x="577" y="259"/>
                  </a:lnTo>
                  <a:lnTo>
                    <a:pt x="579" y="259"/>
                  </a:lnTo>
                  <a:lnTo>
                    <a:pt x="577" y="259"/>
                  </a:lnTo>
                  <a:lnTo>
                    <a:pt x="577" y="257"/>
                  </a:lnTo>
                  <a:close/>
                  <a:moveTo>
                    <a:pt x="377" y="269"/>
                  </a:moveTo>
                  <a:lnTo>
                    <a:pt x="377" y="269"/>
                  </a:lnTo>
                  <a:lnTo>
                    <a:pt x="377" y="269"/>
                  </a:lnTo>
                  <a:lnTo>
                    <a:pt x="379" y="269"/>
                  </a:lnTo>
                  <a:lnTo>
                    <a:pt x="379" y="269"/>
                  </a:lnTo>
                  <a:lnTo>
                    <a:pt x="379" y="269"/>
                  </a:lnTo>
                  <a:lnTo>
                    <a:pt x="381" y="269"/>
                  </a:lnTo>
                  <a:lnTo>
                    <a:pt x="381" y="269"/>
                  </a:lnTo>
                  <a:lnTo>
                    <a:pt x="381" y="269"/>
                  </a:lnTo>
                  <a:lnTo>
                    <a:pt x="384" y="267"/>
                  </a:lnTo>
                  <a:lnTo>
                    <a:pt x="384" y="267"/>
                  </a:lnTo>
                  <a:lnTo>
                    <a:pt x="381" y="267"/>
                  </a:lnTo>
                  <a:lnTo>
                    <a:pt x="381" y="265"/>
                  </a:lnTo>
                  <a:lnTo>
                    <a:pt x="381" y="265"/>
                  </a:lnTo>
                  <a:lnTo>
                    <a:pt x="381" y="261"/>
                  </a:lnTo>
                  <a:lnTo>
                    <a:pt x="379" y="261"/>
                  </a:lnTo>
                  <a:lnTo>
                    <a:pt x="379" y="261"/>
                  </a:lnTo>
                  <a:lnTo>
                    <a:pt x="377" y="261"/>
                  </a:lnTo>
                  <a:lnTo>
                    <a:pt x="377" y="261"/>
                  </a:lnTo>
                  <a:lnTo>
                    <a:pt x="377" y="263"/>
                  </a:lnTo>
                  <a:lnTo>
                    <a:pt x="375" y="263"/>
                  </a:lnTo>
                  <a:lnTo>
                    <a:pt x="375" y="261"/>
                  </a:lnTo>
                  <a:lnTo>
                    <a:pt x="375" y="261"/>
                  </a:lnTo>
                  <a:lnTo>
                    <a:pt x="373" y="261"/>
                  </a:lnTo>
                  <a:lnTo>
                    <a:pt x="373" y="261"/>
                  </a:lnTo>
                  <a:lnTo>
                    <a:pt x="371" y="261"/>
                  </a:lnTo>
                  <a:lnTo>
                    <a:pt x="371" y="263"/>
                  </a:lnTo>
                  <a:lnTo>
                    <a:pt x="369" y="263"/>
                  </a:lnTo>
                  <a:lnTo>
                    <a:pt x="369" y="261"/>
                  </a:lnTo>
                  <a:lnTo>
                    <a:pt x="369" y="261"/>
                  </a:lnTo>
                  <a:lnTo>
                    <a:pt x="367" y="259"/>
                  </a:lnTo>
                  <a:lnTo>
                    <a:pt x="367" y="259"/>
                  </a:lnTo>
                  <a:lnTo>
                    <a:pt x="365" y="257"/>
                  </a:lnTo>
                  <a:lnTo>
                    <a:pt x="363" y="257"/>
                  </a:lnTo>
                  <a:lnTo>
                    <a:pt x="361" y="259"/>
                  </a:lnTo>
                  <a:lnTo>
                    <a:pt x="361" y="259"/>
                  </a:lnTo>
                  <a:lnTo>
                    <a:pt x="361" y="261"/>
                  </a:lnTo>
                  <a:lnTo>
                    <a:pt x="363" y="263"/>
                  </a:lnTo>
                  <a:lnTo>
                    <a:pt x="365" y="265"/>
                  </a:lnTo>
                  <a:lnTo>
                    <a:pt x="365" y="265"/>
                  </a:lnTo>
                  <a:lnTo>
                    <a:pt x="365" y="265"/>
                  </a:lnTo>
                  <a:lnTo>
                    <a:pt x="367" y="265"/>
                  </a:lnTo>
                  <a:lnTo>
                    <a:pt x="367" y="265"/>
                  </a:lnTo>
                  <a:lnTo>
                    <a:pt x="369" y="267"/>
                  </a:lnTo>
                  <a:lnTo>
                    <a:pt x="367" y="267"/>
                  </a:lnTo>
                  <a:lnTo>
                    <a:pt x="367" y="267"/>
                  </a:lnTo>
                  <a:lnTo>
                    <a:pt x="365" y="269"/>
                  </a:lnTo>
                  <a:lnTo>
                    <a:pt x="363" y="269"/>
                  </a:lnTo>
                  <a:lnTo>
                    <a:pt x="361" y="269"/>
                  </a:lnTo>
                  <a:lnTo>
                    <a:pt x="361" y="267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59" y="263"/>
                  </a:lnTo>
                  <a:lnTo>
                    <a:pt x="357" y="263"/>
                  </a:lnTo>
                  <a:lnTo>
                    <a:pt x="355" y="263"/>
                  </a:lnTo>
                  <a:lnTo>
                    <a:pt x="353" y="263"/>
                  </a:lnTo>
                  <a:lnTo>
                    <a:pt x="351" y="263"/>
                  </a:lnTo>
                  <a:lnTo>
                    <a:pt x="351" y="263"/>
                  </a:lnTo>
                  <a:lnTo>
                    <a:pt x="349" y="265"/>
                  </a:lnTo>
                  <a:lnTo>
                    <a:pt x="347" y="265"/>
                  </a:lnTo>
                  <a:lnTo>
                    <a:pt x="347" y="265"/>
                  </a:lnTo>
                  <a:lnTo>
                    <a:pt x="345" y="267"/>
                  </a:lnTo>
                  <a:lnTo>
                    <a:pt x="345" y="267"/>
                  </a:lnTo>
                  <a:lnTo>
                    <a:pt x="345" y="271"/>
                  </a:lnTo>
                  <a:lnTo>
                    <a:pt x="345" y="271"/>
                  </a:lnTo>
                  <a:lnTo>
                    <a:pt x="345" y="274"/>
                  </a:lnTo>
                  <a:lnTo>
                    <a:pt x="345" y="274"/>
                  </a:lnTo>
                  <a:lnTo>
                    <a:pt x="347" y="276"/>
                  </a:lnTo>
                  <a:lnTo>
                    <a:pt x="347" y="276"/>
                  </a:lnTo>
                  <a:lnTo>
                    <a:pt x="349" y="276"/>
                  </a:lnTo>
                  <a:lnTo>
                    <a:pt x="351" y="276"/>
                  </a:lnTo>
                  <a:lnTo>
                    <a:pt x="351" y="276"/>
                  </a:lnTo>
                  <a:lnTo>
                    <a:pt x="353" y="276"/>
                  </a:lnTo>
                  <a:lnTo>
                    <a:pt x="353" y="276"/>
                  </a:lnTo>
                  <a:lnTo>
                    <a:pt x="355" y="276"/>
                  </a:lnTo>
                  <a:lnTo>
                    <a:pt x="357" y="274"/>
                  </a:lnTo>
                  <a:lnTo>
                    <a:pt x="361" y="274"/>
                  </a:lnTo>
                  <a:lnTo>
                    <a:pt x="361" y="274"/>
                  </a:lnTo>
                  <a:lnTo>
                    <a:pt x="363" y="274"/>
                  </a:lnTo>
                  <a:lnTo>
                    <a:pt x="365" y="271"/>
                  </a:lnTo>
                  <a:lnTo>
                    <a:pt x="367" y="271"/>
                  </a:lnTo>
                  <a:lnTo>
                    <a:pt x="367" y="271"/>
                  </a:lnTo>
                  <a:lnTo>
                    <a:pt x="369" y="271"/>
                  </a:lnTo>
                  <a:lnTo>
                    <a:pt x="371" y="267"/>
                  </a:lnTo>
                  <a:lnTo>
                    <a:pt x="371" y="269"/>
                  </a:lnTo>
                  <a:lnTo>
                    <a:pt x="371" y="271"/>
                  </a:lnTo>
                  <a:lnTo>
                    <a:pt x="371" y="271"/>
                  </a:lnTo>
                  <a:lnTo>
                    <a:pt x="371" y="271"/>
                  </a:lnTo>
                  <a:lnTo>
                    <a:pt x="375" y="271"/>
                  </a:lnTo>
                  <a:lnTo>
                    <a:pt x="375" y="271"/>
                  </a:lnTo>
                  <a:lnTo>
                    <a:pt x="377" y="271"/>
                  </a:lnTo>
                  <a:lnTo>
                    <a:pt x="377" y="271"/>
                  </a:lnTo>
                  <a:lnTo>
                    <a:pt x="377" y="271"/>
                  </a:lnTo>
                  <a:lnTo>
                    <a:pt x="377" y="271"/>
                  </a:lnTo>
                  <a:lnTo>
                    <a:pt x="377" y="269"/>
                  </a:lnTo>
                  <a:close/>
                  <a:moveTo>
                    <a:pt x="326" y="259"/>
                  </a:moveTo>
                  <a:lnTo>
                    <a:pt x="324" y="259"/>
                  </a:lnTo>
                  <a:lnTo>
                    <a:pt x="322" y="257"/>
                  </a:lnTo>
                  <a:lnTo>
                    <a:pt x="320" y="257"/>
                  </a:lnTo>
                  <a:lnTo>
                    <a:pt x="320" y="257"/>
                  </a:lnTo>
                  <a:lnTo>
                    <a:pt x="318" y="259"/>
                  </a:lnTo>
                  <a:lnTo>
                    <a:pt x="316" y="259"/>
                  </a:lnTo>
                  <a:lnTo>
                    <a:pt x="314" y="259"/>
                  </a:lnTo>
                  <a:lnTo>
                    <a:pt x="312" y="259"/>
                  </a:lnTo>
                  <a:lnTo>
                    <a:pt x="310" y="257"/>
                  </a:lnTo>
                  <a:lnTo>
                    <a:pt x="308" y="259"/>
                  </a:lnTo>
                  <a:lnTo>
                    <a:pt x="308" y="259"/>
                  </a:lnTo>
                  <a:lnTo>
                    <a:pt x="308" y="259"/>
                  </a:lnTo>
                  <a:lnTo>
                    <a:pt x="310" y="261"/>
                  </a:lnTo>
                  <a:lnTo>
                    <a:pt x="310" y="263"/>
                  </a:lnTo>
                  <a:lnTo>
                    <a:pt x="310" y="263"/>
                  </a:lnTo>
                  <a:lnTo>
                    <a:pt x="312" y="263"/>
                  </a:lnTo>
                  <a:lnTo>
                    <a:pt x="314" y="263"/>
                  </a:lnTo>
                  <a:lnTo>
                    <a:pt x="316" y="265"/>
                  </a:lnTo>
                  <a:lnTo>
                    <a:pt x="318" y="267"/>
                  </a:lnTo>
                  <a:lnTo>
                    <a:pt x="318" y="267"/>
                  </a:lnTo>
                  <a:lnTo>
                    <a:pt x="318" y="269"/>
                  </a:lnTo>
                  <a:lnTo>
                    <a:pt x="318" y="269"/>
                  </a:lnTo>
                  <a:lnTo>
                    <a:pt x="318" y="271"/>
                  </a:lnTo>
                  <a:lnTo>
                    <a:pt x="318" y="271"/>
                  </a:lnTo>
                  <a:lnTo>
                    <a:pt x="320" y="271"/>
                  </a:lnTo>
                  <a:lnTo>
                    <a:pt x="320" y="271"/>
                  </a:lnTo>
                  <a:lnTo>
                    <a:pt x="320" y="271"/>
                  </a:lnTo>
                  <a:lnTo>
                    <a:pt x="320" y="269"/>
                  </a:lnTo>
                  <a:lnTo>
                    <a:pt x="322" y="267"/>
                  </a:lnTo>
                  <a:lnTo>
                    <a:pt x="322" y="267"/>
                  </a:lnTo>
                  <a:lnTo>
                    <a:pt x="326" y="265"/>
                  </a:lnTo>
                  <a:lnTo>
                    <a:pt x="328" y="263"/>
                  </a:lnTo>
                  <a:lnTo>
                    <a:pt x="328" y="263"/>
                  </a:lnTo>
                  <a:lnTo>
                    <a:pt x="328" y="263"/>
                  </a:lnTo>
                  <a:lnTo>
                    <a:pt x="326" y="259"/>
                  </a:lnTo>
                  <a:close/>
                  <a:moveTo>
                    <a:pt x="554" y="253"/>
                  </a:moveTo>
                  <a:lnTo>
                    <a:pt x="554" y="253"/>
                  </a:lnTo>
                  <a:lnTo>
                    <a:pt x="554" y="253"/>
                  </a:lnTo>
                  <a:lnTo>
                    <a:pt x="552" y="255"/>
                  </a:lnTo>
                  <a:lnTo>
                    <a:pt x="554" y="257"/>
                  </a:lnTo>
                  <a:lnTo>
                    <a:pt x="556" y="257"/>
                  </a:lnTo>
                  <a:lnTo>
                    <a:pt x="556" y="255"/>
                  </a:lnTo>
                  <a:lnTo>
                    <a:pt x="556" y="253"/>
                  </a:lnTo>
                  <a:lnTo>
                    <a:pt x="556" y="253"/>
                  </a:lnTo>
                  <a:lnTo>
                    <a:pt x="554" y="253"/>
                  </a:lnTo>
                  <a:close/>
                  <a:moveTo>
                    <a:pt x="507" y="249"/>
                  </a:moveTo>
                  <a:lnTo>
                    <a:pt x="505" y="249"/>
                  </a:lnTo>
                  <a:lnTo>
                    <a:pt x="503" y="249"/>
                  </a:lnTo>
                  <a:lnTo>
                    <a:pt x="501" y="251"/>
                  </a:lnTo>
                  <a:lnTo>
                    <a:pt x="498" y="251"/>
                  </a:lnTo>
                  <a:lnTo>
                    <a:pt x="496" y="251"/>
                  </a:lnTo>
                  <a:lnTo>
                    <a:pt x="494" y="249"/>
                  </a:lnTo>
                  <a:lnTo>
                    <a:pt x="492" y="253"/>
                  </a:lnTo>
                  <a:lnTo>
                    <a:pt x="492" y="253"/>
                  </a:lnTo>
                  <a:lnTo>
                    <a:pt x="492" y="255"/>
                  </a:lnTo>
                  <a:lnTo>
                    <a:pt x="492" y="255"/>
                  </a:lnTo>
                  <a:lnTo>
                    <a:pt x="494" y="255"/>
                  </a:lnTo>
                  <a:lnTo>
                    <a:pt x="496" y="253"/>
                  </a:lnTo>
                  <a:lnTo>
                    <a:pt x="496" y="253"/>
                  </a:lnTo>
                  <a:lnTo>
                    <a:pt x="498" y="255"/>
                  </a:lnTo>
                  <a:lnTo>
                    <a:pt x="501" y="255"/>
                  </a:lnTo>
                  <a:lnTo>
                    <a:pt x="503" y="255"/>
                  </a:lnTo>
                  <a:lnTo>
                    <a:pt x="503" y="253"/>
                  </a:lnTo>
                  <a:lnTo>
                    <a:pt x="505" y="253"/>
                  </a:lnTo>
                  <a:lnTo>
                    <a:pt x="507" y="251"/>
                  </a:lnTo>
                  <a:lnTo>
                    <a:pt x="509" y="251"/>
                  </a:lnTo>
                  <a:lnTo>
                    <a:pt x="509" y="251"/>
                  </a:lnTo>
                  <a:lnTo>
                    <a:pt x="509" y="249"/>
                  </a:lnTo>
                  <a:lnTo>
                    <a:pt x="507" y="249"/>
                  </a:lnTo>
                  <a:close/>
                  <a:moveTo>
                    <a:pt x="517" y="249"/>
                  </a:moveTo>
                  <a:lnTo>
                    <a:pt x="517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9" y="247"/>
                  </a:lnTo>
                  <a:lnTo>
                    <a:pt x="517" y="247"/>
                  </a:lnTo>
                  <a:lnTo>
                    <a:pt x="517" y="249"/>
                  </a:lnTo>
                  <a:close/>
                  <a:moveTo>
                    <a:pt x="702" y="257"/>
                  </a:moveTo>
                  <a:lnTo>
                    <a:pt x="704" y="253"/>
                  </a:lnTo>
                  <a:lnTo>
                    <a:pt x="704" y="251"/>
                  </a:lnTo>
                  <a:lnTo>
                    <a:pt x="704" y="249"/>
                  </a:lnTo>
                  <a:lnTo>
                    <a:pt x="704" y="247"/>
                  </a:lnTo>
                  <a:lnTo>
                    <a:pt x="702" y="245"/>
                  </a:lnTo>
                  <a:lnTo>
                    <a:pt x="702" y="245"/>
                  </a:lnTo>
                  <a:lnTo>
                    <a:pt x="698" y="245"/>
                  </a:lnTo>
                  <a:lnTo>
                    <a:pt x="694" y="245"/>
                  </a:lnTo>
                  <a:lnTo>
                    <a:pt x="691" y="247"/>
                  </a:lnTo>
                  <a:lnTo>
                    <a:pt x="689" y="249"/>
                  </a:lnTo>
                  <a:lnTo>
                    <a:pt x="689" y="249"/>
                  </a:lnTo>
                  <a:lnTo>
                    <a:pt x="685" y="255"/>
                  </a:lnTo>
                  <a:lnTo>
                    <a:pt x="683" y="261"/>
                  </a:lnTo>
                  <a:lnTo>
                    <a:pt x="681" y="263"/>
                  </a:lnTo>
                  <a:lnTo>
                    <a:pt x="683" y="263"/>
                  </a:lnTo>
                  <a:lnTo>
                    <a:pt x="685" y="263"/>
                  </a:lnTo>
                  <a:lnTo>
                    <a:pt x="687" y="263"/>
                  </a:lnTo>
                  <a:lnTo>
                    <a:pt x="694" y="263"/>
                  </a:lnTo>
                  <a:lnTo>
                    <a:pt x="698" y="261"/>
                  </a:lnTo>
                  <a:lnTo>
                    <a:pt x="698" y="259"/>
                  </a:lnTo>
                  <a:lnTo>
                    <a:pt x="702" y="257"/>
                  </a:lnTo>
                  <a:close/>
                  <a:moveTo>
                    <a:pt x="587" y="241"/>
                  </a:moveTo>
                  <a:lnTo>
                    <a:pt x="587" y="241"/>
                  </a:lnTo>
                  <a:lnTo>
                    <a:pt x="585" y="241"/>
                  </a:lnTo>
                  <a:lnTo>
                    <a:pt x="585" y="241"/>
                  </a:lnTo>
                  <a:lnTo>
                    <a:pt x="585" y="241"/>
                  </a:lnTo>
                  <a:lnTo>
                    <a:pt x="585" y="243"/>
                  </a:lnTo>
                  <a:lnTo>
                    <a:pt x="583" y="243"/>
                  </a:lnTo>
                  <a:lnTo>
                    <a:pt x="583" y="245"/>
                  </a:lnTo>
                  <a:lnTo>
                    <a:pt x="583" y="245"/>
                  </a:lnTo>
                  <a:lnTo>
                    <a:pt x="581" y="245"/>
                  </a:lnTo>
                  <a:lnTo>
                    <a:pt x="581" y="247"/>
                  </a:lnTo>
                  <a:lnTo>
                    <a:pt x="579" y="249"/>
                  </a:lnTo>
                  <a:lnTo>
                    <a:pt x="579" y="251"/>
                  </a:lnTo>
                  <a:lnTo>
                    <a:pt x="579" y="251"/>
                  </a:lnTo>
                  <a:lnTo>
                    <a:pt x="579" y="253"/>
                  </a:lnTo>
                  <a:lnTo>
                    <a:pt x="577" y="253"/>
                  </a:lnTo>
                  <a:lnTo>
                    <a:pt x="577" y="255"/>
                  </a:lnTo>
                  <a:lnTo>
                    <a:pt x="577" y="255"/>
                  </a:lnTo>
                  <a:lnTo>
                    <a:pt x="579" y="255"/>
                  </a:lnTo>
                  <a:lnTo>
                    <a:pt x="581" y="257"/>
                  </a:lnTo>
                  <a:lnTo>
                    <a:pt x="581" y="255"/>
                  </a:lnTo>
                  <a:lnTo>
                    <a:pt x="581" y="255"/>
                  </a:lnTo>
                  <a:lnTo>
                    <a:pt x="581" y="255"/>
                  </a:lnTo>
                  <a:lnTo>
                    <a:pt x="581" y="253"/>
                  </a:lnTo>
                  <a:lnTo>
                    <a:pt x="583" y="251"/>
                  </a:lnTo>
                  <a:lnTo>
                    <a:pt x="585" y="251"/>
                  </a:lnTo>
                  <a:lnTo>
                    <a:pt x="585" y="251"/>
                  </a:lnTo>
                  <a:lnTo>
                    <a:pt x="587" y="249"/>
                  </a:lnTo>
                  <a:lnTo>
                    <a:pt x="587" y="245"/>
                  </a:lnTo>
                  <a:lnTo>
                    <a:pt x="587" y="243"/>
                  </a:lnTo>
                  <a:lnTo>
                    <a:pt x="589" y="241"/>
                  </a:lnTo>
                  <a:lnTo>
                    <a:pt x="587" y="241"/>
                  </a:lnTo>
                  <a:close/>
                  <a:moveTo>
                    <a:pt x="589" y="241"/>
                  </a:moveTo>
                  <a:lnTo>
                    <a:pt x="589" y="241"/>
                  </a:lnTo>
                  <a:lnTo>
                    <a:pt x="589" y="241"/>
                  </a:lnTo>
                  <a:lnTo>
                    <a:pt x="591" y="241"/>
                  </a:lnTo>
                  <a:lnTo>
                    <a:pt x="591" y="243"/>
                  </a:lnTo>
                  <a:lnTo>
                    <a:pt x="593" y="243"/>
                  </a:lnTo>
                  <a:lnTo>
                    <a:pt x="593" y="241"/>
                  </a:lnTo>
                  <a:lnTo>
                    <a:pt x="591" y="239"/>
                  </a:lnTo>
                  <a:lnTo>
                    <a:pt x="589" y="241"/>
                  </a:lnTo>
                  <a:close/>
                  <a:moveTo>
                    <a:pt x="308" y="239"/>
                  </a:moveTo>
                  <a:lnTo>
                    <a:pt x="308" y="239"/>
                  </a:lnTo>
                  <a:lnTo>
                    <a:pt x="308" y="241"/>
                  </a:lnTo>
                  <a:lnTo>
                    <a:pt x="308" y="241"/>
                  </a:lnTo>
                  <a:lnTo>
                    <a:pt x="308" y="241"/>
                  </a:lnTo>
                  <a:lnTo>
                    <a:pt x="308" y="239"/>
                  </a:lnTo>
                  <a:lnTo>
                    <a:pt x="308" y="239"/>
                  </a:lnTo>
                  <a:lnTo>
                    <a:pt x="308" y="239"/>
                  </a:lnTo>
                  <a:close/>
                  <a:moveTo>
                    <a:pt x="537" y="239"/>
                  </a:moveTo>
                  <a:lnTo>
                    <a:pt x="537" y="239"/>
                  </a:lnTo>
                  <a:lnTo>
                    <a:pt x="537" y="241"/>
                  </a:lnTo>
                  <a:lnTo>
                    <a:pt x="537" y="241"/>
                  </a:lnTo>
                  <a:lnTo>
                    <a:pt x="537" y="241"/>
                  </a:lnTo>
                  <a:lnTo>
                    <a:pt x="540" y="241"/>
                  </a:lnTo>
                  <a:lnTo>
                    <a:pt x="540" y="241"/>
                  </a:lnTo>
                  <a:lnTo>
                    <a:pt x="540" y="241"/>
                  </a:lnTo>
                  <a:lnTo>
                    <a:pt x="540" y="239"/>
                  </a:lnTo>
                  <a:lnTo>
                    <a:pt x="537" y="239"/>
                  </a:lnTo>
                  <a:close/>
                  <a:moveTo>
                    <a:pt x="408" y="239"/>
                  </a:moveTo>
                  <a:lnTo>
                    <a:pt x="408" y="241"/>
                  </a:lnTo>
                  <a:lnTo>
                    <a:pt x="410" y="241"/>
                  </a:lnTo>
                  <a:lnTo>
                    <a:pt x="412" y="241"/>
                  </a:lnTo>
                  <a:lnTo>
                    <a:pt x="412" y="239"/>
                  </a:lnTo>
                  <a:lnTo>
                    <a:pt x="410" y="239"/>
                  </a:lnTo>
                  <a:lnTo>
                    <a:pt x="408" y="239"/>
                  </a:lnTo>
                  <a:close/>
                  <a:moveTo>
                    <a:pt x="287" y="241"/>
                  </a:moveTo>
                  <a:lnTo>
                    <a:pt x="287" y="243"/>
                  </a:lnTo>
                  <a:lnTo>
                    <a:pt x="287" y="241"/>
                  </a:lnTo>
                  <a:lnTo>
                    <a:pt x="289" y="241"/>
                  </a:lnTo>
                  <a:lnTo>
                    <a:pt x="289" y="241"/>
                  </a:lnTo>
                  <a:lnTo>
                    <a:pt x="293" y="241"/>
                  </a:lnTo>
                  <a:lnTo>
                    <a:pt x="295" y="241"/>
                  </a:lnTo>
                  <a:lnTo>
                    <a:pt x="297" y="241"/>
                  </a:lnTo>
                  <a:lnTo>
                    <a:pt x="299" y="241"/>
                  </a:lnTo>
                  <a:lnTo>
                    <a:pt x="299" y="239"/>
                  </a:lnTo>
                  <a:lnTo>
                    <a:pt x="299" y="239"/>
                  </a:lnTo>
                  <a:lnTo>
                    <a:pt x="303" y="237"/>
                  </a:lnTo>
                  <a:lnTo>
                    <a:pt x="303" y="237"/>
                  </a:lnTo>
                  <a:lnTo>
                    <a:pt x="301" y="234"/>
                  </a:lnTo>
                  <a:lnTo>
                    <a:pt x="287" y="234"/>
                  </a:lnTo>
                  <a:lnTo>
                    <a:pt x="283" y="237"/>
                  </a:lnTo>
                  <a:lnTo>
                    <a:pt x="283" y="239"/>
                  </a:lnTo>
                  <a:lnTo>
                    <a:pt x="281" y="239"/>
                  </a:lnTo>
                  <a:lnTo>
                    <a:pt x="281" y="241"/>
                  </a:lnTo>
                  <a:lnTo>
                    <a:pt x="287" y="241"/>
                  </a:lnTo>
                  <a:close/>
                  <a:moveTo>
                    <a:pt x="324" y="234"/>
                  </a:moveTo>
                  <a:lnTo>
                    <a:pt x="324" y="234"/>
                  </a:lnTo>
                  <a:lnTo>
                    <a:pt x="322" y="234"/>
                  </a:lnTo>
                  <a:lnTo>
                    <a:pt x="322" y="237"/>
                  </a:lnTo>
                  <a:lnTo>
                    <a:pt x="322" y="237"/>
                  </a:lnTo>
                  <a:lnTo>
                    <a:pt x="322" y="237"/>
                  </a:lnTo>
                  <a:lnTo>
                    <a:pt x="324" y="237"/>
                  </a:lnTo>
                  <a:lnTo>
                    <a:pt x="326" y="237"/>
                  </a:lnTo>
                  <a:lnTo>
                    <a:pt x="326" y="237"/>
                  </a:lnTo>
                  <a:lnTo>
                    <a:pt x="326" y="237"/>
                  </a:lnTo>
                  <a:lnTo>
                    <a:pt x="326" y="234"/>
                  </a:lnTo>
                  <a:lnTo>
                    <a:pt x="324" y="234"/>
                  </a:lnTo>
                  <a:close/>
                  <a:moveTo>
                    <a:pt x="636" y="230"/>
                  </a:moveTo>
                  <a:lnTo>
                    <a:pt x="636" y="232"/>
                  </a:lnTo>
                  <a:lnTo>
                    <a:pt x="636" y="232"/>
                  </a:lnTo>
                  <a:lnTo>
                    <a:pt x="636" y="232"/>
                  </a:lnTo>
                  <a:lnTo>
                    <a:pt x="636" y="232"/>
                  </a:lnTo>
                  <a:lnTo>
                    <a:pt x="638" y="232"/>
                  </a:lnTo>
                  <a:lnTo>
                    <a:pt x="638" y="230"/>
                  </a:lnTo>
                  <a:lnTo>
                    <a:pt x="636" y="230"/>
                  </a:lnTo>
                  <a:lnTo>
                    <a:pt x="636" y="230"/>
                  </a:lnTo>
                  <a:close/>
                  <a:moveTo>
                    <a:pt x="162" y="230"/>
                  </a:moveTo>
                  <a:lnTo>
                    <a:pt x="162" y="228"/>
                  </a:lnTo>
                  <a:lnTo>
                    <a:pt x="160" y="228"/>
                  </a:lnTo>
                  <a:lnTo>
                    <a:pt x="160" y="228"/>
                  </a:lnTo>
                  <a:lnTo>
                    <a:pt x="160" y="230"/>
                  </a:lnTo>
                  <a:lnTo>
                    <a:pt x="160" y="230"/>
                  </a:lnTo>
                  <a:lnTo>
                    <a:pt x="160" y="232"/>
                  </a:lnTo>
                  <a:lnTo>
                    <a:pt x="162" y="230"/>
                  </a:lnTo>
                  <a:lnTo>
                    <a:pt x="162" y="230"/>
                  </a:lnTo>
                  <a:close/>
                  <a:moveTo>
                    <a:pt x="636" y="228"/>
                  </a:moveTo>
                  <a:lnTo>
                    <a:pt x="636" y="230"/>
                  </a:lnTo>
                  <a:lnTo>
                    <a:pt x="638" y="230"/>
                  </a:lnTo>
                  <a:lnTo>
                    <a:pt x="638" y="228"/>
                  </a:lnTo>
                  <a:lnTo>
                    <a:pt x="636" y="228"/>
                  </a:lnTo>
                  <a:lnTo>
                    <a:pt x="636" y="228"/>
                  </a:lnTo>
                  <a:close/>
                  <a:moveTo>
                    <a:pt x="640" y="226"/>
                  </a:moveTo>
                  <a:lnTo>
                    <a:pt x="638" y="226"/>
                  </a:lnTo>
                  <a:lnTo>
                    <a:pt x="638" y="228"/>
                  </a:lnTo>
                  <a:lnTo>
                    <a:pt x="638" y="226"/>
                  </a:lnTo>
                  <a:lnTo>
                    <a:pt x="640" y="224"/>
                  </a:lnTo>
                  <a:lnTo>
                    <a:pt x="640" y="224"/>
                  </a:lnTo>
                  <a:lnTo>
                    <a:pt x="640" y="226"/>
                  </a:lnTo>
                  <a:close/>
                  <a:moveTo>
                    <a:pt x="632" y="224"/>
                  </a:moveTo>
                  <a:lnTo>
                    <a:pt x="630" y="224"/>
                  </a:lnTo>
                  <a:lnTo>
                    <a:pt x="628" y="222"/>
                  </a:lnTo>
                  <a:lnTo>
                    <a:pt x="628" y="222"/>
                  </a:lnTo>
                  <a:lnTo>
                    <a:pt x="628" y="224"/>
                  </a:lnTo>
                  <a:lnTo>
                    <a:pt x="628" y="226"/>
                  </a:lnTo>
                  <a:lnTo>
                    <a:pt x="628" y="228"/>
                  </a:lnTo>
                  <a:lnTo>
                    <a:pt x="628" y="228"/>
                  </a:lnTo>
                  <a:lnTo>
                    <a:pt x="628" y="228"/>
                  </a:lnTo>
                  <a:lnTo>
                    <a:pt x="628" y="228"/>
                  </a:lnTo>
                  <a:lnTo>
                    <a:pt x="626" y="232"/>
                  </a:lnTo>
                  <a:lnTo>
                    <a:pt x="626" y="234"/>
                  </a:lnTo>
                  <a:lnTo>
                    <a:pt x="628" y="237"/>
                  </a:lnTo>
                  <a:lnTo>
                    <a:pt x="630" y="234"/>
                  </a:lnTo>
                  <a:lnTo>
                    <a:pt x="632" y="234"/>
                  </a:lnTo>
                  <a:lnTo>
                    <a:pt x="632" y="232"/>
                  </a:lnTo>
                  <a:lnTo>
                    <a:pt x="634" y="230"/>
                  </a:lnTo>
                  <a:lnTo>
                    <a:pt x="634" y="228"/>
                  </a:lnTo>
                  <a:lnTo>
                    <a:pt x="634" y="228"/>
                  </a:lnTo>
                  <a:lnTo>
                    <a:pt x="632" y="226"/>
                  </a:lnTo>
                  <a:lnTo>
                    <a:pt x="632" y="224"/>
                  </a:lnTo>
                  <a:close/>
                  <a:moveTo>
                    <a:pt x="308" y="267"/>
                  </a:moveTo>
                  <a:lnTo>
                    <a:pt x="308" y="265"/>
                  </a:lnTo>
                  <a:lnTo>
                    <a:pt x="308" y="263"/>
                  </a:lnTo>
                  <a:lnTo>
                    <a:pt x="308" y="261"/>
                  </a:lnTo>
                  <a:lnTo>
                    <a:pt x="308" y="261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08" y="253"/>
                  </a:lnTo>
                  <a:lnTo>
                    <a:pt x="308" y="251"/>
                  </a:lnTo>
                  <a:lnTo>
                    <a:pt x="303" y="249"/>
                  </a:lnTo>
                  <a:lnTo>
                    <a:pt x="301" y="249"/>
                  </a:lnTo>
                  <a:lnTo>
                    <a:pt x="299" y="251"/>
                  </a:lnTo>
                  <a:lnTo>
                    <a:pt x="297" y="251"/>
                  </a:lnTo>
                  <a:lnTo>
                    <a:pt x="293" y="251"/>
                  </a:lnTo>
                  <a:lnTo>
                    <a:pt x="289" y="251"/>
                  </a:lnTo>
                  <a:lnTo>
                    <a:pt x="285" y="249"/>
                  </a:lnTo>
                  <a:lnTo>
                    <a:pt x="283" y="247"/>
                  </a:lnTo>
                  <a:lnTo>
                    <a:pt x="281" y="245"/>
                  </a:lnTo>
                  <a:lnTo>
                    <a:pt x="283" y="243"/>
                  </a:lnTo>
                  <a:lnTo>
                    <a:pt x="281" y="243"/>
                  </a:lnTo>
                  <a:lnTo>
                    <a:pt x="281" y="243"/>
                  </a:lnTo>
                  <a:lnTo>
                    <a:pt x="279" y="241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7" y="237"/>
                  </a:lnTo>
                  <a:lnTo>
                    <a:pt x="275" y="237"/>
                  </a:lnTo>
                  <a:lnTo>
                    <a:pt x="273" y="237"/>
                  </a:lnTo>
                  <a:lnTo>
                    <a:pt x="271" y="237"/>
                  </a:lnTo>
                  <a:lnTo>
                    <a:pt x="271" y="234"/>
                  </a:lnTo>
                  <a:lnTo>
                    <a:pt x="266" y="234"/>
                  </a:lnTo>
                  <a:lnTo>
                    <a:pt x="264" y="232"/>
                  </a:lnTo>
                  <a:lnTo>
                    <a:pt x="264" y="232"/>
                  </a:lnTo>
                  <a:lnTo>
                    <a:pt x="262" y="230"/>
                  </a:lnTo>
                  <a:lnTo>
                    <a:pt x="262" y="230"/>
                  </a:lnTo>
                  <a:lnTo>
                    <a:pt x="260" y="232"/>
                  </a:lnTo>
                  <a:lnTo>
                    <a:pt x="258" y="232"/>
                  </a:lnTo>
                  <a:lnTo>
                    <a:pt x="256" y="232"/>
                  </a:lnTo>
                  <a:lnTo>
                    <a:pt x="256" y="232"/>
                  </a:lnTo>
                  <a:lnTo>
                    <a:pt x="254" y="228"/>
                  </a:lnTo>
                  <a:lnTo>
                    <a:pt x="254" y="226"/>
                  </a:lnTo>
                  <a:lnTo>
                    <a:pt x="252" y="226"/>
                  </a:lnTo>
                  <a:lnTo>
                    <a:pt x="250" y="228"/>
                  </a:lnTo>
                  <a:lnTo>
                    <a:pt x="250" y="228"/>
                  </a:lnTo>
                  <a:lnTo>
                    <a:pt x="250" y="228"/>
                  </a:lnTo>
                  <a:lnTo>
                    <a:pt x="248" y="230"/>
                  </a:lnTo>
                  <a:lnTo>
                    <a:pt x="248" y="232"/>
                  </a:lnTo>
                  <a:lnTo>
                    <a:pt x="246" y="234"/>
                  </a:lnTo>
                  <a:lnTo>
                    <a:pt x="246" y="237"/>
                  </a:lnTo>
                  <a:lnTo>
                    <a:pt x="244" y="237"/>
                  </a:lnTo>
                  <a:lnTo>
                    <a:pt x="244" y="237"/>
                  </a:lnTo>
                  <a:lnTo>
                    <a:pt x="242" y="237"/>
                  </a:lnTo>
                  <a:lnTo>
                    <a:pt x="242" y="237"/>
                  </a:lnTo>
                  <a:lnTo>
                    <a:pt x="240" y="237"/>
                  </a:lnTo>
                  <a:lnTo>
                    <a:pt x="238" y="237"/>
                  </a:lnTo>
                  <a:lnTo>
                    <a:pt x="236" y="237"/>
                  </a:lnTo>
                  <a:lnTo>
                    <a:pt x="234" y="237"/>
                  </a:lnTo>
                  <a:lnTo>
                    <a:pt x="232" y="234"/>
                  </a:lnTo>
                  <a:lnTo>
                    <a:pt x="230" y="234"/>
                  </a:lnTo>
                  <a:lnTo>
                    <a:pt x="227" y="234"/>
                  </a:lnTo>
                  <a:lnTo>
                    <a:pt x="225" y="234"/>
                  </a:lnTo>
                  <a:lnTo>
                    <a:pt x="221" y="234"/>
                  </a:lnTo>
                  <a:lnTo>
                    <a:pt x="219" y="234"/>
                  </a:lnTo>
                  <a:lnTo>
                    <a:pt x="217" y="234"/>
                  </a:lnTo>
                  <a:lnTo>
                    <a:pt x="215" y="234"/>
                  </a:lnTo>
                  <a:lnTo>
                    <a:pt x="215" y="232"/>
                  </a:lnTo>
                  <a:lnTo>
                    <a:pt x="215" y="228"/>
                  </a:lnTo>
                  <a:lnTo>
                    <a:pt x="213" y="228"/>
                  </a:lnTo>
                  <a:lnTo>
                    <a:pt x="213" y="226"/>
                  </a:lnTo>
                  <a:lnTo>
                    <a:pt x="211" y="224"/>
                  </a:lnTo>
                  <a:lnTo>
                    <a:pt x="211" y="224"/>
                  </a:lnTo>
                  <a:lnTo>
                    <a:pt x="209" y="224"/>
                  </a:lnTo>
                  <a:lnTo>
                    <a:pt x="209" y="224"/>
                  </a:lnTo>
                  <a:lnTo>
                    <a:pt x="207" y="224"/>
                  </a:lnTo>
                  <a:lnTo>
                    <a:pt x="205" y="224"/>
                  </a:lnTo>
                  <a:lnTo>
                    <a:pt x="203" y="224"/>
                  </a:lnTo>
                  <a:lnTo>
                    <a:pt x="203" y="224"/>
                  </a:lnTo>
                  <a:lnTo>
                    <a:pt x="201" y="224"/>
                  </a:lnTo>
                  <a:lnTo>
                    <a:pt x="199" y="222"/>
                  </a:lnTo>
                  <a:lnTo>
                    <a:pt x="197" y="222"/>
                  </a:lnTo>
                  <a:lnTo>
                    <a:pt x="197" y="220"/>
                  </a:lnTo>
                  <a:lnTo>
                    <a:pt x="195" y="218"/>
                  </a:lnTo>
                  <a:lnTo>
                    <a:pt x="193" y="218"/>
                  </a:lnTo>
                  <a:lnTo>
                    <a:pt x="191" y="218"/>
                  </a:lnTo>
                  <a:lnTo>
                    <a:pt x="191" y="220"/>
                  </a:lnTo>
                  <a:lnTo>
                    <a:pt x="188" y="220"/>
                  </a:lnTo>
                  <a:lnTo>
                    <a:pt x="188" y="220"/>
                  </a:lnTo>
                  <a:lnTo>
                    <a:pt x="186" y="220"/>
                  </a:lnTo>
                  <a:lnTo>
                    <a:pt x="184" y="220"/>
                  </a:lnTo>
                  <a:lnTo>
                    <a:pt x="182" y="220"/>
                  </a:lnTo>
                  <a:lnTo>
                    <a:pt x="180" y="220"/>
                  </a:lnTo>
                  <a:lnTo>
                    <a:pt x="178" y="218"/>
                  </a:lnTo>
                  <a:lnTo>
                    <a:pt x="176" y="218"/>
                  </a:lnTo>
                  <a:lnTo>
                    <a:pt x="174" y="218"/>
                  </a:lnTo>
                  <a:lnTo>
                    <a:pt x="174" y="218"/>
                  </a:lnTo>
                  <a:lnTo>
                    <a:pt x="172" y="220"/>
                  </a:lnTo>
                  <a:lnTo>
                    <a:pt x="172" y="222"/>
                  </a:lnTo>
                  <a:lnTo>
                    <a:pt x="170" y="228"/>
                  </a:lnTo>
                  <a:lnTo>
                    <a:pt x="170" y="228"/>
                  </a:lnTo>
                  <a:lnTo>
                    <a:pt x="168" y="228"/>
                  </a:lnTo>
                  <a:lnTo>
                    <a:pt x="168" y="228"/>
                  </a:lnTo>
                  <a:lnTo>
                    <a:pt x="166" y="230"/>
                  </a:lnTo>
                  <a:lnTo>
                    <a:pt x="166" y="232"/>
                  </a:lnTo>
                  <a:lnTo>
                    <a:pt x="164" y="234"/>
                  </a:lnTo>
                  <a:lnTo>
                    <a:pt x="164" y="234"/>
                  </a:lnTo>
                  <a:lnTo>
                    <a:pt x="164" y="232"/>
                  </a:lnTo>
                  <a:lnTo>
                    <a:pt x="164" y="232"/>
                  </a:lnTo>
                  <a:lnTo>
                    <a:pt x="164" y="232"/>
                  </a:lnTo>
                  <a:lnTo>
                    <a:pt x="162" y="232"/>
                  </a:lnTo>
                  <a:lnTo>
                    <a:pt x="162" y="232"/>
                  </a:lnTo>
                  <a:lnTo>
                    <a:pt x="160" y="234"/>
                  </a:lnTo>
                  <a:lnTo>
                    <a:pt x="162" y="234"/>
                  </a:lnTo>
                  <a:lnTo>
                    <a:pt x="162" y="234"/>
                  </a:lnTo>
                  <a:lnTo>
                    <a:pt x="162" y="234"/>
                  </a:lnTo>
                  <a:lnTo>
                    <a:pt x="164" y="234"/>
                  </a:lnTo>
                  <a:lnTo>
                    <a:pt x="164" y="234"/>
                  </a:lnTo>
                  <a:lnTo>
                    <a:pt x="166" y="234"/>
                  </a:lnTo>
                  <a:lnTo>
                    <a:pt x="168" y="234"/>
                  </a:lnTo>
                  <a:lnTo>
                    <a:pt x="170" y="234"/>
                  </a:lnTo>
                  <a:lnTo>
                    <a:pt x="172" y="234"/>
                  </a:lnTo>
                  <a:lnTo>
                    <a:pt x="176" y="237"/>
                  </a:lnTo>
                  <a:lnTo>
                    <a:pt x="180" y="239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78" y="243"/>
                  </a:lnTo>
                  <a:lnTo>
                    <a:pt x="178" y="243"/>
                  </a:lnTo>
                  <a:lnTo>
                    <a:pt x="180" y="245"/>
                  </a:lnTo>
                  <a:lnTo>
                    <a:pt x="180" y="245"/>
                  </a:lnTo>
                  <a:lnTo>
                    <a:pt x="182" y="245"/>
                  </a:lnTo>
                  <a:lnTo>
                    <a:pt x="191" y="247"/>
                  </a:lnTo>
                  <a:lnTo>
                    <a:pt x="193" y="247"/>
                  </a:lnTo>
                  <a:lnTo>
                    <a:pt x="197" y="247"/>
                  </a:lnTo>
                  <a:lnTo>
                    <a:pt x="199" y="249"/>
                  </a:lnTo>
                  <a:lnTo>
                    <a:pt x="199" y="249"/>
                  </a:lnTo>
                  <a:lnTo>
                    <a:pt x="201" y="251"/>
                  </a:lnTo>
                  <a:lnTo>
                    <a:pt x="203" y="251"/>
                  </a:lnTo>
                  <a:lnTo>
                    <a:pt x="207" y="253"/>
                  </a:lnTo>
                  <a:lnTo>
                    <a:pt x="209" y="253"/>
                  </a:lnTo>
                  <a:lnTo>
                    <a:pt x="211" y="253"/>
                  </a:lnTo>
                  <a:lnTo>
                    <a:pt x="213" y="251"/>
                  </a:lnTo>
                  <a:lnTo>
                    <a:pt x="213" y="251"/>
                  </a:lnTo>
                  <a:lnTo>
                    <a:pt x="217" y="249"/>
                  </a:lnTo>
                  <a:lnTo>
                    <a:pt x="217" y="249"/>
                  </a:lnTo>
                  <a:lnTo>
                    <a:pt x="219" y="251"/>
                  </a:lnTo>
                  <a:lnTo>
                    <a:pt x="223" y="251"/>
                  </a:lnTo>
                  <a:lnTo>
                    <a:pt x="225" y="251"/>
                  </a:lnTo>
                  <a:lnTo>
                    <a:pt x="234" y="253"/>
                  </a:lnTo>
                  <a:lnTo>
                    <a:pt x="238" y="253"/>
                  </a:lnTo>
                  <a:lnTo>
                    <a:pt x="246" y="259"/>
                  </a:lnTo>
                  <a:lnTo>
                    <a:pt x="250" y="259"/>
                  </a:lnTo>
                  <a:lnTo>
                    <a:pt x="252" y="261"/>
                  </a:lnTo>
                  <a:lnTo>
                    <a:pt x="258" y="261"/>
                  </a:lnTo>
                  <a:lnTo>
                    <a:pt x="260" y="261"/>
                  </a:lnTo>
                  <a:lnTo>
                    <a:pt x="271" y="261"/>
                  </a:lnTo>
                  <a:lnTo>
                    <a:pt x="275" y="263"/>
                  </a:lnTo>
                  <a:lnTo>
                    <a:pt x="277" y="263"/>
                  </a:lnTo>
                  <a:lnTo>
                    <a:pt x="279" y="263"/>
                  </a:lnTo>
                  <a:lnTo>
                    <a:pt x="281" y="263"/>
                  </a:lnTo>
                  <a:lnTo>
                    <a:pt x="283" y="263"/>
                  </a:lnTo>
                  <a:lnTo>
                    <a:pt x="285" y="261"/>
                  </a:lnTo>
                  <a:lnTo>
                    <a:pt x="287" y="261"/>
                  </a:lnTo>
                  <a:lnTo>
                    <a:pt x="289" y="261"/>
                  </a:lnTo>
                  <a:lnTo>
                    <a:pt x="295" y="265"/>
                  </a:lnTo>
                  <a:lnTo>
                    <a:pt x="299" y="267"/>
                  </a:lnTo>
                  <a:lnTo>
                    <a:pt x="303" y="267"/>
                  </a:lnTo>
                  <a:lnTo>
                    <a:pt x="305" y="267"/>
                  </a:lnTo>
                  <a:lnTo>
                    <a:pt x="305" y="267"/>
                  </a:lnTo>
                  <a:lnTo>
                    <a:pt x="305" y="269"/>
                  </a:lnTo>
                  <a:lnTo>
                    <a:pt x="308" y="269"/>
                  </a:lnTo>
                  <a:lnTo>
                    <a:pt x="310" y="269"/>
                  </a:lnTo>
                  <a:lnTo>
                    <a:pt x="310" y="269"/>
                  </a:lnTo>
                  <a:lnTo>
                    <a:pt x="310" y="269"/>
                  </a:lnTo>
                  <a:lnTo>
                    <a:pt x="308" y="267"/>
                  </a:lnTo>
                  <a:close/>
                  <a:moveTo>
                    <a:pt x="464" y="218"/>
                  </a:moveTo>
                  <a:lnTo>
                    <a:pt x="466" y="218"/>
                  </a:lnTo>
                  <a:lnTo>
                    <a:pt x="466" y="220"/>
                  </a:lnTo>
                  <a:lnTo>
                    <a:pt x="466" y="218"/>
                  </a:lnTo>
                  <a:lnTo>
                    <a:pt x="466" y="218"/>
                  </a:lnTo>
                  <a:lnTo>
                    <a:pt x="464" y="218"/>
                  </a:lnTo>
                  <a:lnTo>
                    <a:pt x="464" y="218"/>
                  </a:lnTo>
                  <a:close/>
                  <a:moveTo>
                    <a:pt x="408" y="228"/>
                  </a:moveTo>
                  <a:lnTo>
                    <a:pt x="408" y="224"/>
                  </a:lnTo>
                  <a:lnTo>
                    <a:pt x="408" y="218"/>
                  </a:lnTo>
                  <a:lnTo>
                    <a:pt x="408" y="218"/>
                  </a:lnTo>
                  <a:lnTo>
                    <a:pt x="408" y="216"/>
                  </a:lnTo>
                  <a:lnTo>
                    <a:pt x="408" y="216"/>
                  </a:lnTo>
                  <a:lnTo>
                    <a:pt x="406" y="220"/>
                  </a:lnTo>
                  <a:lnTo>
                    <a:pt x="406" y="222"/>
                  </a:lnTo>
                  <a:lnTo>
                    <a:pt x="406" y="224"/>
                  </a:lnTo>
                  <a:lnTo>
                    <a:pt x="406" y="226"/>
                  </a:lnTo>
                  <a:lnTo>
                    <a:pt x="408" y="228"/>
                  </a:lnTo>
                  <a:close/>
                  <a:moveTo>
                    <a:pt x="283" y="214"/>
                  </a:moveTo>
                  <a:lnTo>
                    <a:pt x="283" y="214"/>
                  </a:lnTo>
                  <a:lnTo>
                    <a:pt x="281" y="214"/>
                  </a:lnTo>
                  <a:lnTo>
                    <a:pt x="281" y="216"/>
                  </a:lnTo>
                  <a:lnTo>
                    <a:pt x="281" y="216"/>
                  </a:lnTo>
                  <a:lnTo>
                    <a:pt x="283" y="216"/>
                  </a:lnTo>
                  <a:lnTo>
                    <a:pt x="283" y="216"/>
                  </a:lnTo>
                  <a:lnTo>
                    <a:pt x="283" y="214"/>
                  </a:lnTo>
                  <a:close/>
                  <a:moveTo>
                    <a:pt x="605" y="212"/>
                  </a:moveTo>
                  <a:lnTo>
                    <a:pt x="605" y="212"/>
                  </a:lnTo>
                  <a:lnTo>
                    <a:pt x="605" y="212"/>
                  </a:lnTo>
                  <a:lnTo>
                    <a:pt x="605" y="214"/>
                  </a:lnTo>
                  <a:lnTo>
                    <a:pt x="605" y="216"/>
                  </a:lnTo>
                  <a:lnTo>
                    <a:pt x="605" y="218"/>
                  </a:lnTo>
                  <a:lnTo>
                    <a:pt x="605" y="218"/>
                  </a:lnTo>
                  <a:lnTo>
                    <a:pt x="605" y="218"/>
                  </a:lnTo>
                  <a:lnTo>
                    <a:pt x="607" y="216"/>
                  </a:lnTo>
                  <a:lnTo>
                    <a:pt x="607" y="216"/>
                  </a:lnTo>
                  <a:lnTo>
                    <a:pt x="605" y="214"/>
                  </a:lnTo>
                  <a:lnTo>
                    <a:pt x="605" y="212"/>
                  </a:lnTo>
                  <a:close/>
                  <a:moveTo>
                    <a:pt x="638" y="216"/>
                  </a:moveTo>
                  <a:lnTo>
                    <a:pt x="638" y="214"/>
                  </a:lnTo>
                  <a:lnTo>
                    <a:pt x="638" y="214"/>
                  </a:lnTo>
                  <a:lnTo>
                    <a:pt x="638" y="212"/>
                  </a:lnTo>
                  <a:lnTo>
                    <a:pt x="638" y="212"/>
                  </a:lnTo>
                  <a:lnTo>
                    <a:pt x="638" y="210"/>
                  </a:lnTo>
                  <a:lnTo>
                    <a:pt x="638" y="210"/>
                  </a:lnTo>
                  <a:lnTo>
                    <a:pt x="636" y="210"/>
                  </a:lnTo>
                  <a:lnTo>
                    <a:pt x="636" y="208"/>
                  </a:lnTo>
                  <a:lnTo>
                    <a:pt x="634" y="210"/>
                  </a:lnTo>
                  <a:lnTo>
                    <a:pt x="634" y="210"/>
                  </a:lnTo>
                  <a:lnTo>
                    <a:pt x="634" y="212"/>
                  </a:lnTo>
                  <a:lnTo>
                    <a:pt x="632" y="214"/>
                  </a:lnTo>
                  <a:lnTo>
                    <a:pt x="630" y="214"/>
                  </a:lnTo>
                  <a:lnTo>
                    <a:pt x="630" y="214"/>
                  </a:lnTo>
                  <a:lnTo>
                    <a:pt x="630" y="214"/>
                  </a:lnTo>
                  <a:lnTo>
                    <a:pt x="632" y="216"/>
                  </a:lnTo>
                  <a:lnTo>
                    <a:pt x="632" y="218"/>
                  </a:lnTo>
                  <a:lnTo>
                    <a:pt x="632" y="220"/>
                  </a:lnTo>
                  <a:lnTo>
                    <a:pt x="630" y="220"/>
                  </a:lnTo>
                  <a:lnTo>
                    <a:pt x="628" y="220"/>
                  </a:lnTo>
                  <a:lnTo>
                    <a:pt x="628" y="220"/>
                  </a:lnTo>
                  <a:lnTo>
                    <a:pt x="630" y="220"/>
                  </a:lnTo>
                  <a:lnTo>
                    <a:pt x="630" y="222"/>
                  </a:lnTo>
                  <a:lnTo>
                    <a:pt x="630" y="222"/>
                  </a:lnTo>
                  <a:lnTo>
                    <a:pt x="632" y="224"/>
                  </a:lnTo>
                  <a:lnTo>
                    <a:pt x="634" y="226"/>
                  </a:lnTo>
                  <a:lnTo>
                    <a:pt x="636" y="226"/>
                  </a:lnTo>
                  <a:lnTo>
                    <a:pt x="636" y="226"/>
                  </a:lnTo>
                  <a:lnTo>
                    <a:pt x="636" y="226"/>
                  </a:lnTo>
                  <a:lnTo>
                    <a:pt x="638" y="224"/>
                  </a:lnTo>
                  <a:lnTo>
                    <a:pt x="638" y="222"/>
                  </a:lnTo>
                  <a:lnTo>
                    <a:pt x="638" y="222"/>
                  </a:lnTo>
                  <a:lnTo>
                    <a:pt x="638" y="220"/>
                  </a:lnTo>
                  <a:lnTo>
                    <a:pt x="638" y="220"/>
                  </a:lnTo>
                  <a:lnTo>
                    <a:pt x="638" y="218"/>
                  </a:lnTo>
                  <a:lnTo>
                    <a:pt x="638" y="218"/>
                  </a:lnTo>
                  <a:lnTo>
                    <a:pt x="638" y="216"/>
                  </a:lnTo>
                  <a:close/>
                  <a:moveTo>
                    <a:pt x="613" y="206"/>
                  </a:moveTo>
                  <a:lnTo>
                    <a:pt x="611" y="212"/>
                  </a:lnTo>
                  <a:lnTo>
                    <a:pt x="609" y="214"/>
                  </a:lnTo>
                  <a:lnTo>
                    <a:pt x="609" y="216"/>
                  </a:lnTo>
                  <a:lnTo>
                    <a:pt x="607" y="218"/>
                  </a:lnTo>
                  <a:lnTo>
                    <a:pt x="609" y="218"/>
                  </a:lnTo>
                  <a:lnTo>
                    <a:pt x="609" y="214"/>
                  </a:lnTo>
                  <a:lnTo>
                    <a:pt x="611" y="212"/>
                  </a:lnTo>
                  <a:lnTo>
                    <a:pt x="613" y="208"/>
                  </a:lnTo>
                  <a:lnTo>
                    <a:pt x="613" y="208"/>
                  </a:lnTo>
                  <a:lnTo>
                    <a:pt x="613" y="206"/>
                  </a:lnTo>
                  <a:close/>
                  <a:moveTo>
                    <a:pt x="112" y="206"/>
                  </a:moveTo>
                  <a:lnTo>
                    <a:pt x="112" y="206"/>
                  </a:lnTo>
                  <a:lnTo>
                    <a:pt x="110" y="208"/>
                  </a:lnTo>
                  <a:lnTo>
                    <a:pt x="112" y="208"/>
                  </a:lnTo>
                  <a:lnTo>
                    <a:pt x="115" y="210"/>
                  </a:lnTo>
                  <a:lnTo>
                    <a:pt x="115" y="210"/>
                  </a:lnTo>
                  <a:lnTo>
                    <a:pt x="117" y="208"/>
                  </a:lnTo>
                  <a:lnTo>
                    <a:pt x="115" y="208"/>
                  </a:lnTo>
                  <a:lnTo>
                    <a:pt x="112" y="206"/>
                  </a:lnTo>
                  <a:close/>
                  <a:moveTo>
                    <a:pt x="457" y="206"/>
                  </a:moveTo>
                  <a:lnTo>
                    <a:pt x="457" y="206"/>
                  </a:lnTo>
                  <a:lnTo>
                    <a:pt x="457" y="208"/>
                  </a:lnTo>
                  <a:lnTo>
                    <a:pt x="457" y="208"/>
                  </a:lnTo>
                  <a:lnTo>
                    <a:pt x="459" y="208"/>
                  </a:lnTo>
                  <a:lnTo>
                    <a:pt x="459" y="206"/>
                  </a:lnTo>
                  <a:lnTo>
                    <a:pt x="457" y="206"/>
                  </a:lnTo>
                  <a:lnTo>
                    <a:pt x="457" y="206"/>
                  </a:lnTo>
                  <a:close/>
                  <a:moveTo>
                    <a:pt x="431" y="204"/>
                  </a:moveTo>
                  <a:lnTo>
                    <a:pt x="431" y="206"/>
                  </a:lnTo>
                  <a:lnTo>
                    <a:pt x="431" y="208"/>
                  </a:lnTo>
                  <a:lnTo>
                    <a:pt x="433" y="210"/>
                  </a:lnTo>
                  <a:lnTo>
                    <a:pt x="433" y="210"/>
                  </a:lnTo>
                  <a:lnTo>
                    <a:pt x="435" y="206"/>
                  </a:lnTo>
                  <a:lnTo>
                    <a:pt x="433" y="204"/>
                  </a:lnTo>
                  <a:lnTo>
                    <a:pt x="433" y="204"/>
                  </a:lnTo>
                  <a:lnTo>
                    <a:pt x="433" y="202"/>
                  </a:lnTo>
                  <a:lnTo>
                    <a:pt x="431" y="202"/>
                  </a:lnTo>
                  <a:lnTo>
                    <a:pt x="431" y="204"/>
                  </a:lnTo>
                  <a:lnTo>
                    <a:pt x="431" y="204"/>
                  </a:lnTo>
                  <a:lnTo>
                    <a:pt x="431" y="204"/>
                  </a:lnTo>
                  <a:lnTo>
                    <a:pt x="431" y="204"/>
                  </a:lnTo>
                  <a:close/>
                  <a:moveTo>
                    <a:pt x="437" y="208"/>
                  </a:moveTo>
                  <a:lnTo>
                    <a:pt x="437" y="208"/>
                  </a:lnTo>
                  <a:lnTo>
                    <a:pt x="439" y="208"/>
                  </a:lnTo>
                  <a:lnTo>
                    <a:pt x="439" y="208"/>
                  </a:lnTo>
                  <a:lnTo>
                    <a:pt x="441" y="208"/>
                  </a:lnTo>
                  <a:lnTo>
                    <a:pt x="441" y="208"/>
                  </a:lnTo>
                  <a:lnTo>
                    <a:pt x="441" y="208"/>
                  </a:lnTo>
                  <a:lnTo>
                    <a:pt x="443" y="208"/>
                  </a:lnTo>
                  <a:lnTo>
                    <a:pt x="443" y="206"/>
                  </a:lnTo>
                  <a:lnTo>
                    <a:pt x="443" y="204"/>
                  </a:lnTo>
                  <a:lnTo>
                    <a:pt x="445" y="200"/>
                  </a:lnTo>
                  <a:lnTo>
                    <a:pt x="445" y="195"/>
                  </a:lnTo>
                  <a:lnTo>
                    <a:pt x="445" y="193"/>
                  </a:lnTo>
                  <a:lnTo>
                    <a:pt x="445" y="193"/>
                  </a:lnTo>
                  <a:lnTo>
                    <a:pt x="441" y="195"/>
                  </a:lnTo>
                  <a:lnTo>
                    <a:pt x="439" y="197"/>
                  </a:lnTo>
                  <a:lnTo>
                    <a:pt x="439" y="197"/>
                  </a:lnTo>
                  <a:lnTo>
                    <a:pt x="439" y="202"/>
                  </a:lnTo>
                  <a:lnTo>
                    <a:pt x="439" y="202"/>
                  </a:lnTo>
                  <a:lnTo>
                    <a:pt x="439" y="204"/>
                  </a:lnTo>
                  <a:lnTo>
                    <a:pt x="437" y="208"/>
                  </a:lnTo>
                  <a:close/>
                  <a:moveTo>
                    <a:pt x="449" y="200"/>
                  </a:moveTo>
                  <a:lnTo>
                    <a:pt x="449" y="197"/>
                  </a:lnTo>
                  <a:lnTo>
                    <a:pt x="451" y="195"/>
                  </a:lnTo>
                  <a:lnTo>
                    <a:pt x="451" y="195"/>
                  </a:lnTo>
                  <a:lnTo>
                    <a:pt x="451" y="195"/>
                  </a:lnTo>
                  <a:lnTo>
                    <a:pt x="451" y="195"/>
                  </a:lnTo>
                  <a:lnTo>
                    <a:pt x="451" y="195"/>
                  </a:lnTo>
                  <a:lnTo>
                    <a:pt x="453" y="197"/>
                  </a:lnTo>
                  <a:lnTo>
                    <a:pt x="453" y="197"/>
                  </a:lnTo>
                  <a:lnTo>
                    <a:pt x="453" y="193"/>
                  </a:lnTo>
                  <a:lnTo>
                    <a:pt x="451" y="191"/>
                  </a:lnTo>
                  <a:lnTo>
                    <a:pt x="451" y="189"/>
                  </a:lnTo>
                  <a:lnTo>
                    <a:pt x="451" y="189"/>
                  </a:lnTo>
                  <a:lnTo>
                    <a:pt x="449" y="191"/>
                  </a:lnTo>
                  <a:lnTo>
                    <a:pt x="447" y="193"/>
                  </a:lnTo>
                  <a:lnTo>
                    <a:pt x="447" y="197"/>
                  </a:lnTo>
                  <a:lnTo>
                    <a:pt x="447" y="200"/>
                  </a:lnTo>
                  <a:lnTo>
                    <a:pt x="445" y="202"/>
                  </a:lnTo>
                  <a:lnTo>
                    <a:pt x="445" y="202"/>
                  </a:lnTo>
                  <a:lnTo>
                    <a:pt x="445" y="204"/>
                  </a:lnTo>
                  <a:lnTo>
                    <a:pt x="445" y="206"/>
                  </a:lnTo>
                  <a:lnTo>
                    <a:pt x="445" y="206"/>
                  </a:lnTo>
                  <a:lnTo>
                    <a:pt x="443" y="208"/>
                  </a:lnTo>
                  <a:lnTo>
                    <a:pt x="443" y="208"/>
                  </a:lnTo>
                  <a:lnTo>
                    <a:pt x="443" y="208"/>
                  </a:lnTo>
                  <a:lnTo>
                    <a:pt x="443" y="210"/>
                  </a:lnTo>
                  <a:lnTo>
                    <a:pt x="443" y="212"/>
                  </a:lnTo>
                  <a:lnTo>
                    <a:pt x="443" y="214"/>
                  </a:lnTo>
                  <a:lnTo>
                    <a:pt x="443" y="214"/>
                  </a:lnTo>
                  <a:lnTo>
                    <a:pt x="445" y="212"/>
                  </a:lnTo>
                  <a:lnTo>
                    <a:pt x="445" y="214"/>
                  </a:lnTo>
                  <a:lnTo>
                    <a:pt x="447" y="212"/>
                  </a:lnTo>
                  <a:lnTo>
                    <a:pt x="447" y="210"/>
                  </a:lnTo>
                  <a:lnTo>
                    <a:pt x="447" y="210"/>
                  </a:lnTo>
                  <a:lnTo>
                    <a:pt x="447" y="210"/>
                  </a:lnTo>
                  <a:lnTo>
                    <a:pt x="449" y="208"/>
                  </a:lnTo>
                  <a:lnTo>
                    <a:pt x="449" y="208"/>
                  </a:lnTo>
                  <a:lnTo>
                    <a:pt x="449" y="208"/>
                  </a:lnTo>
                  <a:lnTo>
                    <a:pt x="451" y="208"/>
                  </a:lnTo>
                  <a:lnTo>
                    <a:pt x="451" y="208"/>
                  </a:lnTo>
                  <a:lnTo>
                    <a:pt x="453" y="206"/>
                  </a:lnTo>
                  <a:lnTo>
                    <a:pt x="451" y="206"/>
                  </a:lnTo>
                  <a:lnTo>
                    <a:pt x="449" y="204"/>
                  </a:lnTo>
                  <a:lnTo>
                    <a:pt x="449" y="204"/>
                  </a:lnTo>
                  <a:lnTo>
                    <a:pt x="449" y="204"/>
                  </a:lnTo>
                  <a:lnTo>
                    <a:pt x="449" y="204"/>
                  </a:lnTo>
                  <a:lnTo>
                    <a:pt x="449" y="200"/>
                  </a:lnTo>
                  <a:lnTo>
                    <a:pt x="449" y="200"/>
                  </a:lnTo>
                  <a:close/>
                  <a:moveTo>
                    <a:pt x="620" y="187"/>
                  </a:moveTo>
                  <a:lnTo>
                    <a:pt x="618" y="185"/>
                  </a:lnTo>
                  <a:lnTo>
                    <a:pt x="618" y="185"/>
                  </a:lnTo>
                  <a:lnTo>
                    <a:pt x="620" y="187"/>
                  </a:lnTo>
                  <a:lnTo>
                    <a:pt x="622" y="187"/>
                  </a:lnTo>
                  <a:lnTo>
                    <a:pt x="622" y="187"/>
                  </a:lnTo>
                  <a:lnTo>
                    <a:pt x="620" y="187"/>
                  </a:lnTo>
                  <a:close/>
                  <a:moveTo>
                    <a:pt x="453" y="183"/>
                  </a:moveTo>
                  <a:lnTo>
                    <a:pt x="453" y="183"/>
                  </a:lnTo>
                  <a:lnTo>
                    <a:pt x="451" y="183"/>
                  </a:lnTo>
                  <a:lnTo>
                    <a:pt x="449" y="183"/>
                  </a:lnTo>
                  <a:lnTo>
                    <a:pt x="449" y="183"/>
                  </a:lnTo>
                  <a:lnTo>
                    <a:pt x="449" y="185"/>
                  </a:lnTo>
                  <a:lnTo>
                    <a:pt x="451" y="187"/>
                  </a:lnTo>
                  <a:lnTo>
                    <a:pt x="451" y="187"/>
                  </a:lnTo>
                  <a:lnTo>
                    <a:pt x="453" y="185"/>
                  </a:lnTo>
                  <a:lnTo>
                    <a:pt x="453" y="183"/>
                  </a:lnTo>
                  <a:close/>
                  <a:moveTo>
                    <a:pt x="540" y="173"/>
                  </a:moveTo>
                  <a:lnTo>
                    <a:pt x="537" y="175"/>
                  </a:lnTo>
                  <a:lnTo>
                    <a:pt x="537" y="177"/>
                  </a:lnTo>
                  <a:lnTo>
                    <a:pt x="540" y="175"/>
                  </a:lnTo>
                  <a:lnTo>
                    <a:pt x="540" y="175"/>
                  </a:lnTo>
                  <a:lnTo>
                    <a:pt x="540" y="173"/>
                  </a:lnTo>
                  <a:close/>
                  <a:moveTo>
                    <a:pt x="535" y="173"/>
                  </a:moveTo>
                  <a:lnTo>
                    <a:pt x="533" y="175"/>
                  </a:lnTo>
                  <a:lnTo>
                    <a:pt x="531" y="175"/>
                  </a:lnTo>
                  <a:lnTo>
                    <a:pt x="529" y="177"/>
                  </a:lnTo>
                  <a:lnTo>
                    <a:pt x="529" y="177"/>
                  </a:lnTo>
                  <a:lnTo>
                    <a:pt x="529" y="177"/>
                  </a:lnTo>
                  <a:lnTo>
                    <a:pt x="531" y="179"/>
                  </a:lnTo>
                  <a:lnTo>
                    <a:pt x="531" y="177"/>
                  </a:lnTo>
                  <a:lnTo>
                    <a:pt x="533" y="177"/>
                  </a:lnTo>
                  <a:lnTo>
                    <a:pt x="533" y="177"/>
                  </a:lnTo>
                  <a:lnTo>
                    <a:pt x="533" y="177"/>
                  </a:lnTo>
                  <a:lnTo>
                    <a:pt x="533" y="177"/>
                  </a:lnTo>
                  <a:lnTo>
                    <a:pt x="533" y="177"/>
                  </a:lnTo>
                  <a:lnTo>
                    <a:pt x="535" y="177"/>
                  </a:lnTo>
                  <a:lnTo>
                    <a:pt x="535" y="177"/>
                  </a:lnTo>
                  <a:lnTo>
                    <a:pt x="535" y="175"/>
                  </a:lnTo>
                  <a:lnTo>
                    <a:pt x="535" y="175"/>
                  </a:lnTo>
                  <a:lnTo>
                    <a:pt x="535" y="175"/>
                  </a:lnTo>
                  <a:lnTo>
                    <a:pt x="537" y="173"/>
                  </a:lnTo>
                  <a:lnTo>
                    <a:pt x="535" y="173"/>
                  </a:lnTo>
                  <a:close/>
                  <a:moveTo>
                    <a:pt x="542" y="173"/>
                  </a:moveTo>
                  <a:lnTo>
                    <a:pt x="542" y="173"/>
                  </a:lnTo>
                  <a:lnTo>
                    <a:pt x="542" y="173"/>
                  </a:lnTo>
                  <a:lnTo>
                    <a:pt x="542" y="175"/>
                  </a:lnTo>
                  <a:lnTo>
                    <a:pt x="542" y="175"/>
                  </a:lnTo>
                  <a:lnTo>
                    <a:pt x="544" y="175"/>
                  </a:lnTo>
                  <a:lnTo>
                    <a:pt x="544" y="175"/>
                  </a:lnTo>
                  <a:lnTo>
                    <a:pt x="544" y="175"/>
                  </a:lnTo>
                  <a:lnTo>
                    <a:pt x="542" y="173"/>
                  </a:lnTo>
                  <a:lnTo>
                    <a:pt x="542" y="173"/>
                  </a:lnTo>
                  <a:close/>
                  <a:moveTo>
                    <a:pt x="342" y="175"/>
                  </a:moveTo>
                  <a:lnTo>
                    <a:pt x="342" y="177"/>
                  </a:lnTo>
                  <a:lnTo>
                    <a:pt x="345" y="173"/>
                  </a:lnTo>
                  <a:lnTo>
                    <a:pt x="345" y="171"/>
                  </a:lnTo>
                  <a:lnTo>
                    <a:pt x="345" y="173"/>
                  </a:lnTo>
                  <a:lnTo>
                    <a:pt x="342" y="175"/>
                  </a:lnTo>
                  <a:close/>
                  <a:moveTo>
                    <a:pt x="525" y="171"/>
                  </a:moveTo>
                  <a:lnTo>
                    <a:pt x="525" y="171"/>
                  </a:lnTo>
                  <a:lnTo>
                    <a:pt x="525" y="169"/>
                  </a:lnTo>
                  <a:lnTo>
                    <a:pt x="523" y="169"/>
                  </a:lnTo>
                  <a:lnTo>
                    <a:pt x="523" y="169"/>
                  </a:lnTo>
                  <a:lnTo>
                    <a:pt x="523" y="171"/>
                  </a:lnTo>
                  <a:lnTo>
                    <a:pt x="525" y="171"/>
                  </a:lnTo>
                  <a:close/>
                  <a:moveTo>
                    <a:pt x="342" y="177"/>
                  </a:moveTo>
                  <a:lnTo>
                    <a:pt x="342" y="175"/>
                  </a:lnTo>
                  <a:lnTo>
                    <a:pt x="342" y="173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0" y="169"/>
                  </a:lnTo>
                  <a:lnTo>
                    <a:pt x="338" y="171"/>
                  </a:lnTo>
                  <a:lnTo>
                    <a:pt x="338" y="173"/>
                  </a:lnTo>
                  <a:lnTo>
                    <a:pt x="338" y="175"/>
                  </a:lnTo>
                  <a:lnTo>
                    <a:pt x="338" y="177"/>
                  </a:lnTo>
                  <a:lnTo>
                    <a:pt x="338" y="179"/>
                  </a:lnTo>
                  <a:lnTo>
                    <a:pt x="338" y="183"/>
                  </a:lnTo>
                  <a:lnTo>
                    <a:pt x="338" y="183"/>
                  </a:lnTo>
                  <a:lnTo>
                    <a:pt x="342" y="181"/>
                  </a:lnTo>
                  <a:lnTo>
                    <a:pt x="342" y="179"/>
                  </a:lnTo>
                  <a:lnTo>
                    <a:pt x="342" y="179"/>
                  </a:lnTo>
                  <a:lnTo>
                    <a:pt x="342" y="177"/>
                  </a:lnTo>
                  <a:close/>
                  <a:moveTo>
                    <a:pt x="519" y="171"/>
                  </a:moveTo>
                  <a:lnTo>
                    <a:pt x="517" y="171"/>
                  </a:lnTo>
                  <a:lnTo>
                    <a:pt x="517" y="169"/>
                  </a:lnTo>
                  <a:lnTo>
                    <a:pt x="517" y="169"/>
                  </a:lnTo>
                  <a:lnTo>
                    <a:pt x="515" y="167"/>
                  </a:lnTo>
                  <a:lnTo>
                    <a:pt x="513" y="167"/>
                  </a:lnTo>
                  <a:lnTo>
                    <a:pt x="513" y="165"/>
                  </a:lnTo>
                  <a:lnTo>
                    <a:pt x="509" y="165"/>
                  </a:lnTo>
                  <a:lnTo>
                    <a:pt x="505" y="167"/>
                  </a:lnTo>
                  <a:lnTo>
                    <a:pt x="503" y="167"/>
                  </a:lnTo>
                  <a:lnTo>
                    <a:pt x="501" y="167"/>
                  </a:lnTo>
                  <a:lnTo>
                    <a:pt x="501" y="167"/>
                  </a:lnTo>
                  <a:lnTo>
                    <a:pt x="501" y="167"/>
                  </a:lnTo>
                  <a:lnTo>
                    <a:pt x="501" y="171"/>
                  </a:lnTo>
                  <a:lnTo>
                    <a:pt x="501" y="173"/>
                  </a:lnTo>
                  <a:lnTo>
                    <a:pt x="501" y="173"/>
                  </a:lnTo>
                  <a:lnTo>
                    <a:pt x="503" y="175"/>
                  </a:lnTo>
                  <a:lnTo>
                    <a:pt x="503" y="175"/>
                  </a:lnTo>
                  <a:lnTo>
                    <a:pt x="505" y="177"/>
                  </a:lnTo>
                  <a:lnTo>
                    <a:pt x="507" y="179"/>
                  </a:lnTo>
                  <a:lnTo>
                    <a:pt x="511" y="179"/>
                  </a:lnTo>
                  <a:lnTo>
                    <a:pt x="511" y="179"/>
                  </a:lnTo>
                  <a:lnTo>
                    <a:pt x="511" y="179"/>
                  </a:lnTo>
                  <a:lnTo>
                    <a:pt x="513" y="179"/>
                  </a:lnTo>
                  <a:lnTo>
                    <a:pt x="515" y="179"/>
                  </a:lnTo>
                  <a:lnTo>
                    <a:pt x="517" y="177"/>
                  </a:lnTo>
                  <a:lnTo>
                    <a:pt x="517" y="177"/>
                  </a:lnTo>
                  <a:lnTo>
                    <a:pt x="519" y="175"/>
                  </a:lnTo>
                  <a:lnTo>
                    <a:pt x="519" y="173"/>
                  </a:lnTo>
                  <a:lnTo>
                    <a:pt x="519" y="171"/>
                  </a:lnTo>
                  <a:lnTo>
                    <a:pt x="519" y="171"/>
                  </a:lnTo>
                  <a:close/>
                  <a:moveTo>
                    <a:pt x="531" y="162"/>
                  </a:moveTo>
                  <a:lnTo>
                    <a:pt x="531" y="162"/>
                  </a:lnTo>
                  <a:lnTo>
                    <a:pt x="529" y="165"/>
                  </a:lnTo>
                  <a:lnTo>
                    <a:pt x="529" y="165"/>
                  </a:lnTo>
                  <a:lnTo>
                    <a:pt x="531" y="165"/>
                  </a:lnTo>
                  <a:lnTo>
                    <a:pt x="531" y="162"/>
                  </a:lnTo>
                  <a:close/>
                  <a:moveTo>
                    <a:pt x="188" y="162"/>
                  </a:moveTo>
                  <a:lnTo>
                    <a:pt x="188" y="162"/>
                  </a:lnTo>
                  <a:lnTo>
                    <a:pt x="188" y="165"/>
                  </a:lnTo>
                  <a:lnTo>
                    <a:pt x="188" y="165"/>
                  </a:lnTo>
                  <a:lnTo>
                    <a:pt x="191" y="165"/>
                  </a:lnTo>
                  <a:lnTo>
                    <a:pt x="191" y="165"/>
                  </a:lnTo>
                  <a:lnTo>
                    <a:pt x="191" y="162"/>
                  </a:lnTo>
                  <a:lnTo>
                    <a:pt x="188" y="162"/>
                  </a:lnTo>
                  <a:lnTo>
                    <a:pt x="188" y="162"/>
                  </a:lnTo>
                  <a:close/>
                  <a:moveTo>
                    <a:pt x="199" y="162"/>
                  </a:moveTo>
                  <a:lnTo>
                    <a:pt x="199" y="162"/>
                  </a:lnTo>
                  <a:lnTo>
                    <a:pt x="201" y="160"/>
                  </a:lnTo>
                  <a:lnTo>
                    <a:pt x="199" y="160"/>
                  </a:lnTo>
                  <a:lnTo>
                    <a:pt x="199" y="160"/>
                  </a:lnTo>
                  <a:lnTo>
                    <a:pt x="199" y="162"/>
                  </a:lnTo>
                  <a:lnTo>
                    <a:pt x="199" y="162"/>
                  </a:lnTo>
                  <a:lnTo>
                    <a:pt x="199" y="162"/>
                  </a:lnTo>
                  <a:close/>
                  <a:moveTo>
                    <a:pt x="577" y="179"/>
                  </a:moveTo>
                  <a:lnTo>
                    <a:pt x="579" y="175"/>
                  </a:lnTo>
                  <a:lnTo>
                    <a:pt x="577" y="175"/>
                  </a:lnTo>
                  <a:lnTo>
                    <a:pt x="577" y="173"/>
                  </a:lnTo>
                  <a:lnTo>
                    <a:pt x="574" y="171"/>
                  </a:lnTo>
                  <a:lnTo>
                    <a:pt x="574" y="171"/>
                  </a:lnTo>
                  <a:lnTo>
                    <a:pt x="574" y="171"/>
                  </a:lnTo>
                  <a:lnTo>
                    <a:pt x="574" y="169"/>
                  </a:lnTo>
                  <a:lnTo>
                    <a:pt x="572" y="167"/>
                  </a:lnTo>
                  <a:lnTo>
                    <a:pt x="570" y="165"/>
                  </a:lnTo>
                  <a:lnTo>
                    <a:pt x="568" y="165"/>
                  </a:lnTo>
                  <a:lnTo>
                    <a:pt x="566" y="165"/>
                  </a:lnTo>
                  <a:lnTo>
                    <a:pt x="564" y="165"/>
                  </a:lnTo>
                  <a:lnTo>
                    <a:pt x="560" y="162"/>
                  </a:lnTo>
                  <a:lnTo>
                    <a:pt x="558" y="160"/>
                  </a:lnTo>
                  <a:lnTo>
                    <a:pt x="556" y="160"/>
                  </a:lnTo>
                  <a:lnTo>
                    <a:pt x="556" y="160"/>
                  </a:lnTo>
                  <a:lnTo>
                    <a:pt x="556" y="160"/>
                  </a:lnTo>
                  <a:lnTo>
                    <a:pt x="554" y="160"/>
                  </a:lnTo>
                  <a:lnTo>
                    <a:pt x="552" y="162"/>
                  </a:lnTo>
                  <a:lnTo>
                    <a:pt x="550" y="162"/>
                  </a:lnTo>
                  <a:lnTo>
                    <a:pt x="550" y="162"/>
                  </a:lnTo>
                  <a:lnTo>
                    <a:pt x="550" y="162"/>
                  </a:lnTo>
                  <a:lnTo>
                    <a:pt x="550" y="160"/>
                  </a:lnTo>
                  <a:lnTo>
                    <a:pt x="548" y="160"/>
                  </a:lnTo>
                  <a:lnTo>
                    <a:pt x="546" y="160"/>
                  </a:lnTo>
                  <a:lnTo>
                    <a:pt x="544" y="162"/>
                  </a:lnTo>
                  <a:lnTo>
                    <a:pt x="542" y="160"/>
                  </a:lnTo>
                  <a:lnTo>
                    <a:pt x="535" y="162"/>
                  </a:lnTo>
                  <a:lnTo>
                    <a:pt x="533" y="162"/>
                  </a:lnTo>
                  <a:lnTo>
                    <a:pt x="529" y="169"/>
                  </a:lnTo>
                  <a:lnTo>
                    <a:pt x="529" y="169"/>
                  </a:lnTo>
                  <a:lnTo>
                    <a:pt x="531" y="171"/>
                  </a:lnTo>
                  <a:lnTo>
                    <a:pt x="531" y="171"/>
                  </a:lnTo>
                  <a:lnTo>
                    <a:pt x="529" y="173"/>
                  </a:lnTo>
                  <a:lnTo>
                    <a:pt x="529" y="173"/>
                  </a:lnTo>
                  <a:lnTo>
                    <a:pt x="531" y="173"/>
                  </a:lnTo>
                  <a:lnTo>
                    <a:pt x="531" y="171"/>
                  </a:lnTo>
                  <a:lnTo>
                    <a:pt x="531" y="171"/>
                  </a:lnTo>
                  <a:lnTo>
                    <a:pt x="533" y="169"/>
                  </a:lnTo>
                  <a:lnTo>
                    <a:pt x="533" y="167"/>
                  </a:lnTo>
                  <a:lnTo>
                    <a:pt x="533" y="167"/>
                  </a:lnTo>
                  <a:lnTo>
                    <a:pt x="535" y="167"/>
                  </a:lnTo>
                  <a:lnTo>
                    <a:pt x="535" y="169"/>
                  </a:lnTo>
                  <a:lnTo>
                    <a:pt x="535" y="169"/>
                  </a:lnTo>
                  <a:lnTo>
                    <a:pt x="537" y="173"/>
                  </a:lnTo>
                  <a:lnTo>
                    <a:pt x="540" y="173"/>
                  </a:lnTo>
                  <a:lnTo>
                    <a:pt x="540" y="173"/>
                  </a:lnTo>
                  <a:lnTo>
                    <a:pt x="542" y="173"/>
                  </a:lnTo>
                  <a:lnTo>
                    <a:pt x="542" y="171"/>
                  </a:lnTo>
                  <a:lnTo>
                    <a:pt x="544" y="169"/>
                  </a:lnTo>
                  <a:lnTo>
                    <a:pt x="544" y="169"/>
                  </a:lnTo>
                  <a:lnTo>
                    <a:pt x="546" y="169"/>
                  </a:lnTo>
                  <a:lnTo>
                    <a:pt x="546" y="169"/>
                  </a:lnTo>
                  <a:lnTo>
                    <a:pt x="548" y="169"/>
                  </a:lnTo>
                  <a:lnTo>
                    <a:pt x="548" y="169"/>
                  </a:lnTo>
                  <a:lnTo>
                    <a:pt x="548" y="171"/>
                  </a:lnTo>
                  <a:lnTo>
                    <a:pt x="548" y="171"/>
                  </a:lnTo>
                  <a:lnTo>
                    <a:pt x="550" y="171"/>
                  </a:lnTo>
                  <a:lnTo>
                    <a:pt x="552" y="171"/>
                  </a:lnTo>
                  <a:lnTo>
                    <a:pt x="554" y="171"/>
                  </a:lnTo>
                  <a:lnTo>
                    <a:pt x="556" y="173"/>
                  </a:lnTo>
                  <a:lnTo>
                    <a:pt x="556" y="173"/>
                  </a:lnTo>
                  <a:lnTo>
                    <a:pt x="556" y="171"/>
                  </a:lnTo>
                  <a:lnTo>
                    <a:pt x="556" y="171"/>
                  </a:lnTo>
                  <a:lnTo>
                    <a:pt x="556" y="171"/>
                  </a:lnTo>
                  <a:lnTo>
                    <a:pt x="558" y="171"/>
                  </a:lnTo>
                  <a:lnTo>
                    <a:pt x="562" y="171"/>
                  </a:lnTo>
                  <a:lnTo>
                    <a:pt x="562" y="171"/>
                  </a:lnTo>
                  <a:lnTo>
                    <a:pt x="564" y="173"/>
                  </a:lnTo>
                  <a:lnTo>
                    <a:pt x="564" y="173"/>
                  </a:lnTo>
                  <a:lnTo>
                    <a:pt x="568" y="175"/>
                  </a:lnTo>
                  <a:lnTo>
                    <a:pt x="570" y="175"/>
                  </a:lnTo>
                  <a:lnTo>
                    <a:pt x="572" y="179"/>
                  </a:lnTo>
                  <a:lnTo>
                    <a:pt x="577" y="179"/>
                  </a:lnTo>
                  <a:close/>
                  <a:moveTo>
                    <a:pt x="82" y="160"/>
                  </a:moveTo>
                  <a:lnTo>
                    <a:pt x="82" y="160"/>
                  </a:lnTo>
                  <a:lnTo>
                    <a:pt x="82" y="160"/>
                  </a:lnTo>
                  <a:lnTo>
                    <a:pt x="82" y="165"/>
                  </a:lnTo>
                  <a:lnTo>
                    <a:pt x="82" y="165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9"/>
                  </a:lnTo>
                  <a:lnTo>
                    <a:pt x="86" y="171"/>
                  </a:lnTo>
                  <a:lnTo>
                    <a:pt x="86" y="167"/>
                  </a:lnTo>
                  <a:lnTo>
                    <a:pt x="86" y="167"/>
                  </a:lnTo>
                  <a:lnTo>
                    <a:pt x="86" y="167"/>
                  </a:lnTo>
                  <a:lnTo>
                    <a:pt x="86" y="165"/>
                  </a:lnTo>
                  <a:lnTo>
                    <a:pt x="86" y="165"/>
                  </a:lnTo>
                  <a:lnTo>
                    <a:pt x="82" y="160"/>
                  </a:lnTo>
                  <a:close/>
                  <a:moveTo>
                    <a:pt x="201" y="162"/>
                  </a:moveTo>
                  <a:lnTo>
                    <a:pt x="201" y="165"/>
                  </a:lnTo>
                  <a:lnTo>
                    <a:pt x="201" y="165"/>
                  </a:lnTo>
                  <a:lnTo>
                    <a:pt x="203" y="167"/>
                  </a:lnTo>
                  <a:lnTo>
                    <a:pt x="201" y="169"/>
                  </a:lnTo>
                  <a:lnTo>
                    <a:pt x="203" y="169"/>
                  </a:lnTo>
                  <a:lnTo>
                    <a:pt x="205" y="167"/>
                  </a:lnTo>
                  <a:lnTo>
                    <a:pt x="205" y="167"/>
                  </a:lnTo>
                  <a:lnTo>
                    <a:pt x="205" y="167"/>
                  </a:lnTo>
                  <a:lnTo>
                    <a:pt x="207" y="167"/>
                  </a:lnTo>
                  <a:lnTo>
                    <a:pt x="207" y="167"/>
                  </a:lnTo>
                  <a:lnTo>
                    <a:pt x="207" y="169"/>
                  </a:lnTo>
                  <a:lnTo>
                    <a:pt x="209" y="169"/>
                  </a:lnTo>
                  <a:lnTo>
                    <a:pt x="209" y="169"/>
                  </a:lnTo>
                  <a:lnTo>
                    <a:pt x="211" y="167"/>
                  </a:lnTo>
                  <a:lnTo>
                    <a:pt x="211" y="167"/>
                  </a:lnTo>
                  <a:lnTo>
                    <a:pt x="211" y="165"/>
                  </a:lnTo>
                  <a:lnTo>
                    <a:pt x="213" y="160"/>
                  </a:lnTo>
                  <a:lnTo>
                    <a:pt x="211" y="158"/>
                  </a:lnTo>
                  <a:lnTo>
                    <a:pt x="209" y="156"/>
                  </a:lnTo>
                  <a:lnTo>
                    <a:pt x="207" y="156"/>
                  </a:lnTo>
                  <a:lnTo>
                    <a:pt x="205" y="156"/>
                  </a:lnTo>
                  <a:lnTo>
                    <a:pt x="203" y="156"/>
                  </a:lnTo>
                  <a:lnTo>
                    <a:pt x="203" y="158"/>
                  </a:lnTo>
                  <a:lnTo>
                    <a:pt x="201" y="160"/>
                  </a:lnTo>
                  <a:lnTo>
                    <a:pt x="201" y="162"/>
                  </a:lnTo>
                  <a:lnTo>
                    <a:pt x="201" y="162"/>
                  </a:lnTo>
                  <a:lnTo>
                    <a:pt x="201" y="162"/>
                  </a:lnTo>
                  <a:close/>
                  <a:moveTo>
                    <a:pt x="82" y="158"/>
                  </a:moveTo>
                  <a:lnTo>
                    <a:pt x="80" y="154"/>
                  </a:lnTo>
                  <a:lnTo>
                    <a:pt x="78" y="156"/>
                  </a:lnTo>
                  <a:lnTo>
                    <a:pt x="78" y="156"/>
                  </a:lnTo>
                  <a:lnTo>
                    <a:pt x="78" y="156"/>
                  </a:lnTo>
                  <a:lnTo>
                    <a:pt x="78" y="158"/>
                  </a:lnTo>
                  <a:lnTo>
                    <a:pt x="78" y="160"/>
                  </a:lnTo>
                  <a:lnTo>
                    <a:pt x="80" y="160"/>
                  </a:lnTo>
                  <a:lnTo>
                    <a:pt x="82" y="160"/>
                  </a:lnTo>
                  <a:lnTo>
                    <a:pt x="82" y="160"/>
                  </a:lnTo>
                  <a:lnTo>
                    <a:pt x="82" y="158"/>
                  </a:lnTo>
                  <a:close/>
                  <a:moveTo>
                    <a:pt x="636" y="148"/>
                  </a:moveTo>
                  <a:lnTo>
                    <a:pt x="636" y="146"/>
                  </a:lnTo>
                  <a:lnTo>
                    <a:pt x="636" y="146"/>
                  </a:lnTo>
                  <a:lnTo>
                    <a:pt x="636" y="146"/>
                  </a:lnTo>
                  <a:lnTo>
                    <a:pt x="636" y="146"/>
                  </a:lnTo>
                  <a:lnTo>
                    <a:pt x="634" y="148"/>
                  </a:lnTo>
                  <a:lnTo>
                    <a:pt x="634" y="148"/>
                  </a:lnTo>
                  <a:lnTo>
                    <a:pt x="636" y="148"/>
                  </a:lnTo>
                  <a:close/>
                  <a:moveTo>
                    <a:pt x="76" y="150"/>
                  </a:moveTo>
                  <a:lnTo>
                    <a:pt x="76" y="148"/>
                  </a:lnTo>
                  <a:lnTo>
                    <a:pt x="73" y="146"/>
                  </a:lnTo>
                  <a:lnTo>
                    <a:pt x="73" y="146"/>
                  </a:lnTo>
                  <a:lnTo>
                    <a:pt x="71" y="146"/>
                  </a:lnTo>
                  <a:lnTo>
                    <a:pt x="71" y="146"/>
                  </a:lnTo>
                  <a:lnTo>
                    <a:pt x="71" y="148"/>
                  </a:lnTo>
                  <a:lnTo>
                    <a:pt x="71" y="148"/>
                  </a:lnTo>
                  <a:lnTo>
                    <a:pt x="73" y="150"/>
                  </a:lnTo>
                  <a:lnTo>
                    <a:pt x="73" y="150"/>
                  </a:lnTo>
                  <a:lnTo>
                    <a:pt x="76" y="152"/>
                  </a:lnTo>
                  <a:lnTo>
                    <a:pt x="76" y="152"/>
                  </a:lnTo>
                  <a:lnTo>
                    <a:pt x="76" y="150"/>
                  </a:lnTo>
                  <a:close/>
                  <a:moveTo>
                    <a:pt x="498" y="146"/>
                  </a:moveTo>
                  <a:lnTo>
                    <a:pt x="498" y="146"/>
                  </a:lnTo>
                  <a:lnTo>
                    <a:pt x="498" y="146"/>
                  </a:lnTo>
                  <a:lnTo>
                    <a:pt x="498" y="148"/>
                  </a:lnTo>
                  <a:lnTo>
                    <a:pt x="498" y="150"/>
                  </a:lnTo>
                  <a:lnTo>
                    <a:pt x="498" y="150"/>
                  </a:lnTo>
                  <a:lnTo>
                    <a:pt x="498" y="154"/>
                  </a:lnTo>
                  <a:lnTo>
                    <a:pt x="501" y="154"/>
                  </a:lnTo>
                  <a:lnTo>
                    <a:pt x="501" y="154"/>
                  </a:lnTo>
                  <a:lnTo>
                    <a:pt x="501" y="152"/>
                  </a:lnTo>
                  <a:lnTo>
                    <a:pt x="498" y="148"/>
                  </a:lnTo>
                  <a:lnTo>
                    <a:pt x="501" y="146"/>
                  </a:lnTo>
                  <a:lnTo>
                    <a:pt x="498" y="146"/>
                  </a:lnTo>
                  <a:close/>
                  <a:moveTo>
                    <a:pt x="464" y="144"/>
                  </a:moveTo>
                  <a:lnTo>
                    <a:pt x="464" y="144"/>
                  </a:lnTo>
                  <a:lnTo>
                    <a:pt x="464" y="146"/>
                  </a:lnTo>
                  <a:lnTo>
                    <a:pt x="466" y="146"/>
                  </a:lnTo>
                  <a:lnTo>
                    <a:pt x="466" y="144"/>
                  </a:lnTo>
                  <a:lnTo>
                    <a:pt x="464" y="144"/>
                  </a:lnTo>
                  <a:close/>
                  <a:moveTo>
                    <a:pt x="496" y="144"/>
                  </a:moveTo>
                  <a:lnTo>
                    <a:pt x="498" y="144"/>
                  </a:lnTo>
                  <a:lnTo>
                    <a:pt x="505" y="144"/>
                  </a:lnTo>
                  <a:lnTo>
                    <a:pt x="505" y="142"/>
                  </a:lnTo>
                  <a:lnTo>
                    <a:pt x="501" y="142"/>
                  </a:lnTo>
                  <a:lnTo>
                    <a:pt x="496" y="142"/>
                  </a:lnTo>
                  <a:lnTo>
                    <a:pt x="492" y="142"/>
                  </a:lnTo>
                  <a:lnTo>
                    <a:pt x="490" y="142"/>
                  </a:lnTo>
                  <a:lnTo>
                    <a:pt x="490" y="142"/>
                  </a:lnTo>
                  <a:lnTo>
                    <a:pt x="490" y="144"/>
                  </a:lnTo>
                  <a:lnTo>
                    <a:pt x="490" y="144"/>
                  </a:lnTo>
                  <a:lnTo>
                    <a:pt x="492" y="144"/>
                  </a:lnTo>
                  <a:lnTo>
                    <a:pt x="496" y="144"/>
                  </a:lnTo>
                  <a:close/>
                  <a:moveTo>
                    <a:pt x="453" y="142"/>
                  </a:moveTo>
                  <a:lnTo>
                    <a:pt x="453" y="142"/>
                  </a:lnTo>
                  <a:lnTo>
                    <a:pt x="453" y="142"/>
                  </a:lnTo>
                  <a:lnTo>
                    <a:pt x="453" y="144"/>
                  </a:lnTo>
                  <a:lnTo>
                    <a:pt x="453" y="144"/>
                  </a:lnTo>
                  <a:lnTo>
                    <a:pt x="453" y="142"/>
                  </a:lnTo>
                  <a:lnTo>
                    <a:pt x="453" y="142"/>
                  </a:lnTo>
                  <a:close/>
                  <a:moveTo>
                    <a:pt x="562" y="146"/>
                  </a:moveTo>
                  <a:lnTo>
                    <a:pt x="566" y="146"/>
                  </a:lnTo>
                  <a:lnTo>
                    <a:pt x="566" y="146"/>
                  </a:lnTo>
                  <a:lnTo>
                    <a:pt x="568" y="146"/>
                  </a:lnTo>
                  <a:lnTo>
                    <a:pt x="568" y="146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2" y="146"/>
                  </a:lnTo>
                  <a:lnTo>
                    <a:pt x="570" y="144"/>
                  </a:lnTo>
                  <a:lnTo>
                    <a:pt x="570" y="144"/>
                  </a:lnTo>
                  <a:lnTo>
                    <a:pt x="570" y="144"/>
                  </a:lnTo>
                  <a:lnTo>
                    <a:pt x="572" y="142"/>
                  </a:lnTo>
                  <a:lnTo>
                    <a:pt x="570" y="142"/>
                  </a:lnTo>
                  <a:lnTo>
                    <a:pt x="570" y="140"/>
                  </a:lnTo>
                  <a:lnTo>
                    <a:pt x="570" y="140"/>
                  </a:lnTo>
                  <a:lnTo>
                    <a:pt x="568" y="140"/>
                  </a:lnTo>
                  <a:lnTo>
                    <a:pt x="566" y="140"/>
                  </a:lnTo>
                  <a:lnTo>
                    <a:pt x="564" y="142"/>
                  </a:lnTo>
                  <a:lnTo>
                    <a:pt x="560" y="144"/>
                  </a:lnTo>
                  <a:lnTo>
                    <a:pt x="560" y="144"/>
                  </a:lnTo>
                  <a:lnTo>
                    <a:pt x="562" y="146"/>
                  </a:lnTo>
                  <a:close/>
                  <a:moveTo>
                    <a:pt x="488" y="142"/>
                  </a:moveTo>
                  <a:lnTo>
                    <a:pt x="486" y="142"/>
                  </a:lnTo>
                  <a:lnTo>
                    <a:pt x="486" y="140"/>
                  </a:lnTo>
                  <a:lnTo>
                    <a:pt x="486" y="140"/>
                  </a:lnTo>
                  <a:lnTo>
                    <a:pt x="486" y="140"/>
                  </a:lnTo>
                  <a:lnTo>
                    <a:pt x="486" y="142"/>
                  </a:lnTo>
                  <a:lnTo>
                    <a:pt x="484" y="142"/>
                  </a:lnTo>
                  <a:lnTo>
                    <a:pt x="484" y="140"/>
                  </a:lnTo>
                  <a:lnTo>
                    <a:pt x="478" y="140"/>
                  </a:lnTo>
                  <a:lnTo>
                    <a:pt x="476" y="140"/>
                  </a:lnTo>
                  <a:lnTo>
                    <a:pt x="474" y="140"/>
                  </a:lnTo>
                  <a:lnTo>
                    <a:pt x="474" y="140"/>
                  </a:lnTo>
                  <a:lnTo>
                    <a:pt x="474" y="144"/>
                  </a:lnTo>
                  <a:lnTo>
                    <a:pt x="474" y="146"/>
                  </a:lnTo>
                  <a:lnTo>
                    <a:pt x="476" y="146"/>
                  </a:lnTo>
                  <a:lnTo>
                    <a:pt x="478" y="146"/>
                  </a:lnTo>
                  <a:lnTo>
                    <a:pt x="482" y="144"/>
                  </a:lnTo>
                  <a:lnTo>
                    <a:pt x="484" y="144"/>
                  </a:lnTo>
                  <a:lnTo>
                    <a:pt x="486" y="144"/>
                  </a:lnTo>
                  <a:lnTo>
                    <a:pt x="488" y="144"/>
                  </a:lnTo>
                  <a:lnTo>
                    <a:pt x="488" y="142"/>
                  </a:lnTo>
                  <a:lnTo>
                    <a:pt x="488" y="142"/>
                  </a:lnTo>
                  <a:lnTo>
                    <a:pt x="488" y="142"/>
                  </a:lnTo>
                  <a:close/>
                  <a:moveTo>
                    <a:pt x="665" y="140"/>
                  </a:moveTo>
                  <a:lnTo>
                    <a:pt x="661" y="140"/>
                  </a:lnTo>
                  <a:lnTo>
                    <a:pt x="661" y="140"/>
                  </a:lnTo>
                  <a:lnTo>
                    <a:pt x="655" y="138"/>
                  </a:lnTo>
                  <a:lnTo>
                    <a:pt x="652" y="138"/>
                  </a:lnTo>
                  <a:lnTo>
                    <a:pt x="655" y="140"/>
                  </a:lnTo>
                  <a:lnTo>
                    <a:pt x="661" y="142"/>
                  </a:lnTo>
                  <a:lnTo>
                    <a:pt x="663" y="142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7" y="144"/>
                  </a:lnTo>
                  <a:lnTo>
                    <a:pt x="669" y="144"/>
                  </a:lnTo>
                  <a:lnTo>
                    <a:pt x="673" y="144"/>
                  </a:lnTo>
                  <a:lnTo>
                    <a:pt x="673" y="142"/>
                  </a:lnTo>
                  <a:lnTo>
                    <a:pt x="677" y="142"/>
                  </a:lnTo>
                  <a:lnTo>
                    <a:pt x="675" y="142"/>
                  </a:lnTo>
                  <a:lnTo>
                    <a:pt x="673" y="142"/>
                  </a:lnTo>
                  <a:lnTo>
                    <a:pt x="669" y="140"/>
                  </a:lnTo>
                  <a:lnTo>
                    <a:pt x="665" y="140"/>
                  </a:lnTo>
                  <a:close/>
                  <a:moveTo>
                    <a:pt x="221" y="140"/>
                  </a:moveTo>
                  <a:lnTo>
                    <a:pt x="223" y="138"/>
                  </a:lnTo>
                  <a:lnTo>
                    <a:pt x="223" y="138"/>
                  </a:lnTo>
                  <a:lnTo>
                    <a:pt x="223" y="138"/>
                  </a:lnTo>
                  <a:lnTo>
                    <a:pt x="221" y="138"/>
                  </a:lnTo>
                  <a:lnTo>
                    <a:pt x="221" y="140"/>
                  </a:lnTo>
                  <a:close/>
                  <a:moveTo>
                    <a:pt x="164" y="148"/>
                  </a:moveTo>
                  <a:lnTo>
                    <a:pt x="166" y="148"/>
                  </a:lnTo>
                  <a:lnTo>
                    <a:pt x="168" y="148"/>
                  </a:lnTo>
                  <a:lnTo>
                    <a:pt x="170" y="148"/>
                  </a:lnTo>
                  <a:lnTo>
                    <a:pt x="172" y="148"/>
                  </a:lnTo>
                  <a:lnTo>
                    <a:pt x="172" y="150"/>
                  </a:lnTo>
                  <a:lnTo>
                    <a:pt x="172" y="152"/>
                  </a:lnTo>
                  <a:lnTo>
                    <a:pt x="174" y="154"/>
                  </a:lnTo>
                  <a:lnTo>
                    <a:pt x="174" y="154"/>
                  </a:lnTo>
                  <a:lnTo>
                    <a:pt x="174" y="154"/>
                  </a:lnTo>
                  <a:lnTo>
                    <a:pt x="174" y="158"/>
                  </a:lnTo>
                  <a:lnTo>
                    <a:pt x="174" y="160"/>
                  </a:lnTo>
                  <a:lnTo>
                    <a:pt x="176" y="160"/>
                  </a:lnTo>
                  <a:lnTo>
                    <a:pt x="178" y="162"/>
                  </a:lnTo>
                  <a:lnTo>
                    <a:pt x="180" y="162"/>
                  </a:lnTo>
                  <a:lnTo>
                    <a:pt x="180" y="162"/>
                  </a:lnTo>
                  <a:lnTo>
                    <a:pt x="182" y="165"/>
                  </a:lnTo>
                  <a:lnTo>
                    <a:pt x="182" y="165"/>
                  </a:lnTo>
                  <a:lnTo>
                    <a:pt x="184" y="165"/>
                  </a:lnTo>
                  <a:lnTo>
                    <a:pt x="184" y="165"/>
                  </a:lnTo>
                  <a:lnTo>
                    <a:pt x="186" y="165"/>
                  </a:lnTo>
                  <a:lnTo>
                    <a:pt x="186" y="165"/>
                  </a:lnTo>
                  <a:lnTo>
                    <a:pt x="186" y="165"/>
                  </a:lnTo>
                  <a:lnTo>
                    <a:pt x="186" y="162"/>
                  </a:lnTo>
                  <a:lnTo>
                    <a:pt x="186" y="162"/>
                  </a:lnTo>
                  <a:lnTo>
                    <a:pt x="186" y="158"/>
                  </a:lnTo>
                  <a:lnTo>
                    <a:pt x="186" y="158"/>
                  </a:lnTo>
                  <a:lnTo>
                    <a:pt x="188" y="156"/>
                  </a:lnTo>
                  <a:lnTo>
                    <a:pt x="188" y="156"/>
                  </a:lnTo>
                  <a:lnTo>
                    <a:pt x="182" y="154"/>
                  </a:lnTo>
                  <a:lnTo>
                    <a:pt x="180" y="150"/>
                  </a:lnTo>
                  <a:lnTo>
                    <a:pt x="178" y="144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6" y="140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4" y="136"/>
                  </a:lnTo>
                  <a:lnTo>
                    <a:pt x="174" y="136"/>
                  </a:lnTo>
                  <a:lnTo>
                    <a:pt x="172" y="138"/>
                  </a:lnTo>
                  <a:lnTo>
                    <a:pt x="172" y="140"/>
                  </a:lnTo>
                  <a:lnTo>
                    <a:pt x="172" y="140"/>
                  </a:lnTo>
                  <a:lnTo>
                    <a:pt x="170" y="140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68" y="138"/>
                  </a:lnTo>
                  <a:lnTo>
                    <a:pt x="166" y="138"/>
                  </a:lnTo>
                  <a:lnTo>
                    <a:pt x="166" y="140"/>
                  </a:lnTo>
                  <a:lnTo>
                    <a:pt x="166" y="140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4"/>
                  </a:lnTo>
                  <a:lnTo>
                    <a:pt x="164" y="144"/>
                  </a:lnTo>
                  <a:lnTo>
                    <a:pt x="162" y="146"/>
                  </a:lnTo>
                  <a:lnTo>
                    <a:pt x="162" y="146"/>
                  </a:lnTo>
                  <a:lnTo>
                    <a:pt x="164" y="148"/>
                  </a:lnTo>
                  <a:lnTo>
                    <a:pt x="164" y="148"/>
                  </a:lnTo>
                  <a:close/>
                  <a:moveTo>
                    <a:pt x="462" y="140"/>
                  </a:moveTo>
                  <a:lnTo>
                    <a:pt x="462" y="140"/>
                  </a:lnTo>
                  <a:lnTo>
                    <a:pt x="462" y="138"/>
                  </a:lnTo>
                  <a:lnTo>
                    <a:pt x="462" y="138"/>
                  </a:lnTo>
                  <a:lnTo>
                    <a:pt x="459" y="136"/>
                  </a:lnTo>
                  <a:lnTo>
                    <a:pt x="459" y="136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59" y="140"/>
                  </a:lnTo>
                  <a:lnTo>
                    <a:pt x="462" y="140"/>
                  </a:lnTo>
                  <a:close/>
                  <a:moveTo>
                    <a:pt x="525" y="140"/>
                  </a:moveTo>
                  <a:lnTo>
                    <a:pt x="529" y="140"/>
                  </a:lnTo>
                  <a:lnTo>
                    <a:pt x="531" y="140"/>
                  </a:lnTo>
                  <a:lnTo>
                    <a:pt x="533" y="140"/>
                  </a:lnTo>
                  <a:lnTo>
                    <a:pt x="533" y="140"/>
                  </a:lnTo>
                  <a:lnTo>
                    <a:pt x="535" y="140"/>
                  </a:lnTo>
                  <a:lnTo>
                    <a:pt x="535" y="138"/>
                  </a:lnTo>
                  <a:lnTo>
                    <a:pt x="533" y="138"/>
                  </a:lnTo>
                  <a:lnTo>
                    <a:pt x="531" y="136"/>
                  </a:lnTo>
                  <a:lnTo>
                    <a:pt x="529" y="134"/>
                  </a:lnTo>
                  <a:lnTo>
                    <a:pt x="527" y="134"/>
                  </a:lnTo>
                  <a:lnTo>
                    <a:pt x="525" y="134"/>
                  </a:lnTo>
                  <a:lnTo>
                    <a:pt x="523" y="136"/>
                  </a:lnTo>
                  <a:lnTo>
                    <a:pt x="523" y="138"/>
                  </a:lnTo>
                  <a:lnTo>
                    <a:pt x="523" y="140"/>
                  </a:lnTo>
                  <a:lnTo>
                    <a:pt x="523" y="140"/>
                  </a:lnTo>
                  <a:lnTo>
                    <a:pt x="525" y="140"/>
                  </a:lnTo>
                  <a:close/>
                  <a:moveTo>
                    <a:pt x="459" y="134"/>
                  </a:moveTo>
                  <a:lnTo>
                    <a:pt x="459" y="134"/>
                  </a:lnTo>
                  <a:lnTo>
                    <a:pt x="459" y="132"/>
                  </a:lnTo>
                  <a:lnTo>
                    <a:pt x="459" y="132"/>
                  </a:lnTo>
                  <a:lnTo>
                    <a:pt x="457" y="132"/>
                  </a:lnTo>
                  <a:lnTo>
                    <a:pt x="455" y="134"/>
                  </a:lnTo>
                  <a:lnTo>
                    <a:pt x="455" y="134"/>
                  </a:lnTo>
                  <a:lnTo>
                    <a:pt x="455" y="132"/>
                  </a:lnTo>
                  <a:lnTo>
                    <a:pt x="455" y="130"/>
                  </a:lnTo>
                  <a:lnTo>
                    <a:pt x="453" y="130"/>
                  </a:lnTo>
                  <a:lnTo>
                    <a:pt x="451" y="132"/>
                  </a:lnTo>
                  <a:lnTo>
                    <a:pt x="449" y="132"/>
                  </a:lnTo>
                  <a:lnTo>
                    <a:pt x="449" y="132"/>
                  </a:lnTo>
                  <a:lnTo>
                    <a:pt x="449" y="136"/>
                  </a:lnTo>
                  <a:lnTo>
                    <a:pt x="449" y="138"/>
                  </a:lnTo>
                  <a:lnTo>
                    <a:pt x="449" y="138"/>
                  </a:lnTo>
                  <a:lnTo>
                    <a:pt x="451" y="138"/>
                  </a:lnTo>
                  <a:lnTo>
                    <a:pt x="453" y="134"/>
                  </a:lnTo>
                  <a:lnTo>
                    <a:pt x="453" y="134"/>
                  </a:lnTo>
                  <a:lnTo>
                    <a:pt x="455" y="136"/>
                  </a:lnTo>
                  <a:lnTo>
                    <a:pt x="453" y="138"/>
                  </a:lnTo>
                  <a:lnTo>
                    <a:pt x="453" y="138"/>
                  </a:lnTo>
                  <a:lnTo>
                    <a:pt x="453" y="138"/>
                  </a:lnTo>
                  <a:lnTo>
                    <a:pt x="455" y="138"/>
                  </a:lnTo>
                  <a:lnTo>
                    <a:pt x="455" y="138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7" y="136"/>
                  </a:lnTo>
                  <a:lnTo>
                    <a:pt x="459" y="136"/>
                  </a:lnTo>
                  <a:lnTo>
                    <a:pt x="459" y="136"/>
                  </a:lnTo>
                  <a:lnTo>
                    <a:pt x="459" y="134"/>
                  </a:lnTo>
                  <a:close/>
                  <a:moveTo>
                    <a:pt x="236" y="128"/>
                  </a:moveTo>
                  <a:lnTo>
                    <a:pt x="234" y="128"/>
                  </a:lnTo>
                  <a:lnTo>
                    <a:pt x="232" y="128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4" y="132"/>
                  </a:lnTo>
                  <a:lnTo>
                    <a:pt x="236" y="132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8" y="128"/>
                  </a:lnTo>
                  <a:lnTo>
                    <a:pt x="236" y="128"/>
                  </a:lnTo>
                  <a:lnTo>
                    <a:pt x="236" y="128"/>
                  </a:lnTo>
                  <a:close/>
                  <a:moveTo>
                    <a:pt x="644" y="130"/>
                  </a:moveTo>
                  <a:lnTo>
                    <a:pt x="646" y="130"/>
                  </a:lnTo>
                  <a:lnTo>
                    <a:pt x="646" y="128"/>
                  </a:lnTo>
                  <a:lnTo>
                    <a:pt x="646" y="128"/>
                  </a:lnTo>
                  <a:lnTo>
                    <a:pt x="644" y="128"/>
                  </a:lnTo>
                  <a:lnTo>
                    <a:pt x="644" y="125"/>
                  </a:lnTo>
                  <a:lnTo>
                    <a:pt x="644" y="128"/>
                  </a:lnTo>
                  <a:lnTo>
                    <a:pt x="642" y="128"/>
                  </a:lnTo>
                  <a:lnTo>
                    <a:pt x="644" y="130"/>
                  </a:lnTo>
                  <a:lnTo>
                    <a:pt x="644" y="130"/>
                  </a:lnTo>
                  <a:close/>
                  <a:moveTo>
                    <a:pt x="65" y="138"/>
                  </a:moveTo>
                  <a:lnTo>
                    <a:pt x="65" y="136"/>
                  </a:lnTo>
                  <a:lnTo>
                    <a:pt x="65" y="136"/>
                  </a:lnTo>
                  <a:lnTo>
                    <a:pt x="65" y="134"/>
                  </a:lnTo>
                  <a:lnTo>
                    <a:pt x="65" y="134"/>
                  </a:lnTo>
                  <a:lnTo>
                    <a:pt x="63" y="132"/>
                  </a:lnTo>
                  <a:lnTo>
                    <a:pt x="63" y="128"/>
                  </a:lnTo>
                  <a:lnTo>
                    <a:pt x="61" y="128"/>
                  </a:lnTo>
                  <a:lnTo>
                    <a:pt x="61" y="125"/>
                  </a:lnTo>
                  <a:lnTo>
                    <a:pt x="57" y="128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9" y="138"/>
                  </a:lnTo>
                  <a:lnTo>
                    <a:pt x="59" y="138"/>
                  </a:lnTo>
                  <a:lnTo>
                    <a:pt x="61" y="140"/>
                  </a:lnTo>
                  <a:lnTo>
                    <a:pt x="63" y="142"/>
                  </a:lnTo>
                  <a:lnTo>
                    <a:pt x="65" y="142"/>
                  </a:lnTo>
                  <a:lnTo>
                    <a:pt x="67" y="142"/>
                  </a:lnTo>
                  <a:lnTo>
                    <a:pt x="67" y="140"/>
                  </a:lnTo>
                  <a:lnTo>
                    <a:pt x="65" y="138"/>
                  </a:lnTo>
                  <a:close/>
                  <a:moveTo>
                    <a:pt x="577" y="130"/>
                  </a:moveTo>
                  <a:lnTo>
                    <a:pt x="577" y="130"/>
                  </a:lnTo>
                  <a:lnTo>
                    <a:pt x="579" y="132"/>
                  </a:lnTo>
                  <a:lnTo>
                    <a:pt x="579" y="134"/>
                  </a:lnTo>
                  <a:lnTo>
                    <a:pt x="581" y="134"/>
                  </a:lnTo>
                  <a:lnTo>
                    <a:pt x="581" y="134"/>
                  </a:lnTo>
                  <a:lnTo>
                    <a:pt x="583" y="132"/>
                  </a:lnTo>
                  <a:lnTo>
                    <a:pt x="583" y="128"/>
                  </a:lnTo>
                  <a:lnTo>
                    <a:pt x="583" y="125"/>
                  </a:lnTo>
                  <a:lnTo>
                    <a:pt x="581" y="125"/>
                  </a:lnTo>
                  <a:lnTo>
                    <a:pt x="581" y="125"/>
                  </a:lnTo>
                  <a:lnTo>
                    <a:pt x="577" y="128"/>
                  </a:lnTo>
                  <a:lnTo>
                    <a:pt x="577" y="128"/>
                  </a:lnTo>
                  <a:lnTo>
                    <a:pt x="577" y="128"/>
                  </a:lnTo>
                  <a:lnTo>
                    <a:pt x="577" y="130"/>
                  </a:lnTo>
                  <a:close/>
                  <a:moveTo>
                    <a:pt x="572" y="125"/>
                  </a:moveTo>
                  <a:lnTo>
                    <a:pt x="572" y="125"/>
                  </a:lnTo>
                  <a:lnTo>
                    <a:pt x="579" y="125"/>
                  </a:lnTo>
                  <a:lnTo>
                    <a:pt x="579" y="123"/>
                  </a:lnTo>
                  <a:lnTo>
                    <a:pt x="581" y="123"/>
                  </a:lnTo>
                  <a:lnTo>
                    <a:pt x="579" y="123"/>
                  </a:lnTo>
                  <a:lnTo>
                    <a:pt x="579" y="123"/>
                  </a:lnTo>
                  <a:lnTo>
                    <a:pt x="577" y="123"/>
                  </a:lnTo>
                  <a:lnTo>
                    <a:pt x="574" y="123"/>
                  </a:lnTo>
                  <a:lnTo>
                    <a:pt x="574" y="123"/>
                  </a:lnTo>
                  <a:lnTo>
                    <a:pt x="574" y="123"/>
                  </a:lnTo>
                  <a:lnTo>
                    <a:pt x="574" y="123"/>
                  </a:lnTo>
                  <a:lnTo>
                    <a:pt x="574" y="125"/>
                  </a:lnTo>
                  <a:lnTo>
                    <a:pt x="572" y="123"/>
                  </a:lnTo>
                  <a:lnTo>
                    <a:pt x="572" y="125"/>
                  </a:lnTo>
                  <a:lnTo>
                    <a:pt x="572" y="125"/>
                  </a:lnTo>
                  <a:close/>
                  <a:moveTo>
                    <a:pt x="652" y="123"/>
                  </a:moveTo>
                  <a:lnTo>
                    <a:pt x="655" y="123"/>
                  </a:lnTo>
                  <a:lnTo>
                    <a:pt x="655" y="123"/>
                  </a:lnTo>
                  <a:lnTo>
                    <a:pt x="655" y="123"/>
                  </a:lnTo>
                  <a:lnTo>
                    <a:pt x="657" y="125"/>
                  </a:lnTo>
                  <a:lnTo>
                    <a:pt x="659" y="123"/>
                  </a:lnTo>
                  <a:lnTo>
                    <a:pt x="659" y="128"/>
                  </a:lnTo>
                  <a:lnTo>
                    <a:pt x="659" y="130"/>
                  </a:lnTo>
                  <a:lnTo>
                    <a:pt x="661" y="132"/>
                  </a:lnTo>
                  <a:lnTo>
                    <a:pt x="663" y="130"/>
                  </a:lnTo>
                  <a:lnTo>
                    <a:pt x="665" y="132"/>
                  </a:lnTo>
                  <a:lnTo>
                    <a:pt x="665" y="132"/>
                  </a:lnTo>
                  <a:lnTo>
                    <a:pt x="667" y="132"/>
                  </a:lnTo>
                  <a:lnTo>
                    <a:pt x="669" y="130"/>
                  </a:lnTo>
                  <a:lnTo>
                    <a:pt x="667" y="130"/>
                  </a:lnTo>
                  <a:lnTo>
                    <a:pt x="665" y="128"/>
                  </a:lnTo>
                  <a:lnTo>
                    <a:pt x="663" y="125"/>
                  </a:lnTo>
                  <a:lnTo>
                    <a:pt x="661" y="123"/>
                  </a:lnTo>
                  <a:lnTo>
                    <a:pt x="661" y="121"/>
                  </a:lnTo>
                  <a:lnTo>
                    <a:pt x="659" y="123"/>
                  </a:lnTo>
                  <a:lnTo>
                    <a:pt x="657" y="121"/>
                  </a:lnTo>
                  <a:lnTo>
                    <a:pt x="657" y="121"/>
                  </a:lnTo>
                  <a:lnTo>
                    <a:pt x="652" y="121"/>
                  </a:lnTo>
                  <a:lnTo>
                    <a:pt x="652" y="121"/>
                  </a:lnTo>
                  <a:lnTo>
                    <a:pt x="652" y="123"/>
                  </a:lnTo>
                  <a:close/>
                  <a:moveTo>
                    <a:pt x="519" y="121"/>
                  </a:moveTo>
                  <a:lnTo>
                    <a:pt x="519" y="123"/>
                  </a:lnTo>
                  <a:lnTo>
                    <a:pt x="519" y="123"/>
                  </a:lnTo>
                  <a:lnTo>
                    <a:pt x="521" y="123"/>
                  </a:lnTo>
                  <a:lnTo>
                    <a:pt x="521" y="123"/>
                  </a:lnTo>
                  <a:lnTo>
                    <a:pt x="521" y="123"/>
                  </a:lnTo>
                  <a:lnTo>
                    <a:pt x="521" y="121"/>
                  </a:lnTo>
                  <a:lnTo>
                    <a:pt x="519" y="121"/>
                  </a:lnTo>
                  <a:close/>
                  <a:moveTo>
                    <a:pt x="574" y="119"/>
                  </a:moveTo>
                  <a:lnTo>
                    <a:pt x="577" y="117"/>
                  </a:lnTo>
                  <a:lnTo>
                    <a:pt x="577" y="117"/>
                  </a:lnTo>
                  <a:lnTo>
                    <a:pt x="574" y="117"/>
                  </a:lnTo>
                  <a:lnTo>
                    <a:pt x="574" y="117"/>
                  </a:lnTo>
                  <a:lnTo>
                    <a:pt x="574" y="117"/>
                  </a:lnTo>
                  <a:lnTo>
                    <a:pt x="574" y="117"/>
                  </a:lnTo>
                  <a:lnTo>
                    <a:pt x="572" y="117"/>
                  </a:lnTo>
                  <a:lnTo>
                    <a:pt x="574" y="119"/>
                  </a:lnTo>
                  <a:lnTo>
                    <a:pt x="574" y="119"/>
                  </a:lnTo>
                  <a:close/>
                  <a:moveTo>
                    <a:pt x="431" y="117"/>
                  </a:moveTo>
                  <a:lnTo>
                    <a:pt x="431" y="117"/>
                  </a:lnTo>
                  <a:lnTo>
                    <a:pt x="431" y="119"/>
                  </a:lnTo>
                  <a:lnTo>
                    <a:pt x="431" y="119"/>
                  </a:lnTo>
                  <a:lnTo>
                    <a:pt x="431" y="117"/>
                  </a:lnTo>
                  <a:lnTo>
                    <a:pt x="431" y="117"/>
                  </a:lnTo>
                  <a:lnTo>
                    <a:pt x="433" y="117"/>
                  </a:lnTo>
                  <a:lnTo>
                    <a:pt x="433" y="119"/>
                  </a:lnTo>
                  <a:lnTo>
                    <a:pt x="435" y="117"/>
                  </a:lnTo>
                  <a:lnTo>
                    <a:pt x="433" y="117"/>
                  </a:lnTo>
                  <a:lnTo>
                    <a:pt x="433" y="117"/>
                  </a:lnTo>
                  <a:lnTo>
                    <a:pt x="431" y="117"/>
                  </a:lnTo>
                  <a:close/>
                  <a:moveTo>
                    <a:pt x="739" y="156"/>
                  </a:moveTo>
                  <a:lnTo>
                    <a:pt x="739" y="154"/>
                  </a:lnTo>
                  <a:lnTo>
                    <a:pt x="737" y="154"/>
                  </a:lnTo>
                  <a:lnTo>
                    <a:pt x="737" y="154"/>
                  </a:lnTo>
                  <a:lnTo>
                    <a:pt x="730" y="154"/>
                  </a:lnTo>
                  <a:lnTo>
                    <a:pt x="730" y="154"/>
                  </a:lnTo>
                  <a:lnTo>
                    <a:pt x="730" y="152"/>
                  </a:lnTo>
                  <a:lnTo>
                    <a:pt x="728" y="152"/>
                  </a:lnTo>
                  <a:lnTo>
                    <a:pt x="724" y="152"/>
                  </a:lnTo>
                  <a:lnTo>
                    <a:pt x="722" y="152"/>
                  </a:lnTo>
                  <a:lnTo>
                    <a:pt x="718" y="150"/>
                  </a:lnTo>
                  <a:lnTo>
                    <a:pt x="714" y="148"/>
                  </a:lnTo>
                  <a:lnTo>
                    <a:pt x="712" y="146"/>
                  </a:lnTo>
                  <a:lnTo>
                    <a:pt x="712" y="146"/>
                  </a:lnTo>
                  <a:lnTo>
                    <a:pt x="710" y="146"/>
                  </a:lnTo>
                  <a:lnTo>
                    <a:pt x="708" y="144"/>
                  </a:lnTo>
                  <a:lnTo>
                    <a:pt x="706" y="144"/>
                  </a:lnTo>
                  <a:lnTo>
                    <a:pt x="706" y="142"/>
                  </a:lnTo>
                  <a:lnTo>
                    <a:pt x="696" y="138"/>
                  </a:lnTo>
                  <a:lnTo>
                    <a:pt x="696" y="138"/>
                  </a:lnTo>
                  <a:lnTo>
                    <a:pt x="694" y="136"/>
                  </a:lnTo>
                  <a:lnTo>
                    <a:pt x="691" y="136"/>
                  </a:lnTo>
                  <a:lnTo>
                    <a:pt x="687" y="138"/>
                  </a:lnTo>
                  <a:lnTo>
                    <a:pt x="685" y="140"/>
                  </a:lnTo>
                  <a:lnTo>
                    <a:pt x="681" y="142"/>
                  </a:lnTo>
                  <a:lnTo>
                    <a:pt x="679" y="142"/>
                  </a:lnTo>
                  <a:lnTo>
                    <a:pt x="679" y="144"/>
                  </a:lnTo>
                  <a:lnTo>
                    <a:pt x="681" y="146"/>
                  </a:lnTo>
                  <a:lnTo>
                    <a:pt x="681" y="146"/>
                  </a:lnTo>
                  <a:lnTo>
                    <a:pt x="679" y="148"/>
                  </a:lnTo>
                  <a:lnTo>
                    <a:pt x="675" y="150"/>
                  </a:lnTo>
                  <a:lnTo>
                    <a:pt x="671" y="150"/>
                  </a:lnTo>
                  <a:lnTo>
                    <a:pt x="669" y="150"/>
                  </a:lnTo>
                  <a:lnTo>
                    <a:pt x="667" y="152"/>
                  </a:lnTo>
                  <a:lnTo>
                    <a:pt x="667" y="154"/>
                  </a:lnTo>
                  <a:lnTo>
                    <a:pt x="667" y="156"/>
                  </a:lnTo>
                  <a:lnTo>
                    <a:pt x="665" y="156"/>
                  </a:lnTo>
                  <a:lnTo>
                    <a:pt x="661" y="158"/>
                  </a:lnTo>
                  <a:lnTo>
                    <a:pt x="661" y="160"/>
                  </a:lnTo>
                  <a:lnTo>
                    <a:pt x="661" y="162"/>
                  </a:lnTo>
                  <a:lnTo>
                    <a:pt x="659" y="165"/>
                  </a:lnTo>
                  <a:lnTo>
                    <a:pt x="655" y="167"/>
                  </a:lnTo>
                  <a:lnTo>
                    <a:pt x="655" y="169"/>
                  </a:lnTo>
                  <a:lnTo>
                    <a:pt x="652" y="171"/>
                  </a:lnTo>
                  <a:lnTo>
                    <a:pt x="650" y="171"/>
                  </a:lnTo>
                  <a:lnTo>
                    <a:pt x="648" y="171"/>
                  </a:lnTo>
                  <a:lnTo>
                    <a:pt x="646" y="171"/>
                  </a:lnTo>
                  <a:lnTo>
                    <a:pt x="646" y="171"/>
                  </a:lnTo>
                  <a:lnTo>
                    <a:pt x="644" y="169"/>
                  </a:lnTo>
                  <a:lnTo>
                    <a:pt x="642" y="169"/>
                  </a:lnTo>
                  <a:lnTo>
                    <a:pt x="642" y="167"/>
                  </a:lnTo>
                  <a:lnTo>
                    <a:pt x="642" y="165"/>
                  </a:lnTo>
                  <a:lnTo>
                    <a:pt x="642" y="162"/>
                  </a:lnTo>
                  <a:lnTo>
                    <a:pt x="642" y="162"/>
                  </a:lnTo>
                  <a:lnTo>
                    <a:pt x="640" y="162"/>
                  </a:lnTo>
                  <a:lnTo>
                    <a:pt x="640" y="158"/>
                  </a:lnTo>
                  <a:lnTo>
                    <a:pt x="640" y="156"/>
                  </a:lnTo>
                  <a:lnTo>
                    <a:pt x="640" y="156"/>
                  </a:lnTo>
                  <a:lnTo>
                    <a:pt x="638" y="154"/>
                  </a:lnTo>
                  <a:lnTo>
                    <a:pt x="638" y="156"/>
                  </a:lnTo>
                  <a:lnTo>
                    <a:pt x="636" y="156"/>
                  </a:lnTo>
                  <a:lnTo>
                    <a:pt x="636" y="158"/>
                  </a:lnTo>
                  <a:lnTo>
                    <a:pt x="636" y="160"/>
                  </a:lnTo>
                  <a:lnTo>
                    <a:pt x="634" y="156"/>
                  </a:lnTo>
                  <a:lnTo>
                    <a:pt x="632" y="152"/>
                  </a:lnTo>
                  <a:lnTo>
                    <a:pt x="632" y="150"/>
                  </a:lnTo>
                  <a:lnTo>
                    <a:pt x="632" y="148"/>
                  </a:lnTo>
                  <a:lnTo>
                    <a:pt x="632" y="146"/>
                  </a:lnTo>
                  <a:lnTo>
                    <a:pt x="632" y="142"/>
                  </a:lnTo>
                  <a:lnTo>
                    <a:pt x="632" y="140"/>
                  </a:lnTo>
                  <a:lnTo>
                    <a:pt x="632" y="140"/>
                  </a:lnTo>
                  <a:lnTo>
                    <a:pt x="634" y="138"/>
                  </a:lnTo>
                  <a:lnTo>
                    <a:pt x="634" y="136"/>
                  </a:lnTo>
                  <a:lnTo>
                    <a:pt x="634" y="134"/>
                  </a:lnTo>
                  <a:lnTo>
                    <a:pt x="634" y="134"/>
                  </a:lnTo>
                  <a:lnTo>
                    <a:pt x="632" y="132"/>
                  </a:lnTo>
                  <a:lnTo>
                    <a:pt x="632" y="130"/>
                  </a:lnTo>
                  <a:lnTo>
                    <a:pt x="632" y="128"/>
                  </a:lnTo>
                  <a:lnTo>
                    <a:pt x="632" y="125"/>
                  </a:lnTo>
                  <a:lnTo>
                    <a:pt x="632" y="125"/>
                  </a:lnTo>
                  <a:lnTo>
                    <a:pt x="630" y="123"/>
                  </a:lnTo>
                  <a:lnTo>
                    <a:pt x="630" y="123"/>
                  </a:lnTo>
                  <a:lnTo>
                    <a:pt x="628" y="123"/>
                  </a:lnTo>
                  <a:lnTo>
                    <a:pt x="626" y="123"/>
                  </a:lnTo>
                  <a:lnTo>
                    <a:pt x="622" y="123"/>
                  </a:lnTo>
                  <a:lnTo>
                    <a:pt x="618" y="121"/>
                  </a:lnTo>
                  <a:lnTo>
                    <a:pt x="616" y="119"/>
                  </a:lnTo>
                  <a:lnTo>
                    <a:pt x="611" y="117"/>
                  </a:lnTo>
                  <a:lnTo>
                    <a:pt x="607" y="115"/>
                  </a:lnTo>
                  <a:lnTo>
                    <a:pt x="605" y="115"/>
                  </a:lnTo>
                  <a:lnTo>
                    <a:pt x="603" y="115"/>
                  </a:lnTo>
                  <a:lnTo>
                    <a:pt x="599" y="117"/>
                  </a:lnTo>
                  <a:lnTo>
                    <a:pt x="599" y="117"/>
                  </a:lnTo>
                  <a:lnTo>
                    <a:pt x="599" y="119"/>
                  </a:lnTo>
                  <a:lnTo>
                    <a:pt x="597" y="119"/>
                  </a:lnTo>
                  <a:lnTo>
                    <a:pt x="595" y="121"/>
                  </a:lnTo>
                  <a:lnTo>
                    <a:pt x="595" y="121"/>
                  </a:lnTo>
                  <a:lnTo>
                    <a:pt x="589" y="123"/>
                  </a:lnTo>
                  <a:lnTo>
                    <a:pt x="587" y="123"/>
                  </a:lnTo>
                  <a:lnTo>
                    <a:pt x="585" y="125"/>
                  </a:lnTo>
                  <a:lnTo>
                    <a:pt x="585" y="125"/>
                  </a:lnTo>
                  <a:lnTo>
                    <a:pt x="585" y="128"/>
                  </a:lnTo>
                  <a:lnTo>
                    <a:pt x="585" y="128"/>
                  </a:lnTo>
                  <a:lnTo>
                    <a:pt x="585" y="130"/>
                  </a:lnTo>
                  <a:lnTo>
                    <a:pt x="583" y="132"/>
                  </a:lnTo>
                  <a:lnTo>
                    <a:pt x="583" y="132"/>
                  </a:lnTo>
                  <a:lnTo>
                    <a:pt x="583" y="132"/>
                  </a:lnTo>
                  <a:lnTo>
                    <a:pt x="581" y="134"/>
                  </a:lnTo>
                  <a:lnTo>
                    <a:pt x="581" y="136"/>
                  </a:lnTo>
                  <a:lnTo>
                    <a:pt x="583" y="136"/>
                  </a:lnTo>
                  <a:lnTo>
                    <a:pt x="583" y="136"/>
                  </a:lnTo>
                  <a:lnTo>
                    <a:pt x="585" y="136"/>
                  </a:lnTo>
                  <a:lnTo>
                    <a:pt x="585" y="136"/>
                  </a:lnTo>
                  <a:lnTo>
                    <a:pt x="587" y="134"/>
                  </a:lnTo>
                  <a:lnTo>
                    <a:pt x="593" y="138"/>
                  </a:lnTo>
                  <a:lnTo>
                    <a:pt x="595" y="138"/>
                  </a:lnTo>
                  <a:lnTo>
                    <a:pt x="597" y="138"/>
                  </a:lnTo>
                  <a:lnTo>
                    <a:pt x="597" y="140"/>
                  </a:lnTo>
                  <a:lnTo>
                    <a:pt x="597" y="144"/>
                  </a:lnTo>
                  <a:lnTo>
                    <a:pt x="597" y="146"/>
                  </a:lnTo>
                  <a:lnTo>
                    <a:pt x="599" y="146"/>
                  </a:lnTo>
                  <a:lnTo>
                    <a:pt x="599" y="148"/>
                  </a:lnTo>
                  <a:lnTo>
                    <a:pt x="601" y="148"/>
                  </a:lnTo>
                  <a:lnTo>
                    <a:pt x="601" y="150"/>
                  </a:lnTo>
                  <a:lnTo>
                    <a:pt x="603" y="150"/>
                  </a:lnTo>
                  <a:lnTo>
                    <a:pt x="605" y="150"/>
                  </a:lnTo>
                  <a:lnTo>
                    <a:pt x="607" y="150"/>
                  </a:lnTo>
                  <a:lnTo>
                    <a:pt x="611" y="150"/>
                  </a:lnTo>
                  <a:lnTo>
                    <a:pt x="613" y="150"/>
                  </a:lnTo>
                  <a:lnTo>
                    <a:pt x="618" y="150"/>
                  </a:lnTo>
                  <a:lnTo>
                    <a:pt x="620" y="150"/>
                  </a:lnTo>
                  <a:lnTo>
                    <a:pt x="622" y="150"/>
                  </a:lnTo>
                  <a:lnTo>
                    <a:pt x="624" y="150"/>
                  </a:lnTo>
                  <a:lnTo>
                    <a:pt x="628" y="148"/>
                  </a:lnTo>
                  <a:lnTo>
                    <a:pt x="628" y="148"/>
                  </a:lnTo>
                  <a:lnTo>
                    <a:pt x="628" y="150"/>
                  </a:lnTo>
                  <a:lnTo>
                    <a:pt x="628" y="150"/>
                  </a:lnTo>
                  <a:lnTo>
                    <a:pt x="626" y="152"/>
                  </a:lnTo>
                  <a:lnTo>
                    <a:pt x="628" y="152"/>
                  </a:lnTo>
                  <a:lnTo>
                    <a:pt x="628" y="152"/>
                  </a:lnTo>
                  <a:lnTo>
                    <a:pt x="628" y="154"/>
                  </a:lnTo>
                  <a:lnTo>
                    <a:pt x="626" y="154"/>
                  </a:lnTo>
                  <a:lnTo>
                    <a:pt x="626" y="154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2" y="156"/>
                  </a:lnTo>
                  <a:lnTo>
                    <a:pt x="620" y="154"/>
                  </a:lnTo>
                  <a:lnTo>
                    <a:pt x="618" y="154"/>
                  </a:lnTo>
                  <a:lnTo>
                    <a:pt x="616" y="154"/>
                  </a:lnTo>
                  <a:lnTo>
                    <a:pt x="616" y="154"/>
                  </a:lnTo>
                  <a:lnTo>
                    <a:pt x="613" y="154"/>
                  </a:lnTo>
                  <a:lnTo>
                    <a:pt x="611" y="158"/>
                  </a:lnTo>
                  <a:lnTo>
                    <a:pt x="609" y="160"/>
                  </a:lnTo>
                  <a:lnTo>
                    <a:pt x="607" y="160"/>
                  </a:lnTo>
                  <a:lnTo>
                    <a:pt x="605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597" y="160"/>
                  </a:lnTo>
                  <a:lnTo>
                    <a:pt x="597" y="160"/>
                  </a:lnTo>
                  <a:lnTo>
                    <a:pt x="597" y="162"/>
                  </a:lnTo>
                  <a:lnTo>
                    <a:pt x="597" y="162"/>
                  </a:lnTo>
                  <a:lnTo>
                    <a:pt x="599" y="162"/>
                  </a:lnTo>
                  <a:lnTo>
                    <a:pt x="601" y="162"/>
                  </a:lnTo>
                  <a:lnTo>
                    <a:pt x="603" y="165"/>
                  </a:lnTo>
                  <a:lnTo>
                    <a:pt x="605" y="167"/>
                  </a:lnTo>
                  <a:lnTo>
                    <a:pt x="609" y="169"/>
                  </a:lnTo>
                  <a:lnTo>
                    <a:pt x="609" y="173"/>
                  </a:lnTo>
                  <a:lnTo>
                    <a:pt x="609" y="175"/>
                  </a:lnTo>
                  <a:lnTo>
                    <a:pt x="607" y="177"/>
                  </a:lnTo>
                  <a:lnTo>
                    <a:pt x="609" y="179"/>
                  </a:lnTo>
                  <a:lnTo>
                    <a:pt x="609" y="181"/>
                  </a:lnTo>
                  <a:lnTo>
                    <a:pt x="609" y="183"/>
                  </a:lnTo>
                  <a:lnTo>
                    <a:pt x="611" y="183"/>
                  </a:lnTo>
                  <a:lnTo>
                    <a:pt x="611" y="185"/>
                  </a:lnTo>
                  <a:lnTo>
                    <a:pt x="613" y="183"/>
                  </a:lnTo>
                  <a:lnTo>
                    <a:pt x="616" y="183"/>
                  </a:lnTo>
                  <a:lnTo>
                    <a:pt x="616" y="183"/>
                  </a:lnTo>
                  <a:lnTo>
                    <a:pt x="618" y="181"/>
                  </a:lnTo>
                  <a:lnTo>
                    <a:pt x="620" y="179"/>
                  </a:lnTo>
                  <a:lnTo>
                    <a:pt x="620" y="179"/>
                  </a:lnTo>
                  <a:lnTo>
                    <a:pt x="620" y="177"/>
                  </a:lnTo>
                  <a:lnTo>
                    <a:pt x="620" y="175"/>
                  </a:lnTo>
                  <a:lnTo>
                    <a:pt x="622" y="173"/>
                  </a:lnTo>
                  <a:lnTo>
                    <a:pt x="622" y="171"/>
                  </a:lnTo>
                  <a:lnTo>
                    <a:pt x="622" y="173"/>
                  </a:lnTo>
                  <a:lnTo>
                    <a:pt x="624" y="171"/>
                  </a:lnTo>
                  <a:lnTo>
                    <a:pt x="624" y="167"/>
                  </a:lnTo>
                  <a:lnTo>
                    <a:pt x="624" y="167"/>
                  </a:lnTo>
                  <a:lnTo>
                    <a:pt x="624" y="167"/>
                  </a:lnTo>
                  <a:lnTo>
                    <a:pt x="626" y="165"/>
                  </a:lnTo>
                  <a:lnTo>
                    <a:pt x="626" y="165"/>
                  </a:lnTo>
                  <a:lnTo>
                    <a:pt x="626" y="167"/>
                  </a:lnTo>
                  <a:lnTo>
                    <a:pt x="624" y="169"/>
                  </a:lnTo>
                  <a:lnTo>
                    <a:pt x="624" y="171"/>
                  </a:lnTo>
                  <a:lnTo>
                    <a:pt x="624" y="173"/>
                  </a:lnTo>
                  <a:lnTo>
                    <a:pt x="624" y="175"/>
                  </a:lnTo>
                  <a:lnTo>
                    <a:pt x="626" y="177"/>
                  </a:lnTo>
                  <a:lnTo>
                    <a:pt x="626" y="177"/>
                  </a:lnTo>
                  <a:lnTo>
                    <a:pt x="626" y="177"/>
                  </a:lnTo>
                  <a:lnTo>
                    <a:pt x="628" y="179"/>
                  </a:lnTo>
                  <a:lnTo>
                    <a:pt x="628" y="179"/>
                  </a:lnTo>
                  <a:lnTo>
                    <a:pt x="630" y="179"/>
                  </a:lnTo>
                  <a:lnTo>
                    <a:pt x="630" y="179"/>
                  </a:lnTo>
                  <a:lnTo>
                    <a:pt x="630" y="179"/>
                  </a:lnTo>
                  <a:lnTo>
                    <a:pt x="632" y="179"/>
                  </a:lnTo>
                  <a:lnTo>
                    <a:pt x="632" y="181"/>
                  </a:lnTo>
                  <a:lnTo>
                    <a:pt x="632" y="181"/>
                  </a:lnTo>
                  <a:lnTo>
                    <a:pt x="634" y="181"/>
                  </a:lnTo>
                  <a:lnTo>
                    <a:pt x="636" y="181"/>
                  </a:lnTo>
                  <a:lnTo>
                    <a:pt x="636" y="183"/>
                  </a:lnTo>
                  <a:lnTo>
                    <a:pt x="638" y="183"/>
                  </a:lnTo>
                  <a:lnTo>
                    <a:pt x="640" y="181"/>
                  </a:lnTo>
                  <a:lnTo>
                    <a:pt x="640" y="181"/>
                  </a:lnTo>
                  <a:lnTo>
                    <a:pt x="642" y="181"/>
                  </a:lnTo>
                  <a:lnTo>
                    <a:pt x="640" y="181"/>
                  </a:lnTo>
                  <a:lnTo>
                    <a:pt x="640" y="183"/>
                  </a:lnTo>
                  <a:lnTo>
                    <a:pt x="638" y="183"/>
                  </a:lnTo>
                  <a:lnTo>
                    <a:pt x="640" y="185"/>
                  </a:lnTo>
                  <a:lnTo>
                    <a:pt x="646" y="191"/>
                  </a:lnTo>
                  <a:lnTo>
                    <a:pt x="648" y="191"/>
                  </a:lnTo>
                  <a:lnTo>
                    <a:pt x="650" y="191"/>
                  </a:lnTo>
                  <a:lnTo>
                    <a:pt x="650" y="191"/>
                  </a:lnTo>
                  <a:lnTo>
                    <a:pt x="655" y="191"/>
                  </a:lnTo>
                  <a:lnTo>
                    <a:pt x="661" y="191"/>
                  </a:lnTo>
                  <a:lnTo>
                    <a:pt x="661" y="193"/>
                  </a:lnTo>
                  <a:lnTo>
                    <a:pt x="663" y="195"/>
                  </a:lnTo>
                  <a:lnTo>
                    <a:pt x="667" y="195"/>
                  </a:lnTo>
                  <a:lnTo>
                    <a:pt x="669" y="197"/>
                  </a:lnTo>
                  <a:lnTo>
                    <a:pt x="673" y="200"/>
                  </a:lnTo>
                  <a:lnTo>
                    <a:pt x="675" y="200"/>
                  </a:lnTo>
                  <a:lnTo>
                    <a:pt x="675" y="200"/>
                  </a:lnTo>
                  <a:lnTo>
                    <a:pt x="677" y="200"/>
                  </a:lnTo>
                  <a:lnTo>
                    <a:pt x="677" y="200"/>
                  </a:lnTo>
                  <a:lnTo>
                    <a:pt x="677" y="200"/>
                  </a:lnTo>
                  <a:lnTo>
                    <a:pt x="679" y="202"/>
                  </a:lnTo>
                  <a:lnTo>
                    <a:pt x="679" y="200"/>
                  </a:lnTo>
                  <a:lnTo>
                    <a:pt x="681" y="200"/>
                  </a:lnTo>
                  <a:lnTo>
                    <a:pt x="681" y="202"/>
                  </a:lnTo>
                  <a:lnTo>
                    <a:pt x="687" y="206"/>
                  </a:lnTo>
                  <a:lnTo>
                    <a:pt x="687" y="206"/>
                  </a:lnTo>
                  <a:lnTo>
                    <a:pt x="689" y="208"/>
                  </a:lnTo>
                  <a:lnTo>
                    <a:pt x="689" y="208"/>
                  </a:lnTo>
                  <a:lnTo>
                    <a:pt x="689" y="208"/>
                  </a:lnTo>
                  <a:lnTo>
                    <a:pt x="691" y="208"/>
                  </a:lnTo>
                  <a:lnTo>
                    <a:pt x="691" y="210"/>
                  </a:lnTo>
                  <a:lnTo>
                    <a:pt x="694" y="212"/>
                  </a:lnTo>
                  <a:lnTo>
                    <a:pt x="691" y="212"/>
                  </a:lnTo>
                  <a:lnTo>
                    <a:pt x="691" y="214"/>
                  </a:lnTo>
                  <a:lnTo>
                    <a:pt x="694" y="214"/>
                  </a:lnTo>
                  <a:lnTo>
                    <a:pt x="694" y="214"/>
                  </a:lnTo>
                  <a:lnTo>
                    <a:pt x="694" y="214"/>
                  </a:lnTo>
                  <a:lnTo>
                    <a:pt x="696" y="214"/>
                  </a:lnTo>
                  <a:lnTo>
                    <a:pt x="698" y="214"/>
                  </a:lnTo>
                  <a:lnTo>
                    <a:pt x="696" y="214"/>
                  </a:lnTo>
                  <a:lnTo>
                    <a:pt x="694" y="216"/>
                  </a:lnTo>
                  <a:lnTo>
                    <a:pt x="696" y="216"/>
                  </a:lnTo>
                  <a:lnTo>
                    <a:pt x="698" y="216"/>
                  </a:lnTo>
                  <a:lnTo>
                    <a:pt x="696" y="218"/>
                  </a:lnTo>
                  <a:lnTo>
                    <a:pt x="696" y="218"/>
                  </a:lnTo>
                  <a:lnTo>
                    <a:pt x="698" y="222"/>
                  </a:lnTo>
                  <a:lnTo>
                    <a:pt x="698" y="226"/>
                  </a:lnTo>
                  <a:lnTo>
                    <a:pt x="700" y="228"/>
                  </a:lnTo>
                  <a:lnTo>
                    <a:pt x="700" y="230"/>
                  </a:lnTo>
                  <a:lnTo>
                    <a:pt x="702" y="230"/>
                  </a:lnTo>
                  <a:lnTo>
                    <a:pt x="702" y="232"/>
                  </a:lnTo>
                  <a:lnTo>
                    <a:pt x="704" y="234"/>
                  </a:lnTo>
                  <a:lnTo>
                    <a:pt x="704" y="234"/>
                  </a:lnTo>
                  <a:lnTo>
                    <a:pt x="702" y="237"/>
                  </a:lnTo>
                  <a:lnTo>
                    <a:pt x="700" y="237"/>
                  </a:lnTo>
                  <a:lnTo>
                    <a:pt x="700" y="237"/>
                  </a:lnTo>
                  <a:lnTo>
                    <a:pt x="702" y="239"/>
                  </a:lnTo>
                  <a:lnTo>
                    <a:pt x="704" y="241"/>
                  </a:lnTo>
                  <a:lnTo>
                    <a:pt x="706" y="241"/>
                  </a:lnTo>
                  <a:lnTo>
                    <a:pt x="708" y="241"/>
                  </a:lnTo>
                  <a:lnTo>
                    <a:pt x="708" y="241"/>
                  </a:lnTo>
                  <a:lnTo>
                    <a:pt x="706" y="243"/>
                  </a:lnTo>
                  <a:lnTo>
                    <a:pt x="706" y="243"/>
                  </a:lnTo>
                  <a:lnTo>
                    <a:pt x="704" y="241"/>
                  </a:lnTo>
                  <a:lnTo>
                    <a:pt x="704" y="241"/>
                  </a:lnTo>
                  <a:lnTo>
                    <a:pt x="702" y="241"/>
                  </a:lnTo>
                  <a:lnTo>
                    <a:pt x="702" y="243"/>
                  </a:lnTo>
                  <a:lnTo>
                    <a:pt x="702" y="243"/>
                  </a:lnTo>
                  <a:lnTo>
                    <a:pt x="704" y="245"/>
                  </a:lnTo>
                  <a:lnTo>
                    <a:pt x="704" y="245"/>
                  </a:lnTo>
                  <a:lnTo>
                    <a:pt x="704" y="247"/>
                  </a:lnTo>
                  <a:lnTo>
                    <a:pt x="706" y="247"/>
                  </a:lnTo>
                  <a:lnTo>
                    <a:pt x="706" y="247"/>
                  </a:lnTo>
                  <a:lnTo>
                    <a:pt x="706" y="249"/>
                  </a:lnTo>
                  <a:lnTo>
                    <a:pt x="706" y="249"/>
                  </a:lnTo>
                  <a:lnTo>
                    <a:pt x="706" y="251"/>
                  </a:lnTo>
                  <a:lnTo>
                    <a:pt x="706" y="253"/>
                  </a:lnTo>
                  <a:lnTo>
                    <a:pt x="704" y="255"/>
                  </a:lnTo>
                  <a:lnTo>
                    <a:pt x="704" y="257"/>
                  </a:lnTo>
                  <a:lnTo>
                    <a:pt x="702" y="257"/>
                  </a:lnTo>
                  <a:lnTo>
                    <a:pt x="702" y="259"/>
                  </a:lnTo>
                  <a:lnTo>
                    <a:pt x="702" y="259"/>
                  </a:lnTo>
                  <a:lnTo>
                    <a:pt x="702" y="261"/>
                  </a:lnTo>
                  <a:lnTo>
                    <a:pt x="704" y="261"/>
                  </a:lnTo>
                  <a:lnTo>
                    <a:pt x="706" y="259"/>
                  </a:lnTo>
                  <a:lnTo>
                    <a:pt x="708" y="257"/>
                  </a:lnTo>
                  <a:lnTo>
                    <a:pt x="708" y="255"/>
                  </a:lnTo>
                  <a:lnTo>
                    <a:pt x="708" y="257"/>
                  </a:lnTo>
                  <a:lnTo>
                    <a:pt x="708" y="257"/>
                  </a:lnTo>
                  <a:lnTo>
                    <a:pt x="710" y="259"/>
                  </a:lnTo>
                  <a:lnTo>
                    <a:pt x="710" y="259"/>
                  </a:lnTo>
                  <a:lnTo>
                    <a:pt x="712" y="259"/>
                  </a:lnTo>
                  <a:lnTo>
                    <a:pt x="714" y="259"/>
                  </a:lnTo>
                  <a:lnTo>
                    <a:pt x="718" y="257"/>
                  </a:lnTo>
                  <a:lnTo>
                    <a:pt x="720" y="257"/>
                  </a:lnTo>
                  <a:lnTo>
                    <a:pt x="720" y="257"/>
                  </a:lnTo>
                  <a:lnTo>
                    <a:pt x="722" y="255"/>
                  </a:lnTo>
                  <a:lnTo>
                    <a:pt x="720" y="257"/>
                  </a:lnTo>
                  <a:lnTo>
                    <a:pt x="720" y="259"/>
                  </a:lnTo>
                  <a:lnTo>
                    <a:pt x="720" y="259"/>
                  </a:lnTo>
                  <a:lnTo>
                    <a:pt x="720" y="259"/>
                  </a:lnTo>
                  <a:lnTo>
                    <a:pt x="722" y="261"/>
                  </a:lnTo>
                  <a:lnTo>
                    <a:pt x="728" y="267"/>
                  </a:lnTo>
                  <a:lnTo>
                    <a:pt x="728" y="269"/>
                  </a:lnTo>
                  <a:lnTo>
                    <a:pt x="730" y="271"/>
                  </a:lnTo>
                  <a:lnTo>
                    <a:pt x="733" y="274"/>
                  </a:lnTo>
                  <a:lnTo>
                    <a:pt x="735" y="276"/>
                  </a:lnTo>
                  <a:lnTo>
                    <a:pt x="735" y="276"/>
                  </a:lnTo>
                  <a:lnTo>
                    <a:pt x="735" y="276"/>
                  </a:lnTo>
                  <a:lnTo>
                    <a:pt x="735" y="274"/>
                  </a:lnTo>
                  <a:lnTo>
                    <a:pt x="735" y="269"/>
                  </a:lnTo>
                  <a:lnTo>
                    <a:pt x="737" y="265"/>
                  </a:lnTo>
                  <a:lnTo>
                    <a:pt x="737" y="261"/>
                  </a:lnTo>
                  <a:lnTo>
                    <a:pt x="737" y="257"/>
                  </a:lnTo>
                  <a:lnTo>
                    <a:pt x="737" y="253"/>
                  </a:lnTo>
                  <a:lnTo>
                    <a:pt x="737" y="251"/>
                  </a:lnTo>
                  <a:lnTo>
                    <a:pt x="737" y="247"/>
                  </a:lnTo>
                  <a:lnTo>
                    <a:pt x="737" y="243"/>
                  </a:lnTo>
                  <a:lnTo>
                    <a:pt x="739" y="239"/>
                  </a:lnTo>
                  <a:lnTo>
                    <a:pt x="739" y="237"/>
                  </a:lnTo>
                  <a:lnTo>
                    <a:pt x="737" y="234"/>
                  </a:lnTo>
                  <a:lnTo>
                    <a:pt x="737" y="232"/>
                  </a:lnTo>
                  <a:lnTo>
                    <a:pt x="737" y="230"/>
                  </a:lnTo>
                  <a:lnTo>
                    <a:pt x="739" y="228"/>
                  </a:lnTo>
                  <a:lnTo>
                    <a:pt x="739" y="226"/>
                  </a:lnTo>
                  <a:lnTo>
                    <a:pt x="739" y="224"/>
                  </a:lnTo>
                  <a:lnTo>
                    <a:pt x="739" y="220"/>
                  </a:lnTo>
                  <a:lnTo>
                    <a:pt x="739" y="216"/>
                  </a:lnTo>
                  <a:lnTo>
                    <a:pt x="739" y="212"/>
                  </a:lnTo>
                  <a:lnTo>
                    <a:pt x="739" y="210"/>
                  </a:lnTo>
                  <a:lnTo>
                    <a:pt x="741" y="206"/>
                  </a:lnTo>
                  <a:lnTo>
                    <a:pt x="741" y="202"/>
                  </a:lnTo>
                  <a:lnTo>
                    <a:pt x="741" y="197"/>
                  </a:lnTo>
                  <a:lnTo>
                    <a:pt x="741" y="193"/>
                  </a:lnTo>
                  <a:lnTo>
                    <a:pt x="741" y="191"/>
                  </a:lnTo>
                  <a:lnTo>
                    <a:pt x="741" y="187"/>
                  </a:lnTo>
                  <a:lnTo>
                    <a:pt x="741" y="183"/>
                  </a:lnTo>
                  <a:lnTo>
                    <a:pt x="741" y="179"/>
                  </a:lnTo>
                  <a:lnTo>
                    <a:pt x="741" y="175"/>
                  </a:lnTo>
                  <a:lnTo>
                    <a:pt x="741" y="173"/>
                  </a:lnTo>
                  <a:lnTo>
                    <a:pt x="741" y="169"/>
                  </a:lnTo>
                  <a:lnTo>
                    <a:pt x="741" y="165"/>
                  </a:lnTo>
                  <a:lnTo>
                    <a:pt x="743" y="160"/>
                  </a:lnTo>
                  <a:lnTo>
                    <a:pt x="743" y="156"/>
                  </a:lnTo>
                  <a:lnTo>
                    <a:pt x="739" y="156"/>
                  </a:lnTo>
                  <a:close/>
                  <a:moveTo>
                    <a:pt x="149" y="117"/>
                  </a:moveTo>
                  <a:lnTo>
                    <a:pt x="149" y="115"/>
                  </a:lnTo>
                  <a:lnTo>
                    <a:pt x="149" y="115"/>
                  </a:lnTo>
                  <a:lnTo>
                    <a:pt x="149" y="115"/>
                  </a:lnTo>
                  <a:lnTo>
                    <a:pt x="147" y="117"/>
                  </a:lnTo>
                  <a:lnTo>
                    <a:pt x="149" y="119"/>
                  </a:lnTo>
                  <a:lnTo>
                    <a:pt x="149" y="121"/>
                  </a:lnTo>
                  <a:lnTo>
                    <a:pt x="152" y="119"/>
                  </a:lnTo>
                  <a:lnTo>
                    <a:pt x="152" y="121"/>
                  </a:lnTo>
                  <a:lnTo>
                    <a:pt x="152" y="119"/>
                  </a:lnTo>
                  <a:lnTo>
                    <a:pt x="154" y="119"/>
                  </a:lnTo>
                  <a:lnTo>
                    <a:pt x="154" y="117"/>
                  </a:lnTo>
                  <a:lnTo>
                    <a:pt x="154" y="117"/>
                  </a:lnTo>
                  <a:lnTo>
                    <a:pt x="152" y="115"/>
                  </a:lnTo>
                  <a:lnTo>
                    <a:pt x="149" y="117"/>
                  </a:lnTo>
                  <a:close/>
                  <a:moveTo>
                    <a:pt x="525" y="121"/>
                  </a:moveTo>
                  <a:lnTo>
                    <a:pt x="523" y="123"/>
                  </a:lnTo>
                  <a:lnTo>
                    <a:pt x="523" y="123"/>
                  </a:lnTo>
                  <a:lnTo>
                    <a:pt x="525" y="123"/>
                  </a:lnTo>
                  <a:lnTo>
                    <a:pt x="527" y="123"/>
                  </a:lnTo>
                  <a:lnTo>
                    <a:pt x="527" y="123"/>
                  </a:lnTo>
                  <a:lnTo>
                    <a:pt x="527" y="123"/>
                  </a:lnTo>
                  <a:lnTo>
                    <a:pt x="529" y="125"/>
                  </a:lnTo>
                  <a:lnTo>
                    <a:pt x="529" y="125"/>
                  </a:lnTo>
                  <a:lnTo>
                    <a:pt x="531" y="123"/>
                  </a:lnTo>
                  <a:lnTo>
                    <a:pt x="531" y="123"/>
                  </a:lnTo>
                  <a:lnTo>
                    <a:pt x="529" y="121"/>
                  </a:lnTo>
                  <a:lnTo>
                    <a:pt x="529" y="121"/>
                  </a:lnTo>
                  <a:lnTo>
                    <a:pt x="527" y="121"/>
                  </a:lnTo>
                  <a:lnTo>
                    <a:pt x="527" y="119"/>
                  </a:lnTo>
                  <a:lnTo>
                    <a:pt x="527" y="117"/>
                  </a:lnTo>
                  <a:lnTo>
                    <a:pt x="525" y="115"/>
                  </a:lnTo>
                  <a:lnTo>
                    <a:pt x="525" y="115"/>
                  </a:lnTo>
                  <a:lnTo>
                    <a:pt x="525" y="115"/>
                  </a:lnTo>
                  <a:lnTo>
                    <a:pt x="523" y="117"/>
                  </a:lnTo>
                  <a:lnTo>
                    <a:pt x="523" y="115"/>
                  </a:lnTo>
                  <a:lnTo>
                    <a:pt x="521" y="115"/>
                  </a:lnTo>
                  <a:lnTo>
                    <a:pt x="521" y="117"/>
                  </a:lnTo>
                  <a:lnTo>
                    <a:pt x="521" y="117"/>
                  </a:lnTo>
                  <a:lnTo>
                    <a:pt x="521" y="117"/>
                  </a:lnTo>
                  <a:lnTo>
                    <a:pt x="523" y="119"/>
                  </a:lnTo>
                  <a:lnTo>
                    <a:pt x="525" y="121"/>
                  </a:lnTo>
                  <a:close/>
                  <a:moveTo>
                    <a:pt x="519" y="119"/>
                  </a:moveTo>
                  <a:lnTo>
                    <a:pt x="521" y="117"/>
                  </a:lnTo>
                  <a:lnTo>
                    <a:pt x="521" y="117"/>
                  </a:lnTo>
                  <a:lnTo>
                    <a:pt x="521" y="115"/>
                  </a:lnTo>
                  <a:lnTo>
                    <a:pt x="521" y="115"/>
                  </a:lnTo>
                  <a:lnTo>
                    <a:pt x="519" y="113"/>
                  </a:lnTo>
                  <a:lnTo>
                    <a:pt x="519" y="115"/>
                  </a:lnTo>
                  <a:lnTo>
                    <a:pt x="519" y="117"/>
                  </a:lnTo>
                  <a:lnTo>
                    <a:pt x="519" y="119"/>
                  </a:lnTo>
                  <a:lnTo>
                    <a:pt x="519" y="119"/>
                  </a:lnTo>
                  <a:close/>
                  <a:moveTo>
                    <a:pt x="137" y="113"/>
                  </a:moveTo>
                  <a:lnTo>
                    <a:pt x="135" y="115"/>
                  </a:lnTo>
                  <a:lnTo>
                    <a:pt x="135" y="115"/>
                  </a:lnTo>
                  <a:lnTo>
                    <a:pt x="137" y="115"/>
                  </a:lnTo>
                  <a:lnTo>
                    <a:pt x="139" y="115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7" y="113"/>
                  </a:lnTo>
                  <a:lnTo>
                    <a:pt x="137" y="113"/>
                  </a:lnTo>
                  <a:close/>
                  <a:moveTo>
                    <a:pt x="572" y="113"/>
                  </a:moveTo>
                  <a:lnTo>
                    <a:pt x="574" y="115"/>
                  </a:lnTo>
                  <a:lnTo>
                    <a:pt x="574" y="115"/>
                  </a:lnTo>
                  <a:lnTo>
                    <a:pt x="574" y="115"/>
                  </a:lnTo>
                  <a:lnTo>
                    <a:pt x="577" y="115"/>
                  </a:lnTo>
                  <a:lnTo>
                    <a:pt x="577" y="117"/>
                  </a:lnTo>
                  <a:lnTo>
                    <a:pt x="577" y="117"/>
                  </a:lnTo>
                  <a:lnTo>
                    <a:pt x="581" y="117"/>
                  </a:lnTo>
                  <a:lnTo>
                    <a:pt x="581" y="115"/>
                  </a:lnTo>
                  <a:lnTo>
                    <a:pt x="579" y="115"/>
                  </a:lnTo>
                  <a:lnTo>
                    <a:pt x="579" y="115"/>
                  </a:lnTo>
                  <a:lnTo>
                    <a:pt x="579" y="115"/>
                  </a:lnTo>
                  <a:lnTo>
                    <a:pt x="577" y="113"/>
                  </a:lnTo>
                  <a:lnTo>
                    <a:pt x="577" y="111"/>
                  </a:lnTo>
                  <a:lnTo>
                    <a:pt x="574" y="111"/>
                  </a:lnTo>
                  <a:lnTo>
                    <a:pt x="577" y="111"/>
                  </a:lnTo>
                  <a:lnTo>
                    <a:pt x="579" y="113"/>
                  </a:lnTo>
                  <a:lnTo>
                    <a:pt x="581" y="113"/>
                  </a:lnTo>
                  <a:lnTo>
                    <a:pt x="581" y="115"/>
                  </a:lnTo>
                  <a:lnTo>
                    <a:pt x="581" y="115"/>
                  </a:lnTo>
                  <a:lnTo>
                    <a:pt x="583" y="115"/>
                  </a:lnTo>
                  <a:lnTo>
                    <a:pt x="585" y="115"/>
                  </a:lnTo>
                  <a:lnTo>
                    <a:pt x="585" y="115"/>
                  </a:lnTo>
                  <a:lnTo>
                    <a:pt x="585" y="115"/>
                  </a:lnTo>
                  <a:lnTo>
                    <a:pt x="587" y="115"/>
                  </a:lnTo>
                  <a:lnTo>
                    <a:pt x="587" y="113"/>
                  </a:lnTo>
                  <a:lnTo>
                    <a:pt x="587" y="113"/>
                  </a:lnTo>
                  <a:lnTo>
                    <a:pt x="587" y="111"/>
                  </a:lnTo>
                  <a:lnTo>
                    <a:pt x="583" y="109"/>
                  </a:lnTo>
                  <a:lnTo>
                    <a:pt x="581" y="109"/>
                  </a:lnTo>
                  <a:lnTo>
                    <a:pt x="579" y="109"/>
                  </a:lnTo>
                  <a:lnTo>
                    <a:pt x="577" y="109"/>
                  </a:lnTo>
                  <a:lnTo>
                    <a:pt x="574" y="109"/>
                  </a:lnTo>
                  <a:lnTo>
                    <a:pt x="574" y="111"/>
                  </a:lnTo>
                  <a:lnTo>
                    <a:pt x="572" y="111"/>
                  </a:lnTo>
                  <a:lnTo>
                    <a:pt x="572" y="111"/>
                  </a:lnTo>
                  <a:lnTo>
                    <a:pt x="570" y="111"/>
                  </a:lnTo>
                  <a:lnTo>
                    <a:pt x="570" y="111"/>
                  </a:lnTo>
                  <a:lnTo>
                    <a:pt x="570" y="111"/>
                  </a:lnTo>
                  <a:lnTo>
                    <a:pt x="568" y="113"/>
                  </a:lnTo>
                  <a:lnTo>
                    <a:pt x="570" y="113"/>
                  </a:lnTo>
                  <a:lnTo>
                    <a:pt x="572" y="113"/>
                  </a:lnTo>
                  <a:close/>
                  <a:moveTo>
                    <a:pt x="53" y="109"/>
                  </a:moveTo>
                  <a:lnTo>
                    <a:pt x="53" y="109"/>
                  </a:lnTo>
                  <a:lnTo>
                    <a:pt x="53" y="109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3" y="117"/>
                  </a:lnTo>
                  <a:lnTo>
                    <a:pt x="51" y="119"/>
                  </a:lnTo>
                  <a:lnTo>
                    <a:pt x="53" y="119"/>
                  </a:lnTo>
                  <a:lnTo>
                    <a:pt x="55" y="119"/>
                  </a:lnTo>
                  <a:lnTo>
                    <a:pt x="55" y="115"/>
                  </a:lnTo>
                  <a:lnTo>
                    <a:pt x="55" y="113"/>
                  </a:lnTo>
                  <a:lnTo>
                    <a:pt x="55" y="113"/>
                  </a:lnTo>
                  <a:lnTo>
                    <a:pt x="53" y="109"/>
                  </a:lnTo>
                  <a:close/>
                  <a:moveTo>
                    <a:pt x="156" y="111"/>
                  </a:moveTo>
                  <a:lnTo>
                    <a:pt x="154" y="109"/>
                  </a:lnTo>
                  <a:lnTo>
                    <a:pt x="154" y="109"/>
                  </a:lnTo>
                  <a:lnTo>
                    <a:pt x="152" y="111"/>
                  </a:lnTo>
                  <a:lnTo>
                    <a:pt x="152" y="113"/>
                  </a:lnTo>
                  <a:lnTo>
                    <a:pt x="152" y="113"/>
                  </a:lnTo>
                  <a:lnTo>
                    <a:pt x="154" y="113"/>
                  </a:lnTo>
                  <a:lnTo>
                    <a:pt x="156" y="113"/>
                  </a:lnTo>
                  <a:lnTo>
                    <a:pt x="160" y="115"/>
                  </a:lnTo>
                  <a:lnTo>
                    <a:pt x="160" y="115"/>
                  </a:lnTo>
                  <a:lnTo>
                    <a:pt x="160" y="115"/>
                  </a:lnTo>
                  <a:lnTo>
                    <a:pt x="160" y="115"/>
                  </a:lnTo>
                  <a:lnTo>
                    <a:pt x="160" y="113"/>
                  </a:lnTo>
                  <a:lnTo>
                    <a:pt x="160" y="113"/>
                  </a:lnTo>
                  <a:lnTo>
                    <a:pt x="158" y="111"/>
                  </a:lnTo>
                  <a:lnTo>
                    <a:pt x="158" y="113"/>
                  </a:lnTo>
                  <a:lnTo>
                    <a:pt x="158" y="113"/>
                  </a:lnTo>
                  <a:lnTo>
                    <a:pt x="156" y="111"/>
                  </a:lnTo>
                  <a:lnTo>
                    <a:pt x="156" y="111"/>
                  </a:lnTo>
                  <a:lnTo>
                    <a:pt x="156" y="111"/>
                  </a:lnTo>
                  <a:close/>
                  <a:moveTo>
                    <a:pt x="556" y="111"/>
                  </a:moveTo>
                  <a:lnTo>
                    <a:pt x="558" y="113"/>
                  </a:lnTo>
                  <a:lnTo>
                    <a:pt x="558" y="113"/>
                  </a:lnTo>
                  <a:lnTo>
                    <a:pt x="558" y="111"/>
                  </a:lnTo>
                  <a:lnTo>
                    <a:pt x="554" y="109"/>
                  </a:lnTo>
                  <a:lnTo>
                    <a:pt x="556" y="111"/>
                  </a:lnTo>
                  <a:lnTo>
                    <a:pt x="556" y="111"/>
                  </a:lnTo>
                  <a:close/>
                  <a:moveTo>
                    <a:pt x="523" y="107"/>
                  </a:moveTo>
                  <a:lnTo>
                    <a:pt x="523" y="109"/>
                  </a:lnTo>
                  <a:lnTo>
                    <a:pt x="523" y="109"/>
                  </a:lnTo>
                  <a:lnTo>
                    <a:pt x="523" y="109"/>
                  </a:lnTo>
                  <a:lnTo>
                    <a:pt x="523" y="109"/>
                  </a:lnTo>
                  <a:lnTo>
                    <a:pt x="523" y="107"/>
                  </a:lnTo>
                  <a:lnTo>
                    <a:pt x="523" y="107"/>
                  </a:lnTo>
                  <a:lnTo>
                    <a:pt x="523" y="107"/>
                  </a:lnTo>
                  <a:close/>
                  <a:moveTo>
                    <a:pt x="152" y="105"/>
                  </a:moveTo>
                  <a:lnTo>
                    <a:pt x="154" y="107"/>
                  </a:lnTo>
                  <a:lnTo>
                    <a:pt x="154" y="107"/>
                  </a:lnTo>
                  <a:lnTo>
                    <a:pt x="156" y="107"/>
                  </a:lnTo>
                  <a:lnTo>
                    <a:pt x="156" y="109"/>
                  </a:lnTo>
                  <a:lnTo>
                    <a:pt x="156" y="107"/>
                  </a:lnTo>
                  <a:lnTo>
                    <a:pt x="156" y="107"/>
                  </a:lnTo>
                  <a:lnTo>
                    <a:pt x="154" y="105"/>
                  </a:lnTo>
                  <a:lnTo>
                    <a:pt x="152" y="105"/>
                  </a:lnTo>
                  <a:close/>
                  <a:moveTo>
                    <a:pt x="131" y="99"/>
                  </a:moveTo>
                  <a:lnTo>
                    <a:pt x="131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9"/>
                  </a:lnTo>
                  <a:close/>
                  <a:moveTo>
                    <a:pt x="523" y="97"/>
                  </a:moveTo>
                  <a:lnTo>
                    <a:pt x="523" y="97"/>
                  </a:lnTo>
                  <a:lnTo>
                    <a:pt x="523" y="97"/>
                  </a:lnTo>
                  <a:lnTo>
                    <a:pt x="523" y="97"/>
                  </a:lnTo>
                  <a:lnTo>
                    <a:pt x="523" y="95"/>
                  </a:lnTo>
                  <a:lnTo>
                    <a:pt x="523" y="95"/>
                  </a:lnTo>
                  <a:lnTo>
                    <a:pt x="523" y="95"/>
                  </a:lnTo>
                  <a:lnTo>
                    <a:pt x="523" y="97"/>
                  </a:lnTo>
                  <a:lnTo>
                    <a:pt x="523" y="97"/>
                  </a:lnTo>
                  <a:close/>
                  <a:moveTo>
                    <a:pt x="521" y="95"/>
                  </a:moveTo>
                  <a:lnTo>
                    <a:pt x="523" y="95"/>
                  </a:lnTo>
                  <a:lnTo>
                    <a:pt x="523" y="93"/>
                  </a:lnTo>
                  <a:lnTo>
                    <a:pt x="521" y="93"/>
                  </a:lnTo>
                  <a:lnTo>
                    <a:pt x="521" y="95"/>
                  </a:lnTo>
                  <a:lnTo>
                    <a:pt x="521" y="95"/>
                  </a:lnTo>
                  <a:lnTo>
                    <a:pt x="521" y="95"/>
                  </a:lnTo>
                  <a:lnTo>
                    <a:pt x="521" y="95"/>
                  </a:lnTo>
                  <a:close/>
                  <a:moveTo>
                    <a:pt x="133" y="93"/>
                  </a:moveTo>
                  <a:lnTo>
                    <a:pt x="133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5" y="93"/>
                  </a:lnTo>
                  <a:lnTo>
                    <a:pt x="133" y="93"/>
                  </a:lnTo>
                  <a:close/>
                  <a:moveTo>
                    <a:pt x="141" y="95"/>
                  </a:moveTo>
                  <a:lnTo>
                    <a:pt x="141" y="95"/>
                  </a:lnTo>
                  <a:lnTo>
                    <a:pt x="141" y="93"/>
                  </a:lnTo>
                  <a:lnTo>
                    <a:pt x="139" y="93"/>
                  </a:lnTo>
                  <a:lnTo>
                    <a:pt x="139" y="93"/>
                  </a:lnTo>
                  <a:lnTo>
                    <a:pt x="139" y="95"/>
                  </a:lnTo>
                  <a:lnTo>
                    <a:pt x="141" y="95"/>
                  </a:lnTo>
                  <a:close/>
                  <a:moveTo>
                    <a:pt x="145" y="93"/>
                  </a:moveTo>
                  <a:lnTo>
                    <a:pt x="145" y="93"/>
                  </a:lnTo>
                  <a:lnTo>
                    <a:pt x="145" y="93"/>
                  </a:lnTo>
                  <a:lnTo>
                    <a:pt x="147" y="95"/>
                  </a:lnTo>
                  <a:lnTo>
                    <a:pt x="147" y="95"/>
                  </a:lnTo>
                  <a:lnTo>
                    <a:pt x="147" y="93"/>
                  </a:lnTo>
                  <a:lnTo>
                    <a:pt x="147" y="93"/>
                  </a:lnTo>
                  <a:lnTo>
                    <a:pt x="145" y="93"/>
                  </a:lnTo>
                  <a:lnTo>
                    <a:pt x="145" y="93"/>
                  </a:lnTo>
                  <a:close/>
                  <a:moveTo>
                    <a:pt x="119" y="93"/>
                  </a:moveTo>
                  <a:lnTo>
                    <a:pt x="119" y="93"/>
                  </a:lnTo>
                  <a:lnTo>
                    <a:pt x="119" y="93"/>
                  </a:lnTo>
                  <a:lnTo>
                    <a:pt x="121" y="95"/>
                  </a:lnTo>
                  <a:lnTo>
                    <a:pt x="123" y="95"/>
                  </a:lnTo>
                  <a:lnTo>
                    <a:pt x="125" y="95"/>
                  </a:lnTo>
                  <a:lnTo>
                    <a:pt x="127" y="95"/>
                  </a:lnTo>
                  <a:lnTo>
                    <a:pt x="129" y="97"/>
                  </a:lnTo>
                  <a:lnTo>
                    <a:pt x="129" y="95"/>
                  </a:lnTo>
                  <a:lnTo>
                    <a:pt x="127" y="93"/>
                  </a:lnTo>
                  <a:lnTo>
                    <a:pt x="127" y="93"/>
                  </a:lnTo>
                  <a:lnTo>
                    <a:pt x="125" y="91"/>
                  </a:lnTo>
                  <a:lnTo>
                    <a:pt x="123" y="91"/>
                  </a:lnTo>
                  <a:lnTo>
                    <a:pt x="123" y="91"/>
                  </a:lnTo>
                  <a:lnTo>
                    <a:pt x="121" y="88"/>
                  </a:lnTo>
                  <a:lnTo>
                    <a:pt x="121" y="88"/>
                  </a:lnTo>
                  <a:lnTo>
                    <a:pt x="119" y="91"/>
                  </a:lnTo>
                  <a:lnTo>
                    <a:pt x="119" y="93"/>
                  </a:lnTo>
                  <a:close/>
                  <a:moveTo>
                    <a:pt x="135" y="91"/>
                  </a:moveTo>
                  <a:lnTo>
                    <a:pt x="135" y="91"/>
                  </a:lnTo>
                  <a:lnTo>
                    <a:pt x="135" y="88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91"/>
                  </a:lnTo>
                  <a:lnTo>
                    <a:pt x="135" y="91"/>
                  </a:lnTo>
                  <a:close/>
                  <a:moveTo>
                    <a:pt x="125" y="91"/>
                  </a:moveTo>
                  <a:lnTo>
                    <a:pt x="127" y="91"/>
                  </a:lnTo>
                  <a:lnTo>
                    <a:pt x="127" y="93"/>
                  </a:lnTo>
                  <a:lnTo>
                    <a:pt x="129" y="93"/>
                  </a:lnTo>
                  <a:lnTo>
                    <a:pt x="129" y="93"/>
                  </a:lnTo>
                  <a:lnTo>
                    <a:pt x="131" y="95"/>
                  </a:lnTo>
                  <a:lnTo>
                    <a:pt x="131" y="93"/>
                  </a:lnTo>
                  <a:lnTo>
                    <a:pt x="129" y="91"/>
                  </a:lnTo>
                  <a:lnTo>
                    <a:pt x="127" y="88"/>
                  </a:lnTo>
                  <a:lnTo>
                    <a:pt x="125" y="88"/>
                  </a:lnTo>
                  <a:lnTo>
                    <a:pt x="123" y="88"/>
                  </a:lnTo>
                  <a:lnTo>
                    <a:pt x="123" y="91"/>
                  </a:lnTo>
                  <a:lnTo>
                    <a:pt x="123" y="91"/>
                  </a:lnTo>
                  <a:lnTo>
                    <a:pt x="125" y="91"/>
                  </a:lnTo>
                  <a:close/>
                  <a:moveTo>
                    <a:pt x="143" y="91"/>
                  </a:moveTo>
                  <a:lnTo>
                    <a:pt x="145" y="91"/>
                  </a:lnTo>
                  <a:lnTo>
                    <a:pt x="145" y="88"/>
                  </a:lnTo>
                  <a:lnTo>
                    <a:pt x="145" y="88"/>
                  </a:lnTo>
                  <a:lnTo>
                    <a:pt x="145" y="88"/>
                  </a:lnTo>
                  <a:lnTo>
                    <a:pt x="145" y="88"/>
                  </a:lnTo>
                  <a:lnTo>
                    <a:pt x="145" y="86"/>
                  </a:lnTo>
                  <a:lnTo>
                    <a:pt x="143" y="88"/>
                  </a:lnTo>
                  <a:lnTo>
                    <a:pt x="143" y="88"/>
                  </a:lnTo>
                  <a:lnTo>
                    <a:pt x="143" y="88"/>
                  </a:lnTo>
                  <a:lnTo>
                    <a:pt x="143" y="88"/>
                  </a:lnTo>
                  <a:lnTo>
                    <a:pt x="143" y="91"/>
                  </a:lnTo>
                  <a:lnTo>
                    <a:pt x="143" y="91"/>
                  </a:lnTo>
                  <a:close/>
                  <a:moveTo>
                    <a:pt x="149" y="91"/>
                  </a:moveTo>
                  <a:lnTo>
                    <a:pt x="152" y="91"/>
                  </a:lnTo>
                  <a:lnTo>
                    <a:pt x="152" y="91"/>
                  </a:lnTo>
                  <a:lnTo>
                    <a:pt x="152" y="91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4" y="95"/>
                  </a:lnTo>
                  <a:lnTo>
                    <a:pt x="154" y="93"/>
                  </a:lnTo>
                  <a:lnTo>
                    <a:pt x="154" y="91"/>
                  </a:lnTo>
                  <a:lnTo>
                    <a:pt x="156" y="91"/>
                  </a:lnTo>
                  <a:lnTo>
                    <a:pt x="154" y="88"/>
                  </a:lnTo>
                  <a:lnTo>
                    <a:pt x="154" y="88"/>
                  </a:lnTo>
                  <a:lnTo>
                    <a:pt x="154" y="86"/>
                  </a:lnTo>
                  <a:lnTo>
                    <a:pt x="152" y="86"/>
                  </a:lnTo>
                  <a:lnTo>
                    <a:pt x="152" y="86"/>
                  </a:lnTo>
                  <a:lnTo>
                    <a:pt x="149" y="86"/>
                  </a:lnTo>
                  <a:lnTo>
                    <a:pt x="147" y="88"/>
                  </a:lnTo>
                  <a:lnTo>
                    <a:pt x="147" y="88"/>
                  </a:lnTo>
                  <a:lnTo>
                    <a:pt x="147" y="91"/>
                  </a:lnTo>
                  <a:lnTo>
                    <a:pt x="149" y="91"/>
                  </a:lnTo>
                  <a:close/>
                  <a:moveTo>
                    <a:pt x="117" y="84"/>
                  </a:moveTo>
                  <a:lnTo>
                    <a:pt x="117" y="84"/>
                  </a:lnTo>
                  <a:lnTo>
                    <a:pt x="117" y="84"/>
                  </a:lnTo>
                  <a:lnTo>
                    <a:pt x="115" y="84"/>
                  </a:lnTo>
                  <a:lnTo>
                    <a:pt x="115" y="86"/>
                  </a:lnTo>
                  <a:lnTo>
                    <a:pt x="117" y="88"/>
                  </a:lnTo>
                  <a:lnTo>
                    <a:pt x="117" y="88"/>
                  </a:lnTo>
                  <a:lnTo>
                    <a:pt x="117" y="91"/>
                  </a:lnTo>
                  <a:lnTo>
                    <a:pt x="119" y="91"/>
                  </a:lnTo>
                  <a:lnTo>
                    <a:pt x="119" y="91"/>
                  </a:lnTo>
                  <a:lnTo>
                    <a:pt x="119" y="91"/>
                  </a:lnTo>
                  <a:lnTo>
                    <a:pt x="119" y="88"/>
                  </a:lnTo>
                  <a:lnTo>
                    <a:pt x="119" y="86"/>
                  </a:lnTo>
                  <a:lnTo>
                    <a:pt x="119" y="86"/>
                  </a:lnTo>
                  <a:lnTo>
                    <a:pt x="117" y="84"/>
                  </a:lnTo>
                  <a:close/>
                  <a:moveTo>
                    <a:pt x="43" y="88"/>
                  </a:moveTo>
                  <a:lnTo>
                    <a:pt x="43" y="86"/>
                  </a:lnTo>
                  <a:lnTo>
                    <a:pt x="39" y="82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2"/>
                  </a:lnTo>
                  <a:lnTo>
                    <a:pt x="34" y="82"/>
                  </a:lnTo>
                  <a:lnTo>
                    <a:pt x="32" y="82"/>
                  </a:lnTo>
                  <a:lnTo>
                    <a:pt x="34" y="86"/>
                  </a:lnTo>
                  <a:lnTo>
                    <a:pt x="37" y="91"/>
                  </a:lnTo>
                  <a:lnTo>
                    <a:pt x="37" y="93"/>
                  </a:lnTo>
                  <a:lnTo>
                    <a:pt x="39" y="93"/>
                  </a:lnTo>
                  <a:lnTo>
                    <a:pt x="41" y="95"/>
                  </a:lnTo>
                  <a:lnTo>
                    <a:pt x="43" y="97"/>
                  </a:lnTo>
                  <a:lnTo>
                    <a:pt x="43" y="99"/>
                  </a:lnTo>
                  <a:lnTo>
                    <a:pt x="45" y="99"/>
                  </a:lnTo>
                  <a:lnTo>
                    <a:pt x="45" y="97"/>
                  </a:lnTo>
                  <a:lnTo>
                    <a:pt x="45" y="93"/>
                  </a:lnTo>
                  <a:lnTo>
                    <a:pt x="45" y="91"/>
                  </a:lnTo>
                  <a:lnTo>
                    <a:pt x="45" y="91"/>
                  </a:lnTo>
                  <a:lnTo>
                    <a:pt x="43" y="88"/>
                  </a:lnTo>
                  <a:close/>
                  <a:moveTo>
                    <a:pt x="112" y="82"/>
                  </a:moveTo>
                  <a:lnTo>
                    <a:pt x="115" y="82"/>
                  </a:lnTo>
                  <a:lnTo>
                    <a:pt x="117" y="82"/>
                  </a:lnTo>
                  <a:lnTo>
                    <a:pt x="117" y="82"/>
                  </a:lnTo>
                  <a:lnTo>
                    <a:pt x="119" y="84"/>
                  </a:lnTo>
                  <a:lnTo>
                    <a:pt x="119" y="84"/>
                  </a:lnTo>
                  <a:lnTo>
                    <a:pt x="119" y="82"/>
                  </a:lnTo>
                  <a:lnTo>
                    <a:pt x="119" y="82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2"/>
                  </a:lnTo>
                  <a:close/>
                  <a:moveTo>
                    <a:pt x="386" y="158"/>
                  </a:moveTo>
                  <a:lnTo>
                    <a:pt x="384" y="158"/>
                  </a:lnTo>
                  <a:lnTo>
                    <a:pt x="384" y="158"/>
                  </a:lnTo>
                  <a:lnTo>
                    <a:pt x="384" y="158"/>
                  </a:lnTo>
                  <a:lnTo>
                    <a:pt x="384" y="160"/>
                  </a:lnTo>
                  <a:lnTo>
                    <a:pt x="384" y="160"/>
                  </a:lnTo>
                  <a:lnTo>
                    <a:pt x="384" y="162"/>
                  </a:lnTo>
                  <a:lnTo>
                    <a:pt x="384" y="165"/>
                  </a:lnTo>
                  <a:lnTo>
                    <a:pt x="384" y="167"/>
                  </a:lnTo>
                  <a:lnTo>
                    <a:pt x="384" y="169"/>
                  </a:lnTo>
                  <a:lnTo>
                    <a:pt x="384" y="171"/>
                  </a:lnTo>
                  <a:lnTo>
                    <a:pt x="384" y="173"/>
                  </a:lnTo>
                  <a:lnTo>
                    <a:pt x="386" y="175"/>
                  </a:lnTo>
                  <a:lnTo>
                    <a:pt x="390" y="173"/>
                  </a:lnTo>
                  <a:lnTo>
                    <a:pt x="392" y="173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5"/>
                  </a:lnTo>
                  <a:lnTo>
                    <a:pt x="394" y="175"/>
                  </a:lnTo>
                  <a:lnTo>
                    <a:pt x="394" y="177"/>
                  </a:lnTo>
                  <a:lnTo>
                    <a:pt x="394" y="177"/>
                  </a:lnTo>
                  <a:lnTo>
                    <a:pt x="394" y="179"/>
                  </a:lnTo>
                  <a:lnTo>
                    <a:pt x="396" y="183"/>
                  </a:lnTo>
                  <a:lnTo>
                    <a:pt x="396" y="183"/>
                  </a:lnTo>
                  <a:lnTo>
                    <a:pt x="396" y="191"/>
                  </a:lnTo>
                  <a:lnTo>
                    <a:pt x="394" y="191"/>
                  </a:lnTo>
                  <a:lnTo>
                    <a:pt x="394" y="193"/>
                  </a:lnTo>
                  <a:lnTo>
                    <a:pt x="394" y="195"/>
                  </a:lnTo>
                  <a:lnTo>
                    <a:pt x="394" y="200"/>
                  </a:lnTo>
                  <a:lnTo>
                    <a:pt x="392" y="202"/>
                  </a:lnTo>
                  <a:lnTo>
                    <a:pt x="392" y="204"/>
                  </a:lnTo>
                  <a:lnTo>
                    <a:pt x="390" y="206"/>
                  </a:lnTo>
                  <a:lnTo>
                    <a:pt x="390" y="208"/>
                  </a:lnTo>
                  <a:lnTo>
                    <a:pt x="392" y="210"/>
                  </a:lnTo>
                  <a:lnTo>
                    <a:pt x="394" y="212"/>
                  </a:lnTo>
                  <a:lnTo>
                    <a:pt x="396" y="214"/>
                  </a:lnTo>
                  <a:lnTo>
                    <a:pt x="396" y="214"/>
                  </a:lnTo>
                  <a:lnTo>
                    <a:pt x="398" y="214"/>
                  </a:lnTo>
                  <a:lnTo>
                    <a:pt x="398" y="212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4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8" y="212"/>
                  </a:lnTo>
                  <a:lnTo>
                    <a:pt x="406" y="210"/>
                  </a:lnTo>
                  <a:lnTo>
                    <a:pt x="406" y="208"/>
                  </a:lnTo>
                  <a:lnTo>
                    <a:pt x="406" y="204"/>
                  </a:lnTo>
                  <a:lnTo>
                    <a:pt x="406" y="202"/>
                  </a:lnTo>
                  <a:lnTo>
                    <a:pt x="406" y="200"/>
                  </a:lnTo>
                  <a:lnTo>
                    <a:pt x="408" y="195"/>
                  </a:lnTo>
                  <a:lnTo>
                    <a:pt x="408" y="193"/>
                  </a:lnTo>
                  <a:lnTo>
                    <a:pt x="408" y="189"/>
                  </a:lnTo>
                  <a:lnTo>
                    <a:pt x="408" y="185"/>
                  </a:lnTo>
                  <a:lnTo>
                    <a:pt x="408" y="179"/>
                  </a:lnTo>
                  <a:lnTo>
                    <a:pt x="408" y="177"/>
                  </a:lnTo>
                  <a:lnTo>
                    <a:pt x="408" y="177"/>
                  </a:lnTo>
                  <a:lnTo>
                    <a:pt x="408" y="171"/>
                  </a:lnTo>
                  <a:lnTo>
                    <a:pt x="408" y="169"/>
                  </a:lnTo>
                  <a:lnTo>
                    <a:pt x="406" y="167"/>
                  </a:lnTo>
                  <a:lnTo>
                    <a:pt x="406" y="165"/>
                  </a:lnTo>
                  <a:lnTo>
                    <a:pt x="406" y="162"/>
                  </a:lnTo>
                  <a:lnTo>
                    <a:pt x="408" y="162"/>
                  </a:lnTo>
                  <a:lnTo>
                    <a:pt x="410" y="158"/>
                  </a:lnTo>
                  <a:lnTo>
                    <a:pt x="412" y="158"/>
                  </a:lnTo>
                  <a:lnTo>
                    <a:pt x="414" y="158"/>
                  </a:lnTo>
                  <a:lnTo>
                    <a:pt x="416" y="158"/>
                  </a:lnTo>
                  <a:lnTo>
                    <a:pt x="418" y="158"/>
                  </a:lnTo>
                  <a:lnTo>
                    <a:pt x="420" y="160"/>
                  </a:lnTo>
                  <a:lnTo>
                    <a:pt x="420" y="162"/>
                  </a:lnTo>
                  <a:lnTo>
                    <a:pt x="420" y="165"/>
                  </a:lnTo>
                  <a:lnTo>
                    <a:pt x="418" y="167"/>
                  </a:lnTo>
                  <a:lnTo>
                    <a:pt x="418" y="169"/>
                  </a:lnTo>
                  <a:lnTo>
                    <a:pt x="416" y="171"/>
                  </a:lnTo>
                  <a:lnTo>
                    <a:pt x="416" y="173"/>
                  </a:lnTo>
                  <a:lnTo>
                    <a:pt x="416" y="173"/>
                  </a:lnTo>
                  <a:lnTo>
                    <a:pt x="416" y="175"/>
                  </a:lnTo>
                  <a:lnTo>
                    <a:pt x="423" y="181"/>
                  </a:lnTo>
                  <a:lnTo>
                    <a:pt x="425" y="183"/>
                  </a:lnTo>
                  <a:lnTo>
                    <a:pt x="427" y="183"/>
                  </a:lnTo>
                  <a:lnTo>
                    <a:pt x="429" y="185"/>
                  </a:lnTo>
                  <a:lnTo>
                    <a:pt x="427" y="185"/>
                  </a:lnTo>
                  <a:lnTo>
                    <a:pt x="427" y="187"/>
                  </a:lnTo>
                  <a:lnTo>
                    <a:pt x="427" y="187"/>
                  </a:lnTo>
                  <a:lnTo>
                    <a:pt x="427" y="187"/>
                  </a:lnTo>
                  <a:lnTo>
                    <a:pt x="425" y="193"/>
                  </a:lnTo>
                  <a:lnTo>
                    <a:pt x="425" y="195"/>
                  </a:lnTo>
                  <a:lnTo>
                    <a:pt x="427" y="197"/>
                  </a:lnTo>
                  <a:lnTo>
                    <a:pt x="427" y="197"/>
                  </a:lnTo>
                  <a:lnTo>
                    <a:pt x="429" y="197"/>
                  </a:lnTo>
                  <a:lnTo>
                    <a:pt x="433" y="197"/>
                  </a:lnTo>
                  <a:lnTo>
                    <a:pt x="435" y="197"/>
                  </a:lnTo>
                  <a:lnTo>
                    <a:pt x="435" y="197"/>
                  </a:lnTo>
                  <a:lnTo>
                    <a:pt x="435" y="195"/>
                  </a:lnTo>
                  <a:lnTo>
                    <a:pt x="435" y="193"/>
                  </a:lnTo>
                  <a:lnTo>
                    <a:pt x="435" y="193"/>
                  </a:lnTo>
                  <a:lnTo>
                    <a:pt x="437" y="191"/>
                  </a:lnTo>
                  <a:lnTo>
                    <a:pt x="441" y="191"/>
                  </a:lnTo>
                  <a:lnTo>
                    <a:pt x="443" y="189"/>
                  </a:lnTo>
                  <a:lnTo>
                    <a:pt x="445" y="191"/>
                  </a:lnTo>
                  <a:lnTo>
                    <a:pt x="445" y="189"/>
                  </a:lnTo>
                  <a:lnTo>
                    <a:pt x="445" y="189"/>
                  </a:lnTo>
                  <a:lnTo>
                    <a:pt x="445" y="189"/>
                  </a:lnTo>
                  <a:lnTo>
                    <a:pt x="447" y="189"/>
                  </a:lnTo>
                  <a:lnTo>
                    <a:pt x="447" y="189"/>
                  </a:lnTo>
                  <a:lnTo>
                    <a:pt x="449" y="189"/>
                  </a:lnTo>
                  <a:lnTo>
                    <a:pt x="449" y="187"/>
                  </a:lnTo>
                  <a:lnTo>
                    <a:pt x="449" y="185"/>
                  </a:lnTo>
                  <a:lnTo>
                    <a:pt x="447" y="185"/>
                  </a:lnTo>
                  <a:lnTo>
                    <a:pt x="447" y="183"/>
                  </a:lnTo>
                  <a:lnTo>
                    <a:pt x="447" y="183"/>
                  </a:lnTo>
                  <a:lnTo>
                    <a:pt x="447" y="183"/>
                  </a:lnTo>
                  <a:lnTo>
                    <a:pt x="445" y="185"/>
                  </a:lnTo>
                  <a:lnTo>
                    <a:pt x="445" y="183"/>
                  </a:lnTo>
                  <a:lnTo>
                    <a:pt x="445" y="183"/>
                  </a:lnTo>
                  <a:lnTo>
                    <a:pt x="443" y="183"/>
                  </a:lnTo>
                  <a:lnTo>
                    <a:pt x="443" y="181"/>
                  </a:lnTo>
                  <a:lnTo>
                    <a:pt x="443" y="181"/>
                  </a:lnTo>
                  <a:lnTo>
                    <a:pt x="443" y="179"/>
                  </a:lnTo>
                  <a:lnTo>
                    <a:pt x="441" y="177"/>
                  </a:lnTo>
                  <a:lnTo>
                    <a:pt x="441" y="177"/>
                  </a:lnTo>
                  <a:lnTo>
                    <a:pt x="439" y="177"/>
                  </a:lnTo>
                  <a:lnTo>
                    <a:pt x="439" y="177"/>
                  </a:lnTo>
                  <a:lnTo>
                    <a:pt x="439" y="175"/>
                  </a:lnTo>
                  <a:lnTo>
                    <a:pt x="439" y="175"/>
                  </a:lnTo>
                  <a:lnTo>
                    <a:pt x="439" y="175"/>
                  </a:lnTo>
                  <a:lnTo>
                    <a:pt x="439" y="171"/>
                  </a:lnTo>
                  <a:lnTo>
                    <a:pt x="439" y="169"/>
                  </a:lnTo>
                  <a:lnTo>
                    <a:pt x="441" y="169"/>
                  </a:lnTo>
                  <a:lnTo>
                    <a:pt x="441" y="167"/>
                  </a:lnTo>
                  <a:lnTo>
                    <a:pt x="439" y="165"/>
                  </a:lnTo>
                  <a:lnTo>
                    <a:pt x="439" y="165"/>
                  </a:lnTo>
                  <a:lnTo>
                    <a:pt x="439" y="162"/>
                  </a:lnTo>
                  <a:lnTo>
                    <a:pt x="439" y="162"/>
                  </a:lnTo>
                  <a:lnTo>
                    <a:pt x="437" y="160"/>
                  </a:lnTo>
                  <a:lnTo>
                    <a:pt x="435" y="158"/>
                  </a:lnTo>
                  <a:lnTo>
                    <a:pt x="435" y="156"/>
                  </a:lnTo>
                  <a:lnTo>
                    <a:pt x="433" y="152"/>
                  </a:lnTo>
                  <a:lnTo>
                    <a:pt x="431" y="150"/>
                  </a:lnTo>
                  <a:lnTo>
                    <a:pt x="431" y="150"/>
                  </a:lnTo>
                  <a:lnTo>
                    <a:pt x="429" y="148"/>
                  </a:lnTo>
                  <a:lnTo>
                    <a:pt x="429" y="148"/>
                  </a:lnTo>
                  <a:lnTo>
                    <a:pt x="427" y="146"/>
                  </a:lnTo>
                  <a:lnTo>
                    <a:pt x="425" y="146"/>
                  </a:lnTo>
                  <a:lnTo>
                    <a:pt x="425" y="144"/>
                  </a:lnTo>
                  <a:lnTo>
                    <a:pt x="425" y="144"/>
                  </a:lnTo>
                  <a:lnTo>
                    <a:pt x="425" y="142"/>
                  </a:lnTo>
                  <a:lnTo>
                    <a:pt x="427" y="144"/>
                  </a:lnTo>
                  <a:lnTo>
                    <a:pt x="429" y="144"/>
                  </a:lnTo>
                  <a:lnTo>
                    <a:pt x="429" y="144"/>
                  </a:lnTo>
                  <a:lnTo>
                    <a:pt x="431" y="144"/>
                  </a:lnTo>
                  <a:lnTo>
                    <a:pt x="431" y="142"/>
                  </a:lnTo>
                  <a:lnTo>
                    <a:pt x="433" y="140"/>
                  </a:lnTo>
                  <a:lnTo>
                    <a:pt x="437" y="138"/>
                  </a:lnTo>
                  <a:lnTo>
                    <a:pt x="439" y="138"/>
                  </a:lnTo>
                  <a:lnTo>
                    <a:pt x="441" y="136"/>
                  </a:lnTo>
                  <a:lnTo>
                    <a:pt x="443" y="134"/>
                  </a:lnTo>
                  <a:lnTo>
                    <a:pt x="445" y="132"/>
                  </a:lnTo>
                  <a:lnTo>
                    <a:pt x="447" y="130"/>
                  </a:lnTo>
                  <a:lnTo>
                    <a:pt x="449" y="128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53" y="125"/>
                  </a:lnTo>
                  <a:lnTo>
                    <a:pt x="453" y="125"/>
                  </a:lnTo>
                  <a:lnTo>
                    <a:pt x="455" y="128"/>
                  </a:lnTo>
                  <a:lnTo>
                    <a:pt x="457" y="128"/>
                  </a:lnTo>
                  <a:lnTo>
                    <a:pt x="457" y="128"/>
                  </a:lnTo>
                  <a:lnTo>
                    <a:pt x="457" y="128"/>
                  </a:lnTo>
                  <a:lnTo>
                    <a:pt x="459" y="123"/>
                  </a:lnTo>
                  <a:lnTo>
                    <a:pt x="459" y="121"/>
                  </a:lnTo>
                  <a:lnTo>
                    <a:pt x="457" y="121"/>
                  </a:lnTo>
                  <a:lnTo>
                    <a:pt x="455" y="119"/>
                  </a:lnTo>
                  <a:lnTo>
                    <a:pt x="455" y="119"/>
                  </a:lnTo>
                  <a:lnTo>
                    <a:pt x="451" y="119"/>
                  </a:lnTo>
                  <a:lnTo>
                    <a:pt x="449" y="121"/>
                  </a:lnTo>
                  <a:lnTo>
                    <a:pt x="449" y="121"/>
                  </a:lnTo>
                  <a:lnTo>
                    <a:pt x="449" y="121"/>
                  </a:lnTo>
                  <a:lnTo>
                    <a:pt x="449" y="121"/>
                  </a:lnTo>
                  <a:lnTo>
                    <a:pt x="449" y="123"/>
                  </a:lnTo>
                  <a:lnTo>
                    <a:pt x="447" y="123"/>
                  </a:lnTo>
                  <a:lnTo>
                    <a:pt x="445" y="123"/>
                  </a:lnTo>
                  <a:lnTo>
                    <a:pt x="441" y="123"/>
                  </a:lnTo>
                  <a:lnTo>
                    <a:pt x="439" y="123"/>
                  </a:lnTo>
                  <a:lnTo>
                    <a:pt x="437" y="125"/>
                  </a:lnTo>
                  <a:lnTo>
                    <a:pt x="437" y="125"/>
                  </a:lnTo>
                  <a:lnTo>
                    <a:pt x="435" y="125"/>
                  </a:lnTo>
                  <a:lnTo>
                    <a:pt x="433" y="125"/>
                  </a:lnTo>
                  <a:lnTo>
                    <a:pt x="431" y="125"/>
                  </a:lnTo>
                  <a:lnTo>
                    <a:pt x="431" y="125"/>
                  </a:lnTo>
                  <a:lnTo>
                    <a:pt x="429" y="125"/>
                  </a:lnTo>
                  <a:lnTo>
                    <a:pt x="429" y="123"/>
                  </a:lnTo>
                  <a:lnTo>
                    <a:pt x="429" y="125"/>
                  </a:lnTo>
                  <a:lnTo>
                    <a:pt x="427" y="125"/>
                  </a:lnTo>
                  <a:lnTo>
                    <a:pt x="425" y="130"/>
                  </a:lnTo>
                  <a:lnTo>
                    <a:pt x="423" y="132"/>
                  </a:lnTo>
                  <a:lnTo>
                    <a:pt x="423" y="134"/>
                  </a:lnTo>
                  <a:lnTo>
                    <a:pt x="420" y="136"/>
                  </a:lnTo>
                  <a:lnTo>
                    <a:pt x="418" y="134"/>
                  </a:lnTo>
                  <a:lnTo>
                    <a:pt x="416" y="134"/>
                  </a:lnTo>
                  <a:lnTo>
                    <a:pt x="414" y="134"/>
                  </a:lnTo>
                  <a:lnTo>
                    <a:pt x="414" y="134"/>
                  </a:lnTo>
                  <a:lnTo>
                    <a:pt x="412" y="132"/>
                  </a:lnTo>
                  <a:lnTo>
                    <a:pt x="412" y="128"/>
                  </a:lnTo>
                  <a:lnTo>
                    <a:pt x="410" y="128"/>
                  </a:lnTo>
                  <a:lnTo>
                    <a:pt x="408" y="125"/>
                  </a:lnTo>
                  <a:lnTo>
                    <a:pt x="406" y="125"/>
                  </a:lnTo>
                  <a:lnTo>
                    <a:pt x="404" y="121"/>
                  </a:lnTo>
                  <a:lnTo>
                    <a:pt x="404" y="119"/>
                  </a:lnTo>
                  <a:lnTo>
                    <a:pt x="404" y="117"/>
                  </a:lnTo>
                  <a:lnTo>
                    <a:pt x="404" y="115"/>
                  </a:lnTo>
                  <a:lnTo>
                    <a:pt x="404" y="113"/>
                  </a:lnTo>
                  <a:lnTo>
                    <a:pt x="404" y="111"/>
                  </a:lnTo>
                  <a:lnTo>
                    <a:pt x="404" y="109"/>
                  </a:lnTo>
                  <a:lnTo>
                    <a:pt x="406" y="107"/>
                  </a:lnTo>
                  <a:lnTo>
                    <a:pt x="406" y="105"/>
                  </a:lnTo>
                  <a:lnTo>
                    <a:pt x="408" y="101"/>
                  </a:lnTo>
                  <a:lnTo>
                    <a:pt x="408" y="101"/>
                  </a:lnTo>
                  <a:lnTo>
                    <a:pt x="410" y="99"/>
                  </a:lnTo>
                  <a:lnTo>
                    <a:pt x="412" y="99"/>
                  </a:lnTo>
                  <a:lnTo>
                    <a:pt x="414" y="99"/>
                  </a:lnTo>
                  <a:lnTo>
                    <a:pt x="418" y="101"/>
                  </a:lnTo>
                  <a:lnTo>
                    <a:pt x="420" y="101"/>
                  </a:lnTo>
                  <a:lnTo>
                    <a:pt x="427" y="101"/>
                  </a:lnTo>
                  <a:lnTo>
                    <a:pt x="429" y="101"/>
                  </a:lnTo>
                  <a:lnTo>
                    <a:pt x="429" y="101"/>
                  </a:lnTo>
                  <a:lnTo>
                    <a:pt x="431" y="101"/>
                  </a:lnTo>
                  <a:lnTo>
                    <a:pt x="433" y="101"/>
                  </a:lnTo>
                  <a:lnTo>
                    <a:pt x="437" y="101"/>
                  </a:lnTo>
                  <a:lnTo>
                    <a:pt x="441" y="101"/>
                  </a:lnTo>
                  <a:lnTo>
                    <a:pt x="451" y="101"/>
                  </a:lnTo>
                  <a:lnTo>
                    <a:pt x="451" y="101"/>
                  </a:lnTo>
                  <a:lnTo>
                    <a:pt x="453" y="101"/>
                  </a:lnTo>
                  <a:lnTo>
                    <a:pt x="455" y="101"/>
                  </a:lnTo>
                  <a:lnTo>
                    <a:pt x="455" y="103"/>
                  </a:lnTo>
                  <a:lnTo>
                    <a:pt x="457" y="103"/>
                  </a:lnTo>
                  <a:lnTo>
                    <a:pt x="459" y="103"/>
                  </a:lnTo>
                  <a:lnTo>
                    <a:pt x="462" y="103"/>
                  </a:lnTo>
                  <a:lnTo>
                    <a:pt x="464" y="103"/>
                  </a:lnTo>
                  <a:lnTo>
                    <a:pt x="470" y="103"/>
                  </a:lnTo>
                  <a:lnTo>
                    <a:pt x="472" y="103"/>
                  </a:lnTo>
                  <a:lnTo>
                    <a:pt x="472" y="101"/>
                  </a:lnTo>
                  <a:lnTo>
                    <a:pt x="474" y="101"/>
                  </a:lnTo>
                  <a:lnTo>
                    <a:pt x="476" y="101"/>
                  </a:lnTo>
                  <a:lnTo>
                    <a:pt x="476" y="99"/>
                  </a:lnTo>
                  <a:lnTo>
                    <a:pt x="478" y="97"/>
                  </a:lnTo>
                  <a:lnTo>
                    <a:pt x="478" y="95"/>
                  </a:lnTo>
                  <a:lnTo>
                    <a:pt x="480" y="95"/>
                  </a:lnTo>
                  <a:lnTo>
                    <a:pt x="482" y="91"/>
                  </a:lnTo>
                  <a:lnTo>
                    <a:pt x="484" y="88"/>
                  </a:lnTo>
                  <a:lnTo>
                    <a:pt x="484" y="86"/>
                  </a:lnTo>
                  <a:lnTo>
                    <a:pt x="486" y="84"/>
                  </a:lnTo>
                  <a:lnTo>
                    <a:pt x="486" y="82"/>
                  </a:lnTo>
                  <a:lnTo>
                    <a:pt x="488" y="82"/>
                  </a:lnTo>
                  <a:lnTo>
                    <a:pt x="488" y="82"/>
                  </a:lnTo>
                  <a:lnTo>
                    <a:pt x="486" y="78"/>
                  </a:lnTo>
                  <a:lnTo>
                    <a:pt x="486" y="78"/>
                  </a:lnTo>
                  <a:lnTo>
                    <a:pt x="484" y="78"/>
                  </a:lnTo>
                  <a:lnTo>
                    <a:pt x="482" y="78"/>
                  </a:lnTo>
                  <a:lnTo>
                    <a:pt x="482" y="80"/>
                  </a:lnTo>
                  <a:lnTo>
                    <a:pt x="480" y="82"/>
                  </a:lnTo>
                  <a:lnTo>
                    <a:pt x="480" y="82"/>
                  </a:lnTo>
                  <a:lnTo>
                    <a:pt x="478" y="82"/>
                  </a:lnTo>
                  <a:lnTo>
                    <a:pt x="478" y="84"/>
                  </a:lnTo>
                  <a:lnTo>
                    <a:pt x="478" y="84"/>
                  </a:lnTo>
                  <a:lnTo>
                    <a:pt x="476" y="86"/>
                  </a:lnTo>
                  <a:lnTo>
                    <a:pt x="474" y="86"/>
                  </a:lnTo>
                  <a:lnTo>
                    <a:pt x="472" y="91"/>
                  </a:lnTo>
                  <a:lnTo>
                    <a:pt x="468" y="93"/>
                  </a:lnTo>
                  <a:lnTo>
                    <a:pt x="466" y="95"/>
                  </a:lnTo>
                  <a:lnTo>
                    <a:pt x="455" y="93"/>
                  </a:lnTo>
                  <a:lnTo>
                    <a:pt x="453" y="93"/>
                  </a:lnTo>
                  <a:lnTo>
                    <a:pt x="451" y="93"/>
                  </a:lnTo>
                  <a:lnTo>
                    <a:pt x="451" y="93"/>
                  </a:lnTo>
                  <a:lnTo>
                    <a:pt x="449" y="93"/>
                  </a:lnTo>
                  <a:lnTo>
                    <a:pt x="449" y="93"/>
                  </a:lnTo>
                  <a:lnTo>
                    <a:pt x="449" y="93"/>
                  </a:lnTo>
                  <a:lnTo>
                    <a:pt x="447" y="93"/>
                  </a:lnTo>
                  <a:lnTo>
                    <a:pt x="445" y="91"/>
                  </a:lnTo>
                  <a:lnTo>
                    <a:pt x="443" y="91"/>
                  </a:lnTo>
                  <a:lnTo>
                    <a:pt x="437" y="91"/>
                  </a:lnTo>
                  <a:lnTo>
                    <a:pt x="433" y="88"/>
                  </a:lnTo>
                  <a:lnTo>
                    <a:pt x="429" y="88"/>
                  </a:lnTo>
                  <a:lnTo>
                    <a:pt x="429" y="88"/>
                  </a:lnTo>
                  <a:lnTo>
                    <a:pt x="427" y="88"/>
                  </a:lnTo>
                  <a:lnTo>
                    <a:pt x="427" y="88"/>
                  </a:lnTo>
                  <a:lnTo>
                    <a:pt x="427" y="86"/>
                  </a:lnTo>
                  <a:lnTo>
                    <a:pt x="427" y="86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3" y="86"/>
                  </a:lnTo>
                  <a:lnTo>
                    <a:pt x="420" y="84"/>
                  </a:lnTo>
                  <a:lnTo>
                    <a:pt x="420" y="84"/>
                  </a:lnTo>
                  <a:lnTo>
                    <a:pt x="418" y="84"/>
                  </a:lnTo>
                  <a:lnTo>
                    <a:pt x="418" y="86"/>
                  </a:lnTo>
                  <a:lnTo>
                    <a:pt x="416" y="86"/>
                  </a:lnTo>
                  <a:lnTo>
                    <a:pt x="416" y="88"/>
                  </a:lnTo>
                  <a:lnTo>
                    <a:pt x="416" y="91"/>
                  </a:lnTo>
                  <a:lnTo>
                    <a:pt x="414" y="91"/>
                  </a:lnTo>
                  <a:lnTo>
                    <a:pt x="414" y="93"/>
                  </a:lnTo>
                  <a:lnTo>
                    <a:pt x="414" y="93"/>
                  </a:lnTo>
                  <a:lnTo>
                    <a:pt x="412" y="93"/>
                  </a:lnTo>
                  <a:lnTo>
                    <a:pt x="412" y="95"/>
                  </a:lnTo>
                  <a:lnTo>
                    <a:pt x="410" y="93"/>
                  </a:lnTo>
                  <a:lnTo>
                    <a:pt x="408" y="93"/>
                  </a:lnTo>
                  <a:lnTo>
                    <a:pt x="408" y="91"/>
                  </a:lnTo>
                  <a:lnTo>
                    <a:pt x="408" y="91"/>
                  </a:lnTo>
                  <a:lnTo>
                    <a:pt x="408" y="91"/>
                  </a:lnTo>
                  <a:lnTo>
                    <a:pt x="406" y="93"/>
                  </a:lnTo>
                  <a:lnTo>
                    <a:pt x="406" y="95"/>
                  </a:lnTo>
                  <a:lnTo>
                    <a:pt x="404" y="95"/>
                  </a:lnTo>
                  <a:lnTo>
                    <a:pt x="404" y="97"/>
                  </a:lnTo>
                  <a:lnTo>
                    <a:pt x="404" y="99"/>
                  </a:lnTo>
                  <a:lnTo>
                    <a:pt x="404" y="99"/>
                  </a:lnTo>
                  <a:lnTo>
                    <a:pt x="402" y="101"/>
                  </a:lnTo>
                  <a:lnTo>
                    <a:pt x="400" y="105"/>
                  </a:lnTo>
                  <a:lnTo>
                    <a:pt x="400" y="105"/>
                  </a:lnTo>
                  <a:lnTo>
                    <a:pt x="402" y="109"/>
                  </a:lnTo>
                  <a:lnTo>
                    <a:pt x="400" y="109"/>
                  </a:lnTo>
                  <a:lnTo>
                    <a:pt x="400" y="111"/>
                  </a:lnTo>
                  <a:lnTo>
                    <a:pt x="400" y="109"/>
                  </a:lnTo>
                  <a:lnTo>
                    <a:pt x="398" y="111"/>
                  </a:lnTo>
                  <a:lnTo>
                    <a:pt x="400" y="117"/>
                  </a:lnTo>
                  <a:lnTo>
                    <a:pt x="400" y="121"/>
                  </a:lnTo>
                  <a:lnTo>
                    <a:pt x="400" y="123"/>
                  </a:lnTo>
                  <a:lnTo>
                    <a:pt x="400" y="125"/>
                  </a:lnTo>
                  <a:lnTo>
                    <a:pt x="400" y="123"/>
                  </a:lnTo>
                  <a:lnTo>
                    <a:pt x="398" y="121"/>
                  </a:lnTo>
                  <a:lnTo>
                    <a:pt x="398" y="123"/>
                  </a:lnTo>
                  <a:lnTo>
                    <a:pt x="396" y="125"/>
                  </a:lnTo>
                  <a:lnTo>
                    <a:pt x="392" y="132"/>
                  </a:lnTo>
                  <a:lnTo>
                    <a:pt x="392" y="136"/>
                  </a:lnTo>
                  <a:lnTo>
                    <a:pt x="392" y="136"/>
                  </a:lnTo>
                  <a:lnTo>
                    <a:pt x="392" y="138"/>
                  </a:lnTo>
                  <a:lnTo>
                    <a:pt x="392" y="140"/>
                  </a:lnTo>
                  <a:lnTo>
                    <a:pt x="392" y="142"/>
                  </a:lnTo>
                  <a:lnTo>
                    <a:pt x="392" y="144"/>
                  </a:lnTo>
                  <a:lnTo>
                    <a:pt x="390" y="146"/>
                  </a:lnTo>
                  <a:lnTo>
                    <a:pt x="390" y="148"/>
                  </a:lnTo>
                  <a:lnTo>
                    <a:pt x="390" y="150"/>
                  </a:lnTo>
                  <a:lnTo>
                    <a:pt x="388" y="152"/>
                  </a:lnTo>
                  <a:lnTo>
                    <a:pt x="388" y="154"/>
                  </a:lnTo>
                  <a:lnTo>
                    <a:pt x="386" y="156"/>
                  </a:lnTo>
                  <a:lnTo>
                    <a:pt x="386" y="158"/>
                  </a:lnTo>
                  <a:close/>
                  <a:moveTo>
                    <a:pt x="104" y="78"/>
                  </a:moveTo>
                  <a:lnTo>
                    <a:pt x="104" y="78"/>
                  </a:lnTo>
                  <a:lnTo>
                    <a:pt x="106" y="76"/>
                  </a:lnTo>
                  <a:lnTo>
                    <a:pt x="106" y="74"/>
                  </a:lnTo>
                  <a:lnTo>
                    <a:pt x="108" y="74"/>
                  </a:lnTo>
                  <a:lnTo>
                    <a:pt x="108" y="72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4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2" y="74"/>
                  </a:lnTo>
                  <a:lnTo>
                    <a:pt x="102" y="76"/>
                  </a:lnTo>
                  <a:lnTo>
                    <a:pt x="104" y="78"/>
                  </a:lnTo>
                  <a:close/>
                  <a:moveTo>
                    <a:pt x="523" y="88"/>
                  </a:moveTo>
                  <a:lnTo>
                    <a:pt x="525" y="93"/>
                  </a:lnTo>
                  <a:lnTo>
                    <a:pt x="527" y="93"/>
                  </a:lnTo>
                  <a:lnTo>
                    <a:pt x="527" y="95"/>
                  </a:lnTo>
                  <a:lnTo>
                    <a:pt x="525" y="95"/>
                  </a:lnTo>
                  <a:lnTo>
                    <a:pt x="525" y="97"/>
                  </a:lnTo>
                  <a:lnTo>
                    <a:pt x="525" y="99"/>
                  </a:lnTo>
                  <a:lnTo>
                    <a:pt x="525" y="101"/>
                  </a:lnTo>
                  <a:lnTo>
                    <a:pt x="527" y="103"/>
                  </a:lnTo>
                  <a:lnTo>
                    <a:pt x="527" y="103"/>
                  </a:lnTo>
                  <a:lnTo>
                    <a:pt x="527" y="103"/>
                  </a:lnTo>
                  <a:lnTo>
                    <a:pt x="527" y="107"/>
                  </a:lnTo>
                  <a:lnTo>
                    <a:pt x="527" y="109"/>
                  </a:lnTo>
                  <a:lnTo>
                    <a:pt x="527" y="111"/>
                  </a:lnTo>
                  <a:lnTo>
                    <a:pt x="527" y="111"/>
                  </a:lnTo>
                  <a:lnTo>
                    <a:pt x="527" y="113"/>
                  </a:lnTo>
                  <a:lnTo>
                    <a:pt x="529" y="115"/>
                  </a:lnTo>
                  <a:lnTo>
                    <a:pt x="531" y="115"/>
                  </a:lnTo>
                  <a:lnTo>
                    <a:pt x="531" y="117"/>
                  </a:lnTo>
                  <a:lnTo>
                    <a:pt x="533" y="121"/>
                  </a:lnTo>
                  <a:lnTo>
                    <a:pt x="533" y="121"/>
                  </a:lnTo>
                  <a:lnTo>
                    <a:pt x="537" y="123"/>
                  </a:lnTo>
                  <a:lnTo>
                    <a:pt x="537" y="125"/>
                  </a:lnTo>
                  <a:lnTo>
                    <a:pt x="540" y="125"/>
                  </a:lnTo>
                  <a:lnTo>
                    <a:pt x="537" y="123"/>
                  </a:lnTo>
                  <a:lnTo>
                    <a:pt x="537" y="123"/>
                  </a:lnTo>
                  <a:lnTo>
                    <a:pt x="533" y="117"/>
                  </a:lnTo>
                  <a:lnTo>
                    <a:pt x="533" y="113"/>
                  </a:lnTo>
                  <a:lnTo>
                    <a:pt x="531" y="109"/>
                  </a:lnTo>
                  <a:lnTo>
                    <a:pt x="531" y="107"/>
                  </a:lnTo>
                  <a:lnTo>
                    <a:pt x="531" y="105"/>
                  </a:lnTo>
                  <a:lnTo>
                    <a:pt x="531" y="103"/>
                  </a:lnTo>
                  <a:lnTo>
                    <a:pt x="531" y="103"/>
                  </a:lnTo>
                  <a:lnTo>
                    <a:pt x="531" y="101"/>
                  </a:lnTo>
                  <a:lnTo>
                    <a:pt x="533" y="101"/>
                  </a:lnTo>
                  <a:lnTo>
                    <a:pt x="535" y="101"/>
                  </a:lnTo>
                  <a:lnTo>
                    <a:pt x="535" y="101"/>
                  </a:lnTo>
                  <a:lnTo>
                    <a:pt x="537" y="101"/>
                  </a:lnTo>
                  <a:lnTo>
                    <a:pt x="540" y="103"/>
                  </a:lnTo>
                  <a:lnTo>
                    <a:pt x="542" y="103"/>
                  </a:lnTo>
                  <a:lnTo>
                    <a:pt x="548" y="105"/>
                  </a:lnTo>
                  <a:lnTo>
                    <a:pt x="548" y="105"/>
                  </a:lnTo>
                  <a:lnTo>
                    <a:pt x="546" y="103"/>
                  </a:lnTo>
                  <a:lnTo>
                    <a:pt x="546" y="103"/>
                  </a:lnTo>
                  <a:lnTo>
                    <a:pt x="544" y="103"/>
                  </a:lnTo>
                  <a:lnTo>
                    <a:pt x="544" y="101"/>
                  </a:lnTo>
                  <a:lnTo>
                    <a:pt x="544" y="99"/>
                  </a:lnTo>
                  <a:lnTo>
                    <a:pt x="544" y="99"/>
                  </a:lnTo>
                  <a:lnTo>
                    <a:pt x="540" y="97"/>
                  </a:lnTo>
                  <a:lnTo>
                    <a:pt x="537" y="95"/>
                  </a:lnTo>
                  <a:lnTo>
                    <a:pt x="537" y="95"/>
                  </a:lnTo>
                  <a:lnTo>
                    <a:pt x="537" y="93"/>
                  </a:lnTo>
                  <a:lnTo>
                    <a:pt x="537" y="93"/>
                  </a:lnTo>
                  <a:lnTo>
                    <a:pt x="542" y="91"/>
                  </a:lnTo>
                  <a:lnTo>
                    <a:pt x="544" y="88"/>
                  </a:lnTo>
                  <a:lnTo>
                    <a:pt x="544" y="88"/>
                  </a:lnTo>
                  <a:lnTo>
                    <a:pt x="544" y="84"/>
                  </a:lnTo>
                  <a:lnTo>
                    <a:pt x="544" y="82"/>
                  </a:lnTo>
                  <a:lnTo>
                    <a:pt x="544" y="80"/>
                  </a:lnTo>
                  <a:lnTo>
                    <a:pt x="544" y="80"/>
                  </a:lnTo>
                  <a:lnTo>
                    <a:pt x="542" y="80"/>
                  </a:lnTo>
                  <a:lnTo>
                    <a:pt x="540" y="80"/>
                  </a:lnTo>
                  <a:lnTo>
                    <a:pt x="535" y="84"/>
                  </a:lnTo>
                  <a:lnTo>
                    <a:pt x="535" y="84"/>
                  </a:lnTo>
                  <a:lnTo>
                    <a:pt x="535" y="86"/>
                  </a:lnTo>
                  <a:lnTo>
                    <a:pt x="535" y="88"/>
                  </a:lnTo>
                  <a:lnTo>
                    <a:pt x="535" y="88"/>
                  </a:lnTo>
                  <a:lnTo>
                    <a:pt x="533" y="88"/>
                  </a:lnTo>
                  <a:lnTo>
                    <a:pt x="531" y="91"/>
                  </a:lnTo>
                  <a:lnTo>
                    <a:pt x="531" y="93"/>
                  </a:lnTo>
                  <a:lnTo>
                    <a:pt x="531" y="93"/>
                  </a:lnTo>
                  <a:lnTo>
                    <a:pt x="531" y="95"/>
                  </a:lnTo>
                  <a:lnTo>
                    <a:pt x="529" y="95"/>
                  </a:lnTo>
                  <a:lnTo>
                    <a:pt x="529" y="93"/>
                  </a:lnTo>
                  <a:lnTo>
                    <a:pt x="527" y="93"/>
                  </a:lnTo>
                  <a:lnTo>
                    <a:pt x="527" y="93"/>
                  </a:lnTo>
                  <a:lnTo>
                    <a:pt x="527" y="91"/>
                  </a:lnTo>
                  <a:lnTo>
                    <a:pt x="527" y="91"/>
                  </a:lnTo>
                  <a:lnTo>
                    <a:pt x="531" y="88"/>
                  </a:lnTo>
                  <a:lnTo>
                    <a:pt x="533" y="86"/>
                  </a:lnTo>
                  <a:lnTo>
                    <a:pt x="533" y="84"/>
                  </a:lnTo>
                  <a:lnTo>
                    <a:pt x="533" y="82"/>
                  </a:lnTo>
                  <a:lnTo>
                    <a:pt x="533" y="80"/>
                  </a:lnTo>
                  <a:lnTo>
                    <a:pt x="533" y="78"/>
                  </a:lnTo>
                  <a:lnTo>
                    <a:pt x="531" y="76"/>
                  </a:lnTo>
                  <a:lnTo>
                    <a:pt x="531" y="76"/>
                  </a:lnTo>
                  <a:lnTo>
                    <a:pt x="531" y="74"/>
                  </a:lnTo>
                  <a:lnTo>
                    <a:pt x="531" y="74"/>
                  </a:lnTo>
                  <a:lnTo>
                    <a:pt x="533" y="70"/>
                  </a:lnTo>
                  <a:lnTo>
                    <a:pt x="533" y="70"/>
                  </a:lnTo>
                  <a:lnTo>
                    <a:pt x="533" y="68"/>
                  </a:lnTo>
                  <a:lnTo>
                    <a:pt x="531" y="70"/>
                  </a:lnTo>
                  <a:lnTo>
                    <a:pt x="531" y="70"/>
                  </a:lnTo>
                  <a:lnTo>
                    <a:pt x="527" y="72"/>
                  </a:lnTo>
                  <a:lnTo>
                    <a:pt x="527" y="76"/>
                  </a:lnTo>
                  <a:lnTo>
                    <a:pt x="525" y="78"/>
                  </a:lnTo>
                  <a:lnTo>
                    <a:pt x="525" y="78"/>
                  </a:lnTo>
                  <a:lnTo>
                    <a:pt x="525" y="80"/>
                  </a:lnTo>
                  <a:lnTo>
                    <a:pt x="525" y="82"/>
                  </a:lnTo>
                  <a:lnTo>
                    <a:pt x="523" y="86"/>
                  </a:lnTo>
                  <a:lnTo>
                    <a:pt x="523" y="88"/>
                  </a:lnTo>
                  <a:close/>
                  <a:moveTo>
                    <a:pt x="37" y="70"/>
                  </a:moveTo>
                  <a:lnTo>
                    <a:pt x="37" y="7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4" y="70"/>
                  </a:lnTo>
                  <a:lnTo>
                    <a:pt x="37" y="72"/>
                  </a:lnTo>
                  <a:lnTo>
                    <a:pt x="37" y="70"/>
                  </a:lnTo>
                  <a:close/>
                  <a:moveTo>
                    <a:pt x="537" y="72"/>
                  </a:moveTo>
                  <a:lnTo>
                    <a:pt x="540" y="72"/>
                  </a:lnTo>
                  <a:lnTo>
                    <a:pt x="542" y="70"/>
                  </a:lnTo>
                  <a:lnTo>
                    <a:pt x="542" y="68"/>
                  </a:lnTo>
                  <a:lnTo>
                    <a:pt x="544" y="64"/>
                  </a:lnTo>
                  <a:lnTo>
                    <a:pt x="542" y="62"/>
                  </a:lnTo>
                  <a:lnTo>
                    <a:pt x="542" y="62"/>
                  </a:lnTo>
                  <a:lnTo>
                    <a:pt x="540" y="62"/>
                  </a:lnTo>
                  <a:lnTo>
                    <a:pt x="537" y="64"/>
                  </a:lnTo>
                  <a:lnTo>
                    <a:pt x="535" y="68"/>
                  </a:lnTo>
                  <a:lnTo>
                    <a:pt x="537" y="70"/>
                  </a:lnTo>
                  <a:lnTo>
                    <a:pt x="537" y="72"/>
                  </a:lnTo>
                  <a:close/>
                  <a:moveTo>
                    <a:pt x="490" y="58"/>
                  </a:moveTo>
                  <a:lnTo>
                    <a:pt x="490" y="58"/>
                  </a:lnTo>
                  <a:lnTo>
                    <a:pt x="490" y="58"/>
                  </a:lnTo>
                  <a:lnTo>
                    <a:pt x="488" y="60"/>
                  </a:lnTo>
                  <a:lnTo>
                    <a:pt x="490" y="62"/>
                  </a:lnTo>
                  <a:lnTo>
                    <a:pt x="490" y="60"/>
                  </a:lnTo>
                  <a:lnTo>
                    <a:pt x="490" y="60"/>
                  </a:lnTo>
                  <a:lnTo>
                    <a:pt x="490" y="58"/>
                  </a:lnTo>
                  <a:close/>
                  <a:moveTo>
                    <a:pt x="22" y="64"/>
                  </a:moveTo>
                  <a:lnTo>
                    <a:pt x="20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4" y="58"/>
                  </a:lnTo>
                  <a:lnTo>
                    <a:pt x="12" y="56"/>
                  </a:lnTo>
                  <a:lnTo>
                    <a:pt x="10" y="56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8" y="64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2" y="66"/>
                  </a:lnTo>
                  <a:lnTo>
                    <a:pt x="22" y="64"/>
                  </a:lnTo>
                  <a:lnTo>
                    <a:pt x="22" y="64"/>
                  </a:lnTo>
                  <a:close/>
                  <a:moveTo>
                    <a:pt x="223" y="56"/>
                  </a:moveTo>
                  <a:lnTo>
                    <a:pt x="223" y="54"/>
                  </a:lnTo>
                  <a:lnTo>
                    <a:pt x="221" y="54"/>
                  </a:lnTo>
                  <a:lnTo>
                    <a:pt x="221" y="56"/>
                  </a:lnTo>
                  <a:lnTo>
                    <a:pt x="221" y="58"/>
                  </a:lnTo>
                  <a:lnTo>
                    <a:pt x="223" y="56"/>
                  </a:lnTo>
                  <a:close/>
                  <a:moveTo>
                    <a:pt x="170" y="54"/>
                  </a:moveTo>
                  <a:lnTo>
                    <a:pt x="170" y="56"/>
                  </a:lnTo>
                  <a:lnTo>
                    <a:pt x="170" y="56"/>
                  </a:lnTo>
                  <a:lnTo>
                    <a:pt x="172" y="58"/>
                  </a:lnTo>
                  <a:lnTo>
                    <a:pt x="172" y="56"/>
                  </a:lnTo>
                  <a:lnTo>
                    <a:pt x="172" y="56"/>
                  </a:lnTo>
                  <a:lnTo>
                    <a:pt x="172" y="54"/>
                  </a:lnTo>
                  <a:lnTo>
                    <a:pt x="172" y="54"/>
                  </a:lnTo>
                  <a:lnTo>
                    <a:pt x="172" y="54"/>
                  </a:lnTo>
                  <a:lnTo>
                    <a:pt x="172" y="54"/>
                  </a:lnTo>
                  <a:lnTo>
                    <a:pt x="172" y="54"/>
                  </a:lnTo>
                  <a:lnTo>
                    <a:pt x="170" y="54"/>
                  </a:lnTo>
                  <a:lnTo>
                    <a:pt x="170" y="54"/>
                  </a:lnTo>
                  <a:lnTo>
                    <a:pt x="170" y="54"/>
                  </a:lnTo>
                  <a:close/>
                  <a:moveTo>
                    <a:pt x="180" y="51"/>
                  </a:moveTo>
                  <a:lnTo>
                    <a:pt x="180" y="51"/>
                  </a:lnTo>
                  <a:lnTo>
                    <a:pt x="180" y="49"/>
                  </a:lnTo>
                  <a:lnTo>
                    <a:pt x="178" y="49"/>
                  </a:lnTo>
                  <a:lnTo>
                    <a:pt x="178" y="49"/>
                  </a:lnTo>
                  <a:lnTo>
                    <a:pt x="178" y="51"/>
                  </a:lnTo>
                  <a:lnTo>
                    <a:pt x="180" y="51"/>
                  </a:lnTo>
                  <a:close/>
                  <a:moveTo>
                    <a:pt x="363" y="47"/>
                  </a:moveTo>
                  <a:lnTo>
                    <a:pt x="363" y="47"/>
                  </a:lnTo>
                  <a:lnTo>
                    <a:pt x="363" y="49"/>
                  </a:lnTo>
                  <a:lnTo>
                    <a:pt x="365" y="49"/>
                  </a:lnTo>
                  <a:lnTo>
                    <a:pt x="365" y="47"/>
                  </a:lnTo>
                  <a:lnTo>
                    <a:pt x="363" y="45"/>
                  </a:lnTo>
                  <a:lnTo>
                    <a:pt x="363" y="45"/>
                  </a:lnTo>
                  <a:lnTo>
                    <a:pt x="363" y="47"/>
                  </a:lnTo>
                  <a:close/>
                  <a:moveTo>
                    <a:pt x="490" y="43"/>
                  </a:moveTo>
                  <a:lnTo>
                    <a:pt x="490" y="43"/>
                  </a:lnTo>
                  <a:lnTo>
                    <a:pt x="490" y="45"/>
                  </a:lnTo>
                  <a:lnTo>
                    <a:pt x="492" y="47"/>
                  </a:lnTo>
                  <a:lnTo>
                    <a:pt x="494" y="45"/>
                  </a:lnTo>
                  <a:lnTo>
                    <a:pt x="492" y="45"/>
                  </a:lnTo>
                  <a:lnTo>
                    <a:pt x="492" y="43"/>
                  </a:lnTo>
                  <a:lnTo>
                    <a:pt x="492" y="41"/>
                  </a:lnTo>
                  <a:lnTo>
                    <a:pt x="490" y="41"/>
                  </a:lnTo>
                  <a:lnTo>
                    <a:pt x="490" y="41"/>
                  </a:lnTo>
                  <a:lnTo>
                    <a:pt x="490" y="43"/>
                  </a:lnTo>
                  <a:lnTo>
                    <a:pt x="490" y="43"/>
                  </a:lnTo>
                  <a:close/>
                  <a:moveTo>
                    <a:pt x="511" y="39"/>
                  </a:moveTo>
                  <a:lnTo>
                    <a:pt x="511" y="39"/>
                  </a:lnTo>
                  <a:lnTo>
                    <a:pt x="511" y="39"/>
                  </a:lnTo>
                  <a:lnTo>
                    <a:pt x="513" y="39"/>
                  </a:lnTo>
                  <a:lnTo>
                    <a:pt x="513" y="39"/>
                  </a:lnTo>
                  <a:lnTo>
                    <a:pt x="513" y="39"/>
                  </a:lnTo>
                  <a:lnTo>
                    <a:pt x="513" y="39"/>
                  </a:lnTo>
                  <a:lnTo>
                    <a:pt x="511" y="39"/>
                  </a:lnTo>
                  <a:lnTo>
                    <a:pt x="511" y="39"/>
                  </a:lnTo>
                  <a:close/>
                  <a:moveTo>
                    <a:pt x="511" y="39"/>
                  </a:moveTo>
                  <a:lnTo>
                    <a:pt x="511" y="37"/>
                  </a:lnTo>
                  <a:lnTo>
                    <a:pt x="511" y="37"/>
                  </a:lnTo>
                  <a:lnTo>
                    <a:pt x="509" y="35"/>
                  </a:lnTo>
                  <a:lnTo>
                    <a:pt x="509" y="35"/>
                  </a:lnTo>
                  <a:lnTo>
                    <a:pt x="509" y="37"/>
                  </a:lnTo>
                  <a:lnTo>
                    <a:pt x="511" y="39"/>
                  </a:lnTo>
                  <a:close/>
                  <a:moveTo>
                    <a:pt x="367" y="35"/>
                  </a:moveTo>
                  <a:lnTo>
                    <a:pt x="367" y="35"/>
                  </a:lnTo>
                  <a:lnTo>
                    <a:pt x="367" y="33"/>
                  </a:lnTo>
                  <a:lnTo>
                    <a:pt x="365" y="33"/>
                  </a:lnTo>
                  <a:lnTo>
                    <a:pt x="363" y="33"/>
                  </a:lnTo>
                  <a:lnTo>
                    <a:pt x="363" y="33"/>
                  </a:lnTo>
                  <a:lnTo>
                    <a:pt x="365" y="35"/>
                  </a:lnTo>
                  <a:lnTo>
                    <a:pt x="367" y="35"/>
                  </a:lnTo>
                  <a:close/>
                  <a:moveTo>
                    <a:pt x="209" y="37"/>
                  </a:moveTo>
                  <a:lnTo>
                    <a:pt x="209" y="39"/>
                  </a:lnTo>
                  <a:lnTo>
                    <a:pt x="211" y="39"/>
                  </a:lnTo>
                  <a:lnTo>
                    <a:pt x="211" y="39"/>
                  </a:lnTo>
                  <a:lnTo>
                    <a:pt x="211" y="39"/>
                  </a:lnTo>
                  <a:lnTo>
                    <a:pt x="211" y="39"/>
                  </a:lnTo>
                  <a:lnTo>
                    <a:pt x="209" y="41"/>
                  </a:lnTo>
                  <a:lnTo>
                    <a:pt x="211" y="41"/>
                  </a:lnTo>
                  <a:lnTo>
                    <a:pt x="213" y="41"/>
                  </a:lnTo>
                  <a:lnTo>
                    <a:pt x="213" y="39"/>
                  </a:lnTo>
                  <a:lnTo>
                    <a:pt x="213" y="37"/>
                  </a:lnTo>
                  <a:lnTo>
                    <a:pt x="213" y="35"/>
                  </a:lnTo>
                  <a:lnTo>
                    <a:pt x="211" y="33"/>
                  </a:lnTo>
                  <a:lnTo>
                    <a:pt x="211" y="31"/>
                  </a:lnTo>
                  <a:lnTo>
                    <a:pt x="211" y="33"/>
                  </a:lnTo>
                  <a:lnTo>
                    <a:pt x="207" y="35"/>
                  </a:lnTo>
                  <a:lnTo>
                    <a:pt x="207" y="35"/>
                  </a:lnTo>
                  <a:lnTo>
                    <a:pt x="209" y="37"/>
                  </a:lnTo>
                  <a:close/>
                  <a:moveTo>
                    <a:pt x="223" y="103"/>
                  </a:moveTo>
                  <a:lnTo>
                    <a:pt x="225" y="105"/>
                  </a:lnTo>
                  <a:lnTo>
                    <a:pt x="227" y="107"/>
                  </a:lnTo>
                  <a:lnTo>
                    <a:pt x="227" y="107"/>
                  </a:lnTo>
                  <a:lnTo>
                    <a:pt x="230" y="107"/>
                  </a:lnTo>
                  <a:lnTo>
                    <a:pt x="230" y="109"/>
                  </a:lnTo>
                  <a:lnTo>
                    <a:pt x="230" y="109"/>
                  </a:lnTo>
                  <a:lnTo>
                    <a:pt x="227" y="109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7" y="113"/>
                  </a:lnTo>
                  <a:lnTo>
                    <a:pt x="227" y="117"/>
                  </a:lnTo>
                  <a:lnTo>
                    <a:pt x="227" y="117"/>
                  </a:lnTo>
                  <a:lnTo>
                    <a:pt x="227" y="117"/>
                  </a:lnTo>
                  <a:lnTo>
                    <a:pt x="230" y="119"/>
                  </a:lnTo>
                  <a:lnTo>
                    <a:pt x="232" y="121"/>
                  </a:lnTo>
                  <a:lnTo>
                    <a:pt x="232" y="121"/>
                  </a:lnTo>
                  <a:lnTo>
                    <a:pt x="230" y="121"/>
                  </a:lnTo>
                  <a:lnTo>
                    <a:pt x="230" y="123"/>
                  </a:lnTo>
                  <a:lnTo>
                    <a:pt x="230" y="123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2" y="125"/>
                  </a:lnTo>
                  <a:lnTo>
                    <a:pt x="236" y="125"/>
                  </a:lnTo>
                  <a:lnTo>
                    <a:pt x="238" y="128"/>
                  </a:lnTo>
                  <a:lnTo>
                    <a:pt x="240" y="130"/>
                  </a:lnTo>
                  <a:lnTo>
                    <a:pt x="240" y="132"/>
                  </a:lnTo>
                  <a:lnTo>
                    <a:pt x="242" y="132"/>
                  </a:lnTo>
                  <a:lnTo>
                    <a:pt x="242" y="136"/>
                  </a:lnTo>
                  <a:lnTo>
                    <a:pt x="242" y="138"/>
                  </a:lnTo>
                  <a:lnTo>
                    <a:pt x="242" y="140"/>
                  </a:lnTo>
                  <a:lnTo>
                    <a:pt x="240" y="142"/>
                  </a:lnTo>
                  <a:lnTo>
                    <a:pt x="240" y="144"/>
                  </a:lnTo>
                  <a:lnTo>
                    <a:pt x="242" y="144"/>
                  </a:lnTo>
                  <a:lnTo>
                    <a:pt x="242" y="146"/>
                  </a:lnTo>
                  <a:lnTo>
                    <a:pt x="242" y="150"/>
                  </a:lnTo>
                  <a:lnTo>
                    <a:pt x="244" y="158"/>
                  </a:lnTo>
                  <a:lnTo>
                    <a:pt x="244" y="162"/>
                  </a:lnTo>
                  <a:lnTo>
                    <a:pt x="244" y="165"/>
                  </a:lnTo>
                  <a:lnTo>
                    <a:pt x="246" y="165"/>
                  </a:lnTo>
                  <a:lnTo>
                    <a:pt x="246" y="162"/>
                  </a:lnTo>
                  <a:lnTo>
                    <a:pt x="246" y="162"/>
                  </a:lnTo>
                  <a:lnTo>
                    <a:pt x="250" y="162"/>
                  </a:lnTo>
                  <a:lnTo>
                    <a:pt x="252" y="165"/>
                  </a:lnTo>
                  <a:lnTo>
                    <a:pt x="252" y="165"/>
                  </a:lnTo>
                  <a:lnTo>
                    <a:pt x="252" y="165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4" y="165"/>
                  </a:lnTo>
                  <a:lnTo>
                    <a:pt x="254" y="165"/>
                  </a:lnTo>
                  <a:lnTo>
                    <a:pt x="256" y="165"/>
                  </a:lnTo>
                  <a:lnTo>
                    <a:pt x="258" y="165"/>
                  </a:lnTo>
                  <a:lnTo>
                    <a:pt x="260" y="162"/>
                  </a:lnTo>
                  <a:lnTo>
                    <a:pt x="262" y="162"/>
                  </a:lnTo>
                  <a:lnTo>
                    <a:pt x="264" y="165"/>
                  </a:lnTo>
                  <a:lnTo>
                    <a:pt x="266" y="165"/>
                  </a:lnTo>
                  <a:lnTo>
                    <a:pt x="266" y="162"/>
                  </a:lnTo>
                  <a:lnTo>
                    <a:pt x="269" y="162"/>
                  </a:lnTo>
                  <a:lnTo>
                    <a:pt x="269" y="162"/>
                  </a:lnTo>
                  <a:lnTo>
                    <a:pt x="271" y="165"/>
                  </a:lnTo>
                  <a:lnTo>
                    <a:pt x="271" y="165"/>
                  </a:lnTo>
                  <a:lnTo>
                    <a:pt x="271" y="171"/>
                  </a:lnTo>
                  <a:lnTo>
                    <a:pt x="271" y="173"/>
                  </a:lnTo>
                  <a:lnTo>
                    <a:pt x="269" y="175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3" y="175"/>
                  </a:lnTo>
                  <a:lnTo>
                    <a:pt x="275" y="171"/>
                  </a:lnTo>
                  <a:lnTo>
                    <a:pt x="277" y="171"/>
                  </a:lnTo>
                  <a:lnTo>
                    <a:pt x="279" y="171"/>
                  </a:lnTo>
                  <a:lnTo>
                    <a:pt x="283" y="171"/>
                  </a:lnTo>
                  <a:lnTo>
                    <a:pt x="285" y="171"/>
                  </a:lnTo>
                  <a:lnTo>
                    <a:pt x="289" y="167"/>
                  </a:lnTo>
                  <a:lnTo>
                    <a:pt x="289" y="162"/>
                  </a:lnTo>
                  <a:lnTo>
                    <a:pt x="295" y="169"/>
                  </a:lnTo>
                  <a:lnTo>
                    <a:pt x="295" y="169"/>
                  </a:lnTo>
                  <a:lnTo>
                    <a:pt x="295" y="169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9" y="169"/>
                  </a:lnTo>
                  <a:lnTo>
                    <a:pt x="299" y="169"/>
                  </a:lnTo>
                  <a:lnTo>
                    <a:pt x="299" y="171"/>
                  </a:lnTo>
                  <a:lnTo>
                    <a:pt x="299" y="173"/>
                  </a:lnTo>
                  <a:lnTo>
                    <a:pt x="299" y="173"/>
                  </a:lnTo>
                  <a:lnTo>
                    <a:pt x="301" y="173"/>
                  </a:lnTo>
                  <a:lnTo>
                    <a:pt x="303" y="171"/>
                  </a:lnTo>
                  <a:lnTo>
                    <a:pt x="305" y="169"/>
                  </a:lnTo>
                  <a:lnTo>
                    <a:pt x="308" y="169"/>
                  </a:lnTo>
                  <a:lnTo>
                    <a:pt x="308" y="171"/>
                  </a:lnTo>
                  <a:lnTo>
                    <a:pt x="308" y="171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69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73"/>
                  </a:lnTo>
                  <a:lnTo>
                    <a:pt x="312" y="173"/>
                  </a:lnTo>
                  <a:lnTo>
                    <a:pt x="312" y="173"/>
                  </a:lnTo>
                  <a:lnTo>
                    <a:pt x="314" y="171"/>
                  </a:lnTo>
                  <a:lnTo>
                    <a:pt x="314" y="173"/>
                  </a:lnTo>
                  <a:lnTo>
                    <a:pt x="314" y="177"/>
                  </a:lnTo>
                  <a:lnTo>
                    <a:pt x="314" y="185"/>
                  </a:lnTo>
                  <a:lnTo>
                    <a:pt x="316" y="185"/>
                  </a:lnTo>
                  <a:lnTo>
                    <a:pt x="316" y="185"/>
                  </a:lnTo>
                  <a:lnTo>
                    <a:pt x="324" y="181"/>
                  </a:lnTo>
                  <a:lnTo>
                    <a:pt x="336" y="175"/>
                  </a:lnTo>
                  <a:lnTo>
                    <a:pt x="336" y="173"/>
                  </a:lnTo>
                  <a:lnTo>
                    <a:pt x="338" y="173"/>
                  </a:lnTo>
                  <a:lnTo>
                    <a:pt x="338" y="171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7"/>
                  </a:lnTo>
                  <a:lnTo>
                    <a:pt x="342" y="167"/>
                  </a:lnTo>
                  <a:lnTo>
                    <a:pt x="340" y="165"/>
                  </a:lnTo>
                  <a:lnTo>
                    <a:pt x="340" y="165"/>
                  </a:lnTo>
                  <a:lnTo>
                    <a:pt x="340" y="162"/>
                  </a:lnTo>
                  <a:lnTo>
                    <a:pt x="340" y="165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0"/>
                  </a:lnTo>
                  <a:lnTo>
                    <a:pt x="345" y="158"/>
                  </a:lnTo>
                  <a:lnTo>
                    <a:pt x="345" y="156"/>
                  </a:lnTo>
                  <a:lnTo>
                    <a:pt x="342" y="156"/>
                  </a:lnTo>
                  <a:lnTo>
                    <a:pt x="342" y="156"/>
                  </a:lnTo>
                  <a:lnTo>
                    <a:pt x="345" y="156"/>
                  </a:lnTo>
                  <a:lnTo>
                    <a:pt x="345" y="156"/>
                  </a:lnTo>
                  <a:lnTo>
                    <a:pt x="345" y="156"/>
                  </a:lnTo>
                  <a:lnTo>
                    <a:pt x="347" y="154"/>
                  </a:lnTo>
                  <a:lnTo>
                    <a:pt x="347" y="154"/>
                  </a:lnTo>
                  <a:lnTo>
                    <a:pt x="347" y="152"/>
                  </a:lnTo>
                  <a:lnTo>
                    <a:pt x="347" y="150"/>
                  </a:lnTo>
                  <a:lnTo>
                    <a:pt x="345" y="150"/>
                  </a:lnTo>
                  <a:lnTo>
                    <a:pt x="345" y="148"/>
                  </a:lnTo>
                  <a:lnTo>
                    <a:pt x="342" y="148"/>
                  </a:lnTo>
                  <a:lnTo>
                    <a:pt x="345" y="146"/>
                  </a:lnTo>
                  <a:lnTo>
                    <a:pt x="345" y="144"/>
                  </a:lnTo>
                  <a:lnTo>
                    <a:pt x="345" y="144"/>
                  </a:lnTo>
                  <a:lnTo>
                    <a:pt x="345" y="142"/>
                  </a:lnTo>
                  <a:lnTo>
                    <a:pt x="345" y="142"/>
                  </a:lnTo>
                  <a:lnTo>
                    <a:pt x="342" y="142"/>
                  </a:lnTo>
                  <a:lnTo>
                    <a:pt x="342" y="142"/>
                  </a:lnTo>
                  <a:lnTo>
                    <a:pt x="345" y="140"/>
                  </a:lnTo>
                  <a:lnTo>
                    <a:pt x="347" y="140"/>
                  </a:lnTo>
                  <a:lnTo>
                    <a:pt x="347" y="138"/>
                  </a:lnTo>
                  <a:lnTo>
                    <a:pt x="347" y="138"/>
                  </a:lnTo>
                  <a:lnTo>
                    <a:pt x="347" y="136"/>
                  </a:lnTo>
                  <a:lnTo>
                    <a:pt x="349" y="136"/>
                  </a:lnTo>
                  <a:lnTo>
                    <a:pt x="351" y="134"/>
                  </a:lnTo>
                  <a:lnTo>
                    <a:pt x="351" y="134"/>
                  </a:lnTo>
                  <a:lnTo>
                    <a:pt x="351" y="132"/>
                  </a:lnTo>
                  <a:lnTo>
                    <a:pt x="351" y="132"/>
                  </a:lnTo>
                  <a:lnTo>
                    <a:pt x="351" y="130"/>
                  </a:lnTo>
                  <a:lnTo>
                    <a:pt x="351" y="130"/>
                  </a:lnTo>
                  <a:lnTo>
                    <a:pt x="351" y="128"/>
                  </a:lnTo>
                  <a:lnTo>
                    <a:pt x="351" y="130"/>
                  </a:lnTo>
                  <a:lnTo>
                    <a:pt x="351" y="132"/>
                  </a:lnTo>
                  <a:lnTo>
                    <a:pt x="353" y="132"/>
                  </a:lnTo>
                  <a:lnTo>
                    <a:pt x="353" y="132"/>
                  </a:lnTo>
                  <a:lnTo>
                    <a:pt x="355" y="132"/>
                  </a:lnTo>
                  <a:lnTo>
                    <a:pt x="355" y="130"/>
                  </a:lnTo>
                  <a:lnTo>
                    <a:pt x="357" y="128"/>
                  </a:lnTo>
                  <a:lnTo>
                    <a:pt x="359" y="125"/>
                  </a:lnTo>
                  <a:lnTo>
                    <a:pt x="361" y="125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1"/>
                  </a:lnTo>
                  <a:lnTo>
                    <a:pt x="363" y="119"/>
                  </a:lnTo>
                  <a:lnTo>
                    <a:pt x="363" y="115"/>
                  </a:lnTo>
                  <a:lnTo>
                    <a:pt x="363" y="113"/>
                  </a:lnTo>
                  <a:lnTo>
                    <a:pt x="363" y="105"/>
                  </a:lnTo>
                  <a:lnTo>
                    <a:pt x="363" y="103"/>
                  </a:lnTo>
                  <a:lnTo>
                    <a:pt x="367" y="97"/>
                  </a:lnTo>
                  <a:lnTo>
                    <a:pt x="367" y="95"/>
                  </a:lnTo>
                  <a:lnTo>
                    <a:pt x="369" y="95"/>
                  </a:lnTo>
                  <a:lnTo>
                    <a:pt x="369" y="95"/>
                  </a:lnTo>
                  <a:lnTo>
                    <a:pt x="371" y="93"/>
                  </a:lnTo>
                  <a:lnTo>
                    <a:pt x="371" y="91"/>
                  </a:lnTo>
                  <a:lnTo>
                    <a:pt x="369" y="91"/>
                  </a:lnTo>
                  <a:lnTo>
                    <a:pt x="369" y="88"/>
                  </a:lnTo>
                  <a:lnTo>
                    <a:pt x="371" y="91"/>
                  </a:lnTo>
                  <a:lnTo>
                    <a:pt x="373" y="93"/>
                  </a:lnTo>
                  <a:lnTo>
                    <a:pt x="373" y="93"/>
                  </a:lnTo>
                  <a:lnTo>
                    <a:pt x="375" y="93"/>
                  </a:lnTo>
                  <a:lnTo>
                    <a:pt x="379" y="95"/>
                  </a:lnTo>
                  <a:lnTo>
                    <a:pt x="384" y="95"/>
                  </a:lnTo>
                  <a:lnTo>
                    <a:pt x="386" y="93"/>
                  </a:lnTo>
                  <a:lnTo>
                    <a:pt x="388" y="91"/>
                  </a:lnTo>
                  <a:lnTo>
                    <a:pt x="386" y="91"/>
                  </a:lnTo>
                  <a:lnTo>
                    <a:pt x="384" y="88"/>
                  </a:lnTo>
                  <a:lnTo>
                    <a:pt x="381" y="84"/>
                  </a:lnTo>
                  <a:lnTo>
                    <a:pt x="377" y="82"/>
                  </a:lnTo>
                  <a:lnTo>
                    <a:pt x="373" y="78"/>
                  </a:lnTo>
                  <a:lnTo>
                    <a:pt x="371" y="78"/>
                  </a:lnTo>
                  <a:lnTo>
                    <a:pt x="369" y="74"/>
                  </a:lnTo>
                  <a:lnTo>
                    <a:pt x="369" y="72"/>
                  </a:lnTo>
                  <a:lnTo>
                    <a:pt x="367" y="72"/>
                  </a:lnTo>
                  <a:lnTo>
                    <a:pt x="367" y="72"/>
                  </a:lnTo>
                  <a:lnTo>
                    <a:pt x="369" y="72"/>
                  </a:lnTo>
                  <a:lnTo>
                    <a:pt x="369" y="70"/>
                  </a:lnTo>
                  <a:lnTo>
                    <a:pt x="369" y="70"/>
                  </a:lnTo>
                  <a:lnTo>
                    <a:pt x="371" y="68"/>
                  </a:lnTo>
                  <a:lnTo>
                    <a:pt x="371" y="68"/>
                  </a:lnTo>
                  <a:lnTo>
                    <a:pt x="371" y="66"/>
                  </a:lnTo>
                  <a:lnTo>
                    <a:pt x="371" y="66"/>
                  </a:lnTo>
                  <a:lnTo>
                    <a:pt x="369" y="62"/>
                  </a:lnTo>
                  <a:lnTo>
                    <a:pt x="367" y="60"/>
                  </a:lnTo>
                  <a:lnTo>
                    <a:pt x="367" y="60"/>
                  </a:lnTo>
                  <a:lnTo>
                    <a:pt x="365" y="58"/>
                  </a:lnTo>
                  <a:lnTo>
                    <a:pt x="365" y="58"/>
                  </a:lnTo>
                  <a:lnTo>
                    <a:pt x="365" y="58"/>
                  </a:lnTo>
                  <a:lnTo>
                    <a:pt x="365" y="58"/>
                  </a:lnTo>
                  <a:lnTo>
                    <a:pt x="365" y="56"/>
                  </a:lnTo>
                  <a:lnTo>
                    <a:pt x="365" y="56"/>
                  </a:lnTo>
                  <a:lnTo>
                    <a:pt x="363" y="56"/>
                  </a:lnTo>
                  <a:lnTo>
                    <a:pt x="365" y="56"/>
                  </a:lnTo>
                  <a:lnTo>
                    <a:pt x="363" y="54"/>
                  </a:lnTo>
                  <a:lnTo>
                    <a:pt x="363" y="54"/>
                  </a:lnTo>
                  <a:lnTo>
                    <a:pt x="363" y="51"/>
                  </a:lnTo>
                  <a:lnTo>
                    <a:pt x="361" y="51"/>
                  </a:lnTo>
                  <a:lnTo>
                    <a:pt x="361" y="51"/>
                  </a:lnTo>
                  <a:lnTo>
                    <a:pt x="359" y="51"/>
                  </a:lnTo>
                  <a:lnTo>
                    <a:pt x="359" y="49"/>
                  </a:lnTo>
                  <a:lnTo>
                    <a:pt x="359" y="47"/>
                  </a:lnTo>
                  <a:lnTo>
                    <a:pt x="359" y="45"/>
                  </a:lnTo>
                  <a:lnTo>
                    <a:pt x="357" y="43"/>
                  </a:lnTo>
                  <a:lnTo>
                    <a:pt x="355" y="43"/>
                  </a:lnTo>
                  <a:lnTo>
                    <a:pt x="355" y="43"/>
                  </a:lnTo>
                  <a:lnTo>
                    <a:pt x="357" y="43"/>
                  </a:lnTo>
                  <a:lnTo>
                    <a:pt x="359" y="43"/>
                  </a:lnTo>
                  <a:lnTo>
                    <a:pt x="361" y="43"/>
                  </a:lnTo>
                  <a:lnTo>
                    <a:pt x="361" y="41"/>
                  </a:lnTo>
                  <a:lnTo>
                    <a:pt x="361" y="41"/>
                  </a:lnTo>
                  <a:lnTo>
                    <a:pt x="363" y="41"/>
                  </a:lnTo>
                  <a:lnTo>
                    <a:pt x="363" y="43"/>
                  </a:lnTo>
                  <a:lnTo>
                    <a:pt x="365" y="41"/>
                  </a:lnTo>
                  <a:lnTo>
                    <a:pt x="365" y="41"/>
                  </a:lnTo>
                  <a:lnTo>
                    <a:pt x="365" y="41"/>
                  </a:lnTo>
                  <a:lnTo>
                    <a:pt x="365" y="39"/>
                  </a:lnTo>
                  <a:lnTo>
                    <a:pt x="365" y="39"/>
                  </a:lnTo>
                  <a:lnTo>
                    <a:pt x="363" y="37"/>
                  </a:lnTo>
                  <a:lnTo>
                    <a:pt x="363" y="37"/>
                  </a:lnTo>
                  <a:lnTo>
                    <a:pt x="363" y="35"/>
                  </a:lnTo>
                  <a:lnTo>
                    <a:pt x="361" y="35"/>
                  </a:lnTo>
                  <a:lnTo>
                    <a:pt x="361" y="33"/>
                  </a:lnTo>
                  <a:lnTo>
                    <a:pt x="363" y="33"/>
                  </a:lnTo>
                  <a:lnTo>
                    <a:pt x="363" y="33"/>
                  </a:lnTo>
                  <a:lnTo>
                    <a:pt x="361" y="33"/>
                  </a:lnTo>
                  <a:lnTo>
                    <a:pt x="361" y="33"/>
                  </a:lnTo>
                  <a:lnTo>
                    <a:pt x="357" y="31"/>
                  </a:lnTo>
                  <a:lnTo>
                    <a:pt x="355" y="29"/>
                  </a:lnTo>
                  <a:lnTo>
                    <a:pt x="351" y="29"/>
                  </a:lnTo>
                  <a:lnTo>
                    <a:pt x="349" y="29"/>
                  </a:lnTo>
                  <a:lnTo>
                    <a:pt x="347" y="29"/>
                  </a:lnTo>
                  <a:lnTo>
                    <a:pt x="347" y="29"/>
                  </a:lnTo>
                  <a:lnTo>
                    <a:pt x="347" y="29"/>
                  </a:lnTo>
                  <a:lnTo>
                    <a:pt x="345" y="29"/>
                  </a:lnTo>
                  <a:lnTo>
                    <a:pt x="342" y="31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0" y="29"/>
                  </a:lnTo>
                  <a:lnTo>
                    <a:pt x="338" y="29"/>
                  </a:lnTo>
                  <a:lnTo>
                    <a:pt x="336" y="31"/>
                  </a:lnTo>
                  <a:lnTo>
                    <a:pt x="334" y="29"/>
                  </a:lnTo>
                  <a:lnTo>
                    <a:pt x="334" y="29"/>
                  </a:lnTo>
                  <a:lnTo>
                    <a:pt x="334" y="29"/>
                  </a:lnTo>
                  <a:lnTo>
                    <a:pt x="332" y="31"/>
                  </a:lnTo>
                  <a:lnTo>
                    <a:pt x="332" y="33"/>
                  </a:lnTo>
                  <a:lnTo>
                    <a:pt x="330" y="35"/>
                  </a:lnTo>
                  <a:lnTo>
                    <a:pt x="330" y="37"/>
                  </a:lnTo>
                  <a:lnTo>
                    <a:pt x="330" y="37"/>
                  </a:lnTo>
                  <a:lnTo>
                    <a:pt x="330" y="41"/>
                  </a:lnTo>
                  <a:lnTo>
                    <a:pt x="330" y="43"/>
                  </a:lnTo>
                  <a:lnTo>
                    <a:pt x="330" y="45"/>
                  </a:lnTo>
                  <a:lnTo>
                    <a:pt x="330" y="45"/>
                  </a:lnTo>
                  <a:lnTo>
                    <a:pt x="330" y="47"/>
                  </a:lnTo>
                  <a:lnTo>
                    <a:pt x="330" y="47"/>
                  </a:lnTo>
                  <a:lnTo>
                    <a:pt x="330" y="49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28" y="54"/>
                  </a:lnTo>
                  <a:lnTo>
                    <a:pt x="328" y="54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4" y="54"/>
                  </a:lnTo>
                  <a:lnTo>
                    <a:pt x="324" y="56"/>
                  </a:lnTo>
                  <a:lnTo>
                    <a:pt x="322" y="58"/>
                  </a:lnTo>
                  <a:lnTo>
                    <a:pt x="322" y="58"/>
                  </a:lnTo>
                  <a:lnTo>
                    <a:pt x="324" y="58"/>
                  </a:lnTo>
                  <a:lnTo>
                    <a:pt x="322" y="60"/>
                  </a:lnTo>
                  <a:lnTo>
                    <a:pt x="322" y="60"/>
                  </a:lnTo>
                  <a:lnTo>
                    <a:pt x="322" y="62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4" y="64"/>
                  </a:lnTo>
                  <a:lnTo>
                    <a:pt x="324" y="64"/>
                  </a:lnTo>
                  <a:lnTo>
                    <a:pt x="324" y="64"/>
                  </a:lnTo>
                  <a:lnTo>
                    <a:pt x="322" y="66"/>
                  </a:lnTo>
                  <a:lnTo>
                    <a:pt x="320" y="68"/>
                  </a:lnTo>
                  <a:lnTo>
                    <a:pt x="318" y="68"/>
                  </a:lnTo>
                  <a:lnTo>
                    <a:pt x="318" y="68"/>
                  </a:lnTo>
                  <a:lnTo>
                    <a:pt x="318" y="70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20" y="72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18" y="76"/>
                  </a:lnTo>
                  <a:lnTo>
                    <a:pt x="318" y="76"/>
                  </a:lnTo>
                  <a:lnTo>
                    <a:pt x="316" y="78"/>
                  </a:lnTo>
                  <a:lnTo>
                    <a:pt x="316" y="80"/>
                  </a:lnTo>
                  <a:lnTo>
                    <a:pt x="316" y="82"/>
                  </a:lnTo>
                  <a:lnTo>
                    <a:pt x="314" y="82"/>
                  </a:lnTo>
                  <a:lnTo>
                    <a:pt x="314" y="82"/>
                  </a:lnTo>
                  <a:lnTo>
                    <a:pt x="312" y="82"/>
                  </a:lnTo>
                  <a:lnTo>
                    <a:pt x="310" y="82"/>
                  </a:lnTo>
                  <a:lnTo>
                    <a:pt x="308" y="82"/>
                  </a:lnTo>
                  <a:lnTo>
                    <a:pt x="305" y="82"/>
                  </a:lnTo>
                  <a:lnTo>
                    <a:pt x="303" y="82"/>
                  </a:lnTo>
                  <a:lnTo>
                    <a:pt x="303" y="84"/>
                  </a:lnTo>
                  <a:lnTo>
                    <a:pt x="301" y="84"/>
                  </a:lnTo>
                  <a:lnTo>
                    <a:pt x="301" y="86"/>
                  </a:lnTo>
                  <a:lnTo>
                    <a:pt x="299" y="86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5" y="84"/>
                  </a:lnTo>
                  <a:lnTo>
                    <a:pt x="291" y="82"/>
                  </a:lnTo>
                  <a:lnTo>
                    <a:pt x="291" y="82"/>
                  </a:lnTo>
                  <a:lnTo>
                    <a:pt x="289" y="82"/>
                  </a:lnTo>
                  <a:lnTo>
                    <a:pt x="289" y="82"/>
                  </a:lnTo>
                  <a:lnTo>
                    <a:pt x="289" y="82"/>
                  </a:lnTo>
                  <a:lnTo>
                    <a:pt x="289" y="80"/>
                  </a:lnTo>
                  <a:lnTo>
                    <a:pt x="289" y="80"/>
                  </a:lnTo>
                  <a:lnTo>
                    <a:pt x="281" y="80"/>
                  </a:lnTo>
                  <a:lnTo>
                    <a:pt x="279" y="82"/>
                  </a:lnTo>
                  <a:lnTo>
                    <a:pt x="277" y="82"/>
                  </a:lnTo>
                  <a:lnTo>
                    <a:pt x="277" y="82"/>
                  </a:lnTo>
                  <a:lnTo>
                    <a:pt x="277" y="84"/>
                  </a:lnTo>
                  <a:lnTo>
                    <a:pt x="275" y="86"/>
                  </a:lnTo>
                  <a:lnTo>
                    <a:pt x="275" y="88"/>
                  </a:lnTo>
                  <a:lnTo>
                    <a:pt x="273" y="88"/>
                  </a:lnTo>
                  <a:lnTo>
                    <a:pt x="271" y="91"/>
                  </a:lnTo>
                  <a:lnTo>
                    <a:pt x="271" y="91"/>
                  </a:lnTo>
                  <a:lnTo>
                    <a:pt x="269" y="91"/>
                  </a:lnTo>
                  <a:lnTo>
                    <a:pt x="266" y="91"/>
                  </a:lnTo>
                  <a:lnTo>
                    <a:pt x="266" y="91"/>
                  </a:lnTo>
                  <a:lnTo>
                    <a:pt x="264" y="91"/>
                  </a:lnTo>
                  <a:lnTo>
                    <a:pt x="262" y="91"/>
                  </a:lnTo>
                  <a:lnTo>
                    <a:pt x="258" y="91"/>
                  </a:lnTo>
                  <a:lnTo>
                    <a:pt x="258" y="91"/>
                  </a:lnTo>
                  <a:lnTo>
                    <a:pt x="256" y="91"/>
                  </a:lnTo>
                  <a:lnTo>
                    <a:pt x="252" y="93"/>
                  </a:lnTo>
                  <a:lnTo>
                    <a:pt x="250" y="93"/>
                  </a:lnTo>
                  <a:lnTo>
                    <a:pt x="248" y="93"/>
                  </a:lnTo>
                  <a:lnTo>
                    <a:pt x="248" y="93"/>
                  </a:lnTo>
                  <a:lnTo>
                    <a:pt x="246" y="91"/>
                  </a:lnTo>
                  <a:lnTo>
                    <a:pt x="244" y="86"/>
                  </a:lnTo>
                  <a:lnTo>
                    <a:pt x="242" y="86"/>
                  </a:lnTo>
                  <a:lnTo>
                    <a:pt x="242" y="86"/>
                  </a:lnTo>
                  <a:lnTo>
                    <a:pt x="240" y="84"/>
                  </a:lnTo>
                  <a:lnTo>
                    <a:pt x="240" y="84"/>
                  </a:lnTo>
                  <a:lnTo>
                    <a:pt x="238" y="82"/>
                  </a:lnTo>
                  <a:lnTo>
                    <a:pt x="238" y="80"/>
                  </a:lnTo>
                  <a:lnTo>
                    <a:pt x="236" y="80"/>
                  </a:lnTo>
                  <a:lnTo>
                    <a:pt x="236" y="76"/>
                  </a:lnTo>
                  <a:lnTo>
                    <a:pt x="234" y="76"/>
                  </a:lnTo>
                  <a:lnTo>
                    <a:pt x="234" y="76"/>
                  </a:lnTo>
                  <a:lnTo>
                    <a:pt x="234" y="74"/>
                  </a:lnTo>
                  <a:lnTo>
                    <a:pt x="236" y="72"/>
                  </a:lnTo>
                  <a:lnTo>
                    <a:pt x="232" y="74"/>
                  </a:lnTo>
                  <a:lnTo>
                    <a:pt x="230" y="76"/>
                  </a:lnTo>
                  <a:lnTo>
                    <a:pt x="230" y="78"/>
                  </a:lnTo>
                  <a:lnTo>
                    <a:pt x="227" y="80"/>
                  </a:lnTo>
                  <a:lnTo>
                    <a:pt x="225" y="82"/>
                  </a:lnTo>
                  <a:lnTo>
                    <a:pt x="225" y="82"/>
                  </a:lnTo>
                  <a:lnTo>
                    <a:pt x="225" y="86"/>
                  </a:lnTo>
                  <a:lnTo>
                    <a:pt x="225" y="86"/>
                  </a:lnTo>
                  <a:lnTo>
                    <a:pt x="227" y="86"/>
                  </a:lnTo>
                  <a:lnTo>
                    <a:pt x="227" y="86"/>
                  </a:lnTo>
                  <a:lnTo>
                    <a:pt x="225" y="86"/>
                  </a:lnTo>
                  <a:lnTo>
                    <a:pt x="225" y="86"/>
                  </a:lnTo>
                  <a:lnTo>
                    <a:pt x="223" y="88"/>
                  </a:lnTo>
                  <a:lnTo>
                    <a:pt x="223" y="93"/>
                  </a:lnTo>
                  <a:lnTo>
                    <a:pt x="223" y="95"/>
                  </a:lnTo>
                  <a:lnTo>
                    <a:pt x="223" y="99"/>
                  </a:lnTo>
                  <a:lnTo>
                    <a:pt x="223" y="103"/>
                  </a:lnTo>
                  <a:close/>
                  <a:moveTo>
                    <a:pt x="511" y="31"/>
                  </a:moveTo>
                  <a:lnTo>
                    <a:pt x="511" y="31"/>
                  </a:lnTo>
                  <a:lnTo>
                    <a:pt x="511" y="33"/>
                  </a:lnTo>
                  <a:lnTo>
                    <a:pt x="511" y="35"/>
                  </a:lnTo>
                  <a:lnTo>
                    <a:pt x="511" y="35"/>
                  </a:lnTo>
                  <a:lnTo>
                    <a:pt x="511" y="35"/>
                  </a:lnTo>
                  <a:lnTo>
                    <a:pt x="513" y="35"/>
                  </a:lnTo>
                  <a:lnTo>
                    <a:pt x="513" y="33"/>
                  </a:lnTo>
                  <a:lnTo>
                    <a:pt x="513" y="31"/>
                  </a:lnTo>
                  <a:lnTo>
                    <a:pt x="513" y="29"/>
                  </a:lnTo>
                  <a:lnTo>
                    <a:pt x="513" y="27"/>
                  </a:lnTo>
                  <a:lnTo>
                    <a:pt x="511" y="27"/>
                  </a:lnTo>
                  <a:lnTo>
                    <a:pt x="511" y="25"/>
                  </a:lnTo>
                  <a:lnTo>
                    <a:pt x="511" y="29"/>
                  </a:lnTo>
                  <a:lnTo>
                    <a:pt x="511" y="29"/>
                  </a:lnTo>
                  <a:lnTo>
                    <a:pt x="511" y="31"/>
                  </a:lnTo>
                  <a:close/>
                  <a:moveTo>
                    <a:pt x="160" y="214"/>
                  </a:moveTo>
                  <a:lnTo>
                    <a:pt x="162" y="212"/>
                  </a:lnTo>
                  <a:lnTo>
                    <a:pt x="164" y="212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8" y="214"/>
                  </a:lnTo>
                  <a:lnTo>
                    <a:pt x="168" y="216"/>
                  </a:lnTo>
                  <a:lnTo>
                    <a:pt x="168" y="216"/>
                  </a:lnTo>
                  <a:lnTo>
                    <a:pt x="170" y="216"/>
                  </a:lnTo>
                  <a:lnTo>
                    <a:pt x="170" y="214"/>
                  </a:lnTo>
                  <a:lnTo>
                    <a:pt x="170" y="214"/>
                  </a:lnTo>
                  <a:lnTo>
                    <a:pt x="172" y="202"/>
                  </a:lnTo>
                  <a:lnTo>
                    <a:pt x="172" y="197"/>
                  </a:lnTo>
                  <a:lnTo>
                    <a:pt x="172" y="195"/>
                  </a:lnTo>
                  <a:lnTo>
                    <a:pt x="172" y="193"/>
                  </a:lnTo>
                  <a:lnTo>
                    <a:pt x="172" y="185"/>
                  </a:lnTo>
                  <a:lnTo>
                    <a:pt x="172" y="185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79"/>
                  </a:lnTo>
                  <a:lnTo>
                    <a:pt x="172" y="177"/>
                  </a:lnTo>
                  <a:lnTo>
                    <a:pt x="172" y="175"/>
                  </a:lnTo>
                  <a:lnTo>
                    <a:pt x="174" y="173"/>
                  </a:lnTo>
                  <a:lnTo>
                    <a:pt x="174" y="171"/>
                  </a:lnTo>
                  <a:lnTo>
                    <a:pt x="176" y="169"/>
                  </a:lnTo>
                  <a:lnTo>
                    <a:pt x="176" y="169"/>
                  </a:lnTo>
                  <a:lnTo>
                    <a:pt x="176" y="167"/>
                  </a:lnTo>
                  <a:lnTo>
                    <a:pt x="176" y="167"/>
                  </a:lnTo>
                  <a:lnTo>
                    <a:pt x="174" y="162"/>
                  </a:lnTo>
                  <a:lnTo>
                    <a:pt x="170" y="154"/>
                  </a:lnTo>
                  <a:lnTo>
                    <a:pt x="168" y="154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0" y="152"/>
                  </a:lnTo>
                  <a:lnTo>
                    <a:pt x="160" y="152"/>
                  </a:lnTo>
                  <a:lnTo>
                    <a:pt x="158" y="152"/>
                  </a:lnTo>
                  <a:lnTo>
                    <a:pt x="158" y="154"/>
                  </a:lnTo>
                  <a:lnTo>
                    <a:pt x="156" y="156"/>
                  </a:lnTo>
                  <a:lnTo>
                    <a:pt x="156" y="156"/>
                  </a:lnTo>
                  <a:lnTo>
                    <a:pt x="154" y="156"/>
                  </a:lnTo>
                  <a:lnTo>
                    <a:pt x="154" y="156"/>
                  </a:lnTo>
                  <a:lnTo>
                    <a:pt x="154" y="154"/>
                  </a:lnTo>
                  <a:lnTo>
                    <a:pt x="154" y="152"/>
                  </a:lnTo>
                  <a:lnTo>
                    <a:pt x="156" y="150"/>
                  </a:lnTo>
                  <a:lnTo>
                    <a:pt x="158" y="150"/>
                  </a:lnTo>
                  <a:lnTo>
                    <a:pt x="158" y="148"/>
                  </a:lnTo>
                  <a:lnTo>
                    <a:pt x="158" y="148"/>
                  </a:lnTo>
                  <a:lnTo>
                    <a:pt x="156" y="146"/>
                  </a:lnTo>
                  <a:lnTo>
                    <a:pt x="156" y="146"/>
                  </a:lnTo>
                  <a:lnTo>
                    <a:pt x="154" y="144"/>
                  </a:lnTo>
                  <a:lnTo>
                    <a:pt x="152" y="142"/>
                  </a:lnTo>
                  <a:lnTo>
                    <a:pt x="152" y="140"/>
                  </a:lnTo>
                  <a:lnTo>
                    <a:pt x="152" y="138"/>
                  </a:lnTo>
                  <a:lnTo>
                    <a:pt x="152" y="134"/>
                  </a:lnTo>
                  <a:lnTo>
                    <a:pt x="152" y="132"/>
                  </a:lnTo>
                  <a:lnTo>
                    <a:pt x="149" y="130"/>
                  </a:lnTo>
                  <a:lnTo>
                    <a:pt x="149" y="128"/>
                  </a:lnTo>
                  <a:lnTo>
                    <a:pt x="147" y="128"/>
                  </a:lnTo>
                  <a:lnTo>
                    <a:pt x="147" y="128"/>
                  </a:lnTo>
                  <a:lnTo>
                    <a:pt x="145" y="128"/>
                  </a:lnTo>
                  <a:lnTo>
                    <a:pt x="143" y="128"/>
                  </a:lnTo>
                  <a:lnTo>
                    <a:pt x="139" y="125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7" y="117"/>
                  </a:lnTo>
                  <a:lnTo>
                    <a:pt x="135" y="117"/>
                  </a:lnTo>
                  <a:lnTo>
                    <a:pt x="135" y="115"/>
                  </a:lnTo>
                  <a:lnTo>
                    <a:pt x="135" y="113"/>
                  </a:lnTo>
                  <a:lnTo>
                    <a:pt x="135" y="113"/>
                  </a:lnTo>
                  <a:lnTo>
                    <a:pt x="135" y="113"/>
                  </a:lnTo>
                  <a:lnTo>
                    <a:pt x="137" y="111"/>
                  </a:lnTo>
                  <a:lnTo>
                    <a:pt x="139" y="109"/>
                  </a:lnTo>
                  <a:lnTo>
                    <a:pt x="141" y="109"/>
                  </a:lnTo>
                  <a:lnTo>
                    <a:pt x="139" y="105"/>
                  </a:lnTo>
                  <a:lnTo>
                    <a:pt x="139" y="103"/>
                  </a:lnTo>
                  <a:lnTo>
                    <a:pt x="137" y="103"/>
                  </a:lnTo>
                  <a:lnTo>
                    <a:pt x="135" y="101"/>
                  </a:lnTo>
                  <a:lnTo>
                    <a:pt x="135" y="101"/>
                  </a:lnTo>
                  <a:lnTo>
                    <a:pt x="133" y="99"/>
                  </a:lnTo>
                  <a:lnTo>
                    <a:pt x="133" y="101"/>
                  </a:lnTo>
                  <a:lnTo>
                    <a:pt x="129" y="101"/>
                  </a:lnTo>
                  <a:lnTo>
                    <a:pt x="129" y="103"/>
                  </a:lnTo>
                  <a:lnTo>
                    <a:pt x="127" y="105"/>
                  </a:lnTo>
                  <a:lnTo>
                    <a:pt x="125" y="105"/>
                  </a:lnTo>
                  <a:lnTo>
                    <a:pt x="121" y="105"/>
                  </a:lnTo>
                  <a:lnTo>
                    <a:pt x="125" y="103"/>
                  </a:lnTo>
                  <a:lnTo>
                    <a:pt x="129" y="101"/>
                  </a:lnTo>
                  <a:lnTo>
                    <a:pt x="129" y="101"/>
                  </a:lnTo>
                  <a:lnTo>
                    <a:pt x="129" y="99"/>
                  </a:lnTo>
                  <a:lnTo>
                    <a:pt x="127" y="97"/>
                  </a:lnTo>
                  <a:lnTo>
                    <a:pt x="125" y="97"/>
                  </a:lnTo>
                  <a:lnTo>
                    <a:pt x="121" y="95"/>
                  </a:lnTo>
                  <a:lnTo>
                    <a:pt x="119" y="95"/>
                  </a:lnTo>
                  <a:lnTo>
                    <a:pt x="119" y="95"/>
                  </a:lnTo>
                  <a:lnTo>
                    <a:pt x="115" y="91"/>
                  </a:lnTo>
                  <a:lnTo>
                    <a:pt x="115" y="91"/>
                  </a:lnTo>
                  <a:lnTo>
                    <a:pt x="115" y="88"/>
                  </a:lnTo>
                  <a:lnTo>
                    <a:pt x="115" y="86"/>
                  </a:lnTo>
                  <a:lnTo>
                    <a:pt x="112" y="84"/>
                  </a:lnTo>
                  <a:lnTo>
                    <a:pt x="112" y="82"/>
                  </a:lnTo>
                  <a:lnTo>
                    <a:pt x="108" y="80"/>
                  </a:lnTo>
                  <a:lnTo>
                    <a:pt x="106" y="78"/>
                  </a:lnTo>
                  <a:lnTo>
                    <a:pt x="104" y="78"/>
                  </a:lnTo>
                  <a:lnTo>
                    <a:pt x="102" y="78"/>
                  </a:lnTo>
                  <a:lnTo>
                    <a:pt x="102" y="76"/>
                  </a:lnTo>
                  <a:lnTo>
                    <a:pt x="100" y="74"/>
                  </a:lnTo>
                  <a:lnTo>
                    <a:pt x="100" y="72"/>
                  </a:lnTo>
                  <a:lnTo>
                    <a:pt x="98" y="70"/>
                  </a:lnTo>
                  <a:lnTo>
                    <a:pt x="96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70"/>
                  </a:lnTo>
                  <a:lnTo>
                    <a:pt x="94" y="72"/>
                  </a:lnTo>
                  <a:lnTo>
                    <a:pt x="94" y="74"/>
                  </a:lnTo>
                  <a:lnTo>
                    <a:pt x="92" y="72"/>
                  </a:lnTo>
                  <a:lnTo>
                    <a:pt x="90" y="70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86" y="68"/>
                  </a:lnTo>
                  <a:lnTo>
                    <a:pt x="86" y="66"/>
                  </a:lnTo>
                  <a:lnTo>
                    <a:pt x="84" y="64"/>
                  </a:lnTo>
                  <a:lnTo>
                    <a:pt x="84" y="64"/>
                  </a:lnTo>
                  <a:lnTo>
                    <a:pt x="82" y="60"/>
                  </a:lnTo>
                  <a:lnTo>
                    <a:pt x="80" y="58"/>
                  </a:lnTo>
                  <a:lnTo>
                    <a:pt x="78" y="56"/>
                  </a:lnTo>
                  <a:lnTo>
                    <a:pt x="78" y="54"/>
                  </a:lnTo>
                  <a:lnTo>
                    <a:pt x="73" y="51"/>
                  </a:lnTo>
                  <a:lnTo>
                    <a:pt x="71" y="47"/>
                  </a:lnTo>
                  <a:lnTo>
                    <a:pt x="65" y="43"/>
                  </a:lnTo>
                  <a:lnTo>
                    <a:pt x="59" y="41"/>
                  </a:lnTo>
                  <a:lnTo>
                    <a:pt x="59" y="39"/>
                  </a:lnTo>
                  <a:lnTo>
                    <a:pt x="57" y="39"/>
                  </a:lnTo>
                  <a:lnTo>
                    <a:pt x="57" y="37"/>
                  </a:lnTo>
                  <a:lnTo>
                    <a:pt x="57" y="37"/>
                  </a:lnTo>
                  <a:lnTo>
                    <a:pt x="55" y="35"/>
                  </a:lnTo>
                  <a:lnTo>
                    <a:pt x="51" y="33"/>
                  </a:lnTo>
                  <a:lnTo>
                    <a:pt x="49" y="33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5" y="25"/>
                  </a:lnTo>
                  <a:lnTo>
                    <a:pt x="45" y="23"/>
                  </a:lnTo>
                  <a:lnTo>
                    <a:pt x="45" y="21"/>
                  </a:lnTo>
                  <a:lnTo>
                    <a:pt x="43" y="19"/>
                  </a:lnTo>
                  <a:lnTo>
                    <a:pt x="41" y="17"/>
                  </a:lnTo>
                  <a:lnTo>
                    <a:pt x="39" y="14"/>
                  </a:lnTo>
                  <a:lnTo>
                    <a:pt x="37" y="14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2" y="14"/>
                  </a:lnTo>
                  <a:lnTo>
                    <a:pt x="30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2" y="10"/>
                  </a:lnTo>
                  <a:lnTo>
                    <a:pt x="10" y="8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9"/>
                  </a:lnTo>
                  <a:lnTo>
                    <a:pt x="4" y="21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12" y="31"/>
                  </a:lnTo>
                  <a:lnTo>
                    <a:pt x="16" y="35"/>
                  </a:lnTo>
                  <a:lnTo>
                    <a:pt x="18" y="35"/>
                  </a:lnTo>
                  <a:lnTo>
                    <a:pt x="20" y="39"/>
                  </a:lnTo>
                  <a:lnTo>
                    <a:pt x="22" y="39"/>
                  </a:lnTo>
                  <a:lnTo>
                    <a:pt x="26" y="41"/>
                  </a:lnTo>
                  <a:lnTo>
                    <a:pt x="28" y="41"/>
                  </a:lnTo>
                  <a:lnTo>
                    <a:pt x="28" y="43"/>
                  </a:lnTo>
                  <a:lnTo>
                    <a:pt x="32" y="49"/>
                  </a:lnTo>
                  <a:lnTo>
                    <a:pt x="34" y="51"/>
                  </a:lnTo>
                  <a:lnTo>
                    <a:pt x="34" y="54"/>
                  </a:lnTo>
                  <a:lnTo>
                    <a:pt x="37" y="54"/>
                  </a:lnTo>
                  <a:lnTo>
                    <a:pt x="39" y="58"/>
                  </a:lnTo>
                  <a:lnTo>
                    <a:pt x="41" y="58"/>
                  </a:lnTo>
                  <a:lnTo>
                    <a:pt x="41" y="60"/>
                  </a:lnTo>
                  <a:lnTo>
                    <a:pt x="41" y="64"/>
                  </a:lnTo>
                  <a:lnTo>
                    <a:pt x="41" y="66"/>
                  </a:lnTo>
                  <a:lnTo>
                    <a:pt x="43" y="68"/>
                  </a:lnTo>
                  <a:lnTo>
                    <a:pt x="45" y="68"/>
                  </a:lnTo>
                  <a:lnTo>
                    <a:pt x="47" y="68"/>
                  </a:lnTo>
                  <a:lnTo>
                    <a:pt x="49" y="68"/>
                  </a:lnTo>
                  <a:lnTo>
                    <a:pt x="55" y="74"/>
                  </a:lnTo>
                  <a:lnTo>
                    <a:pt x="57" y="74"/>
                  </a:lnTo>
                  <a:lnTo>
                    <a:pt x="57" y="78"/>
                  </a:lnTo>
                  <a:lnTo>
                    <a:pt x="59" y="82"/>
                  </a:lnTo>
                  <a:lnTo>
                    <a:pt x="61" y="91"/>
                  </a:lnTo>
                  <a:lnTo>
                    <a:pt x="63" y="97"/>
                  </a:lnTo>
                  <a:lnTo>
                    <a:pt x="65" y="101"/>
                  </a:lnTo>
                  <a:lnTo>
                    <a:pt x="65" y="103"/>
                  </a:lnTo>
                  <a:lnTo>
                    <a:pt x="67" y="105"/>
                  </a:lnTo>
                  <a:lnTo>
                    <a:pt x="69" y="105"/>
                  </a:lnTo>
                  <a:lnTo>
                    <a:pt x="73" y="107"/>
                  </a:lnTo>
                  <a:lnTo>
                    <a:pt x="73" y="109"/>
                  </a:lnTo>
                  <a:lnTo>
                    <a:pt x="76" y="109"/>
                  </a:lnTo>
                  <a:lnTo>
                    <a:pt x="78" y="115"/>
                  </a:lnTo>
                  <a:lnTo>
                    <a:pt x="78" y="117"/>
                  </a:lnTo>
                  <a:lnTo>
                    <a:pt x="80" y="117"/>
                  </a:lnTo>
                  <a:lnTo>
                    <a:pt x="82" y="119"/>
                  </a:lnTo>
                  <a:lnTo>
                    <a:pt x="84" y="123"/>
                  </a:lnTo>
                  <a:lnTo>
                    <a:pt x="84" y="123"/>
                  </a:lnTo>
                  <a:lnTo>
                    <a:pt x="86" y="130"/>
                  </a:lnTo>
                  <a:lnTo>
                    <a:pt x="88" y="134"/>
                  </a:lnTo>
                  <a:lnTo>
                    <a:pt x="92" y="144"/>
                  </a:lnTo>
                  <a:lnTo>
                    <a:pt x="92" y="148"/>
                  </a:lnTo>
                  <a:lnTo>
                    <a:pt x="94" y="150"/>
                  </a:lnTo>
                  <a:lnTo>
                    <a:pt x="94" y="152"/>
                  </a:lnTo>
                  <a:lnTo>
                    <a:pt x="96" y="156"/>
                  </a:lnTo>
                  <a:lnTo>
                    <a:pt x="98" y="158"/>
                  </a:lnTo>
                  <a:lnTo>
                    <a:pt x="100" y="158"/>
                  </a:lnTo>
                  <a:lnTo>
                    <a:pt x="100" y="160"/>
                  </a:lnTo>
                  <a:lnTo>
                    <a:pt x="102" y="162"/>
                  </a:lnTo>
                  <a:lnTo>
                    <a:pt x="104" y="167"/>
                  </a:lnTo>
                  <a:lnTo>
                    <a:pt x="104" y="169"/>
                  </a:lnTo>
                  <a:lnTo>
                    <a:pt x="108" y="171"/>
                  </a:lnTo>
                  <a:lnTo>
                    <a:pt x="112" y="175"/>
                  </a:lnTo>
                  <a:lnTo>
                    <a:pt x="115" y="177"/>
                  </a:lnTo>
                  <a:lnTo>
                    <a:pt x="117" y="181"/>
                  </a:lnTo>
                  <a:lnTo>
                    <a:pt x="119" y="185"/>
                  </a:lnTo>
                  <a:lnTo>
                    <a:pt x="125" y="191"/>
                  </a:lnTo>
                  <a:lnTo>
                    <a:pt x="129" y="193"/>
                  </a:lnTo>
                  <a:lnTo>
                    <a:pt x="129" y="195"/>
                  </a:lnTo>
                  <a:lnTo>
                    <a:pt x="131" y="197"/>
                  </a:lnTo>
                  <a:lnTo>
                    <a:pt x="133" y="197"/>
                  </a:lnTo>
                  <a:lnTo>
                    <a:pt x="139" y="202"/>
                  </a:lnTo>
                  <a:lnTo>
                    <a:pt x="139" y="202"/>
                  </a:lnTo>
                  <a:lnTo>
                    <a:pt x="143" y="208"/>
                  </a:lnTo>
                  <a:lnTo>
                    <a:pt x="143" y="210"/>
                  </a:lnTo>
                  <a:lnTo>
                    <a:pt x="145" y="210"/>
                  </a:lnTo>
                  <a:lnTo>
                    <a:pt x="147" y="214"/>
                  </a:lnTo>
                  <a:lnTo>
                    <a:pt x="149" y="216"/>
                  </a:lnTo>
                  <a:lnTo>
                    <a:pt x="152" y="218"/>
                  </a:lnTo>
                  <a:lnTo>
                    <a:pt x="152" y="218"/>
                  </a:lnTo>
                  <a:lnTo>
                    <a:pt x="152" y="218"/>
                  </a:lnTo>
                  <a:lnTo>
                    <a:pt x="152" y="216"/>
                  </a:lnTo>
                  <a:lnTo>
                    <a:pt x="152" y="212"/>
                  </a:lnTo>
                  <a:lnTo>
                    <a:pt x="152" y="212"/>
                  </a:lnTo>
                  <a:lnTo>
                    <a:pt x="152" y="210"/>
                  </a:lnTo>
                  <a:lnTo>
                    <a:pt x="156" y="214"/>
                  </a:lnTo>
                  <a:lnTo>
                    <a:pt x="158" y="214"/>
                  </a:lnTo>
                  <a:lnTo>
                    <a:pt x="160" y="214"/>
                  </a:lnTo>
                  <a:lnTo>
                    <a:pt x="160" y="214"/>
                  </a:lnTo>
                  <a:close/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0" name="Freeform 150">
              <a:extLst>
                <a:ext uri="{FF2B5EF4-FFF2-40B4-BE49-F238E27FC236}">
                  <a16:creationId xmlns:a16="http://schemas.microsoft.com/office/drawing/2014/main" id="{14694319-D450-D940-9C28-0CE4C0353E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4194" y="2756595"/>
              <a:ext cx="531209" cy="631034"/>
            </a:xfrm>
            <a:custGeom>
              <a:avLst/>
              <a:gdLst>
                <a:gd name="T0" fmla="*/ 414 w 447"/>
                <a:gd name="T1" fmla="*/ 411 h 531"/>
                <a:gd name="T2" fmla="*/ 410 w 447"/>
                <a:gd name="T3" fmla="*/ 432 h 531"/>
                <a:gd name="T4" fmla="*/ 408 w 447"/>
                <a:gd name="T5" fmla="*/ 455 h 531"/>
                <a:gd name="T6" fmla="*/ 96 w 447"/>
                <a:gd name="T7" fmla="*/ 502 h 531"/>
                <a:gd name="T8" fmla="*/ 414 w 447"/>
                <a:gd name="T9" fmla="*/ 434 h 531"/>
                <a:gd name="T10" fmla="*/ 433 w 447"/>
                <a:gd name="T11" fmla="*/ 132 h 531"/>
                <a:gd name="T12" fmla="*/ 427 w 447"/>
                <a:gd name="T13" fmla="*/ 117 h 531"/>
                <a:gd name="T14" fmla="*/ 398 w 447"/>
                <a:gd name="T15" fmla="*/ 115 h 531"/>
                <a:gd name="T16" fmla="*/ 373 w 447"/>
                <a:gd name="T17" fmla="*/ 140 h 531"/>
                <a:gd name="T18" fmla="*/ 365 w 447"/>
                <a:gd name="T19" fmla="*/ 152 h 531"/>
                <a:gd name="T20" fmla="*/ 345 w 447"/>
                <a:gd name="T21" fmla="*/ 163 h 531"/>
                <a:gd name="T22" fmla="*/ 314 w 447"/>
                <a:gd name="T23" fmla="*/ 154 h 531"/>
                <a:gd name="T24" fmla="*/ 304 w 447"/>
                <a:gd name="T25" fmla="*/ 144 h 531"/>
                <a:gd name="T26" fmla="*/ 285 w 447"/>
                <a:gd name="T27" fmla="*/ 169 h 531"/>
                <a:gd name="T28" fmla="*/ 252 w 447"/>
                <a:gd name="T29" fmla="*/ 159 h 531"/>
                <a:gd name="T30" fmla="*/ 215 w 447"/>
                <a:gd name="T31" fmla="*/ 146 h 531"/>
                <a:gd name="T32" fmla="*/ 180 w 447"/>
                <a:gd name="T33" fmla="*/ 130 h 531"/>
                <a:gd name="T34" fmla="*/ 178 w 447"/>
                <a:gd name="T35" fmla="*/ 97 h 531"/>
                <a:gd name="T36" fmla="*/ 154 w 447"/>
                <a:gd name="T37" fmla="*/ 82 h 531"/>
                <a:gd name="T38" fmla="*/ 141 w 447"/>
                <a:gd name="T39" fmla="*/ 68 h 531"/>
                <a:gd name="T40" fmla="*/ 148 w 447"/>
                <a:gd name="T41" fmla="*/ 54 h 531"/>
                <a:gd name="T42" fmla="*/ 137 w 447"/>
                <a:gd name="T43" fmla="*/ 25 h 531"/>
                <a:gd name="T44" fmla="*/ 111 w 447"/>
                <a:gd name="T45" fmla="*/ 2 h 531"/>
                <a:gd name="T46" fmla="*/ 90 w 447"/>
                <a:gd name="T47" fmla="*/ 19 h 531"/>
                <a:gd name="T48" fmla="*/ 61 w 447"/>
                <a:gd name="T49" fmla="*/ 27 h 531"/>
                <a:gd name="T50" fmla="*/ 65 w 447"/>
                <a:gd name="T51" fmla="*/ 45 h 531"/>
                <a:gd name="T52" fmla="*/ 88 w 447"/>
                <a:gd name="T53" fmla="*/ 64 h 531"/>
                <a:gd name="T54" fmla="*/ 74 w 447"/>
                <a:gd name="T55" fmla="*/ 99 h 531"/>
                <a:gd name="T56" fmla="*/ 39 w 447"/>
                <a:gd name="T57" fmla="*/ 142 h 531"/>
                <a:gd name="T58" fmla="*/ 14 w 447"/>
                <a:gd name="T59" fmla="*/ 163 h 531"/>
                <a:gd name="T60" fmla="*/ 39 w 447"/>
                <a:gd name="T61" fmla="*/ 191 h 531"/>
                <a:gd name="T62" fmla="*/ 35 w 447"/>
                <a:gd name="T63" fmla="*/ 206 h 531"/>
                <a:gd name="T64" fmla="*/ 6 w 447"/>
                <a:gd name="T65" fmla="*/ 214 h 531"/>
                <a:gd name="T66" fmla="*/ 33 w 447"/>
                <a:gd name="T67" fmla="*/ 233 h 531"/>
                <a:gd name="T68" fmla="*/ 14 w 447"/>
                <a:gd name="T69" fmla="*/ 245 h 531"/>
                <a:gd name="T70" fmla="*/ 65 w 447"/>
                <a:gd name="T71" fmla="*/ 251 h 531"/>
                <a:gd name="T72" fmla="*/ 76 w 447"/>
                <a:gd name="T73" fmla="*/ 257 h 531"/>
                <a:gd name="T74" fmla="*/ 84 w 447"/>
                <a:gd name="T75" fmla="*/ 300 h 531"/>
                <a:gd name="T76" fmla="*/ 98 w 447"/>
                <a:gd name="T77" fmla="*/ 362 h 531"/>
                <a:gd name="T78" fmla="*/ 119 w 447"/>
                <a:gd name="T79" fmla="*/ 405 h 531"/>
                <a:gd name="T80" fmla="*/ 150 w 447"/>
                <a:gd name="T81" fmla="*/ 479 h 531"/>
                <a:gd name="T82" fmla="*/ 180 w 447"/>
                <a:gd name="T83" fmla="*/ 490 h 531"/>
                <a:gd name="T84" fmla="*/ 205 w 447"/>
                <a:gd name="T85" fmla="*/ 446 h 531"/>
                <a:gd name="T86" fmla="*/ 205 w 447"/>
                <a:gd name="T87" fmla="*/ 393 h 531"/>
                <a:gd name="T88" fmla="*/ 228 w 447"/>
                <a:gd name="T89" fmla="*/ 354 h 531"/>
                <a:gd name="T90" fmla="*/ 277 w 447"/>
                <a:gd name="T91" fmla="*/ 296 h 531"/>
                <a:gd name="T92" fmla="*/ 297 w 447"/>
                <a:gd name="T93" fmla="*/ 284 h 531"/>
                <a:gd name="T94" fmla="*/ 316 w 447"/>
                <a:gd name="T95" fmla="*/ 245 h 531"/>
                <a:gd name="T96" fmla="*/ 330 w 447"/>
                <a:gd name="T97" fmla="*/ 257 h 531"/>
                <a:gd name="T98" fmla="*/ 324 w 447"/>
                <a:gd name="T99" fmla="*/ 224 h 531"/>
                <a:gd name="T100" fmla="*/ 312 w 447"/>
                <a:gd name="T101" fmla="*/ 198 h 531"/>
                <a:gd name="T102" fmla="*/ 308 w 447"/>
                <a:gd name="T103" fmla="*/ 179 h 531"/>
                <a:gd name="T104" fmla="*/ 320 w 447"/>
                <a:gd name="T105" fmla="*/ 173 h 531"/>
                <a:gd name="T106" fmla="*/ 336 w 447"/>
                <a:gd name="T107" fmla="*/ 187 h 531"/>
                <a:gd name="T108" fmla="*/ 380 w 447"/>
                <a:gd name="T109" fmla="*/ 198 h 531"/>
                <a:gd name="T110" fmla="*/ 365 w 447"/>
                <a:gd name="T111" fmla="*/ 212 h 531"/>
                <a:gd name="T112" fmla="*/ 373 w 447"/>
                <a:gd name="T113" fmla="*/ 224 h 531"/>
                <a:gd name="T114" fmla="*/ 390 w 447"/>
                <a:gd name="T115" fmla="*/ 251 h 531"/>
                <a:gd name="T116" fmla="*/ 398 w 447"/>
                <a:gd name="T117" fmla="*/ 233 h 531"/>
                <a:gd name="T118" fmla="*/ 410 w 447"/>
                <a:gd name="T119" fmla="*/ 206 h 531"/>
                <a:gd name="T120" fmla="*/ 419 w 447"/>
                <a:gd name="T121" fmla="*/ 175 h 531"/>
                <a:gd name="T122" fmla="*/ 441 w 447"/>
                <a:gd name="T123" fmla="*/ 150 h 531"/>
                <a:gd name="T124" fmla="*/ 429 w 447"/>
                <a:gd name="T125" fmla="*/ 504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7" h="531">
                  <a:moveTo>
                    <a:pt x="410" y="444"/>
                  </a:moveTo>
                  <a:lnTo>
                    <a:pt x="410" y="442"/>
                  </a:lnTo>
                  <a:lnTo>
                    <a:pt x="410" y="444"/>
                  </a:lnTo>
                  <a:lnTo>
                    <a:pt x="410" y="444"/>
                  </a:lnTo>
                  <a:lnTo>
                    <a:pt x="410" y="446"/>
                  </a:lnTo>
                  <a:lnTo>
                    <a:pt x="410" y="444"/>
                  </a:lnTo>
                  <a:lnTo>
                    <a:pt x="410" y="444"/>
                  </a:lnTo>
                  <a:lnTo>
                    <a:pt x="410" y="444"/>
                  </a:lnTo>
                  <a:close/>
                  <a:moveTo>
                    <a:pt x="410" y="418"/>
                  </a:moveTo>
                  <a:lnTo>
                    <a:pt x="410" y="416"/>
                  </a:lnTo>
                  <a:lnTo>
                    <a:pt x="410" y="416"/>
                  </a:lnTo>
                  <a:lnTo>
                    <a:pt x="408" y="416"/>
                  </a:lnTo>
                  <a:lnTo>
                    <a:pt x="408" y="418"/>
                  </a:lnTo>
                  <a:lnTo>
                    <a:pt x="408" y="420"/>
                  </a:lnTo>
                  <a:lnTo>
                    <a:pt x="410" y="418"/>
                  </a:lnTo>
                  <a:close/>
                  <a:moveTo>
                    <a:pt x="414" y="424"/>
                  </a:moveTo>
                  <a:lnTo>
                    <a:pt x="414" y="418"/>
                  </a:lnTo>
                  <a:lnTo>
                    <a:pt x="412" y="416"/>
                  </a:lnTo>
                  <a:lnTo>
                    <a:pt x="412" y="416"/>
                  </a:lnTo>
                  <a:lnTo>
                    <a:pt x="412" y="413"/>
                  </a:lnTo>
                  <a:lnTo>
                    <a:pt x="414" y="413"/>
                  </a:lnTo>
                  <a:lnTo>
                    <a:pt x="414" y="413"/>
                  </a:lnTo>
                  <a:lnTo>
                    <a:pt x="414" y="411"/>
                  </a:lnTo>
                  <a:lnTo>
                    <a:pt x="414" y="411"/>
                  </a:lnTo>
                  <a:lnTo>
                    <a:pt x="414" y="409"/>
                  </a:lnTo>
                  <a:lnTo>
                    <a:pt x="414" y="407"/>
                  </a:lnTo>
                  <a:lnTo>
                    <a:pt x="414" y="407"/>
                  </a:lnTo>
                  <a:lnTo>
                    <a:pt x="414" y="405"/>
                  </a:lnTo>
                  <a:lnTo>
                    <a:pt x="414" y="405"/>
                  </a:lnTo>
                  <a:lnTo>
                    <a:pt x="412" y="407"/>
                  </a:lnTo>
                  <a:lnTo>
                    <a:pt x="410" y="409"/>
                  </a:lnTo>
                  <a:lnTo>
                    <a:pt x="410" y="411"/>
                  </a:lnTo>
                  <a:lnTo>
                    <a:pt x="410" y="416"/>
                  </a:lnTo>
                  <a:lnTo>
                    <a:pt x="410" y="416"/>
                  </a:lnTo>
                  <a:lnTo>
                    <a:pt x="410" y="418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10" y="422"/>
                  </a:lnTo>
                  <a:lnTo>
                    <a:pt x="410" y="422"/>
                  </a:lnTo>
                  <a:lnTo>
                    <a:pt x="410" y="424"/>
                  </a:lnTo>
                  <a:lnTo>
                    <a:pt x="410" y="428"/>
                  </a:lnTo>
                  <a:lnTo>
                    <a:pt x="410" y="428"/>
                  </a:lnTo>
                  <a:lnTo>
                    <a:pt x="410" y="428"/>
                  </a:lnTo>
                  <a:lnTo>
                    <a:pt x="412" y="430"/>
                  </a:lnTo>
                  <a:lnTo>
                    <a:pt x="410" y="430"/>
                  </a:lnTo>
                  <a:lnTo>
                    <a:pt x="410" y="430"/>
                  </a:lnTo>
                  <a:lnTo>
                    <a:pt x="410" y="430"/>
                  </a:lnTo>
                  <a:lnTo>
                    <a:pt x="410" y="432"/>
                  </a:lnTo>
                  <a:lnTo>
                    <a:pt x="410" y="434"/>
                  </a:lnTo>
                  <a:lnTo>
                    <a:pt x="408" y="434"/>
                  </a:lnTo>
                  <a:lnTo>
                    <a:pt x="408" y="436"/>
                  </a:lnTo>
                  <a:lnTo>
                    <a:pt x="408" y="436"/>
                  </a:lnTo>
                  <a:lnTo>
                    <a:pt x="408" y="436"/>
                  </a:lnTo>
                  <a:lnTo>
                    <a:pt x="408" y="438"/>
                  </a:lnTo>
                  <a:lnTo>
                    <a:pt x="410" y="442"/>
                  </a:lnTo>
                  <a:lnTo>
                    <a:pt x="410" y="442"/>
                  </a:lnTo>
                  <a:lnTo>
                    <a:pt x="412" y="442"/>
                  </a:lnTo>
                  <a:lnTo>
                    <a:pt x="412" y="440"/>
                  </a:lnTo>
                  <a:lnTo>
                    <a:pt x="412" y="438"/>
                  </a:lnTo>
                  <a:lnTo>
                    <a:pt x="412" y="436"/>
                  </a:lnTo>
                  <a:lnTo>
                    <a:pt x="412" y="436"/>
                  </a:lnTo>
                  <a:lnTo>
                    <a:pt x="412" y="434"/>
                  </a:lnTo>
                  <a:lnTo>
                    <a:pt x="410" y="434"/>
                  </a:lnTo>
                  <a:lnTo>
                    <a:pt x="412" y="434"/>
                  </a:lnTo>
                  <a:lnTo>
                    <a:pt x="412" y="432"/>
                  </a:lnTo>
                  <a:lnTo>
                    <a:pt x="412" y="430"/>
                  </a:lnTo>
                  <a:lnTo>
                    <a:pt x="412" y="430"/>
                  </a:lnTo>
                  <a:lnTo>
                    <a:pt x="412" y="426"/>
                  </a:lnTo>
                  <a:lnTo>
                    <a:pt x="414" y="426"/>
                  </a:lnTo>
                  <a:lnTo>
                    <a:pt x="414" y="424"/>
                  </a:lnTo>
                  <a:close/>
                  <a:moveTo>
                    <a:pt x="408" y="455"/>
                  </a:moveTo>
                  <a:lnTo>
                    <a:pt x="408" y="455"/>
                  </a:lnTo>
                  <a:lnTo>
                    <a:pt x="406" y="457"/>
                  </a:lnTo>
                  <a:lnTo>
                    <a:pt x="406" y="457"/>
                  </a:lnTo>
                  <a:lnTo>
                    <a:pt x="406" y="459"/>
                  </a:lnTo>
                  <a:lnTo>
                    <a:pt x="406" y="461"/>
                  </a:lnTo>
                  <a:lnTo>
                    <a:pt x="408" y="461"/>
                  </a:lnTo>
                  <a:lnTo>
                    <a:pt x="408" y="461"/>
                  </a:lnTo>
                  <a:lnTo>
                    <a:pt x="410" y="457"/>
                  </a:lnTo>
                  <a:lnTo>
                    <a:pt x="410" y="457"/>
                  </a:lnTo>
                  <a:lnTo>
                    <a:pt x="408" y="455"/>
                  </a:lnTo>
                  <a:close/>
                  <a:moveTo>
                    <a:pt x="414" y="483"/>
                  </a:moveTo>
                  <a:lnTo>
                    <a:pt x="414" y="485"/>
                  </a:lnTo>
                  <a:lnTo>
                    <a:pt x="414" y="485"/>
                  </a:lnTo>
                  <a:lnTo>
                    <a:pt x="414" y="485"/>
                  </a:lnTo>
                  <a:lnTo>
                    <a:pt x="414" y="487"/>
                  </a:lnTo>
                  <a:lnTo>
                    <a:pt x="414" y="485"/>
                  </a:lnTo>
                  <a:lnTo>
                    <a:pt x="417" y="485"/>
                  </a:lnTo>
                  <a:lnTo>
                    <a:pt x="414" y="485"/>
                  </a:lnTo>
                  <a:lnTo>
                    <a:pt x="414" y="483"/>
                  </a:lnTo>
                  <a:close/>
                  <a:moveTo>
                    <a:pt x="98" y="502"/>
                  </a:moveTo>
                  <a:lnTo>
                    <a:pt x="98" y="502"/>
                  </a:lnTo>
                  <a:lnTo>
                    <a:pt x="98" y="502"/>
                  </a:lnTo>
                  <a:lnTo>
                    <a:pt x="96" y="502"/>
                  </a:lnTo>
                  <a:lnTo>
                    <a:pt x="96" y="502"/>
                  </a:lnTo>
                  <a:lnTo>
                    <a:pt x="96" y="502"/>
                  </a:lnTo>
                  <a:lnTo>
                    <a:pt x="98" y="502"/>
                  </a:lnTo>
                  <a:lnTo>
                    <a:pt x="98" y="502"/>
                  </a:lnTo>
                  <a:lnTo>
                    <a:pt x="98" y="502"/>
                  </a:lnTo>
                  <a:lnTo>
                    <a:pt x="98" y="502"/>
                  </a:lnTo>
                  <a:lnTo>
                    <a:pt x="98" y="502"/>
                  </a:lnTo>
                  <a:lnTo>
                    <a:pt x="98" y="502"/>
                  </a:lnTo>
                  <a:lnTo>
                    <a:pt x="98" y="502"/>
                  </a:lnTo>
                  <a:close/>
                  <a:moveTo>
                    <a:pt x="90" y="448"/>
                  </a:moveTo>
                  <a:lnTo>
                    <a:pt x="90" y="448"/>
                  </a:lnTo>
                  <a:lnTo>
                    <a:pt x="90" y="448"/>
                  </a:lnTo>
                  <a:lnTo>
                    <a:pt x="90" y="448"/>
                  </a:lnTo>
                  <a:lnTo>
                    <a:pt x="90" y="448"/>
                  </a:lnTo>
                  <a:lnTo>
                    <a:pt x="90" y="448"/>
                  </a:lnTo>
                  <a:lnTo>
                    <a:pt x="90" y="446"/>
                  </a:lnTo>
                  <a:lnTo>
                    <a:pt x="90" y="446"/>
                  </a:lnTo>
                  <a:lnTo>
                    <a:pt x="90" y="448"/>
                  </a:lnTo>
                  <a:close/>
                  <a:moveTo>
                    <a:pt x="431" y="518"/>
                  </a:moveTo>
                  <a:lnTo>
                    <a:pt x="431" y="518"/>
                  </a:lnTo>
                  <a:lnTo>
                    <a:pt x="431" y="518"/>
                  </a:lnTo>
                  <a:lnTo>
                    <a:pt x="431" y="520"/>
                  </a:lnTo>
                  <a:lnTo>
                    <a:pt x="431" y="520"/>
                  </a:lnTo>
                  <a:lnTo>
                    <a:pt x="433" y="518"/>
                  </a:lnTo>
                  <a:lnTo>
                    <a:pt x="431" y="518"/>
                  </a:lnTo>
                  <a:close/>
                  <a:moveTo>
                    <a:pt x="414" y="434"/>
                  </a:moveTo>
                  <a:lnTo>
                    <a:pt x="414" y="434"/>
                  </a:lnTo>
                  <a:lnTo>
                    <a:pt x="414" y="434"/>
                  </a:lnTo>
                  <a:lnTo>
                    <a:pt x="417" y="436"/>
                  </a:lnTo>
                  <a:lnTo>
                    <a:pt x="417" y="434"/>
                  </a:lnTo>
                  <a:lnTo>
                    <a:pt x="414" y="434"/>
                  </a:lnTo>
                  <a:close/>
                  <a:moveTo>
                    <a:pt x="441" y="146"/>
                  </a:moveTo>
                  <a:lnTo>
                    <a:pt x="443" y="144"/>
                  </a:lnTo>
                  <a:lnTo>
                    <a:pt x="443" y="142"/>
                  </a:lnTo>
                  <a:lnTo>
                    <a:pt x="445" y="142"/>
                  </a:lnTo>
                  <a:lnTo>
                    <a:pt x="445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5" y="140"/>
                  </a:lnTo>
                  <a:lnTo>
                    <a:pt x="445" y="138"/>
                  </a:lnTo>
                  <a:lnTo>
                    <a:pt x="445" y="138"/>
                  </a:lnTo>
                  <a:lnTo>
                    <a:pt x="445" y="136"/>
                  </a:lnTo>
                  <a:lnTo>
                    <a:pt x="445" y="136"/>
                  </a:lnTo>
                  <a:lnTo>
                    <a:pt x="441" y="134"/>
                  </a:lnTo>
                  <a:lnTo>
                    <a:pt x="441" y="134"/>
                  </a:lnTo>
                  <a:lnTo>
                    <a:pt x="439" y="134"/>
                  </a:lnTo>
                  <a:lnTo>
                    <a:pt x="437" y="134"/>
                  </a:lnTo>
                  <a:lnTo>
                    <a:pt x="437" y="134"/>
                  </a:lnTo>
                  <a:lnTo>
                    <a:pt x="433" y="132"/>
                  </a:lnTo>
                  <a:lnTo>
                    <a:pt x="433" y="132"/>
                  </a:lnTo>
                  <a:lnTo>
                    <a:pt x="431" y="132"/>
                  </a:lnTo>
                  <a:lnTo>
                    <a:pt x="431" y="134"/>
                  </a:lnTo>
                  <a:lnTo>
                    <a:pt x="429" y="134"/>
                  </a:lnTo>
                  <a:lnTo>
                    <a:pt x="429" y="134"/>
                  </a:lnTo>
                  <a:lnTo>
                    <a:pt x="429" y="132"/>
                  </a:lnTo>
                  <a:lnTo>
                    <a:pt x="429" y="132"/>
                  </a:lnTo>
                  <a:lnTo>
                    <a:pt x="429" y="132"/>
                  </a:lnTo>
                  <a:lnTo>
                    <a:pt x="429" y="132"/>
                  </a:lnTo>
                  <a:lnTo>
                    <a:pt x="429" y="130"/>
                  </a:lnTo>
                  <a:lnTo>
                    <a:pt x="429" y="130"/>
                  </a:lnTo>
                  <a:lnTo>
                    <a:pt x="431" y="126"/>
                  </a:lnTo>
                  <a:lnTo>
                    <a:pt x="431" y="126"/>
                  </a:lnTo>
                  <a:lnTo>
                    <a:pt x="429" y="122"/>
                  </a:lnTo>
                  <a:lnTo>
                    <a:pt x="429" y="122"/>
                  </a:lnTo>
                  <a:lnTo>
                    <a:pt x="429" y="122"/>
                  </a:lnTo>
                  <a:lnTo>
                    <a:pt x="427" y="122"/>
                  </a:lnTo>
                  <a:lnTo>
                    <a:pt x="425" y="124"/>
                  </a:lnTo>
                  <a:lnTo>
                    <a:pt x="425" y="124"/>
                  </a:lnTo>
                  <a:lnTo>
                    <a:pt x="425" y="122"/>
                  </a:lnTo>
                  <a:lnTo>
                    <a:pt x="423" y="119"/>
                  </a:lnTo>
                  <a:lnTo>
                    <a:pt x="425" y="119"/>
                  </a:lnTo>
                  <a:lnTo>
                    <a:pt x="425" y="119"/>
                  </a:lnTo>
                  <a:lnTo>
                    <a:pt x="427" y="117"/>
                  </a:lnTo>
                  <a:lnTo>
                    <a:pt x="427" y="117"/>
                  </a:lnTo>
                  <a:lnTo>
                    <a:pt x="425" y="117"/>
                  </a:lnTo>
                  <a:lnTo>
                    <a:pt x="425" y="117"/>
                  </a:lnTo>
                  <a:lnTo>
                    <a:pt x="423" y="117"/>
                  </a:lnTo>
                  <a:lnTo>
                    <a:pt x="423" y="115"/>
                  </a:lnTo>
                  <a:lnTo>
                    <a:pt x="421" y="113"/>
                  </a:lnTo>
                  <a:lnTo>
                    <a:pt x="421" y="113"/>
                  </a:lnTo>
                  <a:lnTo>
                    <a:pt x="419" y="115"/>
                  </a:lnTo>
                  <a:lnTo>
                    <a:pt x="417" y="115"/>
                  </a:lnTo>
                  <a:lnTo>
                    <a:pt x="412" y="117"/>
                  </a:lnTo>
                  <a:lnTo>
                    <a:pt x="412" y="119"/>
                  </a:lnTo>
                  <a:lnTo>
                    <a:pt x="412" y="119"/>
                  </a:lnTo>
                  <a:lnTo>
                    <a:pt x="412" y="119"/>
                  </a:lnTo>
                  <a:lnTo>
                    <a:pt x="412" y="122"/>
                  </a:lnTo>
                  <a:lnTo>
                    <a:pt x="412" y="122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08" y="119"/>
                  </a:lnTo>
                  <a:lnTo>
                    <a:pt x="406" y="119"/>
                  </a:lnTo>
                  <a:lnTo>
                    <a:pt x="404" y="119"/>
                  </a:lnTo>
                  <a:lnTo>
                    <a:pt x="402" y="119"/>
                  </a:lnTo>
                  <a:lnTo>
                    <a:pt x="402" y="117"/>
                  </a:lnTo>
                  <a:lnTo>
                    <a:pt x="400" y="117"/>
                  </a:lnTo>
                  <a:lnTo>
                    <a:pt x="400" y="115"/>
                  </a:lnTo>
                  <a:lnTo>
                    <a:pt x="398" y="115"/>
                  </a:lnTo>
                  <a:lnTo>
                    <a:pt x="396" y="117"/>
                  </a:lnTo>
                  <a:lnTo>
                    <a:pt x="394" y="119"/>
                  </a:lnTo>
                  <a:lnTo>
                    <a:pt x="394" y="122"/>
                  </a:lnTo>
                  <a:lnTo>
                    <a:pt x="392" y="122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390" y="124"/>
                  </a:lnTo>
                  <a:lnTo>
                    <a:pt x="390" y="126"/>
                  </a:lnTo>
                  <a:lnTo>
                    <a:pt x="388" y="126"/>
                  </a:lnTo>
                  <a:lnTo>
                    <a:pt x="386" y="128"/>
                  </a:lnTo>
                  <a:lnTo>
                    <a:pt x="382" y="128"/>
                  </a:lnTo>
                  <a:lnTo>
                    <a:pt x="380" y="128"/>
                  </a:lnTo>
                  <a:lnTo>
                    <a:pt x="380" y="130"/>
                  </a:lnTo>
                  <a:lnTo>
                    <a:pt x="380" y="132"/>
                  </a:lnTo>
                  <a:lnTo>
                    <a:pt x="380" y="132"/>
                  </a:lnTo>
                  <a:lnTo>
                    <a:pt x="378" y="134"/>
                  </a:lnTo>
                  <a:lnTo>
                    <a:pt x="375" y="136"/>
                  </a:lnTo>
                  <a:lnTo>
                    <a:pt x="373" y="138"/>
                  </a:lnTo>
                  <a:lnTo>
                    <a:pt x="373" y="138"/>
                  </a:lnTo>
                  <a:lnTo>
                    <a:pt x="373" y="138"/>
                  </a:lnTo>
                  <a:lnTo>
                    <a:pt x="373" y="140"/>
                  </a:lnTo>
                  <a:lnTo>
                    <a:pt x="373" y="140"/>
                  </a:lnTo>
                  <a:lnTo>
                    <a:pt x="373" y="140"/>
                  </a:lnTo>
                  <a:lnTo>
                    <a:pt x="373" y="140"/>
                  </a:lnTo>
                  <a:lnTo>
                    <a:pt x="371" y="142"/>
                  </a:lnTo>
                  <a:lnTo>
                    <a:pt x="371" y="142"/>
                  </a:lnTo>
                  <a:lnTo>
                    <a:pt x="369" y="144"/>
                  </a:lnTo>
                  <a:lnTo>
                    <a:pt x="369" y="144"/>
                  </a:lnTo>
                  <a:lnTo>
                    <a:pt x="367" y="144"/>
                  </a:lnTo>
                  <a:lnTo>
                    <a:pt x="367" y="142"/>
                  </a:lnTo>
                  <a:lnTo>
                    <a:pt x="367" y="144"/>
                  </a:lnTo>
                  <a:lnTo>
                    <a:pt x="365" y="144"/>
                  </a:lnTo>
                  <a:lnTo>
                    <a:pt x="365" y="144"/>
                  </a:lnTo>
                  <a:lnTo>
                    <a:pt x="363" y="144"/>
                  </a:lnTo>
                  <a:lnTo>
                    <a:pt x="363" y="144"/>
                  </a:lnTo>
                  <a:lnTo>
                    <a:pt x="361" y="144"/>
                  </a:lnTo>
                  <a:lnTo>
                    <a:pt x="359" y="144"/>
                  </a:lnTo>
                  <a:lnTo>
                    <a:pt x="357" y="144"/>
                  </a:lnTo>
                  <a:lnTo>
                    <a:pt x="357" y="144"/>
                  </a:lnTo>
                  <a:lnTo>
                    <a:pt x="357" y="146"/>
                  </a:lnTo>
                  <a:lnTo>
                    <a:pt x="357" y="146"/>
                  </a:lnTo>
                  <a:lnTo>
                    <a:pt x="357" y="148"/>
                  </a:lnTo>
                  <a:lnTo>
                    <a:pt x="359" y="150"/>
                  </a:lnTo>
                  <a:lnTo>
                    <a:pt x="361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5" y="150"/>
                  </a:lnTo>
                  <a:lnTo>
                    <a:pt x="365" y="152"/>
                  </a:lnTo>
                  <a:lnTo>
                    <a:pt x="367" y="152"/>
                  </a:lnTo>
                  <a:lnTo>
                    <a:pt x="365" y="154"/>
                  </a:lnTo>
                  <a:lnTo>
                    <a:pt x="365" y="156"/>
                  </a:lnTo>
                  <a:lnTo>
                    <a:pt x="365" y="156"/>
                  </a:lnTo>
                  <a:lnTo>
                    <a:pt x="365" y="156"/>
                  </a:lnTo>
                  <a:lnTo>
                    <a:pt x="367" y="159"/>
                  </a:lnTo>
                  <a:lnTo>
                    <a:pt x="367" y="159"/>
                  </a:lnTo>
                  <a:lnTo>
                    <a:pt x="367" y="161"/>
                  </a:lnTo>
                  <a:lnTo>
                    <a:pt x="367" y="161"/>
                  </a:lnTo>
                  <a:lnTo>
                    <a:pt x="367" y="161"/>
                  </a:lnTo>
                  <a:lnTo>
                    <a:pt x="365" y="161"/>
                  </a:lnTo>
                  <a:lnTo>
                    <a:pt x="365" y="161"/>
                  </a:lnTo>
                  <a:lnTo>
                    <a:pt x="365" y="161"/>
                  </a:lnTo>
                  <a:lnTo>
                    <a:pt x="363" y="161"/>
                  </a:lnTo>
                  <a:lnTo>
                    <a:pt x="361" y="163"/>
                  </a:lnTo>
                  <a:lnTo>
                    <a:pt x="359" y="163"/>
                  </a:lnTo>
                  <a:lnTo>
                    <a:pt x="359" y="161"/>
                  </a:lnTo>
                  <a:lnTo>
                    <a:pt x="357" y="161"/>
                  </a:lnTo>
                  <a:lnTo>
                    <a:pt x="355" y="163"/>
                  </a:lnTo>
                  <a:lnTo>
                    <a:pt x="353" y="163"/>
                  </a:lnTo>
                  <a:lnTo>
                    <a:pt x="349" y="163"/>
                  </a:lnTo>
                  <a:lnTo>
                    <a:pt x="347" y="163"/>
                  </a:lnTo>
                  <a:lnTo>
                    <a:pt x="345" y="163"/>
                  </a:lnTo>
                  <a:lnTo>
                    <a:pt x="345" y="163"/>
                  </a:lnTo>
                  <a:lnTo>
                    <a:pt x="343" y="161"/>
                  </a:lnTo>
                  <a:lnTo>
                    <a:pt x="341" y="161"/>
                  </a:lnTo>
                  <a:lnTo>
                    <a:pt x="338" y="161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34" y="163"/>
                  </a:lnTo>
                  <a:lnTo>
                    <a:pt x="332" y="165"/>
                  </a:lnTo>
                  <a:lnTo>
                    <a:pt x="330" y="165"/>
                  </a:lnTo>
                  <a:lnTo>
                    <a:pt x="330" y="163"/>
                  </a:lnTo>
                  <a:lnTo>
                    <a:pt x="330" y="163"/>
                  </a:lnTo>
                  <a:lnTo>
                    <a:pt x="330" y="163"/>
                  </a:lnTo>
                  <a:lnTo>
                    <a:pt x="328" y="163"/>
                  </a:lnTo>
                  <a:lnTo>
                    <a:pt x="328" y="163"/>
                  </a:lnTo>
                  <a:lnTo>
                    <a:pt x="328" y="163"/>
                  </a:lnTo>
                  <a:lnTo>
                    <a:pt x="326" y="161"/>
                  </a:lnTo>
                  <a:lnTo>
                    <a:pt x="324" y="161"/>
                  </a:lnTo>
                  <a:lnTo>
                    <a:pt x="322" y="163"/>
                  </a:lnTo>
                  <a:lnTo>
                    <a:pt x="320" y="161"/>
                  </a:lnTo>
                  <a:lnTo>
                    <a:pt x="318" y="161"/>
                  </a:lnTo>
                  <a:lnTo>
                    <a:pt x="318" y="159"/>
                  </a:lnTo>
                  <a:lnTo>
                    <a:pt x="316" y="156"/>
                  </a:lnTo>
                  <a:lnTo>
                    <a:pt x="316" y="156"/>
                  </a:lnTo>
                  <a:lnTo>
                    <a:pt x="316" y="156"/>
                  </a:lnTo>
                  <a:lnTo>
                    <a:pt x="314" y="154"/>
                  </a:lnTo>
                  <a:lnTo>
                    <a:pt x="314" y="154"/>
                  </a:lnTo>
                  <a:lnTo>
                    <a:pt x="316" y="152"/>
                  </a:lnTo>
                  <a:lnTo>
                    <a:pt x="316" y="152"/>
                  </a:lnTo>
                  <a:lnTo>
                    <a:pt x="316" y="152"/>
                  </a:lnTo>
                  <a:lnTo>
                    <a:pt x="314" y="150"/>
                  </a:lnTo>
                  <a:lnTo>
                    <a:pt x="314" y="148"/>
                  </a:lnTo>
                  <a:lnTo>
                    <a:pt x="314" y="144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2" y="140"/>
                  </a:lnTo>
                  <a:lnTo>
                    <a:pt x="312" y="140"/>
                  </a:lnTo>
                  <a:lnTo>
                    <a:pt x="310" y="138"/>
                  </a:lnTo>
                  <a:lnTo>
                    <a:pt x="310" y="138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06" y="140"/>
                  </a:lnTo>
                  <a:lnTo>
                    <a:pt x="304" y="140"/>
                  </a:lnTo>
                  <a:lnTo>
                    <a:pt x="302" y="142"/>
                  </a:lnTo>
                  <a:lnTo>
                    <a:pt x="302" y="142"/>
                  </a:lnTo>
                  <a:lnTo>
                    <a:pt x="302" y="142"/>
                  </a:lnTo>
                  <a:lnTo>
                    <a:pt x="304" y="142"/>
                  </a:lnTo>
                  <a:lnTo>
                    <a:pt x="304" y="144"/>
                  </a:lnTo>
                  <a:lnTo>
                    <a:pt x="304" y="144"/>
                  </a:lnTo>
                  <a:lnTo>
                    <a:pt x="304" y="146"/>
                  </a:lnTo>
                  <a:lnTo>
                    <a:pt x="304" y="148"/>
                  </a:lnTo>
                  <a:lnTo>
                    <a:pt x="302" y="150"/>
                  </a:lnTo>
                  <a:lnTo>
                    <a:pt x="304" y="156"/>
                  </a:lnTo>
                  <a:lnTo>
                    <a:pt x="304" y="156"/>
                  </a:lnTo>
                  <a:lnTo>
                    <a:pt x="306" y="161"/>
                  </a:lnTo>
                  <a:lnTo>
                    <a:pt x="306" y="163"/>
                  </a:lnTo>
                  <a:lnTo>
                    <a:pt x="308" y="163"/>
                  </a:lnTo>
                  <a:lnTo>
                    <a:pt x="306" y="167"/>
                  </a:lnTo>
                  <a:lnTo>
                    <a:pt x="306" y="169"/>
                  </a:lnTo>
                  <a:lnTo>
                    <a:pt x="306" y="169"/>
                  </a:lnTo>
                  <a:lnTo>
                    <a:pt x="306" y="169"/>
                  </a:lnTo>
                  <a:lnTo>
                    <a:pt x="304" y="169"/>
                  </a:lnTo>
                  <a:lnTo>
                    <a:pt x="302" y="169"/>
                  </a:lnTo>
                  <a:lnTo>
                    <a:pt x="299" y="169"/>
                  </a:lnTo>
                  <a:lnTo>
                    <a:pt x="297" y="169"/>
                  </a:lnTo>
                  <a:lnTo>
                    <a:pt x="295" y="169"/>
                  </a:lnTo>
                  <a:lnTo>
                    <a:pt x="293" y="171"/>
                  </a:lnTo>
                  <a:lnTo>
                    <a:pt x="291" y="169"/>
                  </a:lnTo>
                  <a:lnTo>
                    <a:pt x="291" y="169"/>
                  </a:lnTo>
                  <a:lnTo>
                    <a:pt x="289" y="167"/>
                  </a:lnTo>
                  <a:lnTo>
                    <a:pt x="289" y="167"/>
                  </a:lnTo>
                  <a:lnTo>
                    <a:pt x="285" y="169"/>
                  </a:lnTo>
                  <a:lnTo>
                    <a:pt x="285" y="169"/>
                  </a:lnTo>
                  <a:lnTo>
                    <a:pt x="283" y="167"/>
                  </a:lnTo>
                  <a:lnTo>
                    <a:pt x="279" y="167"/>
                  </a:lnTo>
                  <a:lnTo>
                    <a:pt x="279" y="167"/>
                  </a:lnTo>
                  <a:lnTo>
                    <a:pt x="277" y="167"/>
                  </a:lnTo>
                  <a:lnTo>
                    <a:pt x="275" y="165"/>
                  </a:lnTo>
                  <a:lnTo>
                    <a:pt x="273" y="165"/>
                  </a:lnTo>
                  <a:lnTo>
                    <a:pt x="271" y="167"/>
                  </a:lnTo>
                  <a:lnTo>
                    <a:pt x="271" y="165"/>
                  </a:lnTo>
                  <a:lnTo>
                    <a:pt x="269" y="165"/>
                  </a:lnTo>
                  <a:lnTo>
                    <a:pt x="269" y="165"/>
                  </a:lnTo>
                  <a:lnTo>
                    <a:pt x="269" y="163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5" y="163"/>
                  </a:lnTo>
                  <a:lnTo>
                    <a:pt x="263" y="163"/>
                  </a:lnTo>
                  <a:lnTo>
                    <a:pt x="260" y="163"/>
                  </a:lnTo>
                  <a:lnTo>
                    <a:pt x="260" y="163"/>
                  </a:lnTo>
                  <a:lnTo>
                    <a:pt x="260" y="163"/>
                  </a:lnTo>
                  <a:lnTo>
                    <a:pt x="258" y="161"/>
                  </a:lnTo>
                  <a:lnTo>
                    <a:pt x="258" y="161"/>
                  </a:lnTo>
                  <a:lnTo>
                    <a:pt x="258" y="161"/>
                  </a:lnTo>
                  <a:lnTo>
                    <a:pt x="256" y="161"/>
                  </a:lnTo>
                  <a:lnTo>
                    <a:pt x="256" y="161"/>
                  </a:lnTo>
                  <a:lnTo>
                    <a:pt x="252" y="159"/>
                  </a:lnTo>
                  <a:lnTo>
                    <a:pt x="250" y="156"/>
                  </a:lnTo>
                  <a:lnTo>
                    <a:pt x="250" y="154"/>
                  </a:lnTo>
                  <a:lnTo>
                    <a:pt x="250" y="154"/>
                  </a:lnTo>
                  <a:lnTo>
                    <a:pt x="250" y="152"/>
                  </a:lnTo>
                  <a:lnTo>
                    <a:pt x="248" y="152"/>
                  </a:lnTo>
                  <a:lnTo>
                    <a:pt x="244" y="150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38" y="150"/>
                  </a:lnTo>
                  <a:lnTo>
                    <a:pt x="238" y="152"/>
                  </a:lnTo>
                  <a:lnTo>
                    <a:pt x="236" y="150"/>
                  </a:lnTo>
                  <a:lnTo>
                    <a:pt x="232" y="150"/>
                  </a:lnTo>
                  <a:lnTo>
                    <a:pt x="230" y="150"/>
                  </a:lnTo>
                  <a:lnTo>
                    <a:pt x="230" y="150"/>
                  </a:lnTo>
                  <a:lnTo>
                    <a:pt x="230" y="150"/>
                  </a:lnTo>
                  <a:lnTo>
                    <a:pt x="228" y="152"/>
                  </a:lnTo>
                  <a:lnTo>
                    <a:pt x="228" y="150"/>
                  </a:lnTo>
                  <a:lnTo>
                    <a:pt x="226" y="150"/>
                  </a:lnTo>
                  <a:lnTo>
                    <a:pt x="224" y="150"/>
                  </a:lnTo>
                  <a:lnTo>
                    <a:pt x="219" y="148"/>
                  </a:lnTo>
                  <a:lnTo>
                    <a:pt x="219" y="148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6"/>
                  </a:lnTo>
                  <a:lnTo>
                    <a:pt x="211" y="144"/>
                  </a:lnTo>
                  <a:lnTo>
                    <a:pt x="209" y="142"/>
                  </a:lnTo>
                  <a:lnTo>
                    <a:pt x="207" y="142"/>
                  </a:lnTo>
                  <a:lnTo>
                    <a:pt x="207" y="142"/>
                  </a:lnTo>
                  <a:lnTo>
                    <a:pt x="205" y="142"/>
                  </a:lnTo>
                  <a:lnTo>
                    <a:pt x="205" y="142"/>
                  </a:lnTo>
                  <a:lnTo>
                    <a:pt x="205" y="142"/>
                  </a:lnTo>
                  <a:lnTo>
                    <a:pt x="203" y="142"/>
                  </a:lnTo>
                  <a:lnTo>
                    <a:pt x="201" y="140"/>
                  </a:lnTo>
                  <a:lnTo>
                    <a:pt x="199" y="138"/>
                  </a:lnTo>
                  <a:lnTo>
                    <a:pt x="195" y="136"/>
                  </a:lnTo>
                  <a:lnTo>
                    <a:pt x="193" y="136"/>
                  </a:lnTo>
                  <a:lnTo>
                    <a:pt x="193" y="134"/>
                  </a:lnTo>
                  <a:lnTo>
                    <a:pt x="193" y="134"/>
                  </a:lnTo>
                  <a:lnTo>
                    <a:pt x="191" y="132"/>
                  </a:lnTo>
                  <a:lnTo>
                    <a:pt x="189" y="132"/>
                  </a:lnTo>
                  <a:lnTo>
                    <a:pt x="185" y="130"/>
                  </a:lnTo>
                  <a:lnTo>
                    <a:pt x="185" y="130"/>
                  </a:lnTo>
                  <a:lnTo>
                    <a:pt x="185" y="130"/>
                  </a:lnTo>
                  <a:lnTo>
                    <a:pt x="182" y="128"/>
                  </a:lnTo>
                  <a:lnTo>
                    <a:pt x="180" y="128"/>
                  </a:lnTo>
                  <a:lnTo>
                    <a:pt x="180" y="128"/>
                  </a:lnTo>
                  <a:lnTo>
                    <a:pt x="180" y="130"/>
                  </a:lnTo>
                  <a:lnTo>
                    <a:pt x="180" y="130"/>
                  </a:lnTo>
                  <a:lnTo>
                    <a:pt x="178" y="128"/>
                  </a:lnTo>
                  <a:lnTo>
                    <a:pt x="176" y="128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2" y="124"/>
                  </a:lnTo>
                  <a:lnTo>
                    <a:pt x="174" y="122"/>
                  </a:lnTo>
                  <a:lnTo>
                    <a:pt x="174" y="119"/>
                  </a:lnTo>
                  <a:lnTo>
                    <a:pt x="174" y="119"/>
                  </a:lnTo>
                  <a:lnTo>
                    <a:pt x="174" y="117"/>
                  </a:lnTo>
                  <a:lnTo>
                    <a:pt x="174" y="115"/>
                  </a:lnTo>
                  <a:lnTo>
                    <a:pt x="174" y="113"/>
                  </a:lnTo>
                  <a:lnTo>
                    <a:pt x="174" y="111"/>
                  </a:lnTo>
                  <a:lnTo>
                    <a:pt x="176" y="109"/>
                  </a:lnTo>
                  <a:lnTo>
                    <a:pt x="178" y="105"/>
                  </a:lnTo>
                  <a:lnTo>
                    <a:pt x="178" y="105"/>
                  </a:lnTo>
                  <a:lnTo>
                    <a:pt x="178" y="103"/>
                  </a:lnTo>
                  <a:lnTo>
                    <a:pt x="180" y="101"/>
                  </a:lnTo>
                  <a:lnTo>
                    <a:pt x="180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5" y="101"/>
                  </a:lnTo>
                  <a:lnTo>
                    <a:pt x="182" y="99"/>
                  </a:lnTo>
                  <a:lnTo>
                    <a:pt x="180" y="99"/>
                  </a:lnTo>
                  <a:lnTo>
                    <a:pt x="178" y="97"/>
                  </a:lnTo>
                  <a:lnTo>
                    <a:pt x="178" y="95"/>
                  </a:lnTo>
                  <a:lnTo>
                    <a:pt x="176" y="95"/>
                  </a:lnTo>
                  <a:lnTo>
                    <a:pt x="176" y="95"/>
                  </a:lnTo>
                  <a:lnTo>
                    <a:pt x="174" y="95"/>
                  </a:lnTo>
                  <a:lnTo>
                    <a:pt x="170" y="93"/>
                  </a:lnTo>
                  <a:lnTo>
                    <a:pt x="170" y="93"/>
                  </a:lnTo>
                  <a:lnTo>
                    <a:pt x="170" y="93"/>
                  </a:lnTo>
                  <a:lnTo>
                    <a:pt x="170" y="91"/>
                  </a:lnTo>
                  <a:lnTo>
                    <a:pt x="168" y="89"/>
                  </a:lnTo>
                  <a:lnTo>
                    <a:pt x="168" y="89"/>
                  </a:lnTo>
                  <a:lnTo>
                    <a:pt x="168" y="89"/>
                  </a:lnTo>
                  <a:lnTo>
                    <a:pt x="164" y="87"/>
                  </a:lnTo>
                  <a:lnTo>
                    <a:pt x="164" y="87"/>
                  </a:lnTo>
                  <a:lnTo>
                    <a:pt x="164" y="87"/>
                  </a:lnTo>
                  <a:lnTo>
                    <a:pt x="164" y="87"/>
                  </a:lnTo>
                  <a:lnTo>
                    <a:pt x="164" y="87"/>
                  </a:lnTo>
                  <a:lnTo>
                    <a:pt x="162" y="87"/>
                  </a:lnTo>
                  <a:lnTo>
                    <a:pt x="160" y="87"/>
                  </a:lnTo>
                  <a:lnTo>
                    <a:pt x="158" y="87"/>
                  </a:lnTo>
                  <a:lnTo>
                    <a:pt x="158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4" y="82"/>
                  </a:lnTo>
                  <a:lnTo>
                    <a:pt x="152" y="80"/>
                  </a:lnTo>
                  <a:lnTo>
                    <a:pt x="150" y="78"/>
                  </a:lnTo>
                  <a:lnTo>
                    <a:pt x="150" y="76"/>
                  </a:lnTo>
                  <a:lnTo>
                    <a:pt x="148" y="78"/>
                  </a:lnTo>
                  <a:lnTo>
                    <a:pt x="148" y="78"/>
                  </a:lnTo>
                  <a:lnTo>
                    <a:pt x="148" y="78"/>
                  </a:lnTo>
                  <a:lnTo>
                    <a:pt x="148" y="78"/>
                  </a:lnTo>
                  <a:lnTo>
                    <a:pt x="145" y="80"/>
                  </a:lnTo>
                  <a:lnTo>
                    <a:pt x="145" y="80"/>
                  </a:lnTo>
                  <a:lnTo>
                    <a:pt x="145" y="80"/>
                  </a:lnTo>
                  <a:lnTo>
                    <a:pt x="145" y="78"/>
                  </a:lnTo>
                  <a:lnTo>
                    <a:pt x="143" y="76"/>
                  </a:lnTo>
                  <a:lnTo>
                    <a:pt x="143" y="76"/>
                  </a:lnTo>
                  <a:lnTo>
                    <a:pt x="143" y="74"/>
                  </a:lnTo>
                  <a:lnTo>
                    <a:pt x="143" y="74"/>
                  </a:lnTo>
                  <a:lnTo>
                    <a:pt x="143" y="72"/>
                  </a:lnTo>
                  <a:lnTo>
                    <a:pt x="141" y="72"/>
                  </a:lnTo>
                  <a:lnTo>
                    <a:pt x="141" y="70"/>
                  </a:lnTo>
                  <a:lnTo>
                    <a:pt x="141" y="68"/>
                  </a:lnTo>
                  <a:lnTo>
                    <a:pt x="141" y="68"/>
                  </a:lnTo>
                  <a:lnTo>
                    <a:pt x="141" y="68"/>
                  </a:lnTo>
                  <a:lnTo>
                    <a:pt x="141" y="68"/>
                  </a:lnTo>
                  <a:lnTo>
                    <a:pt x="141" y="68"/>
                  </a:lnTo>
                  <a:lnTo>
                    <a:pt x="141" y="68"/>
                  </a:lnTo>
                  <a:lnTo>
                    <a:pt x="141" y="66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8"/>
                  </a:lnTo>
                  <a:lnTo>
                    <a:pt x="135" y="58"/>
                  </a:lnTo>
                  <a:lnTo>
                    <a:pt x="135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8"/>
                  </a:lnTo>
                  <a:lnTo>
                    <a:pt x="141" y="58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0"/>
                  </a:lnTo>
                  <a:lnTo>
                    <a:pt x="145" y="60"/>
                  </a:lnTo>
                  <a:lnTo>
                    <a:pt x="145" y="58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56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45" y="52"/>
                  </a:lnTo>
                  <a:lnTo>
                    <a:pt x="145" y="52"/>
                  </a:lnTo>
                  <a:lnTo>
                    <a:pt x="145" y="50"/>
                  </a:lnTo>
                  <a:lnTo>
                    <a:pt x="143" y="47"/>
                  </a:lnTo>
                  <a:lnTo>
                    <a:pt x="143" y="47"/>
                  </a:lnTo>
                  <a:lnTo>
                    <a:pt x="143" y="47"/>
                  </a:lnTo>
                  <a:lnTo>
                    <a:pt x="143" y="47"/>
                  </a:lnTo>
                  <a:lnTo>
                    <a:pt x="143" y="45"/>
                  </a:lnTo>
                  <a:lnTo>
                    <a:pt x="143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7" y="39"/>
                  </a:lnTo>
                  <a:lnTo>
                    <a:pt x="137" y="37"/>
                  </a:lnTo>
                  <a:lnTo>
                    <a:pt x="135" y="33"/>
                  </a:lnTo>
                  <a:lnTo>
                    <a:pt x="135" y="33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7" y="27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3" y="21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3" y="17"/>
                  </a:lnTo>
                  <a:lnTo>
                    <a:pt x="121" y="13"/>
                  </a:lnTo>
                  <a:lnTo>
                    <a:pt x="119" y="8"/>
                  </a:lnTo>
                  <a:lnTo>
                    <a:pt x="119" y="6"/>
                  </a:lnTo>
                  <a:lnTo>
                    <a:pt x="117" y="6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3" y="2"/>
                  </a:lnTo>
                  <a:lnTo>
                    <a:pt x="113" y="2"/>
                  </a:lnTo>
                  <a:lnTo>
                    <a:pt x="111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6" y="2"/>
                  </a:lnTo>
                  <a:lnTo>
                    <a:pt x="102" y="2"/>
                  </a:lnTo>
                  <a:lnTo>
                    <a:pt x="98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2" y="8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98" y="17"/>
                  </a:lnTo>
                  <a:lnTo>
                    <a:pt x="96" y="17"/>
                  </a:lnTo>
                  <a:lnTo>
                    <a:pt x="96" y="17"/>
                  </a:lnTo>
                  <a:lnTo>
                    <a:pt x="92" y="19"/>
                  </a:lnTo>
                  <a:lnTo>
                    <a:pt x="90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6" y="21"/>
                  </a:lnTo>
                  <a:lnTo>
                    <a:pt x="84" y="21"/>
                  </a:lnTo>
                  <a:lnTo>
                    <a:pt x="82" y="21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6" y="19"/>
                  </a:lnTo>
                  <a:lnTo>
                    <a:pt x="74" y="19"/>
                  </a:lnTo>
                  <a:lnTo>
                    <a:pt x="72" y="17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3" y="17"/>
                  </a:lnTo>
                  <a:lnTo>
                    <a:pt x="61" y="17"/>
                  </a:lnTo>
                  <a:lnTo>
                    <a:pt x="59" y="17"/>
                  </a:lnTo>
                  <a:lnTo>
                    <a:pt x="59" y="19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61" y="29"/>
                  </a:lnTo>
                  <a:lnTo>
                    <a:pt x="63" y="31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5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1" y="35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41"/>
                  </a:lnTo>
                  <a:lnTo>
                    <a:pt x="65" y="43"/>
                  </a:lnTo>
                  <a:lnTo>
                    <a:pt x="63" y="43"/>
                  </a:lnTo>
                  <a:lnTo>
                    <a:pt x="63" y="45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7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4"/>
                  </a:lnTo>
                  <a:lnTo>
                    <a:pt x="74" y="54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6" y="56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80" y="58"/>
                  </a:lnTo>
                  <a:lnTo>
                    <a:pt x="82" y="58"/>
                  </a:lnTo>
                  <a:lnTo>
                    <a:pt x="84" y="60"/>
                  </a:lnTo>
                  <a:lnTo>
                    <a:pt x="86" y="60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4"/>
                  </a:lnTo>
                  <a:lnTo>
                    <a:pt x="86" y="64"/>
                  </a:lnTo>
                  <a:lnTo>
                    <a:pt x="86" y="66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8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82" y="82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80" y="87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6" y="89"/>
                  </a:lnTo>
                  <a:lnTo>
                    <a:pt x="74" y="95"/>
                  </a:lnTo>
                  <a:lnTo>
                    <a:pt x="72" y="95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4" y="101"/>
                  </a:lnTo>
                  <a:lnTo>
                    <a:pt x="72" y="101"/>
                  </a:lnTo>
                  <a:lnTo>
                    <a:pt x="70" y="103"/>
                  </a:lnTo>
                  <a:lnTo>
                    <a:pt x="67" y="103"/>
                  </a:lnTo>
                  <a:lnTo>
                    <a:pt x="65" y="105"/>
                  </a:lnTo>
                  <a:lnTo>
                    <a:pt x="65" y="107"/>
                  </a:lnTo>
                  <a:lnTo>
                    <a:pt x="65" y="111"/>
                  </a:lnTo>
                  <a:lnTo>
                    <a:pt x="65" y="111"/>
                  </a:lnTo>
                  <a:lnTo>
                    <a:pt x="63" y="115"/>
                  </a:lnTo>
                  <a:lnTo>
                    <a:pt x="61" y="119"/>
                  </a:lnTo>
                  <a:lnTo>
                    <a:pt x="61" y="122"/>
                  </a:lnTo>
                  <a:lnTo>
                    <a:pt x="57" y="124"/>
                  </a:lnTo>
                  <a:lnTo>
                    <a:pt x="53" y="126"/>
                  </a:lnTo>
                  <a:lnTo>
                    <a:pt x="53" y="128"/>
                  </a:lnTo>
                  <a:lnTo>
                    <a:pt x="51" y="130"/>
                  </a:lnTo>
                  <a:lnTo>
                    <a:pt x="51" y="132"/>
                  </a:lnTo>
                  <a:lnTo>
                    <a:pt x="51" y="134"/>
                  </a:lnTo>
                  <a:lnTo>
                    <a:pt x="49" y="136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5" y="142"/>
                  </a:lnTo>
                  <a:lnTo>
                    <a:pt x="43" y="142"/>
                  </a:lnTo>
                  <a:lnTo>
                    <a:pt x="39" y="142"/>
                  </a:lnTo>
                  <a:lnTo>
                    <a:pt x="37" y="144"/>
                  </a:lnTo>
                  <a:lnTo>
                    <a:pt x="33" y="146"/>
                  </a:lnTo>
                  <a:lnTo>
                    <a:pt x="33" y="146"/>
                  </a:lnTo>
                  <a:lnTo>
                    <a:pt x="31" y="144"/>
                  </a:lnTo>
                  <a:lnTo>
                    <a:pt x="31" y="144"/>
                  </a:lnTo>
                  <a:lnTo>
                    <a:pt x="28" y="142"/>
                  </a:lnTo>
                  <a:lnTo>
                    <a:pt x="28" y="142"/>
                  </a:lnTo>
                  <a:lnTo>
                    <a:pt x="28" y="140"/>
                  </a:lnTo>
                  <a:lnTo>
                    <a:pt x="26" y="140"/>
                  </a:lnTo>
                  <a:lnTo>
                    <a:pt x="24" y="140"/>
                  </a:lnTo>
                  <a:lnTo>
                    <a:pt x="24" y="140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0" y="146"/>
                  </a:lnTo>
                  <a:lnTo>
                    <a:pt x="18" y="150"/>
                  </a:lnTo>
                  <a:lnTo>
                    <a:pt x="16" y="152"/>
                  </a:lnTo>
                  <a:lnTo>
                    <a:pt x="16" y="154"/>
                  </a:lnTo>
                  <a:lnTo>
                    <a:pt x="14" y="154"/>
                  </a:lnTo>
                  <a:lnTo>
                    <a:pt x="14" y="154"/>
                  </a:lnTo>
                  <a:lnTo>
                    <a:pt x="14" y="156"/>
                  </a:lnTo>
                  <a:lnTo>
                    <a:pt x="14" y="159"/>
                  </a:lnTo>
                  <a:lnTo>
                    <a:pt x="14" y="163"/>
                  </a:lnTo>
                  <a:lnTo>
                    <a:pt x="14" y="163"/>
                  </a:lnTo>
                  <a:lnTo>
                    <a:pt x="14" y="163"/>
                  </a:lnTo>
                  <a:lnTo>
                    <a:pt x="16" y="165"/>
                  </a:lnTo>
                  <a:lnTo>
                    <a:pt x="18" y="165"/>
                  </a:lnTo>
                  <a:lnTo>
                    <a:pt x="20" y="167"/>
                  </a:lnTo>
                  <a:lnTo>
                    <a:pt x="22" y="167"/>
                  </a:lnTo>
                  <a:lnTo>
                    <a:pt x="24" y="167"/>
                  </a:lnTo>
                  <a:lnTo>
                    <a:pt x="24" y="167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4" y="173"/>
                  </a:lnTo>
                  <a:lnTo>
                    <a:pt x="24" y="175"/>
                  </a:lnTo>
                  <a:lnTo>
                    <a:pt x="24" y="177"/>
                  </a:lnTo>
                  <a:lnTo>
                    <a:pt x="24" y="179"/>
                  </a:lnTo>
                  <a:lnTo>
                    <a:pt x="28" y="183"/>
                  </a:lnTo>
                  <a:lnTo>
                    <a:pt x="28" y="183"/>
                  </a:lnTo>
                  <a:lnTo>
                    <a:pt x="31" y="183"/>
                  </a:lnTo>
                  <a:lnTo>
                    <a:pt x="33" y="183"/>
                  </a:lnTo>
                  <a:lnTo>
                    <a:pt x="33" y="183"/>
                  </a:lnTo>
                  <a:lnTo>
                    <a:pt x="35" y="183"/>
                  </a:lnTo>
                  <a:lnTo>
                    <a:pt x="35" y="183"/>
                  </a:lnTo>
                  <a:lnTo>
                    <a:pt x="35" y="183"/>
                  </a:lnTo>
                  <a:lnTo>
                    <a:pt x="35" y="187"/>
                  </a:lnTo>
                  <a:lnTo>
                    <a:pt x="37" y="189"/>
                  </a:lnTo>
                  <a:lnTo>
                    <a:pt x="39" y="191"/>
                  </a:lnTo>
                  <a:lnTo>
                    <a:pt x="39" y="193"/>
                  </a:lnTo>
                  <a:lnTo>
                    <a:pt x="41" y="198"/>
                  </a:lnTo>
                  <a:lnTo>
                    <a:pt x="43" y="200"/>
                  </a:lnTo>
                  <a:lnTo>
                    <a:pt x="43" y="202"/>
                  </a:lnTo>
                  <a:lnTo>
                    <a:pt x="43" y="202"/>
                  </a:lnTo>
                  <a:lnTo>
                    <a:pt x="41" y="202"/>
                  </a:lnTo>
                  <a:lnTo>
                    <a:pt x="41" y="204"/>
                  </a:lnTo>
                  <a:lnTo>
                    <a:pt x="43" y="204"/>
                  </a:lnTo>
                  <a:lnTo>
                    <a:pt x="43" y="204"/>
                  </a:lnTo>
                  <a:lnTo>
                    <a:pt x="43" y="206"/>
                  </a:lnTo>
                  <a:lnTo>
                    <a:pt x="43" y="206"/>
                  </a:lnTo>
                  <a:lnTo>
                    <a:pt x="43" y="206"/>
                  </a:lnTo>
                  <a:lnTo>
                    <a:pt x="43" y="208"/>
                  </a:lnTo>
                  <a:lnTo>
                    <a:pt x="41" y="208"/>
                  </a:lnTo>
                  <a:lnTo>
                    <a:pt x="41" y="208"/>
                  </a:lnTo>
                  <a:lnTo>
                    <a:pt x="41" y="208"/>
                  </a:lnTo>
                  <a:lnTo>
                    <a:pt x="39" y="210"/>
                  </a:lnTo>
                  <a:lnTo>
                    <a:pt x="39" y="210"/>
                  </a:lnTo>
                  <a:lnTo>
                    <a:pt x="37" y="210"/>
                  </a:lnTo>
                  <a:lnTo>
                    <a:pt x="37" y="208"/>
                  </a:lnTo>
                  <a:lnTo>
                    <a:pt x="37" y="208"/>
                  </a:lnTo>
                  <a:lnTo>
                    <a:pt x="37" y="206"/>
                  </a:lnTo>
                  <a:lnTo>
                    <a:pt x="35" y="206"/>
                  </a:lnTo>
                  <a:lnTo>
                    <a:pt x="35" y="206"/>
                  </a:lnTo>
                  <a:lnTo>
                    <a:pt x="31" y="208"/>
                  </a:lnTo>
                  <a:lnTo>
                    <a:pt x="28" y="208"/>
                  </a:lnTo>
                  <a:lnTo>
                    <a:pt x="28" y="210"/>
                  </a:lnTo>
                  <a:lnTo>
                    <a:pt x="28" y="210"/>
                  </a:lnTo>
                  <a:lnTo>
                    <a:pt x="26" y="210"/>
                  </a:lnTo>
                  <a:lnTo>
                    <a:pt x="24" y="210"/>
                  </a:lnTo>
                  <a:lnTo>
                    <a:pt x="22" y="210"/>
                  </a:lnTo>
                  <a:lnTo>
                    <a:pt x="22" y="210"/>
                  </a:lnTo>
                  <a:lnTo>
                    <a:pt x="20" y="208"/>
                  </a:lnTo>
                  <a:lnTo>
                    <a:pt x="18" y="208"/>
                  </a:lnTo>
                  <a:lnTo>
                    <a:pt x="14" y="208"/>
                  </a:lnTo>
                  <a:lnTo>
                    <a:pt x="14" y="208"/>
                  </a:lnTo>
                  <a:lnTo>
                    <a:pt x="12" y="208"/>
                  </a:lnTo>
                  <a:lnTo>
                    <a:pt x="10" y="208"/>
                  </a:lnTo>
                  <a:lnTo>
                    <a:pt x="10" y="208"/>
                  </a:lnTo>
                  <a:lnTo>
                    <a:pt x="10" y="208"/>
                  </a:lnTo>
                  <a:lnTo>
                    <a:pt x="8" y="208"/>
                  </a:lnTo>
                  <a:lnTo>
                    <a:pt x="8" y="208"/>
                  </a:lnTo>
                  <a:lnTo>
                    <a:pt x="8" y="208"/>
                  </a:lnTo>
                  <a:lnTo>
                    <a:pt x="8" y="208"/>
                  </a:lnTo>
                  <a:lnTo>
                    <a:pt x="8" y="208"/>
                  </a:lnTo>
                  <a:lnTo>
                    <a:pt x="8" y="208"/>
                  </a:lnTo>
                  <a:lnTo>
                    <a:pt x="8" y="214"/>
                  </a:lnTo>
                  <a:lnTo>
                    <a:pt x="6" y="214"/>
                  </a:lnTo>
                  <a:lnTo>
                    <a:pt x="4" y="214"/>
                  </a:lnTo>
                  <a:lnTo>
                    <a:pt x="2" y="214"/>
                  </a:lnTo>
                  <a:lnTo>
                    <a:pt x="0" y="214"/>
                  </a:lnTo>
                  <a:lnTo>
                    <a:pt x="0" y="216"/>
                  </a:lnTo>
                  <a:lnTo>
                    <a:pt x="0" y="216"/>
                  </a:lnTo>
                  <a:lnTo>
                    <a:pt x="0" y="218"/>
                  </a:lnTo>
                  <a:lnTo>
                    <a:pt x="0" y="220"/>
                  </a:lnTo>
                  <a:lnTo>
                    <a:pt x="2" y="220"/>
                  </a:lnTo>
                  <a:lnTo>
                    <a:pt x="4" y="218"/>
                  </a:lnTo>
                  <a:lnTo>
                    <a:pt x="4" y="218"/>
                  </a:lnTo>
                  <a:lnTo>
                    <a:pt x="6" y="216"/>
                  </a:lnTo>
                  <a:lnTo>
                    <a:pt x="8" y="216"/>
                  </a:lnTo>
                  <a:lnTo>
                    <a:pt x="6" y="218"/>
                  </a:lnTo>
                  <a:lnTo>
                    <a:pt x="4" y="220"/>
                  </a:lnTo>
                  <a:lnTo>
                    <a:pt x="4" y="222"/>
                  </a:lnTo>
                  <a:lnTo>
                    <a:pt x="6" y="224"/>
                  </a:lnTo>
                  <a:lnTo>
                    <a:pt x="8" y="228"/>
                  </a:lnTo>
                  <a:lnTo>
                    <a:pt x="10" y="230"/>
                  </a:lnTo>
                  <a:lnTo>
                    <a:pt x="18" y="235"/>
                  </a:lnTo>
                  <a:lnTo>
                    <a:pt x="24" y="237"/>
                  </a:lnTo>
                  <a:lnTo>
                    <a:pt x="26" y="237"/>
                  </a:lnTo>
                  <a:lnTo>
                    <a:pt x="26" y="235"/>
                  </a:lnTo>
                  <a:lnTo>
                    <a:pt x="31" y="233"/>
                  </a:lnTo>
                  <a:lnTo>
                    <a:pt x="33" y="233"/>
                  </a:lnTo>
                  <a:lnTo>
                    <a:pt x="33" y="233"/>
                  </a:lnTo>
                  <a:lnTo>
                    <a:pt x="35" y="233"/>
                  </a:lnTo>
                  <a:lnTo>
                    <a:pt x="35" y="233"/>
                  </a:lnTo>
                  <a:lnTo>
                    <a:pt x="35" y="230"/>
                  </a:lnTo>
                  <a:lnTo>
                    <a:pt x="37" y="230"/>
                  </a:lnTo>
                  <a:lnTo>
                    <a:pt x="37" y="230"/>
                  </a:lnTo>
                  <a:lnTo>
                    <a:pt x="37" y="230"/>
                  </a:lnTo>
                  <a:lnTo>
                    <a:pt x="37" y="233"/>
                  </a:lnTo>
                  <a:lnTo>
                    <a:pt x="37" y="233"/>
                  </a:lnTo>
                  <a:lnTo>
                    <a:pt x="35" y="235"/>
                  </a:lnTo>
                  <a:lnTo>
                    <a:pt x="33" y="239"/>
                  </a:lnTo>
                  <a:lnTo>
                    <a:pt x="31" y="241"/>
                  </a:lnTo>
                  <a:lnTo>
                    <a:pt x="31" y="241"/>
                  </a:lnTo>
                  <a:lnTo>
                    <a:pt x="28" y="243"/>
                  </a:lnTo>
                  <a:lnTo>
                    <a:pt x="26" y="241"/>
                  </a:lnTo>
                  <a:lnTo>
                    <a:pt x="24" y="243"/>
                  </a:lnTo>
                  <a:lnTo>
                    <a:pt x="22" y="243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4" y="243"/>
                  </a:lnTo>
                  <a:lnTo>
                    <a:pt x="14" y="245"/>
                  </a:lnTo>
                  <a:lnTo>
                    <a:pt x="14" y="247"/>
                  </a:lnTo>
                  <a:lnTo>
                    <a:pt x="18" y="251"/>
                  </a:lnTo>
                  <a:lnTo>
                    <a:pt x="22" y="253"/>
                  </a:lnTo>
                  <a:lnTo>
                    <a:pt x="24" y="255"/>
                  </a:lnTo>
                  <a:lnTo>
                    <a:pt x="28" y="259"/>
                  </a:lnTo>
                  <a:lnTo>
                    <a:pt x="33" y="265"/>
                  </a:lnTo>
                  <a:lnTo>
                    <a:pt x="35" y="267"/>
                  </a:lnTo>
                  <a:lnTo>
                    <a:pt x="41" y="272"/>
                  </a:lnTo>
                  <a:lnTo>
                    <a:pt x="45" y="274"/>
                  </a:lnTo>
                  <a:lnTo>
                    <a:pt x="47" y="274"/>
                  </a:lnTo>
                  <a:lnTo>
                    <a:pt x="49" y="274"/>
                  </a:lnTo>
                  <a:lnTo>
                    <a:pt x="55" y="272"/>
                  </a:lnTo>
                  <a:lnTo>
                    <a:pt x="57" y="270"/>
                  </a:lnTo>
                  <a:lnTo>
                    <a:pt x="65" y="265"/>
                  </a:lnTo>
                  <a:lnTo>
                    <a:pt x="65" y="265"/>
                  </a:lnTo>
                  <a:lnTo>
                    <a:pt x="67" y="259"/>
                  </a:lnTo>
                  <a:lnTo>
                    <a:pt x="67" y="257"/>
                  </a:lnTo>
                  <a:lnTo>
                    <a:pt x="67" y="255"/>
                  </a:lnTo>
                  <a:lnTo>
                    <a:pt x="65" y="255"/>
                  </a:lnTo>
                  <a:lnTo>
                    <a:pt x="65" y="253"/>
                  </a:lnTo>
                  <a:lnTo>
                    <a:pt x="63" y="253"/>
                  </a:lnTo>
                  <a:lnTo>
                    <a:pt x="63" y="253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7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7" y="245"/>
                  </a:lnTo>
                  <a:lnTo>
                    <a:pt x="70" y="245"/>
                  </a:lnTo>
                  <a:lnTo>
                    <a:pt x="72" y="245"/>
                  </a:lnTo>
                  <a:lnTo>
                    <a:pt x="74" y="245"/>
                  </a:lnTo>
                  <a:lnTo>
                    <a:pt x="76" y="247"/>
                  </a:lnTo>
                  <a:lnTo>
                    <a:pt x="74" y="247"/>
                  </a:lnTo>
                  <a:lnTo>
                    <a:pt x="72" y="247"/>
                  </a:lnTo>
                  <a:lnTo>
                    <a:pt x="72" y="247"/>
                  </a:lnTo>
                  <a:lnTo>
                    <a:pt x="72" y="251"/>
                  </a:lnTo>
                  <a:lnTo>
                    <a:pt x="74" y="251"/>
                  </a:lnTo>
                  <a:lnTo>
                    <a:pt x="74" y="251"/>
                  </a:lnTo>
                  <a:lnTo>
                    <a:pt x="74" y="251"/>
                  </a:lnTo>
                  <a:lnTo>
                    <a:pt x="72" y="253"/>
                  </a:lnTo>
                  <a:lnTo>
                    <a:pt x="72" y="255"/>
                  </a:lnTo>
                  <a:lnTo>
                    <a:pt x="76" y="255"/>
                  </a:lnTo>
                  <a:lnTo>
                    <a:pt x="80" y="255"/>
                  </a:lnTo>
                  <a:lnTo>
                    <a:pt x="82" y="255"/>
                  </a:lnTo>
                  <a:lnTo>
                    <a:pt x="80" y="255"/>
                  </a:lnTo>
                  <a:lnTo>
                    <a:pt x="76" y="257"/>
                  </a:lnTo>
                  <a:lnTo>
                    <a:pt x="76" y="259"/>
                  </a:lnTo>
                  <a:lnTo>
                    <a:pt x="74" y="259"/>
                  </a:lnTo>
                  <a:lnTo>
                    <a:pt x="74" y="259"/>
                  </a:lnTo>
                  <a:lnTo>
                    <a:pt x="76" y="259"/>
                  </a:lnTo>
                  <a:lnTo>
                    <a:pt x="76" y="261"/>
                  </a:lnTo>
                  <a:lnTo>
                    <a:pt x="74" y="261"/>
                  </a:lnTo>
                  <a:lnTo>
                    <a:pt x="76" y="265"/>
                  </a:lnTo>
                  <a:lnTo>
                    <a:pt x="76" y="265"/>
                  </a:lnTo>
                  <a:lnTo>
                    <a:pt x="78" y="265"/>
                  </a:lnTo>
                  <a:lnTo>
                    <a:pt x="78" y="267"/>
                  </a:lnTo>
                  <a:lnTo>
                    <a:pt x="78" y="270"/>
                  </a:lnTo>
                  <a:lnTo>
                    <a:pt x="80" y="272"/>
                  </a:lnTo>
                  <a:lnTo>
                    <a:pt x="80" y="274"/>
                  </a:lnTo>
                  <a:lnTo>
                    <a:pt x="80" y="276"/>
                  </a:lnTo>
                  <a:lnTo>
                    <a:pt x="78" y="286"/>
                  </a:lnTo>
                  <a:lnTo>
                    <a:pt x="78" y="290"/>
                  </a:lnTo>
                  <a:lnTo>
                    <a:pt x="78" y="290"/>
                  </a:lnTo>
                  <a:lnTo>
                    <a:pt x="78" y="292"/>
                  </a:lnTo>
                  <a:lnTo>
                    <a:pt x="78" y="294"/>
                  </a:lnTo>
                  <a:lnTo>
                    <a:pt x="80" y="296"/>
                  </a:lnTo>
                  <a:lnTo>
                    <a:pt x="80" y="296"/>
                  </a:lnTo>
                  <a:lnTo>
                    <a:pt x="80" y="298"/>
                  </a:lnTo>
                  <a:lnTo>
                    <a:pt x="80" y="298"/>
                  </a:lnTo>
                  <a:lnTo>
                    <a:pt x="84" y="300"/>
                  </a:lnTo>
                  <a:lnTo>
                    <a:pt x="80" y="300"/>
                  </a:lnTo>
                  <a:lnTo>
                    <a:pt x="80" y="300"/>
                  </a:lnTo>
                  <a:lnTo>
                    <a:pt x="80" y="300"/>
                  </a:lnTo>
                  <a:lnTo>
                    <a:pt x="80" y="304"/>
                  </a:lnTo>
                  <a:lnTo>
                    <a:pt x="82" y="307"/>
                  </a:lnTo>
                  <a:lnTo>
                    <a:pt x="82" y="304"/>
                  </a:lnTo>
                  <a:lnTo>
                    <a:pt x="84" y="302"/>
                  </a:lnTo>
                  <a:lnTo>
                    <a:pt x="84" y="304"/>
                  </a:lnTo>
                  <a:lnTo>
                    <a:pt x="84" y="307"/>
                  </a:lnTo>
                  <a:lnTo>
                    <a:pt x="82" y="309"/>
                  </a:lnTo>
                  <a:lnTo>
                    <a:pt x="82" y="311"/>
                  </a:lnTo>
                  <a:lnTo>
                    <a:pt x="82" y="313"/>
                  </a:lnTo>
                  <a:lnTo>
                    <a:pt x="84" y="313"/>
                  </a:lnTo>
                  <a:lnTo>
                    <a:pt x="84" y="317"/>
                  </a:lnTo>
                  <a:lnTo>
                    <a:pt x="84" y="319"/>
                  </a:lnTo>
                  <a:lnTo>
                    <a:pt x="86" y="321"/>
                  </a:lnTo>
                  <a:lnTo>
                    <a:pt x="86" y="325"/>
                  </a:lnTo>
                  <a:lnTo>
                    <a:pt x="88" y="331"/>
                  </a:lnTo>
                  <a:lnTo>
                    <a:pt x="88" y="333"/>
                  </a:lnTo>
                  <a:lnTo>
                    <a:pt x="90" y="337"/>
                  </a:lnTo>
                  <a:lnTo>
                    <a:pt x="94" y="352"/>
                  </a:lnTo>
                  <a:lnTo>
                    <a:pt x="96" y="358"/>
                  </a:lnTo>
                  <a:lnTo>
                    <a:pt x="96" y="360"/>
                  </a:lnTo>
                  <a:lnTo>
                    <a:pt x="98" y="362"/>
                  </a:lnTo>
                  <a:lnTo>
                    <a:pt x="100" y="366"/>
                  </a:lnTo>
                  <a:lnTo>
                    <a:pt x="100" y="366"/>
                  </a:lnTo>
                  <a:lnTo>
                    <a:pt x="102" y="366"/>
                  </a:lnTo>
                  <a:lnTo>
                    <a:pt x="102" y="368"/>
                  </a:lnTo>
                  <a:lnTo>
                    <a:pt x="102" y="368"/>
                  </a:lnTo>
                  <a:lnTo>
                    <a:pt x="102" y="370"/>
                  </a:lnTo>
                  <a:lnTo>
                    <a:pt x="104" y="372"/>
                  </a:lnTo>
                  <a:lnTo>
                    <a:pt x="102" y="372"/>
                  </a:lnTo>
                  <a:lnTo>
                    <a:pt x="104" y="372"/>
                  </a:lnTo>
                  <a:lnTo>
                    <a:pt x="104" y="376"/>
                  </a:lnTo>
                  <a:lnTo>
                    <a:pt x="106" y="381"/>
                  </a:lnTo>
                  <a:lnTo>
                    <a:pt x="109" y="381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3" y="387"/>
                  </a:lnTo>
                  <a:lnTo>
                    <a:pt x="113" y="389"/>
                  </a:lnTo>
                  <a:lnTo>
                    <a:pt x="113" y="389"/>
                  </a:lnTo>
                  <a:lnTo>
                    <a:pt x="115" y="393"/>
                  </a:lnTo>
                  <a:lnTo>
                    <a:pt x="115" y="395"/>
                  </a:lnTo>
                  <a:lnTo>
                    <a:pt x="115" y="397"/>
                  </a:lnTo>
                  <a:lnTo>
                    <a:pt x="117" y="399"/>
                  </a:lnTo>
                  <a:lnTo>
                    <a:pt x="119" y="403"/>
                  </a:lnTo>
                  <a:lnTo>
                    <a:pt x="119" y="405"/>
                  </a:lnTo>
                  <a:lnTo>
                    <a:pt x="119" y="405"/>
                  </a:lnTo>
                  <a:lnTo>
                    <a:pt x="121" y="413"/>
                  </a:lnTo>
                  <a:lnTo>
                    <a:pt x="121" y="416"/>
                  </a:lnTo>
                  <a:lnTo>
                    <a:pt x="123" y="418"/>
                  </a:lnTo>
                  <a:lnTo>
                    <a:pt x="125" y="424"/>
                  </a:lnTo>
                  <a:lnTo>
                    <a:pt x="129" y="432"/>
                  </a:lnTo>
                  <a:lnTo>
                    <a:pt x="129" y="434"/>
                  </a:lnTo>
                  <a:lnTo>
                    <a:pt x="131" y="434"/>
                  </a:lnTo>
                  <a:lnTo>
                    <a:pt x="133" y="438"/>
                  </a:lnTo>
                  <a:lnTo>
                    <a:pt x="135" y="440"/>
                  </a:lnTo>
                  <a:lnTo>
                    <a:pt x="137" y="444"/>
                  </a:lnTo>
                  <a:lnTo>
                    <a:pt x="137" y="446"/>
                  </a:lnTo>
                  <a:lnTo>
                    <a:pt x="139" y="450"/>
                  </a:lnTo>
                  <a:lnTo>
                    <a:pt x="141" y="457"/>
                  </a:lnTo>
                  <a:lnTo>
                    <a:pt x="145" y="463"/>
                  </a:lnTo>
                  <a:lnTo>
                    <a:pt x="145" y="465"/>
                  </a:lnTo>
                  <a:lnTo>
                    <a:pt x="148" y="467"/>
                  </a:lnTo>
                  <a:lnTo>
                    <a:pt x="148" y="467"/>
                  </a:lnTo>
                  <a:lnTo>
                    <a:pt x="148" y="469"/>
                  </a:lnTo>
                  <a:lnTo>
                    <a:pt x="148" y="471"/>
                  </a:lnTo>
                  <a:lnTo>
                    <a:pt x="148" y="471"/>
                  </a:lnTo>
                  <a:lnTo>
                    <a:pt x="150" y="471"/>
                  </a:lnTo>
                  <a:lnTo>
                    <a:pt x="152" y="479"/>
                  </a:lnTo>
                  <a:lnTo>
                    <a:pt x="152" y="479"/>
                  </a:lnTo>
                  <a:lnTo>
                    <a:pt x="150" y="479"/>
                  </a:lnTo>
                  <a:lnTo>
                    <a:pt x="150" y="475"/>
                  </a:lnTo>
                  <a:lnTo>
                    <a:pt x="150" y="473"/>
                  </a:lnTo>
                  <a:lnTo>
                    <a:pt x="148" y="473"/>
                  </a:lnTo>
                  <a:lnTo>
                    <a:pt x="148" y="471"/>
                  </a:lnTo>
                  <a:lnTo>
                    <a:pt x="150" y="477"/>
                  </a:lnTo>
                  <a:lnTo>
                    <a:pt x="150" y="481"/>
                  </a:lnTo>
                  <a:lnTo>
                    <a:pt x="152" y="485"/>
                  </a:lnTo>
                  <a:lnTo>
                    <a:pt x="152" y="485"/>
                  </a:lnTo>
                  <a:lnTo>
                    <a:pt x="152" y="485"/>
                  </a:lnTo>
                  <a:lnTo>
                    <a:pt x="152" y="485"/>
                  </a:lnTo>
                  <a:lnTo>
                    <a:pt x="152" y="487"/>
                  </a:lnTo>
                  <a:lnTo>
                    <a:pt x="154" y="492"/>
                  </a:lnTo>
                  <a:lnTo>
                    <a:pt x="154" y="492"/>
                  </a:lnTo>
                  <a:lnTo>
                    <a:pt x="160" y="500"/>
                  </a:lnTo>
                  <a:lnTo>
                    <a:pt x="162" y="502"/>
                  </a:lnTo>
                  <a:lnTo>
                    <a:pt x="166" y="504"/>
                  </a:lnTo>
                  <a:lnTo>
                    <a:pt x="170" y="506"/>
                  </a:lnTo>
                  <a:lnTo>
                    <a:pt x="170" y="504"/>
                  </a:lnTo>
                  <a:lnTo>
                    <a:pt x="174" y="504"/>
                  </a:lnTo>
                  <a:lnTo>
                    <a:pt x="178" y="500"/>
                  </a:lnTo>
                  <a:lnTo>
                    <a:pt x="178" y="498"/>
                  </a:lnTo>
                  <a:lnTo>
                    <a:pt x="178" y="496"/>
                  </a:lnTo>
                  <a:lnTo>
                    <a:pt x="180" y="492"/>
                  </a:lnTo>
                  <a:lnTo>
                    <a:pt x="180" y="490"/>
                  </a:lnTo>
                  <a:lnTo>
                    <a:pt x="185" y="487"/>
                  </a:lnTo>
                  <a:lnTo>
                    <a:pt x="193" y="483"/>
                  </a:lnTo>
                  <a:lnTo>
                    <a:pt x="197" y="483"/>
                  </a:lnTo>
                  <a:lnTo>
                    <a:pt x="199" y="485"/>
                  </a:lnTo>
                  <a:lnTo>
                    <a:pt x="199" y="483"/>
                  </a:lnTo>
                  <a:lnTo>
                    <a:pt x="197" y="483"/>
                  </a:lnTo>
                  <a:lnTo>
                    <a:pt x="195" y="483"/>
                  </a:lnTo>
                  <a:lnTo>
                    <a:pt x="193" y="483"/>
                  </a:lnTo>
                  <a:lnTo>
                    <a:pt x="193" y="481"/>
                  </a:lnTo>
                  <a:lnTo>
                    <a:pt x="191" y="481"/>
                  </a:lnTo>
                  <a:lnTo>
                    <a:pt x="191" y="479"/>
                  </a:lnTo>
                  <a:lnTo>
                    <a:pt x="193" y="477"/>
                  </a:lnTo>
                  <a:lnTo>
                    <a:pt x="197" y="469"/>
                  </a:lnTo>
                  <a:lnTo>
                    <a:pt x="197" y="467"/>
                  </a:lnTo>
                  <a:lnTo>
                    <a:pt x="197" y="465"/>
                  </a:lnTo>
                  <a:lnTo>
                    <a:pt x="199" y="465"/>
                  </a:lnTo>
                  <a:lnTo>
                    <a:pt x="201" y="465"/>
                  </a:lnTo>
                  <a:lnTo>
                    <a:pt x="201" y="465"/>
                  </a:lnTo>
                  <a:lnTo>
                    <a:pt x="203" y="465"/>
                  </a:lnTo>
                  <a:lnTo>
                    <a:pt x="205" y="465"/>
                  </a:lnTo>
                  <a:lnTo>
                    <a:pt x="205" y="465"/>
                  </a:lnTo>
                  <a:lnTo>
                    <a:pt x="205" y="457"/>
                  </a:lnTo>
                  <a:lnTo>
                    <a:pt x="205" y="448"/>
                  </a:lnTo>
                  <a:lnTo>
                    <a:pt x="205" y="446"/>
                  </a:lnTo>
                  <a:lnTo>
                    <a:pt x="203" y="446"/>
                  </a:lnTo>
                  <a:lnTo>
                    <a:pt x="203" y="446"/>
                  </a:lnTo>
                  <a:lnTo>
                    <a:pt x="203" y="446"/>
                  </a:lnTo>
                  <a:lnTo>
                    <a:pt x="203" y="444"/>
                  </a:lnTo>
                  <a:lnTo>
                    <a:pt x="203" y="442"/>
                  </a:lnTo>
                  <a:lnTo>
                    <a:pt x="203" y="440"/>
                  </a:lnTo>
                  <a:lnTo>
                    <a:pt x="203" y="434"/>
                  </a:lnTo>
                  <a:lnTo>
                    <a:pt x="205" y="430"/>
                  </a:lnTo>
                  <a:lnTo>
                    <a:pt x="207" y="428"/>
                  </a:lnTo>
                  <a:lnTo>
                    <a:pt x="207" y="426"/>
                  </a:lnTo>
                  <a:lnTo>
                    <a:pt x="209" y="422"/>
                  </a:lnTo>
                  <a:lnTo>
                    <a:pt x="209" y="409"/>
                  </a:lnTo>
                  <a:lnTo>
                    <a:pt x="209" y="407"/>
                  </a:lnTo>
                  <a:lnTo>
                    <a:pt x="207" y="405"/>
                  </a:lnTo>
                  <a:lnTo>
                    <a:pt x="205" y="405"/>
                  </a:lnTo>
                  <a:lnTo>
                    <a:pt x="207" y="403"/>
                  </a:lnTo>
                  <a:lnTo>
                    <a:pt x="207" y="405"/>
                  </a:lnTo>
                  <a:lnTo>
                    <a:pt x="209" y="405"/>
                  </a:lnTo>
                  <a:lnTo>
                    <a:pt x="209" y="407"/>
                  </a:lnTo>
                  <a:lnTo>
                    <a:pt x="207" y="403"/>
                  </a:lnTo>
                  <a:lnTo>
                    <a:pt x="207" y="401"/>
                  </a:lnTo>
                  <a:lnTo>
                    <a:pt x="207" y="399"/>
                  </a:lnTo>
                  <a:lnTo>
                    <a:pt x="205" y="397"/>
                  </a:lnTo>
                  <a:lnTo>
                    <a:pt x="205" y="393"/>
                  </a:lnTo>
                  <a:lnTo>
                    <a:pt x="205" y="391"/>
                  </a:lnTo>
                  <a:lnTo>
                    <a:pt x="205" y="391"/>
                  </a:lnTo>
                  <a:lnTo>
                    <a:pt x="205" y="389"/>
                  </a:lnTo>
                  <a:lnTo>
                    <a:pt x="205" y="387"/>
                  </a:lnTo>
                  <a:lnTo>
                    <a:pt x="205" y="383"/>
                  </a:lnTo>
                  <a:lnTo>
                    <a:pt x="203" y="376"/>
                  </a:lnTo>
                  <a:lnTo>
                    <a:pt x="203" y="372"/>
                  </a:lnTo>
                  <a:lnTo>
                    <a:pt x="205" y="366"/>
                  </a:lnTo>
                  <a:lnTo>
                    <a:pt x="207" y="364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3" y="362"/>
                  </a:lnTo>
                  <a:lnTo>
                    <a:pt x="213" y="364"/>
                  </a:lnTo>
                  <a:lnTo>
                    <a:pt x="215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7" y="364"/>
                  </a:lnTo>
                  <a:lnTo>
                    <a:pt x="217" y="362"/>
                  </a:lnTo>
                  <a:lnTo>
                    <a:pt x="219" y="362"/>
                  </a:lnTo>
                  <a:lnTo>
                    <a:pt x="219" y="356"/>
                  </a:lnTo>
                  <a:lnTo>
                    <a:pt x="221" y="354"/>
                  </a:lnTo>
                  <a:lnTo>
                    <a:pt x="221" y="354"/>
                  </a:lnTo>
                  <a:lnTo>
                    <a:pt x="228" y="354"/>
                  </a:lnTo>
                  <a:lnTo>
                    <a:pt x="228" y="354"/>
                  </a:lnTo>
                  <a:lnTo>
                    <a:pt x="234" y="352"/>
                  </a:lnTo>
                  <a:lnTo>
                    <a:pt x="236" y="350"/>
                  </a:lnTo>
                  <a:lnTo>
                    <a:pt x="236" y="348"/>
                  </a:lnTo>
                  <a:lnTo>
                    <a:pt x="236" y="348"/>
                  </a:lnTo>
                  <a:lnTo>
                    <a:pt x="238" y="346"/>
                  </a:lnTo>
                  <a:lnTo>
                    <a:pt x="236" y="346"/>
                  </a:lnTo>
                  <a:lnTo>
                    <a:pt x="236" y="344"/>
                  </a:lnTo>
                  <a:lnTo>
                    <a:pt x="236" y="344"/>
                  </a:lnTo>
                  <a:lnTo>
                    <a:pt x="236" y="342"/>
                  </a:lnTo>
                  <a:lnTo>
                    <a:pt x="236" y="339"/>
                  </a:lnTo>
                  <a:lnTo>
                    <a:pt x="240" y="337"/>
                  </a:lnTo>
                  <a:lnTo>
                    <a:pt x="246" y="333"/>
                  </a:lnTo>
                  <a:lnTo>
                    <a:pt x="248" y="331"/>
                  </a:lnTo>
                  <a:lnTo>
                    <a:pt x="252" y="327"/>
                  </a:lnTo>
                  <a:lnTo>
                    <a:pt x="254" y="323"/>
                  </a:lnTo>
                  <a:lnTo>
                    <a:pt x="256" y="323"/>
                  </a:lnTo>
                  <a:lnTo>
                    <a:pt x="263" y="319"/>
                  </a:lnTo>
                  <a:lnTo>
                    <a:pt x="263" y="317"/>
                  </a:lnTo>
                  <a:lnTo>
                    <a:pt x="267" y="311"/>
                  </a:lnTo>
                  <a:lnTo>
                    <a:pt x="269" y="307"/>
                  </a:lnTo>
                  <a:lnTo>
                    <a:pt x="271" y="307"/>
                  </a:lnTo>
                  <a:lnTo>
                    <a:pt x="271" y="304"/>
                  </a:lnTo>
                  <a:lnTo>
                    <a:pt x="271" y="302"/>
                  </a:lnTo>
                  <a:lnTo>
                    <a:pt x="277" y="296"/>
                  </a:lnTo>
                  <a:lnTo>
                    <a:pt x="281" y="294"/>
                  </a:lnTo>
                  <a:lnTo>
                    <a:pt x="281" y="294"/>
                  </a:lnTo>
                  <a:lnTo>
                    <a:pt x="279" y="292"/>
                  </a:lnTo>
                  <a:lnTo>
                    <a:pt x="277" y="294"/>
                  </a:lnTo>
                  <a:lnTo>
                    <a:pt x="277" y="294"/>
                  </a:lnTo>
                  <a:lnTo>
                    <a:pt x="277" y="294"/>
                  </a:lnTo>
                  <a:lnTo>
                    <a:pt x="277" y="292"/>
                  </a:lnTo>
                  <a:lnTo>
                    <a:pt x="281" y="288"/>
                  </a:lnTo>
                  <a:lnTo>
                    <a:pt x="281" y="288"/>
                  </a:lnTo>
                  <a:lnTo>
                    <a:pt x="283" y="290"/>
                  </a:lnTo>
                  <a:lnTo>
                    <a:pt x="283" y="292"/>
                  </a:lnTo>
                  <a:lnTo>
                    <a:pt x="281" y="292"/>
                  </a:lnTo>
                  <a:lnTo>
                    <a:pt x="281" y="292"/>
                  </a:lnTo>
                  <a:lnTo>
                    <a:pt x="283" y="292"/>
                  </a:lnTo>
                  <a:lnTo>
                    <a:pt x="287" y="290"/>
                  </a:lnTo>
                  <a:lnTo>
                    <a:pt x="293" y="288"/>
                  </a:lnTo>
                  <a:lnTo>
                    <a:pt x="293" y="288"/>
                  </a:lnTo>
                  <a:lnTo>
                    <a:pt x="293" y="288"/>
                  </a:lnTo>
                  <a:lnTo>
                    <a:pt x="293" y="288"/>
                  </a:lnTo>
                  <a:lnTo>
                    <a:pt x="293" y="286"/>
                  </a:lnTo>
                  <a:lnTo>
                    <a:pt x="293" y="286"/>
                  </a:lnTo>
                  <a:lnTo>
                    <a:pt x="295" y="286"/>
                  </a:lnTo>
                  <a:lnTo>
                    <a:pt x="295" y="286"/>
                  </a:lnTo>
                  <a:lnTo>
                    <a:pt x="297" y="284"/>
                  </a:lnTo>
                  <a:lnTo>
                    <a:pt x="299" y="282"/>
                  </a:lnTo>
                  <a:lnTo>
                    <a:pt x="299" y="280"/>
                  </a:lnTo>
                  <a:lnTo>
                    <a:pt x="299" y="280"/>
                  </a:lnTo>
                  <a:lnTo>
                    <a:pt x="302" y="278"/>
                  </a:lnTo>
                  <a:lnTo>
                    <a:pt x="302" y="276"/>
                  </a:lnTo>
                  <a:lnTo>
                    <a:pt x="304" y="274"/>
                  </a:lnTo>
                  <a:lnTo>
                    <a:pt x="302" y="274"/>
                  </a:lnTo>
                  <a:lnTo>
                    <a:pt x="302" y="270"/>
                  </a:lnTo>
                  <a:lnTo>
                    <a:pt x="299" y="267"/>
                  </a:lnTo>
                  <a:lnTo>
                    <a:pt x="299" y="263"/>
                  </a:lnTo>
                  <a:lnTo>
                    <a:pt x="302" y="261"/>
                  </a:lnTo>
                  <a:lnTo>
                    <a:pt x="304" y="259"/>
                  </a:lnTo>
                  <a:lnTo>
                    <a:pt x="306" y="259"/>
                  </a:lnTo>
                  <a:lnTo>
                    <a:pt x="312" y="257"/>
                  </a:lnTo>
                  <a:lnTo>
                    <a:pt x="314" y="255"/>
                  </a:lnTo>
                  <a:lnTo>
                    <a:pt x="316" y="253"/>
                  </a:lnTo>
                  <a:lnTo>
                    <a:pt x="318" y="251"/>
                  </a:lnTo>
                  <a:lnTo>
                    <a:pt x="318" y="249"/>
                  </a:lnTo>
                  <a:lnTo>
                    <a:pt x="318" y="249"/>
                  </a:lnTo>
                  <a:lnTo>
                    <a:pt x="318" y="247"/>
                  </a:lnTo>
                  <a:lnTo>
                    <a:pt x="316" y="247"/>
                  </a:lnTo>
                  <a:lnTo>
                    <a:pt x="316" y="245"/>
                  </a:lnTo>
                  <a:lnTo>
                    <a:pt x="314" y="243"/>
                  </a:lnTo>
                  <a:lnTo>
                    <a:pt x="316" y="245"/>
                  </a:lnTo>
                  <a:lnTo>
                    <a:pt x="318" y="247"/>
                  </a:lnTo>
                  <a:lnTo>
                    <a:pt x="320" y="247"/>
                  </a:lnTo>
                  <a:lnTo>
                    <a:pt x="320" y="249"/>
                  </a:lnTo>
                  <a:lnTo>
                    <a:pt x="318" y="253"/>
                  </a:lnTo>
                  <a:lnTo>
                    <a:pt x="318" y="255"/>
                  </a:lnTo>
                  <a:lnTo>
                    <a:pt x="320" y="257"/>
                  </a:lnTo>
                  <a:lnTo>
                    <a:pt x="322" y="257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4" y="257"/>
                  </a:lnTo>
                  <a:lnTo>
                    <a:pt x="326" y="257"/>
                  </a:lnTo>
                  <a:lnTo>
                    <a:pt x="326" y="255"/>
                  </a:lnTo>
                  <a:lnTo>
                    <a:pt x="326" y="253"/>
                  </a:lnTo>
                  <a:lnTo>
                    <a:pt x="326" y="249"/>
                  </a:lnTo>
                  <a:lnTo>
                    <a:pt x="326" y="249"/>
                  </a:lnTo>
                  <a:lnTo>
                    <a:pt x="328" y="249"/>
                  </a:lnTo>
                  <a:lnTo>
                    <a:pt x="328" y="249"/>
                  </a:lnTo>
                  <a:lnTo>
                    <a:pt x="328" y="251"/>
                  </a:lnTo>
                  <a:lnTo>
                    <a:pt x="328" y="255"/>
                  </a:lnTo>
                  <a:lnTo>
                    <a:pt x="328" y="257"/>
                  </a:lnTo>
                  <a:lnTo>
                    <a:pt x="328" y="257"/>
                  </a:lnTo>
                  <a:lnTo>
                    <a:pt x="328" y="257"/>
                  </a:lnTo>
                  <a:lnTo>
                    <a:pt x="330" y="257"/>
                  </a:lnTo>
                  <a:lnTo>
                    <a:pt x="330" y="255"/>
                  </a:lnTo>
                  <a:lnTo>
                    <a:pt x="332" y="257"/>
                  </a:lnTo>
                  <a:lnTo>
                    <a:pt x="332" y="257"/>
                  </a:lnTo>
                  <a:lnTo>
                    <a:pt x="334" y="257"/>
                  </a:lnTo>
                  <a:lnTo>
                    <a:pt x="334" y="255"/>
                  </a:lnTo>
                  <a:lnTo>
                    <a:pt x="332" y="253"/>
                  </a:lnTo>
                  <a:lnTo>
                    <a:pt x="332" y="251"/>
                  </a:lnTo>
                  <a:lnTo>
                    <a:pt x="332" y="251"/>
                  </a:lnTo>
                  <a:lnTo>
                    <a:pt x="332" y="249"/>
                  </a:lnTo>
                  <a:lnTo>
                    <a:pt x="332" y="247"/>
                  </a:lnTo>
                  <a:lnTo>
                    <a:pt x="332" y="245"/>
                  </a:lnTo>
                  <a:lnTo>
                    <a:pt x="330" y="241"/>
                  </a:lnTo>
                  <a:lnTo>
                    <a:pt x="330" y="239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8" y="235"/>
                  </a:lnTo>
                  <a:lnTo>
                    <a:pt x="328" y="233"/>
                  </a:lnTo>
                  <a:lnTo>
                    <a:pt x="328" y="230"/>
                  </a:lnTo>
                  <a:lnTo>
                    <a:pt x="328" y="228"/>
                  </a:lnTo>
                  <a:lnTo>
                    <a:pt x="328" y="228"/>
                  </a:lnTo>
                  <a:lnTo>
                    <a:pt x="326" y="228"/>
                  </a:lnTo>
                  <a:lnTo>
                    <a:pt x="324" y="226"/>
                  </a:lnTo>
                  <a:lnTo>
                    <a:pt x="324" y="226"/>
                  </a:lnTo>
                  <a:lnTo>
                    <a:pt x="324" y="224"/>
                  </a:lnTo>
                  <a:lnTo>
                    <a:pt x="324" y="222"/>
                  </a:lnTo>
                  <a:lnTo>
                    <a:pt x="322" y="222"/>
                  </a:lnTo>
                  <a:lnTo>
                    <a:pt x="322" y="222"/>
                  </a:lnTo>
                  <a:lnTo>
                    <a:pt x="322" y="220"/>
                  </a:lnTo>
                  <a:lnTo>
                    <a:pt x="322" y="220"/>
                  </a:lnTo>
                  <a:lnTo>
                    <a:pt x="322" y="216"/>
                  </a:lnTo>
                  <a:lnTo>
                    <a:pt x="322" y="214"/>
                  </a:lnTo>
                  <a:lnTo>
                    <a:pt x="322" y="212"/>
                  </a:lnTo>
                  <a:lnTo>
                    <a:pt x="322" y="210"/>
                  </a:lnTo>
                  <a:lnTo>
                    <a:pt x="322" y="210"/>
                  </a:lnTo>
                  <a:lnTo>
                    <a:pt x="322" y="208"/>
                  </a:lnTo>
                  <a:lnTo>
                    <a:pt x="322" y="208"/>
                  </a:lnTo>
                  <a:lnTo>
                    <a:pt x="318" y="208"/>
                  </a:lnTo>
                  <a:lnTo>
                    <a:pt x="318" y="206"/>
                  </a:lnTo>
                  <a:lnTo>
                    <a:pt x="316" y="206"/>
                  </a:lnTo>
                  <a:lnTo>
                    <a:pt x="316" y="204"/>
                  </a:lnTo>
                  <a:lnTo>
                    <a:pt x="314" y="206"/>
                  </a:lnTo>
                  <a:lnTo>
                    <a:pt x="314" y="204"/>
                  </a:lnTo>
                  <a:lnTo>
                    <a:pt x="312" y="204"/>
                  </a:lnTo>
                  <a:lnTo>
                    <a:pt x="310" y="202"/>
                  </a:lnTo>
                  <a:lnTo>
                    <a:pt x="310" y="202"/>
                  </a:lnTo>
                  <a:lnTo>
                    <a:pt x="310" y="200"/>
                  </a:lnTo>
                  <a:lnTo>
                    <a:pt x="312" y="198"/>
                  </a:lnTo>
                  <a:lnTo>
                    <a:pt x="312" y="198"/>
                  </a:lnTo>
                  <a:lnTo>
                    <a:pt x="314" y="198"/>
                  </a:lnTo>
                  <a:lnTo>
                    <a:pt x="314" y="198"/>
                  </a:lnTo>
                  <a:lnTo>
                    <a:pt x="316" y="196"/>
                  </a:lnTo>
                  <a:lnTo>
                    <a:pt x="316" y="191"/>
                  </a:lnTo>
                  <a:lnTo>
                    <a:pt x="318" y="191"/>
                  </a:lnTo>
                  <a:lnTo>
                    <a:pt x="320" y="191"/>
                  </a:lnTo>
                  <a:lnTo>
                    <a:pt x="320" y="191"/>
                  </a:lnTo>
                  <a:lnTo>
                    <a:pt x="322" y="191"/>
                  </a:lnTo>
                  <a:lnTo>
                    <a:pt x="322" y="191"/>
                  </a:lnTo>
                  <a:lnTo>
                    <a:pt x="324" y="191"/>
                  </a:lnTo>
                  <a:lnTo>
                    <a:pt x="324" y="191"/>
                  </a:lnTo>
                  <a:lnTo>
                    <a:pt x="324" y="189"/>
                  </a:lnTo>
                  <a:lnTo>
                    <a:pt x="322" y="189"/>
                  </a:lnTo>
                  <a:lnTo>
                    <a:pt x="322" y="189"/>
                  </a:lnTo>
                  <a:lnTo>
                    <a:pt x="320" y="187"/>
                  </a:lnTo>
                  <a:lnTo>
                    <a:pt x="320" y="185"/>
                  </a:lnTo>
                  <a:lnTo>
                    <a:pt x="318" y="185"/>
                  </a:lnTo>
                  <a:lnTo>
                    <a:pt x="316" y="185"/>
                  </a:lnTo>
                  <a:lnTo>
                    <a:pt x="314" y="185"/>
                  </a:lnTo>
                  <a:lnTo>
                    <a:pt x="314" y="183"/>
                  </a:lnTo>
                  <a:lnTo>
                    <a:pt x="312" y="181"/>
                  </a:lnTo>
                  <a:lnTo>
                    <a:pt x="310" y="181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77"/>
                  </a:lnTo>
                  <a:lnTo>
                    <a:pt x="308" y="177"/>
                  </a:lnTo>
                  <a:lnTo>
                    <a:pt x="308" y="175"/>
                  </a:lnTo>
                  <a:lnTo>
                    <a:pt x="310" y="173"/>
                  </a:lnTo>
                  <a:lnTo>
                    <a:pt x="312" y="173"/>
                  </a:lnTo>
                  <a:lnTo>
                    <a:pt x="312" y="171"/>
                  </a:lnTo>
                  <a:lnTo>
                    <a:pt x="312" y="171"/>
                  </a:lnTo>
                  <a:lnTo>
                    <a:pt x="312" y="169"/>
                  </a:lnTo>
                  <a:lnTo>
                    <a:pt x="312" y="169"/>
                  </a:lnTo>
                  <a:lnTo>
                    <a:pt x="312" y="169"/>
                  </a:lnTo>
                  <a:lnTo>
                    <a:pt x="310" y="169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12" y="167"/>
                  </a:lnTo>
                  <a:lnTo>
                    <a:pt x="314" y="167"/>
                  </a:lnTo>
                  <a:lnTo>
                    <a:pt x="316" y="169"/>
                  </a:lnTo>
                  <a:lnTo>
                    <a:pt x="316" y="171"/>
                  </a:lnTo>
                  <a:lnTo>
                    <a:pt x="316" y="171"/>
                  </a:lnTo>
                  <a:lnTo>
                    <a:pt x="318" y="171"/>
                  </a:lnTo>
                  <a:lnTo>
                    <a:pt x="318" y="171"/>
                  </a:lnTo>
                  <a:lnTo>
                    <a:pt x="318" y="173"/>
                  </a:lnTo>
                  <a:lnTo>
                    <a:pt x="320" y="173"/>
                  </a:lnTo>
                  <a:lnTo>
                    <a:pt x="320" y="173"/>
                  </a:lnTo>
                  <a:lnTo>
                    <a:pt x="320" y="173"/>
                  </a:lnTo>
                  <a:lnTo>
                    <a:pt x="322" y="171"/>
                  </a:lnTo>
                  <a:lnTo>
                    <a:pt x="320" y="171"/>
                  </a:lnTo>
                  <a:lnTo>
                    <a:pt x="320" y="171"/>
                  </a:lnTo>
                  <a:lnTo>
                    <a:pt x="320" y="169"/>
                  </a:lnTo>
                  <a:lnTo>
                    <a:pt x="320" y="169"/>
                  </a:lnTo>
                  <a:lnTo>
                    <a:pt x="322" y="169"/>
                  </a:lnTo>
                  <a:lnTo>
                    <a:pt x="322" y="171"/>
                  </a:lnTo>
                  <a:lnTo>
                    <a:pt x="322" y="171"/>
                  </a:lnTo>
                  <a:lnTo>
                    <a:pt x="324" y="173"/>
                  </a:lnTo>
                  <a:lnTo>
                    <a:pt x="324" y="175"/>
                  </a:lnTo>
                  <a:lnTo>
                    <a:pt x="326" y="177"/>
                  </a:lnTo>
                  <a:lnTo>
                    <a:pt x="328" y="177"/>
                  </a:lnTo>
                  <a:lnTo>
                    <a:pt x="330" y="177"/>
                  </a:lnTo>
                  <a:lnTo>
                    <a:pt x="330" y="177"/>
                  </a:lnTo>
                  <a:lnTo>
                    <a:pt x="330" y="175"/>
                  </a:lnTo>
                  <a:lnTo>
                    <a:pt x="330" y="175"/>
                  </a:lnTo>
                  <a:lnTo>
                    <a:pt x="330" y="173"/>
                  </a:lnTo>
                  <a:lnTo>
                    <a:pt x="330" y="173"/>
                  </a:lnTo>
                  <a:lnTo>
                    <a:pt x="332" y="173"/>
                  </a:lnTo>
                  <a:lnTo>
                    <a:pt x="332" y="173"/>
                  </a:lnTo>
                  <a:lnTo>
                    <a:pt x="334" y="177"/>
                  </a:lnTo>
                  <a:lnTo>
                    <a:pt x="334" y="179"/>
                  </a:lnTo>
                  <a:lnTo>
                    <a:pt x="336" y="185"/>
                  </a:lnTo>
                  <a:lnTo>
                    <a:pt x="336" y="187"/>
                  </a:lnTo>
                  <a:lnTo>
                    <a:pt x="336" y="189"/>
                  </a:lnTo>
                  <a:lnTo>
                    <a:pt x="336" y="189"/>
                  </a:lnTo>
                  <a:lnTo>
                    <a:pt x="336" y="189"/>
                  </a:lnTo>
                  <a:lnTo>
                    <a:pt x="338" y="189"/>
                  </a:lnTo>
                  <a:lnTo>
                    <a:pt x="341" y="191"/>
                  </a:lnTo>
                  <a:lnTo>
                    <a:pt x="343" y="191"/>
                  </a:lnTo>
                  <a:lnTo>
                    <a:pt x="345" y="191"/>
                  </a:lnTo>
                  <a:lnTo>
                    <a:pt x="347" y="191"/>
                  </a:lnTo>
                  <a:lnTo>
                    <a:pt x="349" y="191"/>
                  </a:lnTo>
                  <a:lnTo>
                    <a:pt x="351" y="191"/>
                  </a:lnTo>
                  <a:lnTo>
                    <a:pt x="353" y="191"/>
                  </a:lnTo>
                  <a:lnTo>
                    <a:pt x="357" y="191"/>
                  </a:lnTo>
                  <a:lnTo>
                    <a:pt x="361" y="191"/>
                  </a:lnTo>
                  <a:lnTo>
                    <a:pt x="363" y="191"/>
                  </a:lnTo>
                  <a:lnTo>
                    <a:pt x="363" y="193"/>
                  </a:lnTo>
                  <a:lnTo>
                    <a:pt x="367" y="191"/>
                  </a:lnTo>
                  <a:lnTo>
                    <a:pt x="373" y="191"/>
                  </a:lnTo>
                  <a:lnTo>
                    <a:pt x="375" y="193"/>
                  </a:lnTo>
                  <a:lnTo>
                    <a:pt x="378" y="196"/>
                  </a:lnTo>
                  <a:lnTo>
                    <a:pt x="380" y="196"/>
                  </a:lnTo>
                  <a:lnTo>
                    <a:pt x="380" y="198"/>
                  </a:lnTo>
                  <a:lnTo>
                    <a:pt x="380" y="198"/>
                  </a:lnTo>
                  <a:lnTo>
                    <a:pt x="380" y="198"/>
                  </a:lnTo>
                  <a:lnTo>
                    <a:pt x="380" y="198"/>
                  </a:lnTo>
                  <a:lnTo>
                    <a:pt x="378" y="198"/>
                  </a:lnTo>
                  <a:lnTo>
                    <a:pt x="375" y="198"/>
                  </a:lnTo>
                  <a:lnTo>
                    <a:pt x="378" y="200"/>
                  </a:lnTo>
                  <a:lnTo>
                    <a:pt x="378" y="200"/>
                  </a:lnTo>
                  <a:lnTo>
                    <a:pt x="375" y="202"/>
                  </a:lnTo>
                  <a:lnTo>
                    <a:pt x="375" y="204"/>
                  </a:lnTo>
                  <a:lnTo>
                    <a:pt x="375" y="206"/>
                  </a:lnTo>
                  <a:lnTo>
                    <a:pt x="375" y="206"/>
                  </a:lnTo>
                  <a:lnTo>
                    <a:pt x="375" y="206"/>
                  </a:lnTo>
                  <a:lnTo>
                    <a:pt x="373" y="206"/>
                  </a:lnTo>
                  <a:lnTo>
                    <a:pt x="373" y="208"/>
                  </a:lnTo>
                  <a:lnTo>
                    <a:pt x="373" y="208"/>
                  </a:lnTo>
                  <a:lnTo>
                    <a:pt x="373" y="208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69" y="210"/>
                  </a:lnTo>
                  <a:lnTo>
                    <a:pt x="369" y="210"/>
                  </a:lnTo>
                  <a:lnTo>
                    <a:pt x="367" y="212"/>
                  </a:lnTo>
                  <a:lnTo>
                    <a:pt x="367" y="212"/>
                  </a:lnTo>
                  <a:lnTo>
                    <a:pt x="365" y="212"/>
                  </a:lnTo>
                  <a:lnTo>
                    <a:pt x="365" y="212"/>
                  </a:lnTo>
                  <a:lnTo>
                    <a:pt x="365" y="212"/>
                  </a:lnTo>
                  <a:lnTo>
                    <a:pt x="365" y="214"/>
                  </a:lnTo>
                  <a:lnTo>
                    <a:pt x="363" y="214"/>
                  </a:lnTo>
                  <a:lnTo>
                    <a:pt x="363" y="218"/>
                  </a:lnTo>
                  <a:lnTo>
                    <a:pt x="363" y="220"/>
                  </a:lnTo>
                  <a:lnTo>
                    <a:pt x="363" y="220"/>
                  </a:lnTo>
                  <a:lnTo>
                    <a:pt x="365" y="224"/>
                  </a:lnTo>
                  <a:lnTo>
                    <a:pt x="367" y="230"/>
                  </a:lnTo>
                  <a:lnTo>
                    <a:pt x="367" y="230"/>
                  </a:lnTo>
                  <a:lnTo>
                    <a:pt x="367" y="230"/>
                  </a:lnTo>
                  <a:lnTo>
                    <a:pt x="367" y="230"/>
                  </a:lnTo>
                  <a:lnTo>
                    <a:pt x="367" y="230"/>
                  </a:lnTo>
                  <a:lnTo>
                    <a:pt x="367" y="228"/>
                  </a:lnTo>
                  <a:lnTo>
                    <a:pt x="367" y="228"/>
                  </a:lnTo>
                  <a:lnTo>
                    <a:pt x="367" y="228"/>
                  </a:lnTo>
                  <a:lnTo>
                    <a:pt x="369" y="228"/>
                  </a:lnTo>
                  <a:lnTo>
                    <a:pt x="369" y="230"/>
                  </a:lnTo>
                  <a:lnTo>
                    <a:pt x="371" y="233"/>
                  </a:lnTo>
                  <a:lnTo>
                    <a:pt x="371" y="233"/>
                  </a:lnTo>
                  <a:lnTo>
                    <a:pt x="373" y="233"/>
                  </a:lnTo>
                  <a:lnTo>
                    <a:pt x="373" y="230"/>
                  </a:lnTo>
                  <a:lnTo>
                    <a:pt x="373" y="230"/>
                  </a:lnTo>
                  <a:lnTo>
                    <a:pt x="373" y="228"/>
                  </a:lnTo>
                  <a:lnTo>
                    <a:pt x="373" y="226"/>
                  </a:lnTo>
                  <a:lnTo>
                    <a:pt x="373" y="224"/>
                  </a:lnTo>
                  <a:lnTo>
                    <a:pt x="375" y="222"/>
                  </a:lnTo>
                  <a:lnTo>
                    <a:pt x="375" y="222"/>
                  </a:lnTo>
                  <a:lnTo>
                    <a:pt x="375" y="220"/>
                  </a:lnTo>
                  <a:lnTo>
                    <a:pt x="375" y="220"/>
                  </a:lnTo>
                  <a:lnTo>
                    <a:pt x="375" y="220"/>
                  </a:lnTo>
                  <a:lnTo>
                    <a:pt x="378" y="220"/>
                  </a:lnTo>
                  <a:lnTo>
                    <a:pt x="378" y="218"/>
                  </a:lnTo>
                  <a:lnTo>
                    <a:pt x="378" y="218"/>
                  </a:lnTo>
                  <a:lnTo>
                    <a:pt x="380" y="220"/>
                  </a:lnTo>
                  <a:lnTo>
                    <a:pt x="380" y="220"/>
                  </a:lnTo>
                  <a:lnTo>
                    <a:pt x="382" y="222"/>
                  </a:lnTo>
                  <a:lnTo>
                    <a:pt x="382" y="226"/>
                  </a:lnTo>
                  <a:lnTo>
                    <a:pt x="382" y="228"/>
                  </a:lnTo>
                  <a:lnTo>
                    <a:pt x="384" y="230"/>
                  </a:lnTo>
                  <a:lnTo>
                    <a:pt x="384" y="233"/>
                  </a:lnTo>
                  <a:lnTo>
                    <a:pt x="384" y="235"/>
                  </a:lnTo>
                  <a:lnTo>
                    <a:pt x="386" y="235"/>
                  </a:lnTo>
                  <a:lnTo>
                    <a:pt x="386" y="237"/>
                  </a:lnTo>
                  <a:lnTo>
                    <a:pt x="386" y="237"/>
                  </a:lnTo>
                  <a:lnTo>
                    <a:pt x="388" y="241"/>
                  </a:lnTo>
                  <a:lnTo>
                    <a:pt x="388" y="243"/>
                  </a:lnTo>
                  <a:lnTo>
                    <a:pt x="388" y="249"/>
                  </a:lnTo>
                  <a:lnTo>
                    <a:pt x="390" y="251"/>
                  </a:lnTo>
                  <a:lnTo>
                    <a:pt x="390" y="251"/>
                  </a:lnTo>
                  <a:lnTo>
                    <a:pt x="390" y="249"/>
                  </a:lnTo>
                  <a:lnTo>
                    <a:pt x="390" y="249"/>
                  </a:lnTo>
                  <a:lnTo>
                    <a:pt x="390" y="247"/>
                  </a:lnTo>
                  <a:lnTo>
                    <a:pt x="392" y="247"/>
                  </a:lnTo>
                  <a:lnTo>
                    <a:pt x="392" y="249"/>
                  </a:lnTo>
                  <a:lnTo>
                    <a:pt x="394" y="251"/>
                  </a:lnTo>
                  <a:lnTo>
                    <a:pt x="394" y="251"/>
                  </a:lnTo>
                  <a:lnTo>
                    <a:pt x="396" y="251"/>
                  </a:lnTo>
                  <a:lnTo>
                    <a:pt x="396" y="247"/>
                  </a:lnTo>
                  <a:lnTo>
                    <a:pt x="396" y="247"/>
                  </a:lnTo>
                  <a:lnTo>
                    <a:pt x="396" y="247"/>
                  </a:lnTo>
                  <a:lnTo>
                    <a:pt x="398" y="247"/>
                  </a:lnTo>
                  <a:lnTo>
                    <a:pt x="398" y="247"/>
                  </a:lnTo>
                  <a:lnTo>
                    <a:pt x="398" y="245"/>
                  </a:lnTo>
                  <a:lnTo>
                    <a:pt x="398" y="243"/>
                  </a:lnTo>
                  <a:lnTo>
                    <a:pt x="396" y="241"/>
                  </a:lnTo>
                  <a:lnTo>
                    <a:pt x="396" y="239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5"/>
                  </a:lnTo>
                  <a:lnTo>
                    <a:pt x="396" y="233"/>
                  </a:lnTo>
                  <a:lnTo>
                    <a:pt x="396" y="230"/>
                  </a:lnTo>
                  <a:lnTo>
                    <a:pt x="396" y="230"/>
                  </a:lnTo>
                  <a:lnTo>
                    <a:pt x="398" y="233"/>
                  </a:lnTo>
                  <a:lnTo>
                    <a:pt x="398" y="230"/>
                  </a:lnTo>
                  <a:lnTo>
                    <a:pt x="398" y="230"/>
                  </a:lnTo>
                  <a:lnTo>
                    <a:pt x="398" y="230"/>
                  </a:lnTo>
                  <a:lnTo>
                    <a:pt x="398" y="226"/>
                  </a:lnTo>
                  <a:lnTo>
                    <a:pt x="398" y="222"/>
                  </a:lnTo>
                  <a:lnTo>
                    <a:pt x="398" y="220"/>
                  </a:lnTo>
                  <a:lnTo>
                    <a:pt x="398" y="218"/>
                  </a:lnTo>
                  <a:lnTo>
                    <a:pt x="396" y="214"/>
                  </a:lnTo>
                  <a:lnTo>
                    <a:pt x="396" y="212"/>
                  </a:lnTo>
                  <a:lnTo>
                    <a:pt x="396" y="212"/>
                  </a:lnTo>
                  <a:lnTo>
                    <a:pt x="398" y="214"/>
                  </a:lnTo>
                  <a:lnTo>
                    <a:pt x="398" y="214"/>
                  </a:lnTo>
                  <a:lnTo>
                    <a:pt x="400" y="214"/>
                  </a:lnTo>
                  <a:lnTo>
                    <a:pt x="400" y="214"/>
                  </a:lnTo>
                  <a:lnTo>
                    <a:pt x="402" y="214"/>
                  </a:lnTo>
                  <a:lnTo>
                    <a:pt x="402" y="214"/>
                  </a:lnTo>
                  <a:lnTo>
                    <a:pt x="404" y="214"/>
                  </a:lnTo>
                  <a:lnTo>
                    <a:pt x="406" y="216"/>
                  </a:lnTo>
                  <a:lnTo>
                    <a:pt x="408" y="216"/>
                  </a:lnTo>
                  <a:lnTo>
                    <a:pt x="408" y="216"/>
                  </a:lnTo>
                  <a:lnTo>
                    <a:pt x="410" y="214"/>
                  </a:lnTo>
                  <a:lnTo>
                    <a:pt x="410" y="212"/>
                  </a:lnTo>
                  <a:lnTo>
                    <a:pt x="410" y="208"/>
                  </a:lnTo>
                  <a:lnTo>
                    <a:pt x="410" y="206"/>
                  </a:lnTo>
                  <a:lnTo>
                    <a:pt x="412" y="204"/>
                  </a:lnTo>
                  <a:lnTo>
                    <a:pt x="412" y="202"/>
                  </a:lnTo>
                  <a:lnTo>
                    <a:pt x="414" y="200"/>
                  </a:lnTo>
                  <a:lnTo>
                    <a:pt x="414" y="196"/>
                  </a:lnTo>
                  <a:lnTo>
                    <a:pt x="414" y="193"/>
                  </a:lnTo>
                  <a:lnTo>
                    <a:pt x="414" y="193"/>
                  </a:lnTo>
                  <a:lnTo>
                    <a:pt x="414" y="193"/>
                  </a:lnTo>
                  <a:lnTo>
                    <a:pt x="412" y="191"/>
                  </a:lnTo>
                  <a:lnTo>
                    <a:pt x="412" y="191"/>
                  </a:lnTo>
                  <a:lnTo>
                    <a:pt x="412" y="191"/>
                  </a:lnTo>
                  <a:lnTo>
                    <a:pt x="412" y="191"/>
                  </a:lnTo>
                  <a:lnTo>
                    <a:pt x="412" y="189"/>
                  </a:lnTo>
                  <a:lnTo>
                    <a:pt x="412" y="187"/>
                  </a:lnTo>
                  <a:lnTo>
                    <a:pt x="412" y="187"/>
                  </a:lnTo>
                  <a:lnTo>
                    <a:pt x="414" y="185"/>
                  </a:lnTo>
                  <a:lnTo>
                    <a:pt x="417" y="183"/>
                  </a:lnTo>
                  <a:lnTo>
                    <a:pt x="417" y="183"/>
                  </a:lnTo>
                  <a:lnTo>
                    <a:pt x="417" y="181"/>
                  </a:lnTo>
                  <a:lnTo>
                    <a:pt x="417" y="179"/>
                  </a:lnTo>
                  <a:lnTo>
                    <a:pt x="417" y="177"/>
                  </a:lnTo>
                  <a:lnTo>
                    <a:pt x="419" y="177"/>
                  </a:lnTo>
                  <a:lnTo>
                    <a:pt x="419" y="177"/>
                  </a:lnTo>
                  <a:lnTo>
                    <a:pt x="419" y="175"/>
                  </a:lnTo>
                  <a:lnTo>
                    <a:pt x="419" y="175"/>
                  </a:lnTo>
                  <a:lnTo>
                    <a:pt x="417" y="173"/>
                  </a:lnTo>
                  <a:lnTo>
                    <a:pt x="417" y="171"/>
                  </a:lnTo>
                  <a:lnTo>
                    <a:pt x="417" y="169"/>
                  </a:lnTo>
                  <a:lnTo>
                    <a:pt x="417" y="167"/>
                  </a:lnTo>
                  <a:lnTo>
                    <a:pt x="417" y="167"/>
                  </a:lnTo>
                  <a:lnTo>
                    <a:pt x="419" y="165"/>
                  </a:lnTo>
                  <a:lnTo>
                    <a:pt x="419" y="165"/>
                  </a:lnTo>
                  <a:lnTo>
                    <a:pt x="421" y="163"/>
                  </a:lnTo>
                  <a:lnTo>
                    <a:pt x="425" y="159"/>
                  </a:lnTo>
                  <a:lnTo>
                    <a:pt x="427" y="159"/>
                  </a:lnTo>
                  <a:lnTo>
                    <a:pt x="427" y="159"/>
                  </a:lnTo>
                  <a:lnTo>
                    <a:pt x="429" y="156"/>
                  </a:lnTo>
                  <a:lnTo>
                    <a:pt x="429" y="154"/>
                  </a:lnTo>
                  <a:lnTo>
                    <a:pt x="431" y="154"/>
                  </a:lnTo>
                  <a:lnTo>
                    <a:pt x="433" y="152"/>
                  </a:lnTo>
                  <a:lnTo>
                    <a:pt x="439" y="152"/>
                  </a:lnTo>
                  <a:lnTo>
                    <a:pt x="439" y="152"/>
                  </a:lnTo>
                  <a:lnTo>
                    <a:pt x="441" y="152"/>
                  </a:lnTo>
                  <a:lnTo>
                    <a:pt x="441" y="154"/>
                  </a:lnTo>
                  <a:lnTo>
                    <a:pt x="443" y="156"/>
                  </a:lnTo>
                  <a:lnTo>
                    <a:pt x="445" y="156"/>
                  </a:lnTo>
                  <a:lnTo>
                    <a:pt x="445" y="156"/>
                  </a:lnTo>
                  <a:lnTo>
                    <a:pt x="445" y="154"/>
                  </a:lnTo>
                  <a:lnTo>
                    <a:pt x="441" y="150"/>
                  </a:lnTo>
                  <a:lnTo>
                    <a:pt x="441" y="148"/>
                  </a:lnTo>
                  <a:lnTo>
                    <a:pt x="441" y="148"/>
                  </a:lnTo>
                  <a:lnTo>
                    <a:pt x="441" y="146"/>
                  </a:lnTo>
                  <a:lnTo>
                    <a:pt x="441" y="146"/>
                  </a:lnTo>
                  <a:close/>
                  <a:moveTo>
                    <a:pt x="433" y="520"/>
                  </a:moveTo>
                  <a:lnTo>
                    <a:pt x="431" y="522"/>
                  </a:lnTo>
                  <a:lnTo>
                    <a:pt x="431" y="522"/>
                  </a:lnTo>
                  <a:lnTo>
                    <a:pt x="431" y="525"/>
                  </a:lnTo>
                  <a:lnTo>
                    <a:pt x="433" y="527"/>
                  </a:lnTo>
                  <a:lnTo>
                    <a:pt x="435" y="531"/>
                  </a:lnTo>
                  <a:lnTo>
                    <a:pt x="435" y="529"/>
                  </a:lnTo>
                  <a:lnTo>
                    <a:pt x="435" y="527"/>
                  </a:lnTo>
                  <a:lnTo>
                    <a:pt x="435" y="522"/>
                  </a:lnTo>
                  <a:lnTo>
                    <a:pt x="433" y="520"/>
                  </a:lnTo>
                  <a:close/>
                  <a:moveTo>
                    <a:pt x="429" y="504"/>
                  </a:moveTo>
                  <a:lnTo>
                    <a:pt x="427" y="504"/>
                  </a:lnTo>
                  <a:lnTo>
                    <a:pt x="427" y="504"/>
                  </a:lnTo>
                  <a:lnTo>
                    <a:pt x="427" y="506"/>
                  </a:lnTo>
                  <a:lnTo>
                    <a:pt x="427" y="506"/>
                  </a:lnTo>
                  <a:lnTo>
                    <a:pt x="427" y="506"/>
                  </a:lnTo>
                  <a:lnTo>
                    <a:pt x="427" y="506"/>
                  </a:lnTo>
                  <a:lnTo>
                    <a:pt x="427" y="506"/>
                  </a:lnTo>
                  <a:lnTo>
                    <a:pt x="429" y="506"/>
                  </a:lnTo>
                  <a:lnTo>
                    <a:pt x="429" y="504"/>
                  </a:lnTo>
                  <a:lnTo>
                    <a:pt x="429" y="504"/>
                  </a:lnTo>
                  <a:close/>
                  <a:moveTo>
                    <a:pt x="421" y="500"/>
                  </a:moveTo>
                  <a:lnTo>
                    <a:pt x="421" y="502"/>
                  </a:lnTo>
                  <a:lnTo>
                    <a:pt x="421" y="502"/>
                  </a:lnTo>
                  <a:lnTo>
                    <a:pt x="421" y="504"/>
                  </a:lnTo>
                  <a:lnTo>
                    <a:pt x="423" y="504"/>
                  </a:lnTo>
                  <a:lnTo>
                    <a:pt x="423" y="502"/>
                  </a:lnTo>
                  <a:lnTo>
                    <a:pt x="421" y="500"/>
                  </a:lnTo>
                  <a:close/>
                  <a:moveTo>
                    <a:pt x="427" y="506"/>
                  </a:moveTo>
                  <a:lnTo>
                    <a:pt x="425" y="508"/>
                  </a:lnTo>
                  <a:lnTo>
                    <a:pt x="425" y="508"/>
                  </a:lnTo>
                  <a:lnTo>
                    <a:pt x="425" y="508"/>
                  </a:lnTo>
                  <a:lnTo>
                    <a:pt x="427" y="510"/>
                  </a:lnTo>
                  <a:lnTo>
                    <a:pt x="427" y="510"/>
                  </a:lnTo>
                  <a:lnTo>
                    <a:pt x="427" y="510"/>
                  </a:lnTo>
                  <a:lnTo>
                    <a:pt x="427" y="508"/>
                  </a:lnTo>
                  <a:lnTo>
                    <a:pt x="427" y="50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1" name="Freeform 153">
              <a:extLst>
                <a:ext uri="{FF2B5EF4-FFF2-40B4-BE49-F238E27FC236}">
                  <a16:creationId xmlns:a16="http://schemas.microsoft.com/office/drawing/2014/main" id="{5B4919C4-0133-8748-A3CF-3F2E5AF944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4587" y="3042997"/>
              <a:ext cx="10695" cy="7130"/>
            </a:xfrm>
            <a:custGeom>
              <a:avLst/>
              <a:gdLst>
                <a:gd name="T0" fmla="*/ 7 w 9"/>
                <a:gd name="T1" fmla="*/ 4 h 6"/>
                <a:gd name="T2" fmla="*/ 7 w 9"/>
                <a:gd name="T3" fmla="*/ 4 h 6"/>
                <a:gd name="T4" fmla="*/ 7 w 9"/>
                <a:gd name="T5" fmla="*/ 4 h 6"/>
                <a:gd name="T6" fmla="*/ 7 w 9"/>
                <a:gd name="T7" fmla="*/ 6 h 6"/>
                <a:gd name="T8" fmla="*/ 9 w 9"/>
                <a:gd name="T9" fmla="*/ 6 h 6"/>
                <a:gd name="T10" fmla="*/ 9 w 9"/>
                <a:gd name="T11" fmla="*/ 6 h 6"/>
                <a:gd name="T12" fmla="*/ 9 w 9"/>
                <a:gd name="T13" fmla="*/ 4 h 6"/>
                <a:gd name="T14" fmla="*/ 7 w 9"/>
                <a:gd name="T15" fmla="*/ 4 h 6"/>
                <a:gd name="T16" fmla="*/ 3 w 9"/>
                <a:gd name="T17" fmla="*/ 4 h 6"/>
                <a:gd name="T18" fmla="*/ 0 w 9"/>
                <a:gd name="T19" fmla="*/ 4 h 6"/>
                <a:gd name="T20" fmla="*/ 3 w 9"/>
                <a:gd name="T21" fmla="*/ 6 h 6"/>
                <a:gd name="T22" fmla="*/ 3 w 9"/>
                <a:gd name="T23" fmla="*/ 6 h 6"/>
                <a:gd name="T24" fmla="*/ 5 w 9"/>
                <a:gd name="T25" fmla="*/ 6 h 6"/>
                <a:gd name="T26" fmla="*/ 5 w 9"/>
                <a:gd name="T27" fmla="*/ 4 h 6"/>
                <a:gd name="T28" fmla="*/ 5 w 9"/>
                <a:gd name="T29" fmla="*/ 4 h 6"/>
                <a:gd name="T30" fmla="*/ 3 w 9"/>
                <a:gd name="T31" fmla="*/ 4 h 6"/>
                <a:gd name="T32" fmla="*/ 9 w 9"/>
                <a:gd name="T33" fmla="*/ 2 h 6"/>
                <a:gd name="T34" fmla="*/ 9 w 9"/>
                <a:gd name="T35" fmla="*/ 2 h 6"/>
                <a:gd name="T36" fmla="*/ 9 w 9"/>
                <a:gd name="T37" fmla="*/ 2 h 6"/>
                <a:gd name="T38" fmla="*/ 9 w 9"/>
                <a:gd name="T39" fmla="*/ 0 h 6"/>
                <a:gd name="T40" fmla="*/ 7 w 9"/>
                <a:gd name="T41" fmla="*/ 0 h 6"/>
                <a:gd name="T42" fmla="*/ 7 w 9"/>
                <a:gd name="T43" fmla="*/ 0 h 6"/>
                <a:gd name="T44" fmla="*/ 7 w 9"/>
                <a:gd name="T45" fmla="*/ 0 h 6"/>
                <a:gd name="T46" fmla="*/ 7 w 9"/>
                <a:gd name="T47" fmla="*/ 0 h 6"/>
                <a:gd name="T48" fmla="*/ 5 w 9"/>
                <a:gd name="T49" fmla="*/ 0 h 6"/>
                <a:gd name="T50" fmla="*/ 5 w 9"/>
                <a:gd name="T51" fmla="*/ 0 h 6"/>
                <a:gd name="T52" fmla="*/ 5 w 9"/>
                <a:gd name="T53" fmla="*/ 0 h 6"/>
                <a:gd name="T54" fmla="*/ 3 w 9"/>
                <a:gd name="T55" fmla="*/ 0 h 6"/>
                <a:gd name="T56" fmla="*/ 3 w 9"/>
                <a:gd name="T57" fmla="*/ 0 h 6"/>
                <a:gd name="T58" fmla="*/ 3 w 9"/>
                <a:gd name="T59" fmla="*/ 0 h 6"/>
                <a:gd name="T60" fmla="*/ 3 w 9"/>
                <a:gd name="T61" fmla="*/ 2 h 6"/>
                <a:gd name="T62" fmla="*/ 3 w 9"/>
                <a:gd name="T63" fmla="*/ 2 h 6"/>
                <a:gd name="T64" fmla="*/ 3 w 9"/>
                <a:gd name="T65" fmla="*/ 2 h 6"/>
                <a:gd name="T66" fmla="*/ 5 w 9"/>
                <a:gd name="T67" fmla="*/ 2 h 6"/>
                <a:gd name="T68" fmla="*/ 7 w 9"/>
                <a:gd name="T69" fmla="*/ 4 h 6"/>
                <a:gd name="T70" fmla="*/ 9 w 9"/>
                <a:gd name="T71" fmla="*/ 4 h 6"/>
                <a:gd name="T72" fmla="*/ 9 w 9"/>
                <a:gd name="T73" fmla="*/ 4 h 6"/>
                <a:gd name="T74" fmla="*/ 9 w 9"/>
                <a:gd name="T75" fmla="*/ 2 h 6"/>
                <a:gd name="T76" fmla="*/ 9 w 9"/>
                <a:gd name="T7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" h="6">
                  <a:moveTo>
                    <a:pt x="7" y="4"/>
                  </a:moveTo>
                  <a:lnTo>
                    <a:pt x="7" y="4"/>
                  </a:lnTo>
                  <a:lnTo>
                    <a:pt x="7" y="4"/>
                  </a:lnTo>
                  <a:lnTo>
                    <a:pt x="7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4"/>
                  </a:lnTo>
                  <a:lnTo>
                    <a:pt x="7" y="4"/>
                  </a:lnTo>
                  <a:close/>
                  <a:moveTo>
                    <a:pt x="3" y="4"/>
                  </a:move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4"/>
                  </a:lnTo>
                  <a:lnTo>
                    <a:pt x="5" y="4"/>
                  </a:lnTo>
                  <a:lnTo>
                    <a:pt x="3" y="4"/>
                  </a:lnTo>
                  <a:close/>
                  <a:moveTo>
                    <a:pt x="9" y="2"/>
                  </a:moveTo>
                  <a:lnTo>
                    <a:pt x="9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2" name="Freeform 155">
              <a:extLst>
                <a:ext uri="{FF2B5EF4-FFF2-40B4-BE49-F238E27FC236}">
                  <a16:creationId xmlns:a16="http://schemas.microsoft.com/office/drawing/2014/main" id="{50A42776-B141-E44E-BA4B-966A73031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8340" y="4681783"/>
              <a:ext cx="7130" cy="5942"/>
            </a:xfrm>
            <a:custGeom>
              <a:avLst/>
              <a:gdLst>
                <a:gd name="T0" fmla="*/ 4 w 6"/>
                <a:gd name="T1" fmla="*/ 2 h 5"/>
                <a:gd name="T2" fmla="*/ 4 w 6"/>
                <a:gd name="T3" fmla="*/ 2 h 5"/>
                <a:gd name="T4" fmla="*/ 0 w 6"/>
                <a:gd name="T5" fmla="*/ 0 h 5"/>
                <a:gd name="T6" fmla="*/ 0 w 6"/>
                <a:gd name="T7" fmla="*/ 0 h 5"/>
                <a:gd name="T8" fmla="*/ 0 w 6"/>
                <a:gd name="T9" fmla="*/ 0 h 5"/>
                <a:gd name="T10" fmla="*/ 0 w 6"/>
                <a:gd name="T11" fmla="*/ 0 h 5"/>
                <a:gd name="T12" fmla="*/ 0 w 6"/>
                <a:gd name="T13" fmla="*/ 2 h 5"/>
                <a:gd name="T14" fmla="*/ 0 w 6"/>
                <a:gd name="T15" fmla="*/ 2 h 5"/>
                <a:gd name="T16" fmla="*/ 0 w 6"/>
                <a:gd name="T17" fmla="*/ 5 h 5"/>
                <a:gd name="T18" fmla="*/ 0 w 6"/>
                <a:gd name="T19" fmla="*/ 5 h 5"/>
                <a:gd name="T20" fmla="*/ 2 w 6"/>
                <a:gd name="T21" fmla="*/ 5 h 5"/>
                <a:gd name="T22" fmla="*/ 4 w 6"/>
                <a:gd name="T23" fmla="*/ 5 h 5"/>
                <a:gd name="T24" fmla="*/ 6 w 6"/>
                <a:gd name="T25" fmla="*/ 5 h 5"/>
                <a:gd name="T26" fmla="*/ 6 w 6"/>
                <a:gd name="T27" fmla="*/ 2 h 5"/>
                <a:gd name="T28" fmla="*/ 4 w 6"/>
                <a:gd name="T2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5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4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3" name="Freeform 162">
              <a:extLst>
                <a:ext uri="{FF2B5EF4-FFF2-40B4-BE49-F238E27FC236}">
                  <a16:creationId xmlns:a16="http://schemas.microsoft.com/office/drawing/2014/main" id="{5BA414BC-3D5A-F043-A17D-E18EB70B5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2548" y="3235516"/>
              <a:ext cx="4754" cy="9507"/>
            </a:xfrm>
            <a:custGeom>
              <a:avLst/>
              <a:gdLst>
                <a:gd name="T0" fmla="*/ 2 w 4"/>
                <a:gd name="T1" fmla="*/ 2 h 8"/>
                <a:gd name="T2" fmla="*/ 2 w 4"/>
                <a:gd name="T3" fmla="*/ 0 h 8"/>
                <a:gd name="T4" fmla="*/ 2 w 4"/>
                <a:gd name="T5" fmla="*/ 0 h 8"/>
                <a:gd name="T6" fmla="*/ 2 w 4"/>
                <a:gd name="T7" fmla="*/ 2 h 8"/>
                <a:gd name="T8" fmla="*/ 0 w 4"/>
                <a:gd name="T9" fmla="*/ 4 h 8"/>
                <a:gd name="T10" fmla="*/ 0 w 4"/>
                <a:gd name="T11" fmla="*/ 6 h 8"/>
                <a:gd name="T12" fmla="*/ 0 w 4"/>
                <a:gd name="T13" fmla="*/ 6 h 8"/>
                <a:gd name="T14" fmla="*/ 0 w 4"/>
                <a:gd name="T15" fmla="*/ 8 h 8"/>
                <a:gd name="T16" fmla="*/ 2 w 4"/>
                <a:gd name="T17" fmla="*/ 8 h 8"/>
                <a:gd name="T18" fmla="*/ 2 w 4"/>
                <a:gd name="T19" fmla="*/ 4 h 8"/>
                <a:gd name="T20" fmla="*/ 4 w 4"/>
                <a:gd name="T21" fmla="*/ 2 h 8"/>
                <a:gd name="T22" fmla="*/ 2 w 4"/>
                <a:gd name="T2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8">
                  <a:moveTo>
                    <a:pt x="2" y="2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4"/>
                  </a:lnTo>
                  <a:lnTo>
                    <a:pt x="4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4" name="Freeform 176">
              <a:extLst>
                <a:ext uri="{FF2B5EF4-FFF2-40B4-BE49-F238E27FC236}">
                  <a16:creationId xmlns:a16="http://schemas.microsoft.com/office/drawing/2014/main" id="{BCA3B981-7D12-E249-A79D-C5F7518663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4946" y="3804753"/>
              <a:ext cx="153302" cy="203214"/>
            </a:xfrm>
            <a:custGeom>
              <a:avLst/>
              <a:gdLst>
                <a:gd name="T0" fmla="*/ 0 w 129"/>
                <a:gd name="T1" fmla="*/ 171 h 171"/>
                <a:gd name="T2" fmla="*/ 110 w 129"/>
                <a:gd name="T3" fmla="*/ 150 h 171"/>
                <a:gd name="T4" fmla="*/ 110 w 129"/>
                <a:gd name="T5" fmla="*/ 152 h 171"/>
                <a:gd name="T6" fmla="*/ 119 w 129"/>
                <a:gd name="T7" fmla="*/ 124 h 171"/>
                <a:gd name="T8" fmla="*/ 119 w 129"/>
                <a:gd name="T9" fmla="*/ 124 h 171"/>
                <a:gd name="T10" fmla="*/ 119 w 129"/>
                <a:gd name="T11" fmla="*/ 124 h 171"/>
                <a:gd name="T12" fmla="*/ 69 w 129"/>
                <a:gd name="T13" fmla="*/ 120 h 171"/>
                <a:gd name="T14" fmla="*/ 63 w 129"/>
                <a:gd name="T15" fmla="*/ 124 h 171"/>
                <a:gd name="T16" fmla="*/ 67 w 129"/>
                <a:gd name="T17" fmla="*/ 122 h 171"/>
                <a:gd name="T18" fmla="*/ 73 w 129"/>
                <a:gd name="T19" fmla="*/ 120 h 171"/>
                <a:gd name="T20" fmla="*/ 100 w 129"/>
                <a:gd name="T21" fmla="*/ 120 h 171"/>
                <a:gd name="T22" fmla="*/ 100 w 129"/>
                <a:gd name="T23" fmla="*/ 120 h 171"/>
                <a:gd name="T24" fmla="*/ 100 w 129"/>
                <a:gd name="T25" fmla="*/ 120 h 171"/>
                <a:gd name="T26" fmla="*/ 121 w 129"/>
                <a:gd name="T27" fmla="*/ 107 h 171"/>
                <a:gd name="T28" fmla="*/ 90 w 129"/>
                <a:gd name="T29" fmla="*/ 101 h 171"/>
                <a:gd name="T30" fmla="*/ 92 w 129"/>
                <a:gd name="T31" fmla="*/ 103 h 171"/>
                <a:gd name="T32" fmla="*/ 117 w 129"/>
                <a:gd name="T33" fmla="*/ 101 h 171"/>
                <a:gd name="T34" fmla="*/ 117 w 129"/>
                <a:gd name="T35" fmla="*/ 101 h 171"/>
                <a:gd name="T36" fmla="*/ 129 w 129"/>
                <a:gd name="T37" fmla="*/ 101 h 171"/>
                <a:gd name="T38" fmla="*/ 84 w 129"/>
                <a:gd name="T39" fmla="*/ 97 h 171"/>
                <a:gd name="T40" fmla="*/ 78 w 129"/>
                <a:gd name="T41" fmla="*/ 93 h 171"/>
                <a:gd name="T42" fmla="*/ 75 w 129"/>
                <a:gd name="T43" fmla="*/ 91 h 171"/>
                <a:gd name="T44" fmla="*/ 65 w 129"/>
                <a:gd name="T45" fmla="*/ 93 h 171"/>
                <a:gd name="T46" fmla="*/ 61 w 129"/>
                <a:gd name="T47" fmla="*/ 99 h 171"/>
                <a:gd name="T48" fmla="*/ 59 w 129"/>
                <a:gd name="T49" fmla="*/ 101 h 171"/>
                <a:gd name="T50" fmla="*/ 61 w 129"/>
                <a:gd name="T51" fmla="*/ 105 h 171"/>
                <a:gd name="T52" fmla="*/ 69 w 129"/>
                <a:gd name="T53" fmla="*/ 107 h 171"/>
                <a:gd name="T54" fmla="*/ 75 w 129"/>
                <a:gd name="T55" fmla="*/ 105 h 171"/>
                <a:gd name="T56" fmla="*/ 80 w 129"/>
                <a:gd name="T57" fmla="*/ 99 h 171"/>
                <a:gd name="T58" fmla="*/ 78 w 129"/>
                <a:gd name="T59" fmla="*/ 93 h 171"/>
                <a:gd name="T60" fmla="*/ 96 w 129"/>
                <a:gd name="T61" fmla="*/ 91 h 171"/>
                <a:gd name="T62" fmla="*/ 121 w 129"/>
                <a:gd name="T63" fmla="*/ 87 h 171"/>
                <a:gd name="T64" fmla="*/ 121 w 129"/>
                <a:gd name="T65" fmla="*/ 91 h 171"/>
                <a:gd name="T66" fmla="*/ 123 w 129"/>
                <a:gd name="T67" fmla="*/ 87 h 171"/>
                <a:gd name="T68" fmla="*/ 61 w 129"/>
                <a:gd name="T69" fmla="*/ 87 h 171"/>
                <a:gd name="T70" fmla="*/ 108 w 129"/>
                <a:gd name="T71" fmla="*/ 78 h 171"/>
                <a:gd name="T72" fmla="*/ 104 w 129"/>
                <a:gd name="T73" fmla="*/ 85 h 171"/>
                <a:gd name="T74" fmla="*/ 110 w 129"/>
                <a:gd name="T75" fmla="*/ 80 h 171"/>
                <a:gd name="T76" fmla="*/ 106 w 129"/>
                <a:gd name="T77" fmla="*/ 83 h 171"/>
                <a:gd name="T78" fmla="*/ 108 w 129"/>
                <a:gd name="T79" fmla="*/ 76 h 171"/>
                <a:gd name="T80" fmla="*/ 110 w 129"/>
                <a:gd name="T81" fmla="*/ 74 h 171"/>
                <a:gd name="T82" fmla="*/ 108 w 129"/>
                <a:gd name="T83" fmla="*/ 74 h 171"/>
                <a:gd name="T84" fmla="*/ 100 w 129"/>
                <a:gd name="T85" fmla="*/ 72 h 171"/>
                <a:gd name="T86" fmla="*/ 92 w 129"/>
                <a:gd name="T87" fmla="*/ 74 h 171"/>
                <a:gd name="T88" fmla="*/ 86 w 129"/>
                <a:gd name="T89" fmla="*/ 78 h 171"/>
                <a:gd name="T90" fmla="*/ 82 w 129"/>
                <a:gd name="T91" fmla="*/ 80 h 171"/>
                <a:gd name="T92" fmla="*/ 88 w 129"/>
                <a:gd name="T93" fmla="*/ 83 h 171"/>
                <a:gd name="T94" fmla="*/ 94 w 129"/>
                <a:gd name="T95" fmla="*/ 78 h 171"/>
                <a:gd name="T96" fmla="*/ 98 w 129"/>
                <a:gd name="T97" fmla="*/ 80 h 171"/>
                <a:gd name="T98" fmla="*/ 106 w 129"/>
                <a:gd name="T99" fmla="*/ 80 h 171"/>
                <a:gd name="T100" fmla="*/ 106 w 129"/>
                <a:gd name="T101" fmla="*/ 76 h 171"/>
                <a:gd name="T102" fmla="*/ 102 w 129"/>
                <a:gd name="T103" fmla="*/ 76 h 171"/>
                <a:gd name="T104" fmla="*/ 108 w 129"/>
                <a:gd name="T105" fmla="*/ 68 h 171"/>
                <a:gd name="T106" fmla="*/ 108 w 129"/>
                <a:gd name="T107" fmla="*/ 68 h 171"/>
                <a:gd name="T108" fmla="*/ 75 w 129"/>
                <a:gd name="T109" fmla="*/ 2 h 171"/>
                <a:gd name="T110" fmla="*/ 73 w 129"/>
                <a:gd name="T111" fmla="*/ 2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9" h="171">
                  <a:moveTo>
                    <a:pt x="0" y="171"/>
                  </a:move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9"/>
                  </a:lnTo>
                  <a:lnTo>
                    <a:pt x="0" y="171"/>
                  </a:lnTo>
                  <a:close/>
                  <a:moveTo>
                    <a:pt x="110" y="150"/>
                  </a:moveTo>
                  <a:lnTo>
                    <a:pt x="110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0" y="152"/>
                  </a:lnTo>
                  <a:lnTo>
                    <a:pt x="110" y="152"/>
                  </a:lnTo>
                  <a:lnTo>
                    <a:pt x="110" y="152"/>
                  </a:lnTo>
                  <a:lnTo>
                    <a:pt x="110" y="150"/>
                  </a:lnTo>
                  <a:close/>
                  <a:moveTo>
                    <a:pt x="119" y="124"/>
                  </a:move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close/>
                  <a:moveTo>
                    <a:pt x="71" y="120"/>
                  </a:moveTo>
                  <a:lnTo>
                    <a:pt x="69" y="120"/>
                  </a:lnTo>
                  <a:lnTo>
                    <a:pt x="69" y="120"/>
                  </a:lnTo>
                  <a:lnTo>
                    <a:pt x="67" y="122"/>
                  </a:lnTo>
                  <a:lnTo>
                    <a:pt x="67" y="122"/>
                  </a:lnTo>
                  <a:lnTo>
                    <a:pt x="65" y="122"/>
                  </a:lnTo>
                  <a:lnTo>
                    <a:pt x="65" y="124"/>
                  </a:lnTo>
                  <a:lnTo>
                    <a:pt x="63" y="124"/>
                  </a:lnTo>
                  <a:lnTo>
                    <a:pt x="65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2"/>
                  </a:lnTo>
                  <a:lnTo>
                    <a:pt x="67" y="122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71" y="122"/>
                  </a:lnTo>
                  <a:lnTo>
                    <a:pt x="73" y="122"/>
                  </a:lnTo>
                  <a:lnTo>
                    <a:pt x="73" y="120"/>
                  </a:lnTo>
                  <a:lnTo>
                    <a:pt x="71" y="120"/>
                  </a:lnTo>
                  <a:lnTo>
                    <a:pt x="71" y="120"/>
                  </a:lnTo>
                  <a:close/>
                  <a:moveTo>
                    <a:pt x="100" y="120"/>
                  </a:moveTo>
                  <a:lnTo>
                    <a:pt x="100" y="120"/>
                  </a:lnTo>
                  <a:lnTo>
                    <a:pt x="100" y="120"/>
                  </a:lnTo>
                  <a:lnTo>
                    <a:pt x="98" y="122"/>
                  </a:lnTo>
                  <a:lnTo>
                    <a:pt x="100" y="122"/>
                  </a:lnTo>
                  <a:lnTo>
                    <a:pt x="100" y="122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20"/>
                  </a:lnTo>
                  <a:close/>
                  <a:moveTo>
                    <a:pt x="119" y="107"/>
                  </a:moveTo>
                  <a:lnTo>
                    <a:pt x="119" y="107"/>
                  </a:lnTo>
                  <a:lnTo>
                    <a:pt x="121" y="107"/>
                  </a:lnTo>
                  <a:lnTo>
                    <a:pt x="121" y="107"/>
                  </a:lnTo>
                  <a:lnTo>
                    <a:pt x="121" y="105"/>
                  </a:lnTo>
                  <a:lnTo>
                    <a:pt x="121" y="105"/>
                  </a:lnTo>
                  <a:lnTo>
                    <a:pt x="119" y="107"/>
                  </a:lnTo>
                  <a:close/>
                  <a:moveTo>
                    <a:pt x="90" y="101"/>
                  </a:moveTo>
                  <a:lnTo>
                    <a:pt x="90" y="101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2" y="103"/>
                  </a:lnTo>
                  <a:lnTo>
                    <a:pt x="90" y="103"/>
                  </a:lnTo>
                  <a:lnTo>
                    <a:pt x="90" y="101"/>
                  </a:lnTo>
                  <a:close/>
                  <a:moveTo>
                    <a:pt x="117" y="101"/>
                  </a:moveTo>
                  <a:lnTo>
                    <a:pt x="117" y="101"/>
                  </a:lnTo>
                  <a:lnTo>
                    <a:pt x="117" y="101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9" y="103"/>
                  </a:lnTo>
                  <a:lnTo>
                    <a:pt x="119" y="101"/>
                  </a:lnTo>
                  <a:lnTo>
                    <a:pt x="117" y="101"/>
                  </a:lnTo>
                  <a:close/>
                  <a:moveTo>
                    <a:pt x="129" y="101"/>
                  </a:moveTo>
                  <a:lnTo>
                    <a:pt x="129" y="101"/>
                  </a:lnTo>
                  <a:lnTo>
                    <a:pt x="129" y="101"/>
                  </a:lnTo>
                  <a:lnTo>
                    <a:pt x="129" y="101"/>
                  </a:lnTo>
                  <a:lnTo>
                    <a:pt x="129" y="101"/>
                  </a:lnTo>
                  <a:lnTo>
                    <a:pt x="129" y="101"/>
                  </a:lnTo>
                  <a:lnTo>
                    <a:pt x="129" y="101"/>
                  </a:lnTo>
                  <a:close/>
                  <a:moveTo>
                    <a:pt x="84" y="95"/>
                  </a:moveTo>
                  <a:lnTo>
                    <a:pt x="84" y="97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4" y="95"/>
                  </a:lnTo>
                  <a:lnTo>
                    <a:pt x="84" y="95"/>
                  </a:lnTo>
                  <a:close/>
                  <a:moveTo>
                    <a:pt x="78" y="93"/>
                  </a:moveTo>
                  <a:lnTo>
                    <a:pt x="78" y="93"/>
                  </a:lnTo>
                  <a:lnTo>
                    <a:pt x="78" y="93"/>
                  </a:lnTo>
                  <a:lnTo>
                    <a:pt x="75" y="93"/>
                  </a:lnTo>
                  <a:lnTo>
                    <a:pt x="78" y="91"/>
                  </a:lnTo>
                  <a:lnTo>
                    <a:pt x="75" y="91"/>
                  </a:lnTo>
                  <a:lnTo>
                    <a:pt x="75" y="91"/>
                  </a:lnTo>
                  <a:lnTo>
                    <a:pt x="73" y="91"/>
                  </a:lnTo>
                  <a:lnTo>
                    <a:pt x="71" y="91"/>
                  </a:lnTo>
                  <a:lnTo>
                    <a:pt x="69" y="91"/>
                  </a:lnTo>
                  <a:lnTo>
                    <a:pt x="65" y="93"/>
                  </a:lnTo>
                  <a:lnTo>
                    <a:pt x="63" y="95"/>
                  </a:lnTo>
                  <a:lnTo>
                    <a:pt x="61" y="95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59" y="101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9" y="103"/>
                  </a:lnTo>
                  <a:lnTo>
                    <a:pt x="59" y="105"/>
                  </a:lnTo>
                  <a:lnTo>
                    <a:pt x="61" y="105"/>
                  </a:lnTo>
                  <a:lnTo>
                    <a:pt x="63" y="105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7" y="107"/>
                  </a:lnTo>
                  <a:lnTo>
                    <a:pt x="69" y="107"/>
                  </a:lnTo>
                  <a:lnTo>
                    <a:pt x="71" y="107"/>
                  </a:lnTo>
                  <a:lnTo>
                    <a:pt x="73" y="105"/>
                  </a:lnTo>
                  <a:lnTo>
                    <a:pt x="73" y="105"/>
                  </a:lnTo>
                  <a:lnTo>
                    <a:pt x="75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80" y="103"/>
                  </a:lnTo>
                  <a:lnTo>
                    <a:pt x="80" y="101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7"/>
                  </a:lnTo>
                  <a:lnTo>
                    <a:pt x="80" y="97"/>
                  </a:lnTo>
                  <a:lnTo>
                    <a:pt x="80" y="95"/>
                  </a:lnTo>
                  <a:lnTo>
                    <a:pt x="78" y="93"/>
                  </a:lnTo>
                  <a:close/>
                  <a:moveTo>
                    <a:pt x="96" y="89"/>
                  </a:moveTo>
                  <a:lnTo>
                    <a:pt x="94" y="89"/>
                  </a:lnTo>
                  <a:lnTo>
                    <a:pt x="94" y="91"/>
                  </a:lnTo>
                  <a:lnTo>
                    <a:pt x="94" y="91"/>
                  </a:lnTo>
                  <a:lnTo>
                    <a:pt x="96" y="91"/>
                  </a:lnTo>
                  <a:lnTo>
                    <a:pt x="96" y="89"/>
                  </a:lnTo>
                  <a:lnTo>
                    <a:pt x="96" y="89"/>
                  </a:lnTo>
                  <a:close/>
                  <a:moveTo>
                    <a:pt x="123" y="87"/>
                  </a:moveTo>
                  <a:lnTo>
                    <a:pt x="121" y="87"/>
                  </a:lnTo>
                  <a:lnTo>
                    <a:pt x="121" y="87"/>
                  </a:lnTo>
                  <a:lnTo>
                    <a:pt x="121" y="87"/>
                  </a:lnTo>
                  <a:lnTo>
                    <a:pt x="121" y="89"/>
                  </a:lnTo>
                  <a:lnTo>
                    <a:pt x="121" y="89"/>
                  </a:lnTo>
                  <a:lnTo>
                    <a:pt x="121" y="89"/>
                  </a:lnTo>
                  <a:lnTo>
                    <a:pt x="121" y="91"/>
                  </a:lnTo>
                  <a:lnTo>
                    <a:pt x="121" y="89"/>
                  </a:lnTo>
                  <a:lnTo>
                    <a:pt x="123" y="89"/>
                  </a:lnTo>
                  <a:lnTo>
                    <a:pt x="123" y="89"/>
                  </a:lnTo>
                  <a:lnTo>
                    <a:pt x="123" y="89"/>
                  </a:lnTo>
                  <a:lnTo>
                    <a:pt x="123" y="87"/>
                  </a:lnTo>
                  <a:close/>
                  <a:moveTo>
                    <a:pt x="61" y="87"/>
                  </a:moveTo>
                  <a:lnTo>
                    <a:pt x="63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7"/>
                  </a:lnTo>
                  <a:lnTo>
                    <a:pt x="59" y="87"/>
                  </a:lnTo>
                  <a:lnTo>
                    <a:pt x="61" y="87"/>
                  </a:lnTo>
                  <a:lnTo>
                    <a:pt x="61" y="87"/>
                  </a:lnTo>
                  <a:close/>
                  <a:moveTo>
                    <a:pt x="108" y="78"/>
                  </a:moveTo>
                  <a:lnTo>
                    <a:pt x="108" y="78"/>
                  </a:lnTo>
                  <a:lnTo>
                    <a:pt x="106" y="80"/>
                  </a:lnTo>
                  <a:lnTo>
                    <a:pt x="106" y="80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4" y="85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8" y="80"/>
                  </a:lnTo>
                  <a:lnTo>
                    <a:pt x="110" y="80"/>
                  </a:lnTo>
                  <a:lnTo>
                    <a:pt x="108" y="78"/>
                  </a:lnTo>
                  <a:close/>
                  <a:moveTo>
                    <a:pt x="106" y="80"/>
                  </a:move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0"/>
                  </a:lnTo>
                  <a:lnTo>
                    <a:pt x="106" y="80"/>
                  </a:lnTo>
                  <a:close/>
                  <a:moveTo>
                    <a:pt x="108" y="76"/>
                  </a:moveTo>
                  <a:lnTo>
                    <a:pt x="108" y="76"/>
                  </a:lnTo>
                  <a:lnTo>
                    <a:pt x="108" y="74"/>
                  </a:lnTo>
                  <a:lnTo>
                    <a:pt x="108" y="76"/>
                  </a:lnTo>
                  <a:lnTo>
                    <a:pt x="108" y="76"/>
                  </a:lnTo>
                  <a:close/>
                  <a:moveTo>
                    <a:pt x="108" y="74"/>
                  </a:moveTo>
                  <a:lnTo>
                    <a:pt x="110" y="74"/>
                  </a:lnTo>
                  <a:lnTo>
                    <a:pt x="108" y="74"/>
                  </a:lnTo>
                  <a:lnTo>
                    <a:pt x="108" y="74"/>
                  </a:lnTo>
                  <a:lnTo>
                    <a:pt x="108" y="76"/>
                  </a:lnTo>
                  <a:lnTo>
                    <a:pt x="108" y="74"/>
                  </a:lnTo>
                  <a:lnTo>
                    <a:pt x="108" y="74"/>
                  </a:lnTo>
                  <a:close/>
                  <a:moveTo>
                    <a:pt x="106" y="70"/>
                  </a:moveTo>
                  <a:lnTo>
                    <a:pt x="104" y="70"/>
                  </a:lnTo>
                  <a:lnTo>
                    <a:pt x="102" y="70"/>
                  </a:lnTo>
                  <a:lnTo>
                    <a:pt x="102" y="70"/>
                  </a:lnTo>
                  <a:lnTo>
                    <a:pt x="100" y="72"/>
                  </a:lnTo>
                  <a:lnTo>
                    <a:pt x="98" y="72"/>
                  </a:lnTo>
                  <a:lnTo>
                    <a:pt x="96" y="72"/>
                  </a:lnTo>
                  <a:lnTo>
                    <a:pt x="96" y="74"/>
                  </a:lnTo>
                  <a:lnTo>
                    <a:pt x="94" y="74"/>
                  </a:lnTo>
                  <a:lnTo>
                    <a:pt x="92" y="74"/>
                  </a:lnTo>
                  <a:lnTo>
                    <a:pt x="90" y="76"/>
                  </a:lnTo>
                  <a:lnTo>
                    <a:pt x="88" y="78"/>
                  </a:lnTo>
                  <a:lnTo>
                    <a:pt x="88" y="78"/>
                  </a:lnTo>
                  <a:lnTo>
                    <a:pt x="86" y="78"/>
                  </a:lnTo>
                  <a:lnTo>
                    <a:pt x="86" y="78"/>
                  </a:lnTo>
                  <a:lnTo>
                    <a:pt x="84" y="76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2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3"/>
                  </a:lnTo>
                  <a:lnTo>
                    <a:pt x="86" y="85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2" y="80"/>
                  </a:lnTo>
                  <a:lnTo>
                    <a:pt x="94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8" y="80"/>
                  </a:lnTo>
                  <a:lnTo>
                    <a:pt x="98" y="80"/>
                  </a:lnTo>
                  <a:lnTo>
                    <a:pt x="100" y="80"/>
                  </a:lnTo>
                  <a:lnTo>
                    <a:pt x="102" y="80"/>
                  </a:lnTo>
                  <a:lnTo>
                    <a:pt x="104" y="78"/>
                  </a:lnTo>
                  <a:lnTo>
                    <a:pt x="106" y="80"/>
                  </a:lnTo>
                  <a:lnTo>
                    <a:pt x="106" y="78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4" y="76"/>
                  </a:lnTo>
                  <a:lnTo>
                    <a:pt x="102" y="78"/>
                  </a:lnTo>
                  <a:lnTo>
                    <a:pt x="100" y="80"/>
                  </a:lnTo>
                  <a:lnTo>
                    <a:pt x="100" y="78"/>
                  </a:lnTo>
                  <a:lnTo>
                    <a:pt x="102" y="76"/>
                  </a:lnTo>
                  <a:lnTo>
                    <a:pt x="104" y="74"/>
                  </a:lnTo>
                  <a:lnTo>
                    <a:pt x="104" y="72"/>
                  </a:lnTo>
                  <a:lnTo>
                    <a:pt x="106" y="72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6" y="70"/>
                  </a:lnTo>
                  <a:lnTo>
                    <a:pt x="106" y="70"/>
                  </a:lnTo>
                  <a:close/>
                  <a:moveTo>
                    <a:pt x="108" y="68"/>
                  </a:moveTo>
                  <a:lnTo>
                    <a:pt x="108" y="68"/>
                  </a:lnTo>
                  <a:lnTo>
                    <a:pt x="108" y="68"/>
                  </a:lnTo>
                  <a:lnTo>
                    <a:pt x="110" y="68"/>
                  </a:lnTo>
                  <a:lnTo>
                    <a:pt x="110" y="68"/>
                  </a:lnTo>
                  <a:lnTo>
                    <a:pt x="110" y="68"/>
                  </a:lnTo>
                  <a:lnTo>
                    <a:pt x="108" y="68"/>
                  </a:lnTo>
                  <a:close/>
                  <a:moveTo>
                    <a:pt x="75" y="2"/>
                  </a:moveTo>
                  <a:lnTo>
                    <a:pt x="75" y="2"/>
                  </a:lnTo>
                  <a:lnTo>
                    <a:pt x="7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5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5" name="Freeform 186">
              <a:extLst>
                <a:ext uri="{FF2B5EF4-FFF2-40B4-BE49-F238E27FC236}">
                  <a16:creationId xmlns:a16="http://schemas.microsoft.com/office/drawing/2014/main" id="{89ECC240-2D01-AA43-AE44-720AB52E4B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7511" y="3712059"/>
              <a:ext cx="62985" cy="29710"/>
            </a:xfrm>
            <a:custGeom>
              <a:avLst/>
              <a:gdLst>
                <a:gd name="T0" fmla="*/ 0 w 53"/>
                <a:gd name="T1" fmla="*/ 23 h 25"/>
                <a:gd name="T2" fmla="*/ 0 w 53"/>
                <a:gd name="T3" fmla="*/ 23 h 25"/>
                <a:gd name="T4" fmla="*/ 4 w 53"/>
                <a:gd name="T5" fmla="*/ 23 h 25"/>
                <a:gd name="T6" fmla="*/ 4 w 53"/>
                <a:gd name="T7" fmla="*/ 23 h 25"/>
                <a:gd name="T8" fmla="*/ 6 w 53"/>
                <a:gd name="T9" fmla="*/ 21 h 25"/>
                <a:gd name="T10" fmla="*/ 2 w 53"/>
                <a:gd name="T11" fmla="*/ 21 h 25"/>
                <a:gd name="T12" fmla="*/ 53 w 53"/>
                <a:gd name="T13" fmla="*/ 4 h 25"/>
                <a:gd name="T14" fmla="*/ 49 w 53"/>
                <a:gd name="T15" fmla="*/ 4 h 25"/>
                <a:gd name="T16" fmla="*/ 47 w 53"/>
                <a:gd name="T17" fmla="*/ 4 h 25"/>
                <a:gd name="T18" fmla="*/ 45 w 53"/>
                <a:gd name="T19" fmla="*/ 4 h 25"/>
                <a:gd name="T20" fmla="*/ 41 w 53"/>
                <a:gd name="T21" fmla="*/ 6 h 25"/>
                <a:gd name="T22" fmla="*/ 30 w 53"/>
                <a:gd name="T23" fmla="*/ 6 h 25"/>
                <a:gd name="T24" fmla="*/ 22 w 53"/>
                <a:gd name="T25" fmla="*/ 8 h 25"/>
                <a:gd name="T26" fmla="*/ 18 w 53"/>
                <a:gd name="T27" fmla="*/ 8 h 25"/>
                <a:gd name="T28" fmla="*/ 16 w 53"/>
                <a:gd name="T29" fmla="*/ 12 h 25"/>
                <a:gd name="T30" fmla="*/ 14 w 53"/>
                <a:gd name="T31" fmla="*/ 17 h 25"/>
                <a:gd name="T32" fmla="*/ 14 w 53"/>
                <a:gd name="T33" fmla="*/ 17 h 25"/>
                <a:gd name="T34" fmla="*/ 18 w 53"/>
                <a:gd name="T35" fmla="*/ 17 h 25"/>
                <a:gd name="T36" fmla="*/ 18 w 53"/>
                <a:gd name="T37" fmla="*/ 17 h 25"/>
                <a:gd name="T38" fmla="*/ 14 w 53"/>
                <a:gd name="T39" fmla="*/ 19 h 25"/>
                <a:gd name="T40" fmla="*/ 14 w 53"/>
                <a:gd name="T41" fmla="*/ 21 h 25"/>
                <a:gd name="T42" fmla="*/ 14 w 53"/>
                <a:gd name="T43" fmla="*/ 21 h 25"/>
                <a:gd name="T44" fmla="*/ 16 w 53"/>
                <a:gd name="T45" fmla="*/ 25 h 25"/>
                <a:gd name="T46" fmla="*/ 22 w 53"/>
                <a:gd name="T47" fmla="*/ 21 h 25"/>
                <a:gd name="T48" fmla="*/ 28 w 53"/>
                <a:gd name="T49" fmla="*/ 19 h 25"/>
                <a:gd name="T50" fmla="*/ 30 w 53"/>
                <a:gd name="T51" fmla="*/ 17 h 25"/>
                <a:gd name="T52" fmla="*/ 34 w 53"/>
                <a:gd name="T53" fmla="*/ 15 h 25"/>
                <a:gd name="T54" fmla="*/ 39 w 53"/>
                <a:gd name="T55" fmla="*/ 15 h 25"/>
                <a:gd name="T56" fmla="*/ 41 w 53"/>
                <a:gd name="T57" fmla="*/ 12 h 25"/>
                <a:gd name="T58" fmla="*/ 45 w 53"/>
                <a:gd name="T59" fmla="*/ 10 h 25"/>
                <a:gd name="T60" fmla="*/ 51 w 53"/>
                <a:gd name="T61" fmla="*/ 8 h 25"/>
                <a:gd name="T62" fmla="*/ 53 w 53"/>
                <a:gd name="T63" fmla="*/ 4 h 25"/>
                <a:gd name="T64" fmla="*/ 26 w 53"/>
                <a:gd name="T65" fmla="*/ 0 h 25"/>
                <a:gd name="T66" fmla="*/ 24 w 53"/>
                <a:gd name="T67" fmla="*/ 2 h 25"/>
                <a:gd name="T68" fmla="*/ 26 w 53"/>
                <a:gd name="T6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" h="25">
                  <a:moveTo>
                    <a:pt x="0" y="21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19"/>
                  </a:lnTo>
                  <a:lnTo>
                    <a:pt x="2" y="21"/>
                  </a:lnTo>
                  <a:lnTo>
                    <a:pt x="0" y="21"/>
                  </a:lnTo>
                  <a:close/>
                  <a:moveTo>
                    <a:pt x="53" y="4"/>
                  </a:moveTo>
                  <a:lnTo>
                    <a:pt x="51" y="4"/>
                  </a:lnTo>
                  <a:lnTo>
                    <a:pt x="49" y="4"/>
                  </a:lnTo>
                  <a:lnTo>
                    <a:pt x="49" y="2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5" y="4"/>
                  </a:lnTo>
                  <a:lnTo>
                    <a:pt x="43" y="6"/>
                  </a:lnTo>
                  <a:lnTo>
                    <a:pt x="41" y="6"/>
                  </a:lnTo>
                  <a:lnTo>
                    <a:pt x="34" y="6"/>
                  </a:lnTo>
                  <a:lnTo>
                    <a:pt x="30" y="6"/>
                  </a:lnTo>
                  <a:lnTo>
                    <a:pt x="28" y="6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16" y="12"/>
                  </a:lnTo>
                  <a:lnTo>
                    <a:pt x="14" y="15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6" y="15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6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6" y="23"/>
                  </a:lnTo>
                  <a:lnTo>
                    <a:pt x="16" y="25"/>
                  </a:lnTo>
                  <a:lnTo>
                    <a:pt x="18" y="23"/>
                  </a:lnTo>
                  <a:lnTo>
                    <a:pt x="22" y="21"/>
                  </a:lnTo>
                  <a:lnTo>
                    <a:pt x="26" y="19"/>
                  </a:lnTo>
                  <a:lnTo>
                    <a:pt x="28" y="19"/>
                  </a:lnTo>
                  <a:lnTo>
                    <a:pt x="30" y="19"/>
                  </a:lnTo>
                  <a:lnTo>
                    <a:pt x="30" y="17"/>
                  </a:lnTo>
                  <a:lnTo>
                    <a:pt x="32" y="17"/>
                  </a:lnTo>
                  <a:lnTo>
                    <a:pt x="34" y="15"/>
                  </a:lnTo>
                  <a:lnTo>
                    <a:pt x="36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41" y="12"/>
                  </a:lnTo>
                  <a:lnTo>
                    <a:pt x="43" y="10"/>
                  </a:lnTo>
                  <a:lnTo>
                    <a:pt x="45" y="10"/>
                  </a:lnTo>
                  <a:lnTo>
                    <a:pt x="47" y="10"/>
                  </a:lnTo>
                  <a:lnTo>
                    <a:pt x="51" y="8"/>
                  </a:lnTo>
                  <a:lnTo>
                    <a:pt x="53" y="4"/>
                  </a:lnTo>
                  <a:lnTo>
                    <a:pt x="53" y="4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26" y="0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6" name="Freeform 203">
              <a:extLst>
                <a:ext uri="{FF2B5EF4-FFF2-40B4-BE49-F238E27FC236}">
                  <a16:creationId xmlns:a16="http://schemas.microsoft.com/office/drawing/2014/main" id="{FB6EF017-1029-FE4D-8A69-97D063980B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9867" y="3760783"/>
              <a:ext cx="173505" cy="39217"/>
            </a:xfrm>
            <a:custGeom>
              <a:avLst/>
              <a:gdLst>
                <a:gd name="T0" fmla="*/ 2 w 146"/>
                <a:gd name="T1" fmla="*/ 33 h 33"/>
                <a:gd name="T2" fmla="*/ 2 w 146"/>
                <a:gd name="T3" fmla="*/ 33 h 33"/>
                <a:gd name="T4" fmla="*/ 2 w 146"/>
                <a:gd name="T5" fmla="*/ 33 h 33"/>
                <a:gd name="T6" fmla="*/ 2 w 146"/>
                <a:gd name="T7" fmla="*/ 33 h 33"/>
                <a:gd name="T8" fmla="*/ 2 w 146"/>
                <a:gd name="T9" fmla="*/ 33 h 33"/>
                <a:gd name="T10" fmla="*/ 2 w 146"/>
                <a:gd name="T11" fmla="*/ 33 h 33"/>
                <a:gd name="T12" fmla="*/ 2 w 146"/>
                <a:gd name="T13" fmla="*/ 33 h 33"/>
                <a:gd name="T14" fmla="*/ 2 w 146"/>
                <a:gd name="T15" fmla="*/ 33 h 33"/>
                <a:gd name="T16" fmla="*/ 2 w 146"/>
                <a:gd name="T17" fmla="*/ 33 h 33"/>
                <a:gd name="T18" fmla="*/ 2 w 146"/>
                <a:gd name="T19" fmla="*/ 33 h 33"/>
                <a:gd name="T20" fmla="*/ 2 w 146"/>
                <a:gd name="T21" fmla="*/ 33 h 33"/>
                <a:gd name="T22" fmla="*/ 2 w 146"/>
                <a:gd name="T23" fmla="*/ 33 h 33"/>
                <a:gd name="T24" fmla="*/ 2 w 146"/>
                <a:gd name="T25" fmla="*/ 33 h 33"/>
                <a:gd name="T26" fmla="*/ 0 w 146"/>
                <a:gd name="T27" fmla="*/ 33 h 33"/>
                <a:gd name="T28" fmla="*/ 0 w 146"/>
                <a:gd name="T29" fmla="*/ 33 h 33"/>
                <a:gd name="T30" fmla="*/ 0 w 146"/>
                <a:gd name="T31" fmla="*/ 33 h 33"/>
                <a:gd name="T32" fmla="*/ 0 w 146"/>
                <a:gd name="T33" fmla="*/ 31 h 33"/>
                <a:gd name="T34" fmla="*/ 0 w 146"/>
                <a:gd name="T35" fmla="*/ 31 h 33"/>
                <a:gd name="T36" fmla="*/ 0 w 146"/>
                <a:gd name="T37" fmla="*/ 31 h 33"/>
                <a:gd name="T38" fmla="*/ 0 w 146"/>
                <a:gd name="T39" fmla="*/ 31 h 33"/>
                <a:gd name="T40" fmla="*/ 0 w 146"/>
                <a:gd name="T41" fmla="*/ 33 h 33"/>
                <a:gd name="T42" fmla="*/ 0 w 146"/>
                <a:gd name="T43" fmla="*/ 33 h 33"/>
                <a:gd name="T44" fmla="*/ 0 w 146"/>
                <a:gd name="T45" fmla="*/ 33 h 33"/>
                <a:gd name="T46" fmla="*/ 2 w 146"/>
                <a:gd name="T47" fmla="*/ 33 h 33"/>
                <a:gd name="T48" fmla="*/ 2 w 146"/>
                <a:gd name="T49" fmla="*/ 33 h 33"/>
                <a:gd name="T50" fmla="*/ 2 w 146"/>
                <a:gd name="T51" fmla="*/ 33 h 33"/>
                <a:gd name="T52" fmla="*/ 146 w 146"/>
                <a:gd name="T53" fmla="*/ 0 h 33"/>
                <a:gd name="T54" fmla="*/ 146 w 146"/>
                <a:gd name="T55" fmla="*/ 0 h 33"/>
                <a:gd name="T56" fmla="*/ 146 w 146"/>
                <a:gd name="T57" fmla="*/ 0 h 33"/>
                <a:gd name="T58" fmla="*/ 144 w 146"/>
                <a:gd name="T59" fmla="*/ 0 h 33"/>
                <a:gd name="T60" fmla="*/ 144 w 146"/>
                <a:gd name="T61" fmla="*/ 2 h 33"/>
                <a:gd name="T62" fmla="*/ 146 w 146"/>
                <a:gd name="T63" fmla="*/ 2 h 33"/>
                <a:gd name="T64" fmla="*/ 146 w 146"/>
                <a:gd name="T65" fmla="*/ 2 h 33"/>
                <a:gd name="T66" fmla="*/ 146 w 146"/>
                <a:gd name="T67" fmla="*/ 2 h 33"/>
                <a:gd name="T68" fmla="*/ 146 w 146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6" h="33">
                  <a:moveTo>
                    <a:pt x="2" y="33"/>
                  </a:move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close/>
                  <a:moveTo>
                    <a:pt x="2" y="33"/>
                  </a:move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close/>
                  <a:moveTo>
                    <a:pt x="146" y="0"/>
                  </a:moveTo>
                  <a:lnTo>
                    <a:pt x="146" y="0"/>
                  </a:lnTo>
                  <a:lnTo>
                    <a:pt x="146" y="0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6" y="2"/>
                  </a:lnTo>
                  <a:lnTo>
                    <a:pt x="146" y="2"/>
                  </a:lnTo>
                  <a:lnTo>
                    <a:pt x="146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7" name="Freeform 204">
              <a:extLst>
                <a:ext uri="{FF2B5EF4-FFF2-40B4-BE49-F238E27FC236}">
                  <a16:creationId xmlns:a16="http://schemas.microsoft.com/office/drawing/2014/main" id="{F997AA6E-3643-8E4E-97C9-3C56C387B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4599" y="2372746"/>
              <a:ext cx="989927" cy="762945"/>
            </a:xfrm>
            <a:custGeom>
              <a:avLst/>
              <a:gdLst>
                <a:gd name="T0" fmla="*/ 626 w 833"/>
                <a:gd name="T1" fmla="*/ 640 h 642"/>
                <a:gd name="T2" fmla="*/ 644 w 833"/>
                <a:gd name="T3" fmla="*/ 590 h 642"/>
                <a:gd name="T4" fmla="*/ 776 w 833"/>
                <a:gd name="T5" fmla="*/ 506 h 642"/>
                <a:gd name="T6" fmla="*/ 794 w 833"/>
                <a:gd name="T7" fmla="*/ 426 h 642"/>
                <a:gd name="T8" fmla="*/ 831 w 833"/>
                <a:gd name="T9" fmla="*/ 126 h 642"/>
                <a:gd name="T10" fmla="*/ 802 w 833"/>
                <a:gd name="T11" fmla="*/ 97 h 642"/>
                <a:gd name="T12" fmla="*/ 735 w 833"/>
                <a:gd name="T13" fmla="*/ 74 h 642"/>
                <a:gd name="T14" fmla="*/ 675 w 833"/>
                <a:gd name="T15" fmla="*/ 37 h 642"/>
                <a:gd name="T16" fmla="*/ 628 w 833"/>
                <a:gd name="T17" fmla="*/ 7 h 642"/>
                <a:gd name="T18" fmla="*/ 581 w 833"/>
                <a:gd name="T19" fmla="*/ 23 h 642"/>
                <a:gd name="T20" fmla="*/ 552 w 833"/>
                <a:gd name="T21" fmla="*/ 83 h 642"/>
                <a:gd name="T22" fmla="*/ 601 w 833"/>
                <a:gd name="T23" fmla="*/ 103 h 642"/>
                <a:gd name="T24" fmla="*/ 599 w 833"/>
                <a:gd name="T25" fmla="*/ 126 h 642"/>
                <a:gd name="T26" fmla="*/ 562 w 833"/>
                <a:gd name="T27" fmla="*/ 148 h 642"/>
                <a:gd name="T28" fmla="*/ 540 w 833"/>
                <a:gd name="T29" fmla="*/ 177 h 642"/>
                <a:gd name="T30" fmla="*/ 472 w 833"/>
                <a:gd name="T31" fmla="*/ 204 h 642"/>
                <a:gd name="T32" fmla="*/ 326 w 833"/>
                <a:gd name="T33" fmla="*/ 194 h 642"/>
                <a:gd name="T34" fmla="*/ 232 w 833"/>
                <a:gd name="T35" fmla="*/ 150 h 642"/>
                <a:gd name="T36" fmla="*/ 197 w 833"/>
                <a:gd name="T37" fmla="*/ 107 h 642"/>
                <a:gd name="T38" fmla="*/ 152 w 833"/>
                <a:gd name="T39" fmla="*/ 83 h 642"/>
                <a:gd name="T40" fmla="*/ 131 w 833"/>
                <a:gd name="T41" fmla="*/ 109 h 642"/>
                <a:gd name="T42" fmla="*/ 100 w 833"/>
                <a:gd name="T43" fmla="*/ 144 h 642"/>
                <a:gd name="T44" fmla="*/ 73 w 833"/>
                <a:gd name="T45" fmla="*/ 163 h 642"/>
                <a:gd name="T46" fmla="*/ 80 w 833"/>
                <a:gd name="T47" fmla="*/ 206 h 642"/>
                <a:gd name="T48" fmla="*/ 24 w 833"/>
                <a:gd name="T49" fmla="*/ 233 h 642"/>
                <a:gd name="T50" fmla="*/ 4 w 833"/>
                <a:gd name="T51" fmla="*/ 264 h 642"/>
                <a:gd name="T52" fmla="*/ 24 w 833"/>
                <a:gd name="T53" fmla="*/ 296 h 642"/>
                <a:gd name="T54" fmla="*/ 76 w 833"/>
                <a:gd name="T55" fmla="*/ 325 h 642"/>
                <a:gd name="T56" fmla="*/ 110 w 833"/>
                <a:gd name="T57" fmla="*/ 368 h 642"/>
                <a:gd name="T58" fmla="*/ 110 w 833"/>
                <a:gd name="T59" fmla="*/ 397 h 642"/>
                <a:gd name="T60" fmla="*/ 156 w 833"/>
                <a:gd name="T61" fmla="*/ 424 h 642"/>
                <a:gd name="T62" fmla="*/ 223 w 833"/>
                <a:gd name="T63" fmla="*/ 457 h 642"/>
                <a:gd name="T64" fmla="*/ 275 w 833"/>
                <a:gd name="T65" fmla="*/ 463 h 642"/>
                <a:gd name="T66" fmla="*/ 318 w 833"/>
                <a:gd name="T67" fmla="*/ 461 h 642"/>
                <a:gd name="T68" fmla="*/ 361 w 833"/>
                <a:gd name="T69" fmla="*/ 445 h 642"/>
                <a:gd name="T70" fmla="*/ 396 w 833"/>
                <a:gd name="T71" fmla="*/ 453 h 642"/>
                <a:gd name="T72" fmla="*/ 431 w 833"/>
                <a:gd name="T73" fmla="*/ 469 h 642"/>
                <a:gd name="T74" fmla="*/ 429 w 833"/>
                <a:gd name="T75" fmla="*/ 523 h 642"/>
                <a:gd name="T76" fmla="*/ 464 w 833"/>
                <a:gd name="T77" fmla="*/ 556 h 642"/>
                <a:gd name="T78" fmla="*/ 492 w 833"/>
                <a:gd name="T79" fmla="*/ 580 h 642"/>
                <a:gd name="T80" fmla="*/ 505 w 833"/>
                <a:gd name="T81" fmla="*/ 566 h 642"/>
                <a:gd name="T82" fmla="*/ 542 w 833"/>
                <a:gd name="T83" fmla="*/ 560 h 642"/>
                <a:gd name="T84" fmla="*/ 577 w 833"/>
                <a:gd name="T85" fmla="*/ 568 h 642"/>
                <a:gd name="T86" fmla="*/ 611 w 833"/>
                <a:gd name="T87" fmla="*/ 578 h 642"/>
                <a:gd name="T88" fmla="*/ 636 w 833"/>
                <a:gd name="T89" fmla="*/ 605 h 642"/>
                <a:gd name="T90" fmla="*/ 665 w 833"/>
                <a:gd name="T91" fmla="*/ 576 h 642"/>
                <a:gd name="T92" fmla="*/ 683 w 833"/>
                <a:gd name="T93" fmla="*/ 558 h 642"/>
                <a:gd name="T94" fmla="*/ 718 w 833"/>
                <a:gd name="T95" fmla="*/ 560 h 642"/>
                <a:gd name="T96" fmla="*/ 751 w 833"/>
                <a:gd name="T97" fmla="*/ 535 h 642"/>
                <a:gd name="T98" fmla="*/ 772 w 833"/>
                <a:gd name="T99" fmla="*/ 506 h 642"/>
                <a:gd name="T100" fmla="*/ 778 w 833"/>
                <a:gd name="T101" fmla="*/ 479 h 642"/>
                <a:gd name="T102" fmla="*/ 792 w 833"/>
                <a:gd name="T103" fmla="*/ 442 h 642"/>
                <a:gd name="T104" fmla="*/ 776 w 833"/>
                <a:gd name="T105" fmla="*/ 401 h 642"/>
                <a:gd name="T106" fmla="*/ 743 w 833"/>
                <a:gd name="T107" fmla="*/ 360 h 642"/>
                <a:gd name="T108" fmla="*/ 728 w 833"/>
                <a:gd name="T109" fmla="*/ 309 h 642"/>
                <a:gd name="T110" fmla="*/ 730 w 833"/>
                <a:gd name="T111" fmla="*/ 286 h 642"/>
                <a:gd name="T112" fmla="*/ 675 w 833"/>
                <a:gd name="T113" fmla="*/ 257 h 642"/>
                <a:gd name="T114" fmla="*/ 714 w 833"/>
                <a:gd name="T115" fmla="*/ 249 h 642"/>
                <a:gd name="T116" fmla="*/ 745 w 833"/>
                <a:gd name="T117" fmla="*/ 245 h 642"/>
                <a:gd name="T118" fmla="*/ 774 w 833"/>
                <a:gd name="T119" fmla="*/ 212 h 642"/>
                <a:gd name="T120" fmla="*/ 804 w 833"/>
                <a:gd name="T121" fmla="*/ 206 h 642"/>
                <a:gd name="T122" fmla="*/ 819 w 833"/>
                <a:gd name="T123" fmla="*/ 194 h 642"/>
                <a:gd name="T124" fmla="*/ 813 w 833"/>
                <a:gd name="T125" fmla="*/ 148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33" h="642">
                  <a:moveTo>
                    <a:pt x="652" y="613"/>
                  </a:moveTo>
                  <a:lnTo>
                    <a:pt x="652" y="611"/>
                  </a:lnTo>
                  <a:lnTo>
                    <a:pt x="652" y="611"/>
                  </a:lnTo>
                  <a:lnTo>
                    <a:pt x="650" y="609"/>
                  </a:lnTo>
                  <a:lnTo>
                    <a:pt x="650" y="609"/>
                  </a:lnTo>
                  <a:lnTo>
                    <a:pt x="648" y="607"/>
                  </a:lnTo>
                  <a:lnTo>
                    <a:pt x="648" y="607"/>
                  </a:lnTo>
                  <a:lnTo>
                    <a:pt x="646" y="609"/>
                  </a:lnTo>
                  <a:lnTo>
                    <a:pt x="646" y="609"/>
                  </a:lnTo>
                  <a:lnTo>
                    <a:pt x="646" y="611"/>
                  </a:lnTo>
                  <a:lnTo>
                    <a:pt x="644" y="609"/>
                  </a:lnTo>
                  <a:lnTo>
                    <a:pt x="644" y="609"/>
                  </a:lnTo>
                  <a:lnTo>
                    <a:pt x="644" y="609"/>
                  </a:lnTo>
                  <a:lnTo>
                    <a:pt x="644" y="611"/>
                  </a:lnTo>
                  <a:lnTo>
                    <a:pt x="642" y="609"/>
                  </a:lnTo>
                  <a:lnTo>
                    <a:pt x="640" y="609"/>
                  </a:lnTo>
                  <a:lnTo>
                    <a:pt x="640" y="609"/>
                  </a:lnTo>
                  <a:lnTo>
                    <a:pt x="638" y="611"/>
                  </a:lnTo>
                  <a:lnTo>
                    <a:pt x="636" y="611"/>
                  </a:lnTo>
                  <a:lnTo>
                    <a:pt x="632" y="611"/>
                  </a:lnTo>
                  <a:lnTo>
                    <a:pt x="632" y="611"/>
                  </a:lnTo>
                  <a:lnTo>
                    <a:pt x="630" y="611"/>
                  </a:lnTo>
                  <a:lnTo>
                    <a:pt x="628" y="611"/>
                  </a:lnTo>
                  <a:lnTo>
                    <a:pt x="628" y="611"/>
                  </a:lnTo>
                  <a:lnTo>
                    <a:pt x="626" y="613"/>
                  </a:lnTo>
                  <a:lnTo>
                    <a:pt x="626" y="613"/>
                  </a:lnTo>
                  <a:lnTo>
                    <a:pt x="626" y="615"/>
                  </a:lnTo>
                  <a:lnTo>
                    <a:pt x="626" y="615"/>
                  </a:lnTo>
                  <a:lnTo>
                    <a:pt x="628" y="615"/>
                  </a:lnTo>
                  <a:lnTo>
                    <a:pt x="626" y="615"/>
                  </a:lnTo>
                  <a:lnTo>
                    <a:pt x="624" y="617"/>
                  </a:lnTo>
                  <a:lnTo>
                    <a:pt x="622" y="619"/>
                  </a:lnTo>
                  <a:lnTo>
                    <a:pt x="620" y="621"/>
                  </a:lnTo>
                  <a:lnTo>
                    <a:pt x="620" y="621"/>
                  </a:lnTo>
                  <a:lnTo>
                    <a:pt x="618" y="623"/>
                  </a:lnTo>
                  <a:lnTo>
                    <a:pt x="618" y="623"/>
                  </a:lnTo>
                  <a:lnTo>
                    <a:pt x="620" y="630"/>
                  </a:lnTo>
                  <a:lnTo>
                    <a:pt x="620" y="632"/>
                  </a:lnTo>
                  <a:lnTo>
                    <a:pt x="620" y="634"/>
                  </a:lnTo>
                  <a:lnTo>
                    <a:pt x="622" y="638"/>
                  </a:lnTo>
                  <a:lnTo>
                    <a:pt x="626" y="640"/>
                  </a:lnTo>
                  <a:lnTo>
                    <a:pt x="626" y="640"/>
                  </a:lnTo>
                  <a:lnTo>
                    <a:pt x="630" y="640"/>
                  </a:lnTo>
                  <a:lnTo>
                    <a:pt x="632" y="642"/>
                  </a:lnTo>
                  <a:lnTo>
                    <a:pt x="632" y="642"/>
                  </a:lnTo>
                  <a:lnTo>
                    <a:pt x="634" y="642"/>
                  </a:lnTo>
                  <a:lnTo>
                    <a:pt x="636" y="642"/>
                  </a:lnTo>
                  <a:lnTo>
                    <a:pt x="638" y="642"/>
                  </a:lnTo>
                  <a:lnTo>
                    <a:pt x="638" y="642"/>
                  </a:lnTo>
                  <a:lnTo>
                    <a:pt x="638" y="640"/>
                  </a:lnTo>
                  <a:lnTo>
                    <a:pt x="638" y="640"/>
                  </a:lnTo>
                  <a:lnTo>
                    <a:pt x="642" y="640"/>
                  </a:lnTo>
                  <a:lnTo>
                    <a:pt x="642" y="640"/>
                  </a:lnTo>
                  <a:lnTo>
                    <a:pt x="642" y="638"/>
                  </a:lnTo>
                  <a:lnTo>
                    <a:pt x="642" y="638"/>
                  </a:lnTo>
                  <a:lnTo>
                    <a:pt x="642" y="638"/>
                  </a:lnTo>
                  <a:lnTo>
                    <a:pt x="644" y="636"/>
                  </a:lnTo>
                  <a:lnTo>
                    <a:pt x="646" y="634"/>
                  </a:lnTo>
                  <a:lnTo>
                    <a:pt x="646" y="634"/>
                  </a:lnTo>
                  <a:lnTo>
                    <a:pt x="646" y="634"/>
                  </a:lnTo>
                  <a:lnTo>
                    <a:pt x="648" y="634"/>
                  </a:lnTo>
                  <a:lnTo>
                    <a:pt x="648" y="634"/>
                  </a:lnTo>
                  <a:lnTo>
                    <a:pt x="648" y="632"/>
                  </a:lnTo>
                  <a:lnTo>
                    <a:pt x="648" y="630"/>
                  </a:lnTo>
                  <a:lnTo>
                    <a:pt x="648" y="627"/>
                  </a:lnTo>
                  <a:lnTo>
                    <a:pt x="648" y="625"/>
                  </a:lnTo>
                  <a:lnTo>
                    <a:pt x="648" y="625"/>
                  </a:lnTo>
                  <a:lnTo>
                    <a:pt x="650" y="625"/>
                  </a:lnTo>
                  <a:lnTo>
                    <a:pt x="650" y="623"/>
                  </a:lnTo>
                  <a:lnTo>
                    <a:pt x="652" y="617"/>
                  </a:lnTo>
                  <a:lnTo>
                    <a:pt x="652" y="617"/>
                  </a:lnTo>
                  <a:lnTo>
                    <a:pt x="655" y="617"/>
                  </a:lnTo>
                  <a:lnTo>
                    <a:pt x="655" y="615"/>
                  </a:lnTo>
                  <a:lnTo>
                    <a:pt x="652" y="613"/>
                  </a:lnTo>
                  <a:close/>
                  <a:moveTo>
                    <a:pt x="642" y="590"/>
                  </a:moveTo>
                  <a:lnTo>
                    <a:pt x="640" y="590"/>
                  </a:lnTo>
                  <a:lnTo>
                    <a:pt x="640" y="590"/>
                  </a:lnTo>
                  <a:lnTo>
                    <a:pt x="640" y="590"/>
                  </a:lnTo>
                  <a:lnTo>
                    <a:pt x="640" y="593"/>
                  </a:lnTo>
                  <a:lnTo>
                    <a:pt x="640" y="593"/>
                  </a:lnTo>
                  <a:lnTo>
                    <a:pt x="642" y="590"/>
                  </a:lnTo>
                  <a:lnTo>
                    <a:pt x="642" y="593"/>
                  </a:lnTo>
                  <a:lnTo>
                    <a:pt x="644" y="590"/>
                  </a:lnTo>
                  <a:lnTo>
                    <a:pt x="644" y="590"/>
                  </a:lnTo>
                  <a:lnTo>
                    <a:pt x="642" y="590"/>
                  </a:lnTo>
                  <a:lnTo>
                    <a:pt x="642" y="590"/>
                  </a:lnTo>
                  <a:close/>
                  <a:moveTo>
                    <a:pt x="673" y="580"/>
                  </a:moveTo>
                  <a:lnTo>
                    <a:pt x="673" y="580"/>
                  </a:lnTo>
                  <a:lnTo>
                    <a:pt x="673" y="580"/>
                  </a:lnTo>
                  <a:lnTo>
                    <a:pt x="675" y="580"/>
                  </a:lnTo>
                  <a:lnTo>
                    <a:pt x="675" y="578"/>
                  </a:lnTo>
                  <a:lnTo>
                    <a:pt x="673" y="580"/>
                  </a:lnTo>
                  <a:close/>
                  <a:moveTo>
                    <a:pt x="677" y="578"/>
                  </a:moveTo>
                  <a:lnTo>
                    <a:pt x="677" y="578"/>
                  </a:lnTo>
                  <a:lnTo>
                    <a:pt x="677" y="578"/>
                  </a:lnTo>
                  <a:lnTo>
                    <a:pt x="677" y="580"/>
                  </a:lnTo>
                  <a:lnTo>
                    <a:pt x="677" y="580"/>
                  </a:lnTo>
                  <a:lnTo>
                    <a:pt x="677" y="580"/>
                  </a:lnTo>
                  <a:lnTo>
                    <a:pt x="677" y="580"/>
                  </a:lnTo>
                  <a:lnTo>
                    <a:pt x="677" y="578"/>
                  </a:lnTo>
                  <a:lnTo>
                    <a:pt x="677" y="578"/>
                  </a:lnTo>
                  <a:lnTo>
                    <a:pt x="679" y="578"/>
                  </a:lnTo>
                  <a:lnTo>
                    <a:pt x="677" y="578"/>
                  </a:lnTo>
                  <a:lnTo>
                    <a:pt x="677" y="578"/>
                  </a:lnTo>
                  <a:close/>
                  <a:moveTo>
                    <a:pt x="685" y="558"/>
                  </a:moveTo>
                  <a:lnTo>
                    <a:pt x="685" y="558"/>
                  </a:lnTo>
                  <a:lnTo>
                    <a:pt x="683" y="558"/>
                  </a:lnTo>
                  <a:lnTo>
                    <a:pt x="683" y="558"/>
                  </a:lnTo>
                  <a:lnTo>
                    <a:pt x="685" y="558"/>
                  </a:lnTo>
                  <a:lnTo>
                    <a:pt x="685" y="558"/>
                  </a:lnTo>
                  <a:lnTo>
                    <a:pt x="687" y="560"/>
                  </a:lnTo>
                  <a:lnTo>
                    <a:pt x="685" y="558"/>
                  </a:lnTo>
                  <a:lnTo>
                    <a:pt x="685" y="558"/>
                  </a:lnTo>
                  <a:close/>
                  <a:moveTo>
                    <a:pt x="753" y="527"/>
                  </a:moveTo>
                  <a:lnTo>
                    <a:pt x="753" y="527"/>
                  </a:lnTo>
                  <a:lnTo>
                    <a:pt x="753" y="527"/>
                  </a:lnTo>
                  <a:lnTo>
                    <a:pt x="753" y="527"/>
                  </a:lnTo>
                  <a:lnTo>
                    <a:pt x="753" y="529"/>
                  </a:lnTo>
                  <a:lnTo>
                    <a:pt x="753" y="529"/>
                  </a:lnTo>
                  <a:lnTo>
                    <a:pt x="753" y="527"/>
                  </a:lnTo>
                  <a:lnTo>
                    <a:pt x="753" y="527"/>
                  </a:lnTo>
                  <a:lnTo>
                    <a:pt x="753" y="527"/>
                  </a:lnTo>
                  <a:close/>
                  <a:moveTo>
                    <a:pt x="776" y="508"/>
                  </a:moveTo>
                  <a:lnTo>
                    <a:pt x="776" y="508"/>
                  </a:lnTo>
                  <a:lnTo>
                    <a:pt x="776" y="506"/>
                  </a:lnTo>
                  <a:lnTo>
                    <a:pt x="776" y="506"/>
                  </a:lnTo>
                  <a:lnTo>
                    <a:pt x="774" y="506"/>
                  </a:lnTo>
                  <a:lnTo>
                    <a:pt x="774" y="506"/>
                  </a:lnTo>
                  <a:lnTo>
                    <a:pt x="774" y="508"/>
                  </a:lnTo>
                  <a:lnTo>
                    <a:pt x="774" y="508"/>
                  </a:lnTo>
                  <a:lnTo>
                    <a:pt x="774" y="508"/>
                  </a:lnTo>
                  <a:lnTo>
                    <a:pt x="774" y="510"/>
                  </a:lnTo>
                  <a:lnTo>
                    <a:pt x="776" y="510"/>
                  </a:lnTo>
                  <a:lnTo>
                    <a:pt x="776" y="510"/>
                  </a:lnTo>
                  <a:lnTo>
                    <a:pt x="776" y="510"/>
                  </a:lnTo>
                  <a:lnTo>
                    <a:pt x="776" y="508"/>
                  </a:lnTo>
                  <a:lnTo>
                    <a:pt x="776" y="508"/>
                  </a:lnTo>
                  <a:close/>
                  <a:moveTo>
                    <a:pt x="786" y="459"/>
                  </a:moveTo>
                  <a:lnTo>
                    <a:pt x="786" y="459"/>
                  </a:lnTo>
                  <a:lnTo>
                    <a:pt x="784" y="461"/>
                  </a:lnTo>
                  <a:lnTo>
                    <a:pt x="786" y="461"/>
                  </a:lnTo>
                  <a:lnTo>
                    <a:pt x="786" y="461"/>
                  </a:lnTo>
                  <a:lnTo>
                    <a:pt x="786" y="461"/>
                  </a:lnTo>
                  <a:lnTo>
                    <a:pt x="786" y="461"/>
                  </a:lnTo>
                  <a:lnTo>
                    <a:pt x="786" y="459"/>
                  </a:lnTo>
                  <a:close/>
                  <a:moveTo>
                    <a:pt x="792" y="430"/>
                  </a:moveTo>
                  <a:lnTo>
                    <a:pt x="790" y="430"/>
                  </a:lnTo>
                  <a:lnTo>
                    <a:pt x="790" y="432"/>
                  </a:lnTo>
                  <a:lnTo>
                    <a:pt x="792" y="432"/>
                  </a:lnTo>
                  <a:lnTo>
                    <a:pt x="794" y="432"/>
                  </a:lnTo>
                  <a:lnTo>
                    <a:pt x="794" y="432"/>
                  </a:lnTo>
                  <a:lnTo>
                    <a:pt x="792" y="432"/>
                  </a:lnTo>
                  <a:lnTo>
                    <a:pt x="792" y="430"/>
                  </a:lnTo>
                  <a:close/>
                  <a:moveTo>
                    <a:pt x="796" y="428"/>
                  </a:moveTo>
                  <a:lnTo>
                    <a:pt x="794" y="428"/>
                  </a:lnTo>
                  <a:lnTo>
                    <a:pt x="794" y="428"/>
                  </a:lnTo>
                  <a:lnTo>
                    <a:pt x="796" y="428"/>
                  </a:lnTo>
                  <a:lnTo>
                    <a:pt x="796" y="430"/>
                  </a:lnTo>
                  <a:lnTo>
                    <a:pt x="796" y="428"/>
                  </a:lnTo>
                  <a:lnTo>
                    <a:pt x="796" y="428"/>
                  </a:lnTo>
                  <a:close/>
                  <a:moveTo>
                    <a:pt x="790" y="424"/>
                  </a:moveTo>
                  <a:lnTo>
                    <a:pt x="788" y="424"/>
                  </a:lnTo>
                  <a:lnTo>
                    <a:pt x="788" y="426"/>
                  </a:lnTo>
                  <a:lnTo>
                    <a:pt x="790" y="426"/>
                  </a:lnTo>
                  <a:lnTo>
                    <a:pt x="792" y="426"/>
                  </a:lnTo>
                  <a:lnTo>
                    <a:pt x="794" y="428"/>
                  </a:lnTo>
                  <a:lnTo>
                    <a:pt x="794" y="428"/>
                  </a:lnTo>
                  <a:lnTo>
                    <a:pt x="794" y="426"/>
                  </a:lnTo>
                  <a:lnTo>
                    <a:pt x="792" y="426"/>
                  </a:lnTo>
                  <a:lnTo>
                    <a:pt x="790" y="424"/>
                  </a:lnTo>
                  <a:close/>
                  <a:moveTo>
                    <a:pt x="774" y="397"/>
                  </a:moveTo>
                  <a:lnTo>
                    <a:pt x="772" y="395"/>
                  </a:lnTo>
                  <a:lnTo>
                    <a:pt x="772" y="395"/>
                  </a:lnTo>
                  <a:lnTo>
                    <a:pt x="770" y="395"/>
                  </a:lnTo>
                  <a:lnTo>
                    <a:pt x="767" y="393"/>
                  </a:lnTo>
                  <a:lnTo>
                    <a:pt x="765" y="393"/>
                  </a:lnTo>
                  <a:lnTo>
                    <a:pt x="767" y="395"/>
                  </a:lnTo>
                  <a:lnTo>
                    <a:pt x="770" y="397"/>
                  </a:lnTo>
                  <a:lnTo>
                    <a:pt x="772" y="397"/>
                  </a:lnTo>
                  <a:lnTo>
                    <a:pt x="778" y="399"/>
                  </a:lnTo>
                  <a:lnTo>
                    <a:pt x="778" y="399"/>
                  </a:lnTo>
                  <a:lnTo>
                    <a:pt x="778" y="399"/>
                  </a:lnTo>
                  <a:lnTo>
                    <a:pt x="778" y="397"/>
                  </a:lnTo>
                  <a:lnTo>
                    <a:pt x="774" y="397"/>
                  </a:lnTo>
                  <a:close/>
                  <a:moveTo>
                    <a:pt x="833" y="148"/>
                  </a:moveTo>
                  <a:lnTo>
                    <a:pt x="831" y="146"/>
                  </a:lnTo>
                  <a:lnTo>
                    <a:pt x="831" y="144"/>
                  </a:lnTo>
                  <a:lnTo>
                    <a:pt x="831" y="142"/>
                  </a:lnTo>
                  <a:lnTo>
                    <a:pt x="833" y="142"/>
                  </a:lnTo>
                  <a:lnTo>
                    <a:pt x="833" y="142"/>
                  </a:lnTo>
                  <a:lnTo>
                    <a:pt x="833" y="142"/>
                  </a:lnTo>
                  <a:lnTo>
                    <a:pt x="833" y="140"/>
                  </a:lnTo>
                  <a:lnTo>
                    <a:pt x="833" y="140"/>
                  </a:lnTo>
                  <a:lnTo>
                    <a:pt x="833" y="138"/>
                  </a:lnTo>
                  <a:lnTo>
                    <a:pt x="831" y="138"/>
                  </a:lnTo>
                  <a:lnTo>
                    <a:pt x="831" y="136"/>
                  </a:lnTo>
                  <a:lnTo>
                    <a:pt x="831" y="136"/>
                  </a:lnTo>
                  <a:lnTo>
                    <a:pt x="833" y="136"/>
                  </a:lnTo>
                  <a:lnTo>
                    <a:pt x="833" y="136"/>
                  </a:lnTo>
                  <a:lnTo>
                    <a:pt x="833" y="134"/>
                  </a:lnTo>
                  <a:lnTo>
                    <a:pt x="833" y="134"/>
                  </a:lnTo>
                  <a:lnTo>
                    <a:pt x="831" y="132"/>
                  </a:lnTo>
                  <a:lnTo>
                    <a:pt x="831" y="132"/>
                  </a:lnTo>
                  <a:lnTo>
                    <a:pt x="833" y="130"/>
                  </a:lnTo>
                  <a:lnTo>
                    <a:pt x="833" y="130"/>
                  </a:lnTo>
                  <a:lnTo>
                    <a:pt x="833" y="130"/>
                  </a:lnTo>
                  <a:lnTo>
                    <a:pt x="831" y="128"/>
                  </a:lnTo>
                  <a:lnTo>
                    <a:pt x="831" y="128"/>
                  </a:lnTo>
                  <a:lnTo>
                    <a:pt x="831" y="126"/>
                  </a:lnTo>
                  <a:lnTo>
                    <a:pt x="831" y="126"/>
                  </a:lnTo>
                  <a:lnTo>
                    <a:pt x="831" y="124"/>
                  </a:lnTo>
                  <a:lnTo>
                    <a:pt x="829" y="122"/>
                  </a:lnTo>
                  <a:lnTo>
                    <a:pt x="829" y="120"/>
                  </a:lnTo>
                  <a:lnTo>
                    <a:pt x="829" y="120"/>
                  </a:lnTo>
                  <a:lnTo>
                    <a:pt x="829" y="118"/>
                  </a:lnTo>
                  <a:lnTo>
                    <a:pt x="827" y="118"/>
                  </a:lnTo>
                  <a:lnTo>
                    <a:pt x="827" y="116"/>
                  </a:lnTo>
                  <a:lnTo>
                    <a:pt x="827" y="113"/>
                  </a:lnTo>
                  <a:lnTo>
                    <a:pt x="827" y="113"/>
                  </a:lnTo>
                  <a:lnTo>
                    <a:pt x="827" y="111"/>
                  </a:lnTo>
                  <a:lnTo>
                    <a:pt x="825" y="111"/>
                  </a:lnTo>
                  <a:lnTo>
                    <a:pt x="825" y="109"/>
                  </a:lnTo>
                  <a:lnTo>
                    <a:pt x="827" y="109"/>
                  </a:lnTo>
                  <a:lnTo>
                    <a:pt x="827" y="109"/>
                  </a:lnTo>
                  <a:lnTo>
                    <a:pt x="827" y="109"/>
                  </a:lnTo>
                  <a:lnTo>
                    <a:pt x="827" y="109"/>
                  </a:lnTo>
                  <a:lnTo>
                    <a:pt x="829" y="109"/>
                  </a:lnTo>
                  <a:lnTo>
                    <a:pt x="829" y="107"/>
                  </a:lnTo>
                  <a:lnTo>
                    <a:pt x="829" y="107"/>
                  </a:lnTo>
                  <a:lnTo>
                    <a:pt x="829" y="105"/>
                  </a:lnTo>
                  <a:lnTo>
                    <a:pt x="829" y="105"/>
                  </a:lnTo>
                  <a:lnTo>
                    <a:pt x="829" y="103"/>
                  </a:lnTo>
                  <a:lnTo>
                    <a:pt x="827" y="101"/>
                  </a:lnTo>
                  <a:lnTo>
                    <a:pt x="827" y="101"/>
                  </a:lnTo>
                  <a:lnTo>
                    <a:pt x="825" y="99"/>
                  </a:lnTo>
                  <a:lnTo>
                    <a:pt x="823" y="99"/>
                  </a:lnTo>
                  <a:lnTo>
                    <a:pt x="823" y="97"/>
                  </a:lnTo>
                  <a:lnTo>
                    <a:pt x="823" y="97"/>
                  </a:lnTo>
                  <a:lnTo>
                    <a:pt x="823" y="95"/>
                  </a:lnTo>
                  <a:lnTo>
                    <a:pt x="823" y="95"/>
                  </a:lnTo>
                  <a:lnTo>
                    <a:pt x="823" y="95"/>
                  </a:lnTo>
                  <a:lnTo>
                    <a:pt x="819" y="93"/>
                  </a:lnTo>
                  <a:lnTo>
                    <a:pt x="817" y="93"/>
                  </a:lnTo>
                  <a:lnTo>
                    <a:pt x="817" y="93"/>
                  </a:lnTo>
                  <a:lnTo>
                    <a:pt x="815" y="91"/>
                  </a:lnTo>
                  <a:lnTo>
                    <a:pt x="815" y="93"/>
                  </a:lnTo>
                  <a:lnTo>
                    <a:pt x="811" y="93"/>
                  </a:lnTo>
                  <a:lnTo>
                    <a:pt x="809" y="95"/>
                  </a:lnTo>
                  <a:lnTo>
                    <a:pt x="809" y="97"/>
                  </a:lnTo>
                  <a:lnTo>
                    <a:pt x="806" y="97"/>
                  </a:lnTo>
                  <a:lnTo>
                    <a:pt x="804" y="97"/>
                  </a:lnTo>
                  <a:lnTo>
                    <a:pt x="802" y="97"/>
                  </a:lnTo>
                  <a:lnTo>
                    <a:pt x="800" y="97"/>
                  </a:lnTo>
                  <a:lnTo>
                    <a:pt x="800" y="99"/>
                  </a:lnTo>
                  <a:lnTo>
                    <a:pt x="798" y="99"/>
                  </a:lnTo>
                  <a:lnTo>
                    <a:pt x="798" y="99"/>
                  </a:lnTo>
                  <a:lnTo>
                    <a:pt x="796" y="101"/>
                  </a:lnTo>
                  <a:lnTo>
                    <a:pt x="798" y="103"/>
                  </a:lnTo>
                  <a:lnTo>
                    <a:pt x="796" y="103"/>
                  </a:lnTo>
                  <a:lnTo>
                    <a:pt x="796" y="103"/>
                  </a:lnTo>
                  <a:lnTo>
                    <a:pt x="792" y="103"/>
                  </a:lnTo>
                  <a:lnTo>
                    <a:pt x="788" y="105"/>
                  </a:lnTo>
                  <a:lnTo>
                    <a:pt x="784" y="105"/>
                  </a:lnTo>
                  <a:lnTo>
                    <a:pt x="782" y="103"/>
                  </a:lnTo>
                  <a:lnTo>
                    <a:pt x="780" y="103"/>
                  </a:lnTo>
                  <a:lnTo>
                    <a:pt x="778" y="103"/>
                  </a:lnTo>
                  <a:lnTo>
                    <a:pt x="776" y="103"/>
                  </a:lnTo>
                  <a:lnTo>
                    <a:pt x="776" y="103"/>
                  </a:lnTo>
                  <a:lnTo>
                    <a:pt x="774" y="103"/>
                  </a:lnTo>
                  <a:lnTo>
                    <a:pt x="774" y="101"/>
                  </a:lnTo>
                  <a:lnTo>
                    <a:pt x="772" y="99"/>
                  </a:lnTo>
                  <a:lnTo>
                    <a:pt x="770" y="99"/>
                  </a:lnTo>
                  <a:lnTo>
                    <a:pt x="767" y="97"/>
                  </a:lnTo>
                  <a:lnTo>
                    <a:pt x="767" y="95"/>
                  </a:lnTo>
                  <a:lnTo>
                    <a:pt x="765" y="93"/>
                  </a:lnTo>
                  <a:lnTo>
                    <a:pt x="765" y="91"/>
                  </a:lnTo>
                  <a:lnTo>
                    <a:pt x="763" y="91"/>
                  </a:lnTo>
                  <a:lnTo>
                    <a:pt x="761" y="91"/>
                  </a:lnTo>
                  <a:lnTo>
                    <a:pt x="761" y="89"/>
                  </a:lnTo>
                  <a:lnTo>
                    <a:pt x="759" y="87"/>
                  </a:lnTo>
                  <a:lnTo>
                    <a:pt x="759" y="87"/>
                  </a:lnTo>
                  <a:lnTo>
                    <a:pt x="759" y="85"/>
                  </a:lnTo>
                  <a:lnTo>
                    <a:pt x="757" y="83"/>
                  </a:lnTo>
                  <a:lnTo>
                    <a:pt x="753" y="83"/>
                  </a:lnTo>
                  <a:lnTo>
                    <a:pt x="751" y="83"/>
                  </a:lnTo>
                  <a:lnTo>
                    <a:pt x="749" y="81"/>
                  </a:lnTo>
                  <a:lnTo>
                    <a:pt x="743" y="76"/>
                  </a:lnTo>
                  <a:lnTo>
                    <a:pt x="739" y="76"/>
                  </a:lnTo>
                  <a:lnTo>
                    <a:pt x="739" y="76"/>
                  </a:lnTo>
                  <a:lnTo>
                    <a:pt x="737" y="74"/>
                  </a:lnTo>
                  <a:lnTo>
                    <a:pt x="735" y="74"/>
                  </a:lnTo>
                  <a:lnTo>
                    <a:pt x="735" y="74"/>
                  </a:lnTo>
                  <a:lnTo>
                    <a:pt x="735" y="74"/>
                  </a:lnTo>
                  <a:lnTo>
                    <a:pt x="735" y="74"/>
                  </a:lnTo>
                  <a:lnTo>
                    <a:pt x="733" y="74"/>
                  </a:lnTo>
                  <a:lnTo>
                    <a:pt x="733" y="74"/>
                  </a:lnTo>
                  <a:lnTo>
                    <a:pt x="730" y="74"/>
                  </a:lnTo>
                  <a:lnTo>
                    <a:pt x="730" y="74"/>
                  </a:lnTo>
                  <a:lnTo>
                    <a:pt x="730" y="74"/>
                  </a:lnTo>
                  <a:lnTo>
                    <a:pt x="728" y="72"/>
                  </a:lnTo>
                  <a:lnTo>
                    <a:pt x="726" y="72"/>
                  </a:lnTo>
                  <a:lnTo>
                    <a:pt x="724" y="72"/>
                  </a:lnTo>
                  <a:lnTo>
                    <a:pt x="724" y="72"/>
                  </a:lnTo>
                  <a:lnTo>
                    <a:pt x="724" y="70"/>
                  </a:lnTo>
                  <a:lnTo>
                    <a:pt x="722" y="70"/>
                  </a:lnTo>
                  <a:lnTo>
                    <a:pt x="722" y="70"/>
                  </a:lnTo>
                  <a:lnTo>
                    <a:pt x="720" y="70"/>
                  </a:lnTo>
                  <a:lnTo>
                    <a:pt x="716" y="70"/>
                  </a:lnTo>
                  <a:lnTo>
                    <a:pt x="712" y="70"/>
                  </a:lnTo>
                  <a:lnTo>
                    <a:pt x="710" y="70"/>
                  </a:lnTo>
                  <a:lnTo>
                    <a:pt x="708" y="68"/>
                  </a:lnTo>
                  <a:lnTo>
                    <a:pt x="706" y="68"/>
                  </a:lnTo>
                  <a:lnTo>
                    <a:pt x="706" y="66"/>
                  </a:lnTo>
                  <a:lnTo>
                    <a:pt x="704" y="66"/>
                  </a:lnTo>
                  <a:lnTo>
                    <a:pt x="702" y="64"/>
                  </a:lnTo>
                  <a:lnTo>
                    <a:pt x="700" y="64"/>
                  </a:lnTo>
                  <a:lnTo>
                    <a:pt x="700" y="62"/>
                  </a:lnTo>
                  <a:lnTo>
                    <a:pt x="700" y="60"/>
                  </a:lnTo>
                  <a:lnTo>
                    <a:pt x="696" y="58"/>
                  </a:lnTo>
                  <a:lnTo>
                    <a:pt x="694" y="56"/>
                  </a:lnTo>
                  <a:lnTo>
                    <a:pt x="694" y="56"/>
                  </a:lnTo>
                  <a:lnTo>
                    <a:pt x="694" y="56"/>
                  </a:lnTo>
                  <a:lnTo>
                    <a:pt x="691" y="54"/>
                  </a:lnTo>
                  <a:lnTo>
                    <a:pt x="691" y="54"/>
                  </a:lnTo>
                  <a:lnTo>
                    <a:pt x="691" y="54"/>
                  </a:lnTo>
                  <a:lnTo>
                    <a:pt x="691" y="52"/>
                  </a:lnTo>
                  <a:lnTo>
                    <a:pt x="689" y="50"/>
                  </a:lnTo>
                  <a:lnTo>
                    <a:pt x="687" y="48"/>
                  </a:lnTo>
                  <a:lnTo>
                    <a:pt x="681" y="46"/>
                  </a:lnTo>
                  <a:lnTo>
                    <a:pt x="679" y="44"/>
                  </a:lnTo>
                  <a:lnTo>
                    <a:pt x="679" y="42"/>
                  </a:lnTo>
                  <a:lnTo>
                    <a:pt x="677" y="42"/>
                  </a:lnTo>
                  <a:lnTo>
                    <a:pt x="677" y="39"/>
                  </a:lnTo>
                  <a:lnTo>
                    <a:pt x="675" y="39"/>
                  </a:lnTo>
                  <a:lnTo>
                    <a:pt x="675" y="37"/>
                  </a:lnTo>
                  <a:lnTo>
                    <a:pt x="675" y="37"/>
                  </a:lnTo>
                  <a:lnTo>
                    <a:pt x="673" y="37"/>
                  </a:lnTo>
                  <a:lnTo>
                    <a:pt x="673" y="35"/>
                  </a:lnTo>
                  <a:lnTo>
                    <a:pt x="673" y="35"/>
                  </a:lnTo>
                  <a:lnTo>
                    <a:pt x="671" y="35"/>
                  </a:lnTo>
                  <a:lnTo>
                    <a:pt x="671" y="33"/>
                  </a:lnTo>
                  <a:lnTo>
                    <a:pt x="669" y="33"/>
                  </a:lnTo>
                  <a:lnTo>
                    <a:pt x="667" y="31"/>
                  </a:lnTo>
                  <a:lnTo>
                    <a:pt x="665" y="29"/>
                  </a:lnTo>
                  <a:lnTo>
                    <a:pt x="663" y="27"/>
                  </a:lnTo>
                  <a:lnTo>
                    <a:pt x="661" y="25"/>
                  </a:lnTo>
                  <a:lnTo>
                    <a:pt x="659" y="25"/>
                  </a:lnTo>
                  <a:lnTo>
                    <a:pt x="659" y="23"/>
                  </a:lnTo>
                  <a:lnTo>
                    <a:pt x="659" y="23"/>
                  </a:lnTo>
                  <a:lnTo>
                    <a:pt x="657" y="21"/>
                  </a:lnTo>
                  <a:lnTo>
                    <a:pt x="657" y="21"/>
                  </a:lnTo>
                  <a:lnTo>
                    <a:pt x="657" y="21"/>
                  </a:lnTo>
                  <a:lnTo>
                    <a:pt x="655" y="21"/>
                  </a:lnTo>
                  <a:lnTo>
                    <a:pt x="655" y="19"/>
                  </a:lnTo>
                  <a:lnTo>
                    <a:pt x="652" y="19"/>
                  </a:lnTo>
                  <a:lnTo>
                    <a:pt x="652" y="19"/>
                  </a:lnTo>
                  <a:lnTo>
                    <a:pt x="650" y="17"/>
                  </a:lnTo>
                  <a:lnTo>
                    <a:pt x="650" y="17"/>
                  </a:lnTo>
                  <a:lnTo>
                    <a:pt x="648" y="17"/>
                  </a:lnTo>
                  <a:lnTo>
                    <a:pt x="648" y="17"/>
                  </a:lnTo>
                  <a:lnTo>
                    <a:pt x="648" y="15"/>
                  </a:lnTo>
                  <a:lnTo>
                    <a:pt x="648" y="15"/>
                  </a:lnTo>
                  <a:lnTo>
                    <a:pt x="648" y="15"/>
                  </a:lnTo>
                  <a:lnTo>
                    <a:pt x="648" y="15"/>
                  </a:lnTo>
                  <a:lnTo>
                    <a:pt x="646" y="15"/>
                  </a:lnTo>
                  <a:lnTo>
                    <a:pt x="644" y="13"/>
                  </a:lnTo>
                  <a:lnTo>
                    <a:pt x="644" y="13"/>
                  </a:lnTo>
                  <a:lnTo>
                    <a:pt x="642" y="13"/>
                  </a:lnTo>
                  <a:lnTo>
                    <a:pt x="642" y="13"/>
                  </a:lnTo>
                  <a:lnTo>
                    <a:pt x="640" y="11"/>
                  </a:lnTo>
                  <a:lnTo>
                    <a:pt x="640" y="11"/>
                  </a:lnTo>
                  <a:lnTo>
                    <a:pt x="640" y="11"/>
                  </a:lnTo>
                  <a:lnTo>
                    <a:pt x="638" y="9"/>
                  </a:lnTo>
                  <a:lnTo>
                    <a:pt x="638" y="9"/>
                  </a:lnTo>
                  <a:lnTo>
                    <a:pt x="636" y="9"/>
                  </a:lnTo>
                  <a:lnTo>
                    <a:pt x="634" y="9"/>
                  </a:lnTo>
                  <a:lnTo>
                    <a:pt x="630" y="7"/>
                  </a:lnTo>
                  <a:lnTo>
                    <a:pt x="628" y="7"/>
                  </a:lnTo>
                  <a:lnTo>
                    <a:pt x="628" y="7"/>
                  </a:lnTo>
                  <a:lnTo>
                    <a:pt x="626" y="7"/>
                  </a:lnTo>
                  <a:lnTo>
                    <a:pt x="626" y="7"/>
                  </a:lnTo>
                  <a:lnTo>
                    <a:pt x="626" y="7"/>
                  </a:lnTo>
                  <a:lnTo>
                    <a:pt x="622" y="7"/>
                  </a:lnTo>
                  <a:lnTo>
                    <a:pt x="620" y="7"/>
                  </a:lnTo>
                  <a:lnTo>
                    <a:pt x="618" y="4"/>
                  </a:lnTo>
                  <a:lnTo>
                    <a:pt x="616" y="4"/>
                  </a:lnTo>
                  <a:lnTo>
                    <a:pt x="616" y="2"/>
                  </a:lnTo>
                  <a:lnTo>
                    <a:pt x="613" y="4"/>
                  </a:lnTo>
                  <a:lnTo>
                    <a:pt x="611" y="2"/>
                  </a:lnTo>
                  <a:lnTo>
                    <a:pt x="605" y="0"/>
                  </a:lnTo>
                  <a:lnTo>
                    <a:pt x="603" y="0"/>
                  </a:lnTo>
                  <a:lnTo>
                    <a:pt x="603" y="0"/>
                  </a:lnTo>
                  <a:lnTo>
                    <a:pt x="603" y="0"/>
                  </a:lnTo>
                  <a:lnTo>
                    <a:pt x="603" y="0"/>
                  </a:lnTo>
                  <a:lnTo>
                    <a:pt x="601" y="0"/>
                  </a:lnTo>
                  <a:lnTo>
                    <a:pt x="599" y="0"/>
                  </a:lnTo>
                  <a:lnTo>
                    <a:pt x="597" y="0"/>
                  </a:lnTo>
                  <a:lnTo>
                    <a:pt x="595" y="0"/>
                  </a:lnTo>
                  <a:lnTo>
                    <a:pt x="593" y="2"/>
                  </a:lnTo>
                  <a:lnTo>
                    <a:pt x="591" y="2"/>
                  </a:lnTo>
                  <a:lnTo>
                    <a:pt x="589" y="2"/>
                  </a:lnTo>
                  <a:lnTo>
                    <a:pt x="587" y="0"/>
                  </a:lnTo>
                  <a:lnTo>
                    <a:pt x="585" y="2"/>
                  </a:lnTo>
                  <a:lnTo>
                    <a:pt x="581" y="2"/>
                  </a:lnTo>
                  <a:lnTo>
                    <a:pt x="577" y="4"/>
                  </a:lnTo>
                  <a:lnTo>
                    <a:pt x="570" y="4"/>
                  </a:lnTo>
                  <a:lnTo>
                    <a:pt x="568" y="7"/>
                  </a:lnTo>
                  <a:lnTo>
                    <a:pt x="568" y="11"/>
                  </a:lnTo>
                  <a:lnTo>
                    <a:pt x="566" y="13"/>
                  </a:lnTo>
                  <a:lnTo>
                    <a:pt x="564" y="13"/>
                  </a:lnTo>
                  <a:lnTo>
                    <a:pt x="564" y="15"/>
                  </a:lnTo>
                  <a:lnTo>
                    <a:pt x="566" y="17"/>
                  </a:lnTo>
                  <a:lnTo>
                    <a:pt x="568" y="17"/>
                  </a:lnTo>
                  <a:lnTo>
                    <a:pt x="570" y="17"/>
                  </a:lnTo>
                  <a:lnTo>
                    <a:pt x="572" y="17"/>
                  </a:lnTo>
                  <a:lnTo>
                    <a:pt x="574" y="17"/>
                  </a:lnTo>
                  <a:lnTo>
                    <a:pt x="577" y="19"/>
                  </a:lnTo>
                  <a:lnTo>
                    <a:pt x="577" y="21"/>
                  </a:lnTo>
                  <a:lnTo>
                    <a:pt x="579" y="23"/>
                  </a:lnTo>
                  <a:lnTo>
                    <a:pt x="581" y="23"/>
                  </a:lnTo>
                  <a:lnTo>
                    <a:pt x="583" y="25"/>
                  </a:lnTo>
                  <a:lnTo>
                    <a:pt x="583" y="27"/>
                  </a:lnTo>
                  <a:lnTo>
                    <a:pt x="581" y="29"/>
                  </a:lnTo>
                  <a:lnTo>
                    <a:pt x="579" y="31"/>
                  </a:lnTo>
                  <a:lnTo>
                    <a:pt x="579" y="35"/>
                  </a:lnTo>
                  <a:lnTo>
                    <a:pt x="579" y="37"/>
                  </a:lnTo>
                  <a:lnTo>
                    <a:pt x="579" y="39"/>
                  </a:lnTo>
                  <a:lnTo>
                    <a:pt x="579" y="42"/>
                  </a:lnTo>
                  <a:lnTo>
                    <a:pt x="579" y="44"/>
                  </a:lnTo>
                  <a:lnTo>
                    <a:pt x="579" y="44"/>
                  </a:lnTo>
                  <a:lnTo>
                    <a:pt x="579" y="46"/>
                  </a:lnTo>
                  <a:lnTo>
                    <a:pt x="579" y="48"/>
                  </a:lnTo>
                  <a:lnTo>
                    <a:pt x="579" y="50"/>
                  </a:lnTo>
                  <a:lnTo>
                    <a:pt x="581" y="50"/>
                  </a:lnTo>
                  <a:lnTo>
                    <a:pt x="579" y="52"/>
                  </a:lnTo>
                  <a:lnTo>
                    <a:pt x="579" y="52"/>
                  </a:lnTo>
                  <a:lnTo>
                    <a:pt x="579" y="54"/>
                  </a:lnTo>
                  <a:lnTo>
                    <a:pt x="579" y="56"/>
                  </a:lnTo>
                  <a:lnTo>
                    <a:pt x="579" y="56"/>
                  </a:lnTo>
                  <a:lnTo>
                    <a:pt x="579" y="56"/>
                  </a:lnTo>
                  <a:lnTo>
                    <a:pt x="581" y="56"/>
                  </a:lnTo>
                  <a:lnTo>
                    <a:pt x="583" y="58"/>
                  </a:lnTo>
                  <a:lnTo>
                    <a:pt x="585" y="60"/>
                  </a:lnTo>
                  <a:lnTo>
                    <a:pt x="585" y="62"/>
                  </a:lnTo>
                  <a:lnTo>
                    <a:pt x="583" y="62"/>
                  </a:lnTo>
                  <a:lnTo>
                    <a:pt x="581" y="64"/>
                  </a:lnTo>
                  <a:lnTo>
                    <a:pt x="579" y="64"/>
                  </a:lnTo>
                  <a:lnTo>
                    <a:pt x="574" y="66"/>
                  </a:lnTo>
                  <a:lnTo>
                    <a:pt x="572" y="68"/>
                  </a:lnTo>
                  <a:lnTo>
                    <a:pt x="570" y="72"/>
                  </a:lnTo>
                  <a:lnTo>
                    <a:pt x="570" y="72"/>
                  </a:lnTo>
                  <a:lnTo>
                    <a:pt x="568" y="70"/>
                  </a:lnTo>
                  <a:lnTo>
                    <a:pt x="564" y="70"/>
                  </a:lnTo>
                  <a:lnTo>
                    <a:pt x="560" y="70"/>
                  </a:lnTo>
                  <a:lnTo>
                    <a:pt x="556" y="68"/>
                  </a:lnTo>
                  <a:lnTo>
                    <a:pt x="554" y="68"/>
                  </a:lnTo>
                  <a:lnTo>
                    <a:pt x="550" y="66"/>
                  </a:lnTo>
                  <a:lnTo>
                    <a:pt x="550" y="68"/>
                  </a:lnTo>
                  <a:lnTo>
                    <a:pt x="550" y="72"/>
                  </a:lnTo>
                  <a:lnTo>
                    <a:pt x="550" y="79"/>
                  </a:lnTo>
                  <a:lnTo>
                    <a:pt x="552" y="81"/>
                  </a:lnTo>
                  <a:lnTo>
                    <a:pt x="552" y="83"/>
                  </a:lnTo>
                  <a:lnTo>
                    <a:pt x="552" y="83"/>
                  </a:lnTo>
                  <a:lnTo>
                    <a:pt x="552" y="85"/>
                  </a:lnTo>
                  <a:lnTo>
                    <a:pt x="552" y="87"/>
                  </a:lnTo>
                  <a:lnTo>
                    <a:pt x="550" y="89"/>
                  </a:lnTo>
                  <a:lnTo>
                    <a:pt x="552" y="91"/>
                  </a:lnTo>
                  <a:lnTo>
                    <a:pt x="552" y="93"/>
                  </a:lnTo>
                  <a:lnTo>
                    <a:pt x="554" y="95"/>
                  </a:lnTo>
                  <a:lnTo>
                    <a:pt x="552" y="95"/>
                  </a:lnTo>
                  <a:lnTo>
                    <a:pt x="550" y="97"/>
                  </a:lnTo>
                  <a:lnTo>
                    <a:pt x="554" y="99"/>
                  </a:lnTo>
                  <a:lnTo>
                    <a:pt x="554" y="101"/>
                  </a:lnTo>
                  <a:lnTo>
                    <a:pt x="556" y="103"/>
                  </a:lnTo>
                  <a:lnTo>
                    <a:pt x="558" y="103"/>
                  </a:lnTo>
                  <a:lnTo>
                    <a:pt x="560" y="103"/>
                  </a:lnTo>
                  <a:lnTo>
                    <a:pt x="562" y="103"/>
                  </a:lnTo>
                  <a:lnTo>
                    <a:pt x="562" y="103"/>
                  </a:lnTo>
                  <a:lnTo>
                    <a:pt x="564" y="101"/>
                  </a:lnTo>
                  <a:lnTo>
                    <a:pt x="564" y="101"/>
                  </a:lnTo>
                  <a:lnTo>
                    <a:pt x="566" y="101"/>
                  </a:lnTo>
                  <a:lnTo>
                    <a:pt x="568" y="101"/>
                  </a:lnTo>
                  <a:lnTo>
                    <a:pt x="570" y="101"/>
                  </a:lnTo>
                  <a:lnTo>
                    <a:pt x="570" y="101"/>
                  </a:lnTo>
                  <a:lnTo>
                    <a:pt x="572" y="101"/>
                  </a:lnTo>
                  <a:lnTo>
                    <a:pt x="574" y="101"/>
                  </a:lnTo>
                  <a:lnTo>
                    <a:pt x="577" y="101"/>
                  </a:lnTo>
                  <a:lnTo>
                    <a:pt x="579" y="103"/>
                  </a:lnTo>
                  <a:lnTo>
                    <a:pt x="581" y="105"/>
                  </a:lnTo>
                  <a:lnTo>
                    <a:pt x="581" y="105"/>
                  </a:lnTo>
                  <a:lnTo>
                    <a:pt x="583" y="105"/>
                  </a:lnTo>
                  <a:lnTo>
                    <a:pt x="583" y="103"/>
                  </a:lnTo>
                  <a:lnTo>
                    <a:pt x="583" y="101"/>
                  </a:lnTo>
                  <a:lnTo>
                    <a:pt x="583" y="101"/>
                  </a:lnTo>
                  <a:lnTo>
                    <a:pt x="585" y="99"/>
                  </a:lnTo>
                  <a:lnTo>
                    <a:pt x="585" y="99"/>
                  </a:lnTo>
                  <a:lnTo>
                    <a:pt x="587" y="99"/>
                  </a:lnTo>
                  <a:lnTo>
                    <a:pt x="587" y="99"/>
                  </a:lnTo>
                  <a:lnTo>
                    <a:pt x="589" y="99"/>
                  </a:lnTo>
                  <a:lnTo>
                    <a:pt x="591" y="99"/>
                  </a:lnTo>
                  <a:lnTo>
                    <a:pt x="595" y="99"/>
                  </a:lnTo>
                  <a:lnTo>
                    <a:pt x="595" y="99"/>
                  </a:lnTo>
                  <a:lnTo>
                    <a:pt x="599" y="101"/>
                  </a:lnTo>
                  <a:lnTo>
                    <a:pt x="601" y="103"/>
                  </a:lnTo>
                  <a:lnTo>
                    <a:pt x="603" y="103"/>
                  </a:lnTo>
                  <a:lnTo>
                    <a:pt x="603" y="103"/>
                  </a:lnTo>
                  <a:lnTo>
                    <a:pt x="605" y="105"/>
                  </a:lnTo>
                  <a:lnTo>
                    <a:pt x="605" y="105"/>
                  </a:lnTo>
                  <a:lnTo>
                    <a:pt x="607" y="105"/>
                  </a:lnTo>
                  <a:lnTo>
                    <a:pt x="607" y="107"/>
                  </a:lnTo>
                  <a:lnTo>
                    <a:pt x="609" y="107"/>
                  </a:lnTo>
                  <a:lnTo>
                    <a:pt x="609" y="107"/>
                  </a:lnTo>
                  <a:lnTo>
                    <a:pt x="611" y="107"/>
                  </a:lnTo>
                  <a:lnTo>
                    <a:pt x="611" y="109"/>
                  </a:lnTo>
                  <a:lnTo>
                    <a:pt x="611" y="109"/>
                  </a:lnTo>
                  <a:lnTo>
                    <a:pt x="613" y="109"/>
                  </a:lnTo>
                  <a:lnTo>
                    <a:pt x="616" y="111"/>
                  </a:lnTo>
                  <a:lnTo>
                    <a:pt x="618" y="113"/>
                  </a:lnTo>
                  <a:lnTo>
                    <a:pt x="620" y="113"/>
                  </a:lnTo>
                  <a:lnTo>
                    <a:pt x="622" y="116"/>
                  </a:lnTo>
                  <a:lnTo>
                    <a:pt x="622" y="116"/>
                  </a:lnTo>
                  <a:lnTo>
                    <a:pt x="624" y="118"/>
                  </a:lnTo>
                  <a:lnTo>
                    <a:pt x="624" y="118"/>
                  </a:lnTo>
                  <a:lnTo>
                    <a:pt x="626" y="120"/>
                  </a:lnTo>
                  <a:lnTo>
                    <a:pt x="626" y="120"/>
                  </a:lnTo>
                  <a:lnTo>
                    <a:pt x="628" y="122"/>
                  </a:lnTo>
                  <a:lnTo>
                    <a:pt x="628" y="122"/>
                  </a:lnTo>
                  <a:lnTo>
                    <a:pt x="626" y="124"/>
                  </a:lnTo>
                  <a:lnTo>
                    <a:pt x="626" y="124"/>
                  </a:lnTo>
                  <a:lnTo>
                    <a:pt x="624" y="124"/>
                  </a:lnTo>
                  <a:lnTo>
                    <a:pt x="622" y="124"/>
                  </a:lnTo>
                  <a:lnTo>
                    <a:pt x="620" y="124"/>
                  </a:lnTo>
                  <a:lnTo>
                    <a:pt x="618" y="124"/>
                  </a:lnTo>
                  <a:lnTo>
                    <a:pt x="616" y="122"/>
                  </a:lnTo>
                  <a:lnTo>
                    <a:pt x="613" y="122"/>
                  </a:lnTo>
                  <a:lnTo>
                    <a:pt x="611" y="122"/>
                  </a:lnTo>
                  <a:lnTo>
                    <a:pt x="611" y="122"/>
                  </a:lnTo>
                  <a:lnTo>
                    <a:pt x="611" y="122"/>
                  </a:lnTo>
                  <a:lnTo>
                    <a:pt x="609" y="122"/>
                  </a:lnTo>
                  <a:lnTo>
                    <a:pt x="609" y="122"/>
                  </a:lnTo>
                  <a:lnTo>
                    <a:pt x="605" y="122"/>
                  </a:lnTo>
                  <a:lnTo>
                    <a:pt x="605" y="122"/>
                  </a:lnTo>
                  <a:lnTo>
                    <a:pt x="603" y="122"/>
                  </a:lnTo>
                  <a:lnTo>
                    <a:pt x="601" y="122"/>
                  </a:lnTo>
                  <a:lnTo>
                    <a:pt x="599" y="124"/>
                  </a:lnTo>
                  <a:lnTo>
                    <a:pt x="599" y="126"/>
                  </a:lnTo>
                  <a:lnTo>
                    <a:pt x="597" y="126"/>
                  </a:lnTo>
                  <a:lnTo>
                    <a:pt x="597" y="126"/>
                  </a:lnTo>
                  <a:lnTo>
                    <a:pt x="595" y="124"/>
                  </a:lnTo>
                  <a:lnTo>
                    <a:pt x="595" y="124"/>
                  </a:lnTo>
                  <a:lnTo>
                    <a:pt x="593" y="124"/>
                  </a:lnTo>
                  <a:lnTo>
                    <a:pt x="593" y="124"/>
                  </a:lnTo>
                  <a:lnTo>
                    <a:pt x="593" y="126"/>
                  </a:lnTo>
                  <a:lnTo>
                    <a:pt x="593" y="126"/>
                  </a:lnTo>
                  <a:lnTo>
                    <a:pt x="593" y="128"/>
                  </a:lnTo>
                  <a:lnTo>
                    <a:pt x="593" y="128"/>
                  </a:lnTo>
                  <a:lnTo>
                    <a:pt x="593" y="128"/>
                  </a:lnTo>
                  <a:lnTo>
                    <a:pt x="591" y="128"/>
                  </a:lnTo>
                  <a:lnTo>
                    <a:pt x="589" y="128"/>
                  </a:lnTo>
                  <a:lnTo>
                    <a:pt x="587" y="128"/>
                  </a:lnTo>
                  <a:lnTo>
                    <a:pt x="585" y="128"/>
                  </a:lnTo>
                  <a:lnTo>
                    <a:pt x="585" y="128"/>
                  </a:lnTo>
                  <a:lnTo>
                    <a:pt x="585" y="128"/>
                  </a:lnTo>
                  <a:lnTo>
                    <a:pt x="583" y="130"/>
                  </a:lnTo>
                  <a:lnTo>
                    <a:pt x="583" y="130"/>
                  </a:lnTo>
                  <a:lnTo>
                    <a:pt x="583" y="132"/>
                  </a:lnTo>
                  <a:lnTo>
                    <a:pt x="583" y="132"/>
                  </a:lnTo>
                  <a:lnTo>
                    <a:pt x="583" y="136"/>
                  </a:lnTo>
                  <a:lnTo>
                    <a:pt x="583" y="136"/>
                  </a:lnTo>
                  <a:lnTo>
                    <a:pt x="583" y="138"/>
                  </a:lnTo>
                  <a:lnTo>
                    <a:pt x="583" y="138"/>
                  </a:lnTo>
                  <a:lnTo>
                    <a:pt x="583" y="138"/>
                  </a:lnTo>
                  <a:lnTo>
                    <a:pt x="583" y="140"/>
                  </a:lnTo>
                  <a:lnTo>
                    <a:pt x="581" y="140"/>
                  </a:lnTo>
                  <a:lnTo>
                    <a:pt x="581" y="140"/>
                  </a:lnTo>
                  <a:lnTo>
                    <a:pt x="579" y="142"/>
                  </a:lnTo>
                  <a:lnTo>
                    <a:pt x="579" y="144"/>
                  </a:lnTo>
                  <a:lnTo>
                    <a:pt x="577" y="144"/>
                  </a:lnTo>
                  <a:lnTo>
                    <a:pt x="574" y="144"/>
                  </a:lnTo>
                  <a:lnTo>
                    <a:pt x="572" y="144"/>
                  </a:lnTo>
                  <a:lnTo>
                    <a:pt x="570" y="146"/>
                  </a:lnTo>
                  <a:lnTo>
                    <a:pt x="568" y="146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2" y="146"/>
                  </a:lnTo>
                  <a:lnTo>
                    <a:pt x="562" y="146"/>
                  </a:lnTo>
                  <a:lnTo>
                    <a:pt x="562" y="146"/>
                  </a:lnTo>
                  <a:lnTo>
                    <a:pt x="562" y="148"/>
                  </a:lnTo>
                  <a:lnTo>
                    <a:pt x="562" y="148"/>
                  </a:lnTo>
                  <a:lnTo>
                    <a:pt x="560" y="150"/>
                  </a:lnTo>
                  <a:lnTo>
                    <a:pt x="560" y="150"/>
                  </a:lnTo>
                  <a:lnTo>
                    <a:pt x="560" y="155"/>
                  </a:lnTo>
                  <a:lnTo>
                    <a:pt x="558" y="155"/>
                  </a:lnTo>
                  <a:lnTo>
                    <a:pt x="558" y="155"/>
                  </a:lnTo>
                  <a:lnTo>
                    <a:pt x="558" y="157"/>
                  </a:lnTo>
                  <a:lnTo>
                    <a:pt x="556" y="157"/>
                  </a:lnTo>
                  <a:lnTo>
                    <a:pt x="556" y="159"/>
                  </a:lnTo>
                  <a:lnTo>
                    <a:pt x="554" y="159"/>
                  </a:lnTo>
                  <a:lnTo>
                    <a:pt x="552" y="159"/>
                  </a:lnTo>
                  <a:lnTo>
                    <a:pt x="552" y="159"/>
                  </a:lnTo>
                  <a:lnTo>
                    <a:pt x="550" y="157"/>
                  </a:lnTo>
                  <a:lnTo>
                    <a:pt x="548" y="157"/>
                  </a:lnTo>
                  <a:lnTo>
                    <a:pt x="546" y="157"/>
                  </a:lnTo>
                  <a:lnTo>
                    <a:pt x="540" y="157"/>
                  </a:lnTo>
                  <a:lnTo>
                    <a:pt x="537" y="155"/>
                  </a:lnTo>
                  <a:lnTo>
                    <a:pt x="535" y="153"/>
                  </a:lnTo>
                  <a:lnTo>
                    <a:pt x="533" y="150"/>
                  </a:lnTo>
                  <a:lnTo>
                    <a:pt x="533" y="150"/>
                  </a:lnTo>
                  <a:lnTo>
                    <a:pt x="529" y="150"/>
                  </a:lnTo>
                  <a:lnTo>
                    <a:pt x="529" y="150"/>
                  </a:lnTo>
                  <a:lnTo>
                    <a:pt x="527" y="150"/>
                  </a:lnTo>
                  <a:lnTo>
                    <a:pt x="525" y="155"/>
                  </a:lnTo>
                  <a:lnTo>
                    <a:pt x="525" y="155"/>
                  </a:lnTo>
                  <a:lnTo>
                    <a:pt x="525" y="157"/>
                  </a:lnTo>
                  <a:lnTo>
                    <a:pt x="525" y="159"/>
                  </a:lnTo>
                  <a:lnTo>
                    <a:pt x="525" y="161"/>
                  </a:lnTo>
                  <a:lnTo>
                    <a:pt x="525" y="163"/>
                  </a:lnTo>
                  <a:lnTo>
                    <a:pt x="525" y="165"/>
                  </a:lnTo>
                  <a:lnTo>
                    <a:pt x="525" y="165"/>
                  </a:lnTo>
                  <a:lnTo>
                    <a:pt x="527" y="165"/>
                  </a:lnTo>
                  <a:lnTo>
                    <a:pt x="527" y="167"/>
                  </a:lnTo>
                  <a:lnTo>
                    <a:pt x="529" y="169"/>
                  </a:lnTo>
                  <a:lnTo>
                    <a:pt x="531" y="169"/>
                  </a:lnTo>
                  <a:lnTo>
                    <a:pt x="533" y="171"/>
                  </a:lnTo>
                  <a:lnTo>
                    <a:pt x="535" y="173"/>
                  </a:lnTo>
                  <a:lnTo>
                    <a:pt x="537" y="173"/>
                  </a:lnTo>
                  <a:lnTo>
                    <a:pt x="537" y="175"/>
                  </a:lnTo>
                  <a:lnTo>
                    <a:pt x="540" y="175"/>
                  </a:lnTo>
                  <a:lnTo>
                    <a:pt x="540" y="177"/>
                  </a:lnTo>
                  <a:lnTo>
                    <a:pt x="540" y="177"/>
                  </a:lnTo>
                  <a:lnTo>
                    <a:pt x="537" y="177"/>
                  </a:lnTo>
                  <a:lnTo>
                    <a:pt x="537" y="179"/>
                  </a:lnTo>
                  <a:lnTo>
                    <a:pt x="535" y="179"/>
                  </a:lnTo>
                  <a:lnTo>
                    <a:pt x="535" y="181"/>
                  </a:lnTo>
                  <a:lnTo>
                    <a:pt x="535" y="181"/>
                  </a:lnTo>
                  <a:lnTo>
                    <a:pt x="533" y="181"/>
                  </a:lnTo>
                  <a:lnTo>
                    <a:pt x="531" y="183"/>
                  </a:lnTo>
                  <a:lnTo>
                    <a:pt x="529" y="183"/>
                  </a:lnTo>
                  <a:lnTo>
                    <a:pt x="529" y="183"/>
                  </a:lnTo>
                  <a:lnTo>
                    <a:pt x="527" y="185"/>
                  </a:lnTo>
                  <a:lnTo>
                    <a:pt x="527" y="185"/>
                  </a:lnTo>
                  <a:lnTo>
                    <a:pt x="527" y="187"/>
                  </a:lnTo>
                  <a:lnTo>
                    <a:pt x="527" y="187"/>
                  </a:lnTo>
                  <a:lnTo>
                    <a:pt x="525" y="190"/>
                  </a:lnTo>
                  <a:lnTo>
                    <a:pt x="525" y="192"/>
                  </a:lnTo>
                  <a:lnTo>
                    <a:pt x="525" y="192"/>
                  </a:lnTo>
                  <a:lnTo>
                    <a:pt x="525" y="192"/>
                  </a:lnTo>
                  <a:lnTo>
                    <a:pt x="525" y="194"/>
                  </a:lnTo>
                  <a:lnTo>
                    <a:pt x="523" y="194"/>
                  </a:lnTo>
                  <a:lnTo>
                    <a:pt x="521" y="194"/>
                  </a:lnTo>
                  <a:lnTo>
                    <a:pt x="521" y="196"/>
                  </a:lnTo>
                  <a:lnTo>
                    <a:pt x="517" y="196"/>
                  </a:lnTo>
                  <a:lnTo>
                    <a:pt x="517" y="198"/>
                  </a:lnTo>
                  <a:lnTo>
                    <a:pt x="515" y="198"/>
                  </a:lnTo>
                  <a:lnTo>
                    <a:pt x="513" y="200"/>
                  </a:lnTo>
                  <a:lnTo>
                    <a:pt x="511" y="200"/>
                  </a:lnTo>
                  <a:lnTo>
                    <a:pt x="509" y="200"/>
                  </a:lnTo>
                  <a:lnTo>
                    <a:pt x="505" y="200"/>
                  </a:lnTo>
                  <a:lnTo>
                    <a:pt x="503" y="200"/>
                  </a:lnTo>
                  <a:lnTo>
                    <a:pt x="501" y="200"/>
                  </a:lnTo>
                  <a:lnTo>
                    <a:pt x="496" y="200"/>
                  </a:lnTo>
                  <a:lnTo>
                    <a:pt x="494" y="200"/>
                  </a:lnTo>
                  <a:lnTo>
                    <a:pt x="492" y="200"/>
                  </a:lnTo>
                  <a:lnTo>
                    <a:pt x="490" y="200"/>
                  </a:lnTo>
                  <a:lnTo>
                    <a:pt x="488" y="200"/>
                  </a:lnTo>
                  <a:lnTo>
                    <a:pt x="482" y="202"/>
                  </a:lnTo>
                  <a:lnTo>
                    <a:pt x="480" y="202"/>
                  </a:lnTo>
                  <a:lnTo>
                    <a:pt x="476" y="202"/>
                  </a:lnTo>
                  <a:lnTo>
                    <a:pt x="476" y="202"/>
                  </a:lnTo>
                  <a:lnTo>
                    <a:pt x="474" y="202"/>
                  </a:lnTo>
                  <a:lnTo>
                    <a:pt x="472" y="204"/>
                  </a:lnTo>
                  <a:lnTo>
                    <a:pt x="472" y="204"/>
                  </a:lnTo>
                  <a:lnTo>
                    <a:pt x="470" y="204"/>
                  </a:lnTo>
                  <a:lnTo>
                    <a:pt x="464" y="208"/>
                  </a:lnTo>
                  <a:lnTo>
                    <a:pt x="459" y="210"/>
                  </a:lnTo>
                  <a:lnTo>
                    <a:pt x="459" y="210"/>
                  </a:lnTo>
                  <a:lnTo>
                    <a:pt x="457" y="212"/>
                  </a:lnTo>
                  <a:lnTo>
                    <a:pt x="455" y="212"/>
                  </a:lnTo>
                  <a:lnTo>
                    <a:pt x="455" y="212"/>
                  </a:lnTo>
                  <a:lnTo>
                    <a:pt x="455" y="214"/>
                  </a:lnTo>
                  <a:lnTo>
                    <a:pt x="453" y="214"/>
                  </a:lnTo>
                  <a:lnTo>
                    <a:pt x="451" y="214"/>
                  </a:lnTo>
                  <a:lnTo>
                    <a:pt x="451" y="214"/>
                  </a:lnTo>
                  <a:lnTo>
                    <a:pt x="447" y="212"/>
                  </a:lnTo>
                  <a:lnTo>
                    <a:pt x="445" y="210"/>
                  </a:lnTo>
                  <a:lnTo>
                    <a:pt x="441" y="210"/>
                  </a:lnTo>
                  <a:lnTo>
                    <a:pt x="437" y="210"/>
                  </a:lnTo>
                  <a:lnTo>
                    <a:pt x="435" y="212"/>
                  </a:lnTo>
                  <a:lnTo>
                    <a:pt x="429" y="210"/>
                  </a:lnTo>
                  <a:lnTo>
                    <a:pt x="427" y="208"/>
                  </a:lnTo>
                  <a:lnTo>
                    <a:pt x="423" y="206"/>
                  </a:lnTo>
                  <a:lnTo>
                    <a:pt x="418" y="206"/>
                  </a:lnTo>
                  <a:lnTo>
                    <a:pt x="414" y="206"/>
                  </a:lnTo>
                  <a:lnTo>
                    <a:pt x="408" y="204"/>
                  </a:lnTo>
                  <a:lnTo>
                    <a:pt x="404" y="204"/>
                  </a:lnTo>
                  <a:lnTo>
                    <a:pt x="402" y="202"/>
                  </a:lnTo>
                  <a:lnTo>
                    <a:pt x="400" y="198"/>
                  </a:lnTo>
                  <a:lnTo>
                    <a:pt x="398" y="198"/>
                  </a:lnTo>
                  <a:lnTo>
                    <a:pt x="396" y="198"/>
                  </a:lnTo>
                  <a:lnTo>
                    <a:pt x="396" y="198"/>
                  </a:lnTo>
                  <a:lnTo>
                    <a:pt x="392" y="198"/>
                  </a:lnTo>
                  <a:lnTo>
                    <a:pt x="390" y="198"/>
                  </a:lnTo>
                  <a:lnTo>
                    <a:pt x="384" y="196"/>
                  </a:lnTo>
                  <a:lnTo>
                    <a:pt x="379" y="196"/>
                  </a:lnTo>
                  <a:lnTo>
                    <a:pt x="373" y="196"/>
                  </a:lnTo>
                  <a:lnTo>
                    <a:pt x="371" y="196"/>
                  </a:lnTo>
                  <a:lnTo>
                    <a:pt x="369" y="196"/>
                  </a:lnTo>
                  <a:lnTo>
                    <a:pt x="365" y="198"/>
                  </a:lnTo>
                  <a:lnTo>
                    <a:pt x="357" y="196"/>
                  </a:lnTo>
                  <a:lnTo>
                    <a:pt x="353" y="196"/>
                  </a:lnTo>
                  <a:lnTo>
                    <a:pt x="347" y="196"/>
                  </a:lnTo>
                  <a:lnTo>
                    <a:pt x="338" y="194"/>
                  </a:lnTo>
                  <a:lnTo>
                    <a:pt x="330" y="194"/>
                  </a:lnTo>
                  <a:lnTo>
                    <a:pt x="326" y="194"/>
                  </a:lnTo>
                  <a:lnTo>
                    <a:pt x="322" y="194"/>
                  </a:lnTo>
                  <a:lnTo>
                    <a:pt x="318" y="194"/>
                  </a:lnTo>
                  <a:lnTo>
                    <a:pt x="318" y="194"/>
                  </a:lnTo>
                  <a:lnTo>
                    <a:pt x="318" y="192"/>
                  </a:lnTo>
                  <a:lnTo>
                    <a:pt x="316" y="192"/>
                  </a:lnTo>
                  <a:lnTo>
                    <a:pt x="314" y="190"/>
                  </a:lnTo>
                  <a:lnTo>
                    <a:pt x="312" y="187"/>
                  </a:lnTo>
                  <a:lnTo>
                    <a:pt x="308" y="185"/>
                  </a:lnTo>
                  <a:lnTo>
                    <a:pt x="308" y="185"/>
                  </a:lnTo>
                  <a:lnTo>
                    <a:pt x="305" y="183"/>
                  </a:lnTo>
                  <a:lnTo>
                    <a:pt x="301" y="177"/>
                  </a:lnTo>
                  <a:lnTo>
                    <a:pt x="299" y="175"/>
                  </a:lnTo>
                  <a:lnTo>
                    <a:pt x="299" y="173"/>
                  </a:lnTo>
                  <a:lnTo>
                    <a:pt x="297" y="173"/>
                  </a:lnTo>
                  <a:lnTo>
                    <a:pt x="297" y="171"/>
                  </a:lnTo>
                  <a:lnTo>
                    <a:pt x="295" y="171"/>
                  </a:lnTo>
                  <a:lnTo>
                    <a:pt x="293" y="171"/>
                  </a:lnTo>
                  <a:lnTo>
                    <a:pt x="293" y="169"/>
                  </a:lnTo>
                  <a:lnTo>
                    <a:pt x="293" y="169"/>
                  </a:lnTo>
                  <a:lnTo>
                    <a:pt x="293" y="167"/>
                  </a:lnTo>
                  <a:lnTo>
                    <a:pt x="293" y="167"/>
                  </a:lnTo>
                  <a:lnTo>
                    <a:pt x="289" y="167"/>
                  </a:lnTo>
                  <a:lnTo>
                    <a:pt x="285" y="167"/>
                  </a:lnTo>
                  <a:lnTo>
                    <a:pt x="283" y="165"/>
                  </a:lnTo>
                  <a:lnTo>
                    <a:pt x="279" y="163"/>
                  </a:lnTo>
                  <a:lnTo>
                    <a:pt x="277" y="163"/>
                  </a:lnTo>
                  <a:lnTo>
                    <a:pt x="273" y="161"/>
                  </a:lnTo>
                  <a:lnTo>
                    <a:pt x="269" y="159"/>
                  </a:lnTo>
                  <a:lnTo>
                    <a:pt x="269" y="159"/>
                  </a:lnTo>
                  <a:lnTo>
                    <a:pt x="264" y="157"/>
                  </a:lnTo>
                  <a:lnTo>
                    <a:pt x="262" y="155"/>
                  </a:lnTo>
                  <a:lnTo>
                    <a:pt x="260" y="155"/>
                  </a:lnTo>
                  <a:lnTo>
                    <a:pt x="258" y="155"/>
                  </a:lnTo>
                  <a:lnTo>
                    <a:pt x="252" y="153"/>
                  </a:lnTo>
                  <a:lnTo>
                    <a:pt x="250" y="153"/>
                  </a:lnTo>
                  <a:lnTo>
                    <a:pt x="246" y="153"/>
                  </a:lnTo>
                  <a:lnTo>
                    <a:pt x="244" y="153"/>
                  </a:lnTo>
                  <a:lnTo>
                    <a:pt x="240" y="153"/>
                  </a:lnTo>
                  <a:lnTo>
                    <a:pt x="238" y="150"/>
                  </a:lnTo>
                  <a:lnTo>
                    <a:pt x="236" y="150"/>
                  </a:lnTo>
                  <a:lnTo>
                    <a:pt x="234" y="150"/>
                  </a:lnTo>
                  <a:lnTo>
                    <a:pt x="232" y="150"/>
                  </a:lnTo>
                  <a:lnTo>
                    <a:pt x="232" y="150"/>
                  </a:lnTo>
                  <a:lnTo>
                    <a:pt x="230" y="150"/>
                  </a:lnTo>
                  <a:lnTo>
                    <a:pt x="227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3" y="148"/>
                  </a:lnTo>
                  <a:lnTo>
                    <a:pt x="221" y="148"/>
                  </a:lnTo>
                  <a:lnTo>
                    <a:pt x="221" y="148"/>
                  </a:lnTo>
                  <a:lnTo>
                    <a:pt x="221" y="148"/>
                  </a:lnTo>
                  <a:lnTo>
                    <a:pt x="219" y="148"/>
                  </a:lnTo>
                  <a:lnTo>
                    <a:pt x="217" y="146"/>
                  </a:lnTo>
                  <a:lnTo>
                    <a:pt x="217" y="144"/>
                  </a:lnTo>
                  <a:lnTo>
                    <a:pt x="217" y="144"/>
                  </a:lnTo>
                  <a:lnTo>
                    <a:pt x="215" y="142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36"/>
                  </a:lnTo>
                  <a:lnTo>
                    <a:pt x="215" y="136"/>
                  </a:lnTo>
                  <a:lnTo>
                    <a:pt x="215" y="136"/>
                  </a:lnTo>
                  <a:lnTo>
                    <a:pt x="217" y="134"/>
                  </a:lnTo>
                  <a:lnTo>
                    <a:pt x="217" y="134"/>
                  </a:lnTo>
                  <a:lnTo>
                    <a:pt x="217" y="132"/>
                  </a:lnTo>
                  <a:lnTo>
                    <a:pt x="215" y="132"/>
                  </a:lnTo>
                  <a:lnTo>
                    <a:pt x="213" y="130"/>
                  </a:lnTo>
                  <a:lnTo>
                    <a:pt x="213" y="128"/>
                  </a:lnTo>
                  <a:lnTo>
                    <a:pt x="213" y="128"/>
                  </a:lnTo>
                  <a:lnTo>
                    <a:pt x="213" y="126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13" y="122"/>
                  </a:lnTo>
                  <a:lnTo>
                    <a:pt x="211" y="122"/>
                  </a:lnTo>
                  <a:lnTo>
                    <a:pt x="209" y="120"/>
                  </a:lnTo>
                  <a:lnTo>
                    <a:pt x="209" y="118"/>
                  </a:lnTo>
                  <a:lnTo>
                    <a:pt x="207" y="118"/>
                  </a:lnTo>
                  <a:lnTo>
                    <a:pt x="205" y="116"/>
                  </a:lnTo>
                  <a:lnTo>
                    <a:pt x="205" y="116"/>
                  </a:lnTo>
                  <a:lnTo>
                    <a:pt x="203" y="113"/>
                  </a:lnTo>
                  <a:lnTo>
                    <a:pt x="201" y="111"/>
                  </a:lnTo>
                  <a:lnTo>
                    <a:pt x="201" y="111"/>
                  </a:lnTo>
                  <a:lnTo>
                    <a:pt x="199" y="109"/>
                  </a:lnTo>
                  <a:lnTo>
                    <a:pt x="199" y="107"/>
                  </a:lnTo>
                  <a:lnTo>
                    <a:pt x="197" y="107"/>
                  </a:lnTo>
                  <a:lnTo>
                    <a:pt x="197" y="105"/>
                  </a:lnTo>
                  <a:lnTo>
                    <a:pt x="195" y="105"/>
                  </a:lnTo>
                  <a:lnTo>
                    <a:pt x="195" y="105"/>
                  </a:lnTo>
                  <a:lnTo>
                    <a:pt x="193" y="103"/>
                  </a:lnTo>
                  <a:lnTo>
                    <a:pt x="193" y="103"/>
                  </a:lnTo>
                  <a:lnTo>
                    <a:pt x="191" y="101"/>
                  </a:lnTo>
                  <a:lnTo>
                    <a:pt x="191" y="101"/>
                  </a:lnTo>
                  <a:lnTo>
                    <a:pt x="191" y="101"/>
                  </a:lnTo>
                  <a:lnTo>
                    <a:pt x="188" y="101"/>
                  </a:lnTo>
                  <a:lnTo>
                    <a:pt x="188" y="101"/>
                  </a:lnTo>
                  <a:lnTo>
                    <a:pt x="186" y="101"/>
                  </a:lnTo>
                  <a:lnTo>
                    <a:pt x="186" y="101"/>
                  </a:lnTo>
                  <a:lnTo>
                    <a:pt x="186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2" y="99"/>
                  </a:lnTo>
                  <a:lnTo>
                    <a:pt x="180" y="99"/>
                  </a:lnTo>
                  <a:lnTo>
                    <a:pt x="178" y="99"/>
                  </a:lnTo>
                  <a:lnTo>
                    <a:pt x="176" y="99"/>
                  </a:lnTo>
                  <a:lnTo>
                    <a:pt x="176" y="99"/>
                  </a:lnTo>
                  <a:lnTo>
                    <a:pt x="174" y="99"/>
                  </a:lnTo>
                  <a:lnTo>
                    <a:pt x="174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68" y="95"/>
                  </a:lnTo>
                  <a:lnTo>
                    <a:pt x="166" y="95"/>
                  </a:lnTo>
                  <a:lnTo>
                    <a:pt x="166" y="93"/>
                  </a:lnTo>
                  <a:lnTo>
                    <a:pt x="164" y="91"/>
                  </a:lnTo>
                  <a:lnTo>
                    <a:pt x="164" y="91"/>
                  </a:lnTo>
                  <a:lnTo>
                    <a:pt x="162" y="91"/>
                  </a:lnTo>
                  <a:lnTo>
                    <a:pt x="158" y="89"/>
                  </a:lnTo>
                  <a:lnTo>
                    <a:pt x="158" y="89"/>
                  </a:lnTo>
                  <a:lnTo>
                    <a:pt x="156" y="89"/>
                  </a:lnTo>
                  <a:lnTo>
                    <a:pt x="156" y="89"/>
                  </a:lnTo>
                  <a:lnTo>
                    <a:pt x="156" y="87"/>
                  </a:lnTo>
                  <a:lnTo>
                    <a:pt x="156" y="87"/>
                  </a:lnTo>
                  <a:lnTo>
                    <a:pt x="156" y="87"/>
                  </a:lnTo>
                  <a:lnTo>
                    <a:pt x="156" y="87"/>
                  </a:lnTo>
                  <a:lnTo>
                    <a:pt x="156" y="85"/>
                  </a:lnTo>
                  <a:lnTo>
                    <a:pt x="154" y="85"/>
                  </a:lnTo>
                  <a:lnTo>
                    <a:pt x="152" y="85"/>
                  </a:lnTo>
                  <a:lnTo>
                    <a:pt x="152" y="83"/>
                  </a:lnTo>
                  <a:lnTo>
                    <a:pt x="149" y="83"/>
                  </a:lnTo>
                  <a:lnTo>
                    <a:pt x="149" y="83"/>
                  </a:lnTo>
                  <a:lnTo>
                    <a:pt x="149" y="83"/>
                  </a:lnTo>
                  <a:lnTo>
                    <a:pt x="152" y="81"/>
                  </a:lnTo>
                  <a:lnTo>
                    <a:pt x="152" y="81"/>
                  </a:lnTo>
                  <a:lnTo>
                    <a:pt x="149" y="81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7" y="79"/>
                  </a:lnTo>
                  <a:lnTo>
                    <a:pt x="147" y="79"/>
                  </a:lnTo>
                  <a:lnTo>
                    <a:pt x="145" y="79"/>
                  </a:lnTo>
                  <a:lnTo>
                    <a:pt x="145" y="79"/>
                  </a:lnTo>
                  <a:lnTo>
                    <a:pt x="145" y="79"/>
                  </a:lnTo>
                  <a:lnTo>
                    <a:pt x="143" y="79"/>
                  </a:lnTo>
                  <a:lnTo>
                    <a:pt x="143" y="79"/>
                  </a:lnTo>
                  <a:lnTo>
                    <a:pt x="141" y="79"/>
                  </a:lnTo>
                  <a:lnTo>
                    <a:pt x="139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5" y="81"/>
                  </a:lnTo>
                  <a:lnTo>
                    <a:pt x="135" y="81"/>
                  </a:lnTo>
                  <a:lnTo>
                    <a:pt x="135" y="83"/>
                  </a:lnTo>
                  <a:lnTo>
                    <a:pt x="135" y="83"/>
                  </a:lnTo>
                  <a:lnTo>
                    <a:pt x="137" y="87"/>
                  </a:lnTo>
                  <a:lnTo>
                    <a:pt x="137" y="87"/>
                  </a:lnTo>
                  <a:lnTo>
                    <a:pt x="135" y="89"/>
                  </a:lnTo>
                  <a:lnTo>
                    <a:pt x="135" y="89"/>
                  </a:lnTo>
                  <a:lnTo>
                    <a:pt x="133" y="91"/>
                  </a:lnTo>
                  <a:lnTo>
                    <a:pt x="131" y="91"/>
                  </a:lnTo>
                  <a:lnTo>
                    <a:pt x="129" y="91"/>
                  </a:lnTo>
                  <a:lnTo>
                    <a:pt x="127" y="91"/>
                  </a:lnTo>
                  <a:lnTo>
                    <a:pt x="125" y="91"/>
                  </a:lnTo>
                  <a:lnTo>
                    <a:pt x="125" y="93"/>
                  </a:lnTo>
                  <a:lnTo>
                    <a:pt x="125" y="95"/>
                  </a:lnTo>
                  <a:lnTo>
                    <a:pt x="125" y="95"/>
                  </a:lnTo>
                  <a:lnTo>
                    <a:pt x="125" y="97"/>
                  </a:lnTo>
                  <a:lnTo>
                    <a:pt x="125" y="99"/>
                  </a:lnTo>
                  <a:lnTo>
                    <a:pt x="127" y="103"/>
                  </a:lnTo>
                  <a:lnTo>
                    <a:pt x="129" y="107"/>
                  </a:lnTo>
                  <a:lnTo>
                    <a:pt x="129" y="107"/>
                  </a:lnTo>
                  <a:lnTo>
                    <a:pt x="131" y="109"/>
                  </a:lnTo>
                  <a:lnTo>
                    <a:pt x="131" y="111"/>
                  </a:lnTo>
                  <a:lnTo>
                    <a:pt x="131" y="111"/>
                  </a:lnTo>
                  <a:lnTo>
                    <a:pt x="131" y="113"/>
                  </a:lnTo>
                  <a:lnTo>
                    <a:pt x="131" y="116"/>
                  </a:lnTo>
                  <a:lnTo>
                    <a:pt x="131" y="116"/>
                  </a:lnTo>
                  <a:lnTo>
                    <a:pt x="129" y="116"/>
                  </a:lnTo>
                  <a:lnTo>
                    <a:pt x="127" y="116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3" y="120"/>
                  </a:lnTo>
                  <a:lnTo>
                    <a:pt x="123" y="120"/>
                  </a:lnTo>
                  <a:lnTo>
                    <a:pt x="121" y="120"/>
                  </a:lnTo>
                  <a:lnTo>
                    <a:pt x="121" y="118"/>
                  </a:lnTo>
                  <a:lnTo>
                    <a:pt x="119" y="118"/>
                  </a:lnTo>
                  <a:lnTo>
                    <a:pt x="119" y="118"/>
                  </a:lnTo>
                  <a:lnTo>
                    <a:pt x="117" y="118"/>
                  </a:lnTo>
                  <a:lnTo>
                    <a:pt x="115" y="118"/>
                  </a:lnTo>
                  <a:lnTo>
                    <a:pt x="112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06" y="118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0" y="116"/>
                  </a:lnTo>
                  <a:lnTo>
                    <a:pt x="96" y="113"/>
                  </a:lnTo>
                  <a:lnTo>
                    <a:pt x="96" y="113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94" y="116"/>
                  </a:lnTo>
                  <a:lnTo>
                    <a:pt x="96" y="118"/>
                  </a:lnTo>
                  <a:lnTo>
                    <a:pt x="94" y="124"/>
                  </a:lnTo>
                  <a:lnTo>
                    <a:pt x="94" y="128"/>
                  </a:lnTo>
                  <a:lnTo>
                    <a:pt x="94" y="132"/>
                  </a:lnTo>
                  <a:lnTo>
                    <a:pt x="94" y="134"/>
                  </a:lnTo>
                  <a:lnTo>
                    <a:pt x="94" y="138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6" y="144"/>
                  </a:lnTo>
                  <a:lnTo>
                    <a:pt x="98" y="144"/>
                  </a:lnTo>
                  <a:lnTo>
                    <a:pt x="100" y="144"/>
                  </a:lnTo>
                  <a:lnTo>
                    <a:pt x="100" y="146"/>
                  </a:lnTo>
                  <a:lnTo>
                    <a:pt x="100" y="146"/>
                  </a:lnTo>
                  <a:lnTo>
                    <a:pt x="100" y="148"/>
                  </a:lnTo>
                  <a:lnTo>
                    <a:pt x="100" y="150"/>
                  </a:lnTo>
                  <a:lnTo>
                    <a:pt x="100" y="150"/>
                  </a:lnTo>
                  <a:lnTo>
                    <a:pt x="100" y="150"/>
                  </a:lnTo>
                  <a:lnTo>
                    <a:pt x="98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4" y="148"/>
                  </a:lnTo>
                  <a:lnTo>
                    <a:pt x="92" y="150"/>
                  </a:lnTo>
                  <a:lnTo>
                    <a:pt x="92" y="150"/>
                  </a:lnTo>
                  <a:lnTo>
                    <a:pt x="90" y="148"/>
                  </a:lnTo>
                  <a:lnTo>
                    <a:pt x="90" y="148"/>
                  </a:lnTo>
                  <a:lnTo>
                    <a:pt x="88" y="146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2" y="148"/>
                  </a:lnTo>
                  <a:lnTo>
                    <a:pt x="78" y="148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3" y="150"/>
                  </a:lnTo>
                  <a:lnTo>
                    <a:pt x="71" y="150"/>
                  </a:lnTo>
                  <a:lnTo>
                    <a:pt x="69" y="150"/>
                  </a:lnTo>
                  <a:lnTo>
                    <a:pt x="67" y="153"/>
                  </a:lnTo>
                  <a:lnTo>
                    <a:pt x="65" y="153"/>
                  </a:lnTo>
                  <a:lnTo>
                    <a:pt x="63" y="155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5" y="157"/>
                  </a:lnTo>
                  <a:lnTo>
                    <a:pt x="65" y="157"/>
                  </a:lnTo>
                  <a:lnTo>
                    <a:pt x="67" y="157"/>
                  </a:lnTo>
                  <a:lnTo>
                    <a:pt x="69" y="157"/>
                  </a:lnTo>
                  <a:lnTo>
                    <a:pt x="71" y="159"/>
                  </a:lnTo>
                  <a:lnTo>
                    <a:pt x="73" y="159"/>
                  </a:lnTo>
                  <a:lnTo>
                    <a:pt x="73" y="159"/>
                  </a:lnTo>
                  <a:lnTo>
                    <a:pt x="73" y="159"/>
                  </a:lnTo>
                  <a:lnTo>
                    <a:pt x="71" y="159"/>
                  </a:lnTo>
                  <a:lnTo>
                    <a:pt x="71" y="161"/>
                  </a:lnTo>
                  <a:lnTo>
                    <a:pt x="71" y="161"/>
                  </a:lnTo>
                  <a:lnTo>
                    <a:pt x="71" y="161"/>
                  </a:lnTo>
                  <a:lnTo>
                    <a:pt x="73" y="163"/>
                  </a:lnTo>
                  <a:lnTo>
                    <a:pt x="73" y="165"/>
                  </a:lnTo>
                  <a:lnTo>
                    <a:pt x="73" y="167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6" y="171"/>
                  </a:lnTo>
                  <a:lnTo>
                    <a:pt x="78" y="173"/>
                  </a:lnTo>
                  <a:lnTo>
                    <a:pt x="78" y="173"/>
                  </a:lnTo>
                  <a:lnTo>
                    <a:pt x="82" y="177"/>
                  </a:lnTo>
                  <a:lnTo>
                    <a:pt x="82" y="179"/>
                  </a:lnTo>
                  <a:lnTo>
                    <a:pt x="84" y="181"/>
                  </a:lnTo>
                  <a:lnTo>
                    <a:pt x="84" y="183"/>
                  </a:lnTo>
                  <a:lnTo>
                    <a:pt x="84" y="183"/>
                  </a:lnTo>
                  <a:lnTo>
                    <a:pt x="86" y="185"/>
                  </a:lnTo>
                  <a:lnTo>
                    <a:pt x="86" y="185"/>
                  </a:lnTo>
                  <a:lnTo>
                    <a:pt x="86" y="185"/>
                  </a:lnTo>
                  <a:lnTo>
                    <a:pt x="88" y="187"/>
                  </a:lnTo>
                  <a:lnTo>
                    <a:pt x="86" y="187"/>
                  </a:lnTo>
                  <a:lnTo>
                    <a:pt x="84" y="187"/>
                  </a:lnTo>
                  <a:lnTo>
                    <a:pt x="84" y="187"/>
                  </a:lnTo>
                  <a:lnTo>
                    <a:pt x="82" y="190"/>
                  </a:lnTo>
                  <a:lnTo>
                    <a:pt x="82" y="190"/>
                  </a:lnTo>
                  <a:lnTo>
                    <a:pt x="82" y="190"/>
                  </a:lnTo>
                  <a:lnTo>
                    <a:pt x="82" y="190"/>
                  </a:lnTo>
                  <a:lnTo>
                    <a:pt x="84" y="190"/>
                  </a:lnTo>
                  <a:lnTo>
                    <a:pt x="84" y="192"/>
                  </a:lnTo>
                  <a:lnTo>
                    <a:pt x="86" y="192"/>
                  </a:lnTo>
                  <a:lnTo>
                    <a:pt x="84" y="192"/>
                  </a:lnTo>
                  <a:lnTo>
                    <a:pt x="82" y="194"/>
                  </a:lnTo>
                  <a:lnTo>
                    <a:pt x="80" y="194"/>
                  </a:lnTo>
                  <a:lnTo>
                    <a:pt x="80" y="196"/>
                  </a:lnTo>
                  <a:lnTo>
                    <a:pt x="82" y="196"/>
                  </a:lnTo>
                  <a:lnTo>
                    <a:pt x="82" y="198"/>
                  </a:lnTo>
                  <a:lnTo>
                    <a:pt x="82" y="200"/>
                  </a:lnTo>
                  <a:lnTo>
                    <a:pt x="84" y="202"/>
                  </a:lnTo>
                  <a:lnTo>
                    <a:pt x="84" y="202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86" y="206"/>
                  </a:lnTo>
                  <a:lnTo>
                    <a:pt x="86" y="206"/>
                  </a:lnTo>
                  <a:lnTo>
                    <a:pt x="86" y="206"/>
                  </a:lnTo>
                  <a:lnTo>
                    <a:pt x="80" y="206"/>
                  </a:lnTo>
                  <a:lnTo>
                    <a:pt x="80" y="208"/>
                  </a:lnTo>
                  <a:lnTo>
                    <a:pt x="80" y="208"/>
                  </a:lnTo>
                  <a:lnTo>
                    <a:pt x="76" y="210"/>
                  </a:lnTo>
                  <a:lnTo>
                    <a:pt x="73" y="210"/>
                  </a:lnTo>
                  <a:lnTo>
                    <a:pt x="73" y="210"/>
                  </a:lnTo>
                  <a:lnTo>
                    <a:pt x="71" y="212"/>
                  </a:lnTo>
                  <a:lnTo>
                    <a:pt x="65" y="214"/>
                  </a:lnTo>
                  <a:lnTo>
                    <a:pt x="63" y="216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20"/>
                  </a:lnTo>
                  <a:lnTo>
                    <a:pt x="59" y="225"/>
                  </a:lnTo>
                  <a:lnTo>
                    <a:pt x="57" y="225"/>
                  </a:lnTo>
                  <a:lnTo>
                    <a:pt x="55" y="225"/>
                  </a:lnTo>
                  <a:lnTo>
                    <a:pt x="53" y="225"/>
                  </a:lnTo>
                  <a:lnTo>
                    <a:pt x="51" y="225"/>
                  </a:lnTo>
                  <a:lnTo>
                    <a:pt x="47" y="225"/>
                  </a:lnTo>
                  <a:lnTo>
                    <a:pt x="45" y="225"/>
                  </a:lnTo>
                  <a:lnTo>
                    <a:pt x="43" y="225"/>
                  </a:lnTo>
                  <a:lnTo>
                    <a:pt x="41" y="225"/>
                  </a:lnTo>
                  <a:lnTo>
                    <a:pt x="41" y="225"/>
                  </a:lnTo>
                  <a:lnTo>
                    <a:pt x="39" y="229"/>
                  </a:lnTo>
                  <a:lnTo>
                    <a:pt x="39" y="229"/>
                  </a:lnTo>
                  <a:lnTo>
                    <a:pt x="39" y="229"/>
                  </a:lnTo>
                  <a:lnTo>
                    <a:pt x="39" y="231"/>
                  </a:lnTo>
                  <a:lnTo>
                    <a:pt x="39" y="233"/>
                  </a:lnTo>
                  <a:lnTo>
                    <a:pt x="39" y="235"/>
                  </a:lnTo>
                  <a:lnTo>
                    <a:pt x="39" y="235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4" y="237"/>
                  </a:lnTo>
                  <a:lnTo>
                    <a:pt x="32" y="237"/>
                  </a:lnTo>
                  <a:lnTo>
                    <a:pt x="30" y="237"/>
                  </a:lnTo>
                  <a:lnTo>
                    <a:pt x="30" y="237"/>
                  </a:lnTo>
                  <a:lnTo>
                    <a:pt x="26" y="237"/>
                  </a:lnTo>
                  <a:lnTo>
                    <a:pt x="26" y="237"/>
                  </a:lnTo>
                  <a:lnTo>
                    <a:pt x="24" y="233"/>
                  </a:lnTo>
                  <a:lnTo>
                    <a:pt x="24" y="233"/>
                  </a:lnTo>
                  <a:lnTo>
                    <a:pt x="24" y="233"/>
                  </a:lnTo>
                  <a:lnTo>
                    <a:pt x="22" y="233"/>
                  </a:lnTo>
                  <a:lnTo>
                    <a:pt x="20" y="235"/>
                  </a:lnTo>
                  <a:lnTo>
                    <a:pt x="18" y="235"/>
                  </a:lnTo>
                  <a:lnTo>
                    <a:pt x="16" y="235"/>
                  </a:lnTo>
                  <a:lnTo>
                    <a:pt x="14" y="235"/>
                  </a:lnTo>
                  <a:lnTo>
                    <a:pt x="14" y="235"/>
                  </a:lnTo>
                  <a:lnTo>
                    <a:pt x="14" y="235"/>
                  </a:lnTo>
                  <a:lnTo>
                    <a:pt x="14" y="235"/>
                  </a:lnTo>
                  <a:lnTo>
                    <a:pt x="14" y="237"/>
                  </a:lnTo>
                  <a:lnTo>
                    <a:pt x="14" y="237"/>
                  </a:lnTo>
                  <a:lnTo>
                    <a:pt x="14" y="237"/>
                  </a:lnTo>
                  <a:lnTo>
                    <a:pt x="12" y="237"/>
                  </a:lnTo>
                  <a:lnTo>
                    <a:pt x="12" y="239"/>
                  </a:lnTo>
                  <a:lnTo>
                    <a:pt x="8" y="241"/>
                  </a:lnTo>
                  <a:lnTo>
                    <a:pt x="6" y="241"/>
                  </a:lnTo>
                  <a:lnTo>
                    <a:pt x="4" y="241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2" y="243"/>
                  </a:lnTo>
                  <a:lnTo>
                    <a:pt x="2" y="243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4" y="247"/>
                  </a:lnTo>
                  <a:lnTo>
                    <a:pt x="4" y="249"/>
                  </a:lnTo>
                  <a:lnTo>
                    <a:pt x="4" y="249"/>
                  </a:lnTo>
                  <a:lnTo>
                    <a:pt x="4" y="249"/>
                  </a:lnTo>
                  <a:lnTo>
                    <a:pt x="4" y="251"/>
                  </a:lnTo>
                  <a:lnTo>
                    <a:pt x="2" y="251"/>
                  </a:lnTo>
                  <a:lnTo>
                    <a:pt x="0" y="251"/>
                  </a:lnTo>
                  <a:lnTo>
                    <a:pt x="0" y="253"/>
                  </a:lnTo>
                  <a:lnTo>
                    <a:pt x="2" y="255"/>
                  </a:lnTo>
                  <a:lnTo>
                    <a:pt x="2" y="255"/>
                  </a:lnTo>
                  <a:lnTo>
                    <a:pt x="4" y="257"/>
                  </a:lnTo>
                  <a:lnTo>
                    <a:pt x="4" y="259"/>
                  </a:lnTo>
                  <a:lnTo>
                    <a:pt x="6" y="259"/>
                  </a:lnTo>
                  <a:lnTo>
                    <a:pt x="6" y="262"/>
                  </a:lnTo>
                  <a:lnTo>
                    <a:pt x="6" y="262"/>
                  </a:lnTo>
                  <a:lnTo>
                    <a:pt x="4" y="262"/>
                  </a:lnTo>
                  <a:lnTo>
                    <a:pt x="4" y="262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6" y="266"/>
                  </a:lnTo>
                  <a:lnTo>
                    <a:pt x="6" y="268"/>
                  </a:lnTo>
                  <a:lnTo>
                    <a:pt x="8" y="268"/>
                  </a:lnTo>
                  <a:lnTo>
                    <a:pt x="10" y="268"/>
                  </a:lnTo>
                  <a:lnTo>
                    <a:pt x="10" y="268"/>
                  </a:lnTo>
                  <a:lnTo>
                    <a:pt x="10" y="268"/>
                  </a:lnTo>
                  <a:lnTo>
                    <a:pt x="12" y="266"/>
                  </a:lnTo>
                  <a:lnTo>
                    <a:pt x="12" y="266"/>
                  </a:lnTo>
                  <a:lnTo>
                    <a:pt x="14" y="266"/>
                  </a:lnTo>
                  <a:lnTo>
                    <a:pt x="18" y="268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2"/>
                  </a:lnTo>
                  <a:lnTo>
                    <a:pt x="22" y="274"/>
                  </a:lnTo>
                  <a:lnTo>
                    <a:pt x="22" y="276"/>
                  </a:lnTo>
                  <a:lnTo>
                    <a:pt x="24" y="276"/>
                  </a:lnTo>
                  <a:lnTo>
                    <a:pt x="24" y="278"/>
                  </a:lnTo>
                  <a:lnTo>
                    <a:pt x="26" y="280"/>
                  </a:lnTo>
                  <a:lnTo>
                    <a:pt x="26" y="282"/>
                  </a:lnTo>
                  <a:lnTo>
                    <a:pt x="26" y="282"/>
                  </a:lnTo>
                  <a:lnTo>
                    <a:pt x="28" y="282"/>
                  </a:lnTo>
                  <a:lnTo>
                    <a:pt x="28" y="284"/>
                  </a:lnTo>
                  <a:lnTo>
                    <a:pt x="28" y="286"/>
                  </a:lnTo>
                  <a:lnTo>
                    <a:pt x="28" y="286"/>
                  </a:lnTo>
                  <a:lnTo>
                    <a:pt x="28" y="288"/>
                  </a:lnTo>
                  <a:lnTo>
                    <a:pt x="30" y="288"/>
                  </a:lnTo>
                  <a:lnTo>
                    <a:pt x="32" y="290"/>
                  </a:lnTo>
                  <a:lnTo>
                    <a:pt x="32" y="290"/>
                  </a:lnTo>
                  <a:lnTo>
                    <a:pt x="30" y="292"/>
                  </a:lnTo>
                  <a:lnTo>
                    <a:pt x="30" y="292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26" y="292"/>
                  </a:lnTo>
                  <a:lnTo>
                    <a:pt x="26" y="292"/>
                  </a:lnTo>
                  <a:lnTo>
                    <a:pt x="26" y="292"/>
                  </a:lnTo>
                  <a:lnTo>
                    <a:pt x="26" y="292"/>
                  </a:lnTo>
                  <a:lnTo>
                    <a:pt x="24" y="292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4" y="296"/>
                  </a:lnTo>
                  <a:lnTo>
                    <a:pt x="24" y="296"/>
                  </a:lnTo>
                  <a:lnTo>
                    <a:pt x="24" y="296"/>
                  </a:lnTo>
                  <a:lnTo>
                    <a:pt x="26" y="296"/>
                  </a:lnTo>
                  <a:lnTo>
                    <a:pt x="26" y="296"/>
                  </a:lnTo>
                  <a:lnTo>
                    <a:pt x="28" y="296"/>
                  </a:lnTo>
                  <a:lnTo>
                    <a:pt x="30" y="299"/>
                  </a:lnTo>
                  <a:lnTo>
                    <a:pt x="30" y="299"/>
                  </a:lnTo>
                  <a:lnTo>
                    <a:pt x="30" y="299"/>
                  </a:lnTo>
                  <a:lnTo>
                    <a:pt x="32" y="296"/>
                  </a:lnTo>
                  <a:lnTo>
                    <a:pt x="34" y="299"/>
                  </a:lnTo>
                  <a:lnTo>
                    <a:pt x="37" y="299"/>
                  </a:lnTo>
                  <a:lnTo>
                    <a:pt x="39" y="299"/>
                  </a:lnTo>
                  <a:lnTo>
                    <a:pt x="39" y="303"/>
                  </a:lnTo>
                  <a:lnTo>
                    <a:pt x="41" y="303"/>
                  </a:lnTo>
                  <a:lnTo>
                    <a:pt x="41" y="303"/>
                  </a:lnTo>
                  <a:lnTo>
                    <a:pt x="43" y="303"/>
                  </a:lnTo>
                  <a:lnTo>
                    <a:pt x="45" y="303"/>
                  </a:lnTo>
                  <a:lnTo>
                    <a:pt x="47" y="305"/>
                  </a:lnTo>
                  <a:lnTo>
                    <a:pt x="47" y="305"/>
                  </a:lnTo>
                  <a:lnTo>
                    <a:pt x="49" y="307"/>
                  </a:lnTo>
                  <a:lnTo>
                    <a:pt x="49" y="307"/>
                  </a:lnTo>
                  <a:lnTo>
                    <a:pt x="49" y="309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9" y="315"/>
                  </a:lnTo>
                  <a:lnTo>
                    <a:pt x="49" y="315"/>
                  </a:lnTo>
                  <a:lnTo>
                    <a:pt x="51" y="315"/>
                  </a:lnTo>
                  <a:lnTo>
                    <a:pt x="51" y="317"/>
                  </a:lnTo>
                  <a:lnTo>
                    <a:pt x="53" y="317"/>
                  </a:lnTo>
                  <a:lnTo>
                    <a:pt x="53" y="317"/>
                  </a:lnTo>
                  <a:lnTo>
                    <a:pt x="55" y="319"/>
                  </a:lnTo>
                  <a:lnTo>
                    <a:pt x="55" y="319"/>
                  </a:lnTo>
                  <a:lnTo>
                    <a:pt x="55" y="319"/>
                  </a:lnTo>
                  <a:lnTo>
                    <a:pt x="57" y="319"/>
                  </a:lnTo>
                  <a:lnTo>
                    <a:pt x="59" y="319"/>
                  </a:lnTo>
                  <a:lnTo>
                    <a:pt x="59" y="317"/>
                  </a:lnTo>
                  <a:lnTo>
                    <a:pt x="61" y="321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3" y="323"/>
                  </a:lnTo>
                  <a:lnTo>
                    <a:pt x="65" y="323"/>
                  </a:lnTo>
                  <a:lnTo>
                    <a:pt x="69" y="325"/>
                  </a:lnTo>
                  <a:lnTo>
                    <a:pt x="73" y="325"/>
                  </a:lnTo>
                  <a:lnTo>
                    <a:pt x="76" y="325"/>
                  </a:lnTo>
                  <a:lnTo>
                    <a:pt x="76" y="325"/>
                  </a:lnTo>
                  <a:lnTo>
                    <a:pt x="78" y="325"/>
                  </a:lnTo>
                  <a:lnTo>
                    <a:pt x="80" y="325"/>
                  </a:lnTo>
                  <a:lnTo>
                    <a:pt x="80" y="325"/>
                  </a:lnTo>
                  <a:lnTo>
                    <a:pt x="82" y="325"/>
                  </a:lnTo>
                  <a:lnTo>
                    <a:pt x="82" y="325"/>
                  </a:lnTo>
                  <a:lnTo>
                    <a:pt x="82" y="325"/>
                  </a:lnTo>
                  <a:lnTo>
                    <a:pt x="82" y="325"/>
                  </a:lnTo>
                  <a:lnTo>
                    <a:pt x="84" y="325"/>
                  </a:lnTo>
                  <a:lnTo>
                    <a:pt x="84" y="325"/>
                  </a:lnTo>
                  <a:lnTo>
                    <a:pt x="84" y="325"/>
                  </a:lnTo>
                  <a:lnTo>
                    <a:pt x="84" y="325"/>
                  </a:lnTo>
                  <a:lnTo>
                    <a:pt x="84" y="329"/>
                  </a:lnTo>
                  <a:lnTo>
                    <a:pt x="86" y="329"/>
                  </a:lnTo>
                  <a:lnTo>
                    <a:pt x="86" y="331"/>
                  </a:lnTo>
                  <a:lnTo>
                    <a:pt x="88" y="336"/>
                  </a:lnTo>
                  <a:lnTo>
                    <a:pt x="90" y="340"/>
                  </a:lnTo>
                  <a:lnTo>
                    <a:pt x="92" y="342"/>
                  </a:lnTo>
                  <a:lnTo>
                    <a:pt x="92" y="342"/>
                  </a:lnTo>
                  <a:lnTo>
                    <a:pt x="96" y="344"/>
                  </a:lnTo>
                  <a:lnTo>
                    <a:pt x="98" y="344"/>
                  </a:lnTo>
                  <a:lnTo>
                    <a:pt x="100" y="344"/>
                  </a:lnTo>
                  <a:lnTo>
                    <a:pt x="102" y="346"/>
                  </a:lnTo>
                  <a:lnTo>
                    <a:pt x="102" y="346"/>
                  </a:lnTo>
                  <a:lnTo>
                    <a:pt x="104" y="348"/>
                  </a:lnTo>
                  <a:lnTo>
                    <a:pt x="104" y="348"/>
                  </a:lnTo>
                  <a:lnTo>
                    <a:pt x="104" y="348"/>
                  </a:lnTo>
                  <a:lnTo>
                    <a:pt x="104" y="350"/>
                  </a:lnTo>
                  <a:lnTo>
                    <a:pt x="100" y="352"/>
                  </a:lnTo>
                  <a:lnTo>
                    <a:pt x="100" y="352"/>
                  </a:lnTo>
                  <a:lnTo>
                    <a:pt x="100" y="352"/>
                  </a:lnTo>
                  <a:lnTo>
                    <a:pt x="102" y="356"/>
                  </a:lnTo>
                  <a:lnTo>
                    <a:pt x="102" y="356"/>
                  </a:lnTo>
                  <a:lnTo>
                    <a:pt x="104" y="360"/>
                  </a:lnTo>
                  <a:lnTo>
                    <a:pt x="104" y="362"/>
                  </a:lnTo>
                  <a:lnTo>
                    <a:pt x="106" y="364"/>
                  </a:lnTo>
                  <a:lnTo>
                    <a:pt x="106" y="364"/>
                  </a:lnTo>
                  <a:lnTo>
                    <a:pt x="106" y="364"/>
                  </a:lnTo>
                  <a:lnTo>
                    <a:pt x="108" y="366"/>
                  </a:lnTo>
                  <a:lnTo>
                    <a:pt x="108" y="366"/>
                  </a:lnTo>
                  <a:lnTo>
                    <a:pt x="110" y="366"/>
                  </a:lnTo>
                  <a:lnTo>
                    <a:pt x="110" y="368"/>
                  </a:lnTo>
                  <a:lnTo>
                    <a:pt x="110" y="368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12" y="373"/>
                  </a:lnTo>
                  <a:lnTo>
                    <a:pt x="112" y="375"/>
                  </a:lnTo>
                  <a:lnTo>
                    <a:pt x="112" y="375"/>
                  </a:lnTo>
                  <a:lnTo>
                    <a:pt x="115" y="377"/>
                  </a:lnTo>
                  <a:lnTo>
                    <a:pt x="115" y="377"/>
                  </a:lnTo>
                  <a:lnTo>
                    <a:pt x="115" y="379"/>
                  </a:lnTo>
                  <a:lnTo>
                    <a:pt x="115" y="381"/>
                  </a:lnTo>
                  <a:lnTo>
                    <a:pt x="115" y="381"/>
                  </a:lnTo>
                  <a:lnTo>
                    <a:pt x="115" y="381"/>
                  </a:lnTo>
                  <a:lnTo>
                    <a:pt x="112" y="381"/>
                  </a:lnTo>
                  <a:lnTo>
                    <a:pt x="112" y="383"/>
                  </a:lnTo>
                  <a:lnTo>
                    <a:pt x="112" y="383"/>
                  </a:lnTo>
                  <a:lnTo>
                    <a:pt x="110" y="383"/>
                  </a:lnTo>
                  <a:lnTo>
                    <a:pt x="108" y="383"/>
                  </a:lnTo>
                  <a:lnTo>
                    <a:pt x="108" y="381"/>
                  </a:lnTo>
                  <a:lnTo>
                    <a:pt x="106" y="381"/>
                  </a:lnTo>
                  <a:lnTo>
                    <a:pt x="106" y="379"/>
                  </a:lnTo>
                  <a:lnTo>
                    <a:pt x="106" y="379"/>
                  </a:lnTo>
                  <a:lnTo>
                    <a:pt x="104" y="379"/>
                  </a:lnTo>
                  <a:lnTo>
                    <a:pt x="104" y="379"/>
                  </a:lnTo>
                  <a:lnTo>
                    <a:pt x="102" y="379"/>
                  </a:lnTo>
                  <a:lnTo>
                    <a:pt x="102" y="381"/>
                  </a:lnTo>
                  <a:lnTo>
                    <a:pt x="102" y="381"/>
                  </a:lnTo>
                  <a:lnTo>
                    <a:pt x="102" y="381"/>
                  </a:lnTo>
                  <a:lnTo>
                    <a:pt x="102" y="383"/>
                  </a:lnTo>
                  <a:lnTo>
                    <a:pt x="104" y="385"/>
                  </a:lnTo>
                  <a:lnTo>
                    <a:pt x="104" y="385"/>
                  </a:lnTo>
                  <a:lnTo>
                    <a:pt x="104" y="385"/>
                  </a:lnTo>
                  <a:lnTo>
                    <a:pt x="108" y="389"/>
                  </a:lnTo>
                  <a:lnTo>
                    <a:pt x="108" y="391"/>
                  </a:lnTo>
                  <a:lnTo>
                    <a:pt x="108" y="391"/>
                  </a:lnTo>
                  <a:lnTo>
                    <a:pt x="108" y="391"/>
                  </a:lnTo>
                  <a:lnTo>
                    <a:pt x="108" y="393"/>
                  </a:lnTo>
                  <a:lnTo>
                    <a:pt x="108" y="395"/>
                  </a:lnTo>
                  <a:lnTo>
                    <a:pt x="110" y="395"/>
                  </a:lnTo>
                  <a:lnTo>
                    <a:pt x="110" y="397"/>
                  </a:lnTo>
                  <a:lnTo>
                    <a:pt x="110" y="397"/>
                  </a:lnTo>
                  <a:lnTo>
                    <a:pt x="110" y="399"/>
                  </a:lnTo>
                  <a:lnTo>
                    <a:pt x="110" y="399"/>
                  </a:lnTo>
                  <a:lnTo>
                    <a:pt x="112" y="401"/>
                  </a:lnTo>
                  <a:lnTo>
                    <a:pt x="112" y="403"/>
                  </a:lnTo>
                  <a:lnTo>
                    <a:pt x="112" y="403"/>
                  </a:lnTo>
                  <a:lnTo>
                    <a:pt x="112" y="403"/>
                  </a:lnTo>
                  <a:lnTo>
                    <a:pt x="115" y="401"/>
                  </a:lnTo>
                  <a:lnTo>
                    <a:pt x="115" y="401"/>
                  </a:lnTo>
                  <a:lnTo>
                    <a:pt x="115" y="401"/>
                  </a:lnTo>
                  <a:lnTo>
                    <a:pt x="115" y="401"/>
                  </a:lnTo>
                  <a:lnTo>
                    <a:pt x="117" y="399"/>
                  </a:lnTo>
                  <a:lnTo>
                    <a:pt x="117" y="401"/>
                  </a:lnTo>
                  <a:lnTo>
                    <a:pt x="119" y="403"/>
                  </a:lnTo>
                  <a:lnTo>
                    <a:pt x="121" y="405"/>
                  </a:lnTo>
                  <a:lnTo>
                    <a:pt x="123" y="407"/>
                  </a:lnTo>
                  <a:lnTo>
                    <a:pt x="123" y="407"/>
                  </a:lnTo>
                  <a:lnTo>
                    <a:pt x="125" y="407"/>
                  </a:lnTo>
                  <a:lnTo>
                    <a:pt x="125" y="410"/>
                  </a:lnTo>
                  <a:lnTo>
                    <a:pt x="127" y="410"/>
                  </a:lnTo>
                  <a:lnTo>
                    <a:pt x="129" y="410"/>
                  </a:lnTo>
                  <a:lnTo>
                    <a:pt x="131" y="410"/>
                  </a:lnTo>
                  <a:lnTo>
                    <a:pt x="131" y="410"/>
                  </a:lnTo>
                  <a:lnTo>
                    <a:pt x="131" y="410"/>
                  </a:lnTo>
                  <a:lnTo>
                    <a:pt x="135" y="412"/>
                  </a:lnTo>
                  <a:lnTo>
                    <a:pt x="135" y="412"/>
                  </a:lnTo>
                  <a:lnTo>
                    <a:pt x="135" y="412"/>
                  </a:lnTo>
                  <a:lnTo>
                    <a:pt x="137" y="414"/>
                  </a:lnTo>
                  <a:lnTo>
                    <a:pt x="137" y="416"/>
                  </a:lnTo>
                  <a:lnTo>
                    <a:pt x="137" y="416"/>
                  </a:lnTo>
                  <a:lnTo>
                    <a:pt x="137" y="416"/>
                  </a:lnTo>
                  <a:lnTo>
                    <a:pt x="141" y="418"/>
                  </a:lnTo>
                  <a:lnTo>
                    <a:pt x="143" y="418"/>
                  </a:lnTo>
                  <a:lnTo>
                    <a:pt x="143" y="418"/>
                  </a:lnTo>
                  <a:lnTo>
                    <a:pt x="145" y="418"/>
                  </a:lnTo>
                  <a:lnTo>
                    <a:pt x="145" y="420"/>
                  </a:lnTo>
                  <a:lnTo>
                    <a:pt x="147" y="422"/>
                  </a:lnTo>
                  <a:lnTo>
                    <a:pt x="149" y="422"/>
                  </a:lnTo>
                  <a:lnTo>
                    <a:pt x="152" y="424"/>
                  </a:lnTo>
                  <a:lnTo>
                    <a:pt x="152" y="424"/>
                  </a:lnTo>
                  <a:lnTo>
                    <a:pt x="154" y="426"/>
                  </a:lnTo>
                  <a:lnTo>
                    <a:pt x="154" y="426"/>
                  </a:lnTo>
                  <a:lnTo>
                    <a:pt x="156" y="424"/>
                  </a:lnTo>
                  <a:lnTo>
                    <a:pt x="156" y="420"/>
                  </a:lnTo>
                  <a:lnTo>
                    <a:pt x="160" y="420"/>
                  </a:lnTo>
                  <a:lnTo>
                    <a:pt x="164" y="420"/>
                  </a:lnTo>
                  <a:lnTo>
                    <a:pt x="166" y="420"/>
                  </a:lnTo>
                  <a:lnTo>
                    <a:pt x="168" y="422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70" y="426"/>
                  </a:lnTo>
                  <a:lnTo>
                    <a:pt x="174" y="428"/>
                  </a:lnTo>
                  <a:lnTo>
                    <a:pt x="178" y="430"/>
                  </a:lnTo>
                  <a:lnTo>
                    <a:pt x="180" y="432"/>
                  </a:lnTo>
                  <a:lnTo>
                    <a:pt x="184" y="434"/>
                  </a:lnTo>
                  <a:lnTo>
                    <a:pt x="186" y="434"/>
                  </a:lnTo>
                  <a:lnTo>
                    <a:pt x="188" y="434"/>
                  </a:lnTo>
                  <a:lnTo>
                    <a:pt x="191" y="436"/>
                  </a:lnTo>
                  <a:lnTo>
                    <a:pt x="193" y="438"/>
                  </a:lnTo>
                  <a:lnTo>
                    <a:pt x="195" y="440"/>
                  </a:lnTo>
                  <a:lnTo>
                    <a:pt x="195" y="440"/>
                  </a:lnTo>
                  <a:lnTo>
                    <a:pt x="197" y="440"/>
                  </a:lnTo>
                  <a:lnTo>
                    <a:pt x="199" y="440"/>
                  </a:lnTo>
                  <a:lnTo>
                    <a:pt x="201" y="440"/>
                  </a:lnTo>
                  <a:lnTo>
                    <a:pt x="203" y="440"/>
                  </a:lnTo>
                  <a:lnTo>
                    <a:pt x="203" y="442"/>
                  </a:lnTo>
                  <a:lnTo>
                    <a:pt x="205" y="445"/>
                  </a:lnTo>
                  <a:lnTo>
                    <a:pt x="205" y="447"/>
                  </a:lnTo>
                  <a:lnTo>
                    <a:pt x="207" y="447"/>
                  </a:lnTo>
                  <a:lnTo>
                    <a:pt x="209" y="449"/>
                  </a:lnTo>
                  <a:lnTo>
                    <a:pt x="209" y="449"/>
                  </a:lnTo>
                  <a:lnTo>
                    <a:pt x="213" y="451"/>
                  </a:lnTo>
                  <a:lnTo>
                    <a:pt x="213" y="451"/>
                  </a:lnTo>
                  <a:lnTo>
                    <a:pt x="213" y="453"/>
                  </a:lnTo>
                  <a:lnTo>
                    <a:pt x="215" y="453"/>
                  </a:lnTo>
                  <a:lnTo>
                    <a:pt x="215" y="453"/>
                  </a:lnTo>
                  <a:lnTo>
                    <a:pt x="217" y="453"/>
                  </a:lnTo>
                  <a:lnTo>
                    <a:pt x="219" y="453"/>
                  </a:lnTo>
                  <a:lnTo>
                    <a:pt x="219" y="453"/>
                  </a:lnTo>
                  <a:lnTo>
                    <a:pt x="221" y="453"/>
                  </a:lnTo>
                  <a:lnTo>
                    <a:pt x="221" y="453"/>
                  </a:lnTo>
                  <a:lnTo>
                    <a:pt x="221" y="455"/>
                  </a:lnTo>
                  <a:lnTo>
                    <a:pt x="221" y="457"/>
                  </a:lnTo>
                  <a:lnTo>
                    <a:pt x="221" y="457"/>
                  </a:lnTo>
                  <a:lnTo>
                    <a:pt x="223" y="457"/>
                  </a:lnTo>
                  <a:lnTo>
                    <a:pt x="225" y="459"/>
                  </a:lnTo>
                  <a:lnTo>
                    <a:pt x="230" y="459"/>
                  </a:lnTo>
                  <a:lnTo>
                    <a:pt x="232" y="459"/>
                  </a:lnTo>
                  <a:lnTo>
                    <a:pt x="234" y="461"/>
                  </a:lnTo>
                  <a:lnTo>
                    <a:pt x="236" y="463"/>
                  </a:lnTo>
                  <a:lnTo>
                    <a:pt x="236" y="465"/>
                  </a:lnTo>
                  <a:lnTo>
                    <a:pt x="236" y="465"/>
                  </a:lnTo>
                  <a:lnTo>
                    <a:pt x="238" y="465"/>
                  </a:lnTo>
                  <a:lnTo>
                    <a:pt x="238" y="463"/>
                  </a:lnTo>
                  <a:lnTo>
                    <a:pt x="238" y="461"/>
                  </a:lnTo>
                  <a:lnTo>
                    <a:pt x="238" y="461"/>
                  </a:lnTo>
                  <a:lnTo>
                    <a:pt x="238" y="461"/>
                  </a:lnTo>
                  <a:lnTo>
                    <a:pt x="240" y="463"/>
                  </a:lnTo>
                  <a:lnTo>
                    <a:pt x="242" y="463"/>
                  </a:lnTo>
                  <a:lnTo>
                    <a:pt x="242" y="465"/>
                  </a:lnTo>
                  <a:lnTo>
                    <a:pt x="244" y="465"/>
                  </a:lnTo>
                  <a:lnTo>
                    <a:pt x="244" y="463"/>
                  </a:lnTo>
                  <a:lnTo>
                    <a:pt x="244" y="461"/>
                  </a:lnTo>
                  <a:lnTo>
                    <a:pt x="246" y="461"/>
                  </a:lnTo>
                  <a:lnTo>
                    <a:pt x="246" y="461"/>
                  </a:lnTo>
                  <a:lnTo>
                    <a:pt x="246" y="461"/>
                  </a:lnTo>
                  <a:lnTo>
                    <a:pt x="248" y="463"/>
                  </a:lnTo>
                  <a:lnTo>
                    <a:pt x="250" y="463"/>
                  </a:lnTo>
                  <a:lnTo>
                    <a:pt x="250" y="463"/>
                  </a:lnTo>
                  <a:lnTo>
                    <a:pt x="252" y="465"/>
                  </a:lnTo>
                  <a:lnTo>
                    <a:pt x="254" y="465"/>
                  </a:lnTo>
                  <a:lnTo>
                    <a:pt x="256" y="467"/>
                  </a:lnTo>
                  <a:lnTo>
                    <a:pt x="260" y="467"/>
                  </a:lnTo>
                  <a:lnTo>
                    <a:pt x="260" y="467"/>
                  </a:lnTo>
                  <a:lnTo>
                    <a:pt x="262" y="467"/>
                  </a:lnTo>
                  <a:lnTo>
                    <a:pt x="262" y="467"/>
                  </a:lnTo>
                  <a:lnTo>
                    <a:pt x="264" y="465"/>
                  </a:lnTo>
                  <a:lnTo>
                    <a:pt x="266" y="465"/>
                  </a:lnTo>
                  <a:lnTo>
                    <a:pt x="269" y="465"/>
                  </a:lnTo>
                  <a:lnTo>
                    <a:pt x="269" y="465"/>
                  </a:lnTo>
                  <a:lnTo>
                    <a:pt x="269" y="465"/>
                  </a:lnTo>
                  <a:lnTo>
                    <a:pt x="269" y="465"/>
                  </a:lnTo>
                  <a:lnTo>
                    <a:pt x="271" y="463"/>
                  </a:lnTo>
                  <a:lnTo>
                    <a:pt x="273" y="463"/>
                  </a:lnTo>
                  <a:lnTo>
                    <a:pt x="275" y="463"/>
                  </a:lnTo>
                  <a:lnTo>
                    <a:pt x="275" y="463"/>
                  </a:lnTo>
                  <a:lnTo>
                    <a:pt x="275" y="463"/>
                  </a:lnTo>
                  <a:lnTo>
                    <a:pt x="277" y="461"/>
                  </a:lnTo>
                  <a:lnTo>
                    <a:pt x="277" y="461"/>
                  </a:lnTo>
                  <a:lnTo>
                    <a:pt x="279" y="463"/>
                  </a:lnTo>
                  <a:lnTo>
                    <a:pt x="279" y="463"/>
                  </a:lnTo>
                  <a:lnTo>
                    <a:pt x="281" y="465"/>
                  </a:lnTo>
                  <a:lnTo>
                    <a:pt x="281" y="465"/>
                  </a:lnTo>
                  <a:lnTo>
                    <a:pt x="281" y="467"/>
                  </a:lnTo>
                  <a:lnTo>
                    <a:pt x="281" y="471"/>
                  </a:lnTo>
                  <a:lnTo>
                    <a:pt x="281" y="473"/>
                  </a:lnTo>
                  <a:lnTo>
                    <a:pt x="283" y="475"/>
                  </a:lnTo>
                  <a:lnTo>
                    <a:pt x="283" y="475"/>
                  </a:lnTo>
                  <a:lnTo>
                    <a:pt x="283" y="473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7" y="469"/>
                  </a:lnTo>
                  <a:lnTo>
                    <a:pt x="287" y="467"/>
                  </a:lnTo>
                  <a:lnTo>
                    <a:pt x="289" y="463"/>
                  </a:lnTo>
                  <a:lnTo>
                    <a:pt x="291" y="461"/>
                  </a:lnTo>
                  <a:lnTo>
                    <a:pt x="291" y="461"/>
                  </a:lnTo>
                  <a:lnTo>
                    <a:pt x="293" y="461"/>
                  </a:lnTo>
                  <a:lnTo>
                    <a:pt x="293" y="459"/>
                  </a:lnTo>
                  <a:lnTo>
                    <a:pt x="295" y="459"/>
                  </a:lnTo>
                  <a:lnTo>
                    <a:pt x="295" y="457"/>
                  </a:lnTo>
                  <a:lnTo>
                    <a:pt x="297" y="457"/>
                  </a:lnTo>
                  <a:lnTo>
                    <a:pt x="299" y="457"/>
                  </a:lnTo>
                  <a:lnTo>
                    <a:pt x="301" y="459"/>
                  </a:lnTo>
                  <a:lnTo>
                    <a:pt x="303" y="459"/>
                  </a:lnTo>
                  <a:lnTo>
                    <a:pt x="303" y="459"/>
                  </a:lnTo>
                  <a:lnTo>
                    <a:pt x="303" y="461"/>
                  </a:lnTo>
                  <a:lnTo>
                    <a:pt x="303" y="461"/>
                  </a:lnTo>
                  <a:lnTo>
                    <a:pt x="303" y="461"/>
                  </a:lnTo>
                  <a:lnTo>
                    <a:pt x="303" y="461"/>
                  </a:lnTo>
                  <a:lnTo>
                    <a:pt x="305" y="461"/>
                  </a:lnTo>
                  <a:lnTo>
                    <a:pt x="308" y="461"/>
                  </a:lnTo>
                  <a:lnTo>
                    <a:pt x="310" y="461"/>
                  </a:lnTo>
                  <a:lnTo>
                    <a:pt x="312" y="463"/>
                  </a:lnTo>
                  <a:lnTo>
                    <a:pt x="314" y="463"/>
                  </a:lnTo>
                  <a:lnTo>
                    <a:pt x="314" y="463"/>
                  </a:lnTo>
                  <a:lnTo>
                    <a:pt x="316" y="463"/>
                  </a:lnTo>
                  <a:lnTo>
                    <a:pt x="316" y="463"/>
                  </a:lnTo>
                  <a:lnTo>
                    <a:pt x="318" y="461"/>
                  </a:lnTo>
                  <a:lnTo>
                    <a:pt x="318" y="461"/>
                  </a:lnTo>
                  <a:lnTo>
                    <a:pt x="318" y="461"/>
                  </a:lnTo>
                  <a:lnTo>
                    <a:pt x="320" y="463"/>
                  </a:lnTo>
                  <a:lnTo>
                    <a:pt x="322" y="463"/>
                  </a:lnTo>
                  <a:lnTo>
                    <a:pt x="324" y="463"/>
                  </a:lnTo>
                  <a:lnTo>
                    <a:pt x="324" y="465"/>
                  </a:lnTo>
                  <a:lnTo>
                    <a:pt x="324" y="467"/>
                  </a:lnTo>
                  <a:lnTo>
                    <a:pt x="324" y="467"/>
                  </a:lnTo>
                  <a:lnTo>
                    <a:pt x="326" y="467"/>
                  </a:lnTo>
                  <a:lnTo>
                    <a:pt x="328" y="467"/>
                  </a:lnTo>
                  <a:lnTo>
                    <a:pt x="330" y="467"/>
                  </a:lnTo>
                  <a:lnTo>
                    <a:pt x="330" y="467"/>
                  </a:lnTo>
                  <a:lnTo>
                    <a:pt x="332" y="467"/>
                  </a:lnTo>
                  <a:lnTo>
                    <a:pt x="332" y="467"/>
                  </a:lnTo>
                  <a:lnTo>
                    <a:pt x="334" y="467"/>
                  </a:lnTo>
                  <a:lnTo>
                    <a:pt x="334" y="465"/>
                  </a:lnTo>
                  <a:lnTo>
                    <a:pt x="334" y="467"/>
                  </a:lnTo>
                  <a:lnTo>
                    <a:pt x="336" y="467"/>
                  </a:lnTo>
                  <a:lnTo>
                    <a:pt x="336" y="467"/>
                  </a:lnTo>
                  <a:lnTo>
                    <a:pt x="338" y="465"/>
                  </a:lnTo>
                  <a:lnTo>
                    <a:pt x="338" y="465"/>
                  </a:lnTo>
                  <a:lnTo>
                    <a:pt x="340" y="463"/>
                  </a:lnTo>
                  <a:lnTo>
                    <a:pt x="340" y="463"/>
                  </a:lnTo>
                  <a:lnTo>
                    <a:pt x="340" y="463"/>
                  </a:lnTo>
                  <a:lnTo>
                    <a:pt x="340" y="463"/>
                  </a:lnTo>
                  <a:lnTo>
                    <a:pt x="340" y="461"/>
                  </a:lnTo>
                  <a:lnTo>
                    <a:pt x="340" y="461"/>
                  </a:lnTo>
                  <a:lnTo>
                    <a:pt x="340" y="461"/>
                  </a:lnTo>
                  <a:lnTo>
                    <a:pt x="342" y="459"/>
                  </a:lnTo>
                  <a:lnTo>
                    <a:pt x="345" y="457"/>
                  </a:lnTo>
                  <a:lnTo>
                    <a:pt x="347" y="455"/>
                  </a:lnTo>
                  <a:lnTo>
                    <a:pt x="347" y="455"/>
                  </a:lnTo>
                  <a:lnTo>
                    <a:pt x="347" y="453"/>
                  </a:lnTo>
                  <a:lnTo>
                    <a:pt x="347" y="451"/>
                  </a:lnTo>
                  <a:lnTo>
                    <a:pt x="349" y="451"/>
                  </a:lnTo>
                  <a:lnTo>
                    <a:pt x="353" y="451"/>
                  </a:lnTo>
                  <a:lnTo>
                    <a:pt x="355" y="449"/>
                  </a:lnTo>
                  <a:lnTo>
                    <a:pt x="357" y="449"/>
                  </a:lnTo>
                  <a:lnTo>
                    <a:pt x="357" y="447"/>
                  </a:lnTo>
                  <a:lnTo>
                    <a:pt x="359" y="447"/>
                  </a:lnTo>
                  <a:lnTo>
                    <a:pt x="357" y="445"/>
                  </a:lnTo>
                  <a:lnTo>
                    <a:pt x="359" y="445"/>
                  </a:lnTo>
                  <a:lnTo>
                    <a:pt x="361" y="445"/>
                  </a:lnTo>
                  <a:lnTo>
                    <a:pt x="361" y="442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7" y="438"/>
                  </a:lnTo>
                  <a:lnTo>
                    <a:pt x="367" y="440"/>
                  </a:lnTo>
                  <a:lnTo>
                    <a:pt x="369" y="440"/>
                  </a:lnTo>
                  <a:lnTo>
                    <a:pt x="369" y="442"/>
                  </a:lnTo>
                  <a:lnTo>
                    <a:pt x="371" y="442"/>
                  </a:lnTo>
                  <a:lnTo>
                    <a:pt x="373" y="442"/>
                  </a:lnTo>
                  <a:lnTo>
                    <a:pt x="375" y="442"/>
                  </a:lnTo>
                  <a:lnTo>
                    <a:pt x="377" y="445"/>
                  </a:lnTo>
                  <a:lnTo>
                    <a:pt x="377" y="445"/>
                  </a:lnTo>
                  <a:lnTo>
                    <a:pt x="379" y="445"/>
                  </a:lnTo>
                  <a:lnTo>
                    <a:pt x="379" y="445"/>
                  </a:lnTo>
                  <a:lnTo>
                    <a:pt x="379" y="442"/>
                  </a:lnTo>
                  <a:lnTo>
                    <a:pt x="379" y="442"/>
                  </a:lnTo>
                  <a:lnTo>
                    <a:pt x="379" y="442"/>
                  </a:lnTo>
                  <a:lnTo>
                    <a:pt x="379" y="440"/>
                  </a:lnTo>
                  <a:lnTo>
                    <a:pt x="384" y="438"/>
                  </a:lnTo>
                  <a:lnTo>
                    <a:pt x="386" y="438"/>
                  </a:lnTo>
                  <a:lnTo>
                    <a:pt x="388" y="436"/>
                  </a:lnTo>
                  <a:lnTo>
                    <a:pt x="388" y="436"/>
                  </a:lnTo>
                  <a:lnTo>
                    <a:pt x="390" y="438"/>
                  </a:lnTo>
                  <a:lnTo>
                    <a:pt x="390" y="440"/>
                  </a:lnTo>
                  <a:lnTo>
                    <a:pt x="392" y="440"/>
                  </a:lnTo>
                  <a:lnTo>
                    <a:pt x="392" y="440"/>
                  </a:lnTo>
                  <a:lnTo>
                    <a:pt x="394" y="440"/>
                  </a:lnTo>
                  <a:lnTo>
                    <a:pt x="394" y="440"/>
                  </a:lnTo>
                  <a:lnTo>
                    <a:pt x="392" y="442"/>
                  </a:lnTo>
                  <a:lnTo>
                    <a:pt x="392" y="442"/>
                  </a:lnTo>
                  <a:lnTo>
                    <a:pt x="390" y="442"/>
                  </a:lnTo>
                  <a:lnTo>
                    <a:pt x="392" y="445"/>
                  </a:lnTo>
                  <a:lnTo>
                    <a:pt x="392" y="447"/>
                  </a:lnTo>
                  <a:lnTo>
                    <a:pt x="392" y="447"/>
                  </a:lnTo>
                  <a:lnTo>
                    <a:pt x="394" y="445"/>
                  </a:lnTo>
                  <a:lnTo>
                    <a:pt x="396" y="445"/>
                  </a:lnTo>
                  <a:lnTo>
                    <a:pt x="396" y="445"/>
                  </a:lnTo>
                  <a:lnTo>
                    <a:pt x="396" y="445"/>
                  </a:lnTo>
                  <a:lnTo>
                    <a:pt x="398" y="449"/>
                  </a:lnTo>
                  <a:lnTo>
                    <a:pt x="398" y="449"/>
                  </a:lnTo>
                  <a:lnTo>
                    <a:pt x="396" y="453"/>
                  </a:lnTo>
                  <a:lnTo>
                    <a:pt x="396" y="453"/>
                  </a:lnTo>
                  <a:lnTo>
                    <a:pt x="396" y="455"/>
                  </a:lnTo>
                  <a:lnTo>
                    <a:pt x="396" y="455"/>
                  </a:lnTo>
                  <a:lnTo>
                    <a:pt x="396" y="455"/>
                  </a:lnTo>
                  <a:lnTo>
                    <a:pt x="396" y="455"/>
                  </a:lnTo>
                  <a:lnTo>
                    <a:pt x="396" y="457"/>
                  </a:lnTo>
                  <a:lnTo>
                    <a:pt x="396" y="457"/>
                  </a:lnTo>
                  <a:lnTo>
                    <a:pt x="398" y="457"/>
                  </a:lnTo>
                  <a:lnTo>
                    <a:pt x="398" y="455"/>
                  </a:lnTo>
                  <a:lnTo>
                    <a:pt x="400" y="455"/>
                  </a:lnTo>
                  <a:lnTo>
                    <a:pt x="400" y="455"/>
                  </a:lnTo>
                  <a:lnTo>
                    <a:pt x="404" y="457"/>
                  </a:lnTo>
                  <a:lnTo>
                    <a:pt x="404" y="457"/>
                  </a:lnTo>
                  <a:lnTo>
                    <a:pt x="406" y="457"/>
                  </a:lnTo>
                  <a:lnTo>
                    <a:pt x="408" y="457"/>
                  </a:lnTo>
                  <a:lnTo>
                    <a:pt x="408" y="457"/>
                  </a:lnTo>
                  <a:lnTo>
                    <a:pt x="412" y="459"/>
                  </a:lnTo>
                  <a:lnTo>
                    <a:pt x="412" y="459"/>
                  </a:lnTo>
                  <a:lnTo>
                    <a:pt x="412" y="459"/>
                  </a:lnTo>
                  <a:lnTo>
                    <a:pt x="414" y="457"/>
                  </a:lnTo>
                  <a:lnTo>
                    <a:pt x="414" y="455"/>
                  </a:lnTo>
                  <a:lnTo>
                    <a:pt x="414" y="455"/>
                  </a:lnTo>
                  <a:lnTo>
                    <a:pt x="414" y="453"/>
                  </a:lnTo>
                  <a:lnTo>
                    <a:pt x="416" y="453"/>
                  </a:lnTo>
                  <a:lnTo>
                    <a:pt x="416" y="455"/>
                  </a:lnTo>
                  <a:lnTo>
                    <a:pt x="416" y="455"/>
                  </a:lnTo>
                  <a:lnTo>
                    <a:pt x="418" y="455"/>
                  </a:lnTo>
                  <a:lnTo>
                    <a:pt x="418" y="457"/>
                  </a:lnTo>
                  <a:lnTo>
                    <a:pt x="418" y="457"/>
                  </a:lnTo>
                  <a:lnTo>
                    <a:pt x="420" y="457"/>
                  </a:lnTo>
                  <a:lnTo>
                    <a:pt x="420" y="457"/>
                  </a:lnTo>
                  <a:lnTo>
                    <a:pt x="420" y="457"/>
                  </a:lnTo>
                  <a:lnTo>
                    <a:pt x="423" y="459"/>
                  </a:lnTo>
                  <a:lnTo>
                    <a:pt x="425" y="459"/>
                  </a:lnTo>
                  <a:lnTo>
                    <a:pt x="425" y="461"/>
                  </a:lnTo>
                  <a:lnTo>
                    <a:pt x="425" y="463"/>
                  </a:lnTo>
                  <a:lnTo>
                    <a:pt x="427" y="463"/>
                  </a:lnTo>
                  <a:lnTo>
                    <a:pt x="429" y="469"/>
                  </a:lnTo>
                  <a:lnTo>
                    <a:pt x="429" y="471"/>
                  </a:lnTo>
                  <a:lnTo>
                    <a:pt x="431" y="471"/>
                  </a:lnTo>
                  <a:lnTo>
                    <a:pt x="431" y="471"/>
                  </a:lnTo>
                  <a:lnTo>
                    <a:pt x="431" y="471"/>
                  </a:lnTo>
                  <a:lnTo>
                    <a:pt x="431" y="469"/>
                  </a:lnTo>
                  <a:lnTo>
                    <a:pt x="433" y="469"/>
                  </a:lnTo>
                  <a:lnTo>
                    <a:pt x="433" y="469"/>
                  </a:lnTo>
                  <a:lnTo>
                    <a:pt x="435" y="471"/>
                  </a:lnTo>
                  <a:lnTo>
                    <a:pt x="435" y="471"/>
                  </a:lnTo>
                  <a:lnTo>
                    <a:pt x="437" y="473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9" y="482"/>
                  </a:lnTo>
                  <a:lnTo>
                    <a:pt x="439" y="484"/>
                  </a:lnTo>
                  <a:lnTo>
                    <a:pt x="439" y="486"/>
                  </a:lnTo>
                  <a:lnTo>
                    <a:pt x="439" y="488"/>
                  </a:lnTo>
                  <a:lnTo>
                    <a:pt x="441" y="490"/>
                  </a:lnTo>
                  <a:lnTo>
                    <a:pt x="441" y="492"/>
                  </a:lnTo>
                  <a:lnTo>
                    <a:pt x="441" y="494"/>
                  </a:lnTo>
                  <a:lnTo>
                    <a:pt x="441" y="496"/>
                  </a:lnTo>
                  <a:lnTo>
                    <a:pt x="441" y="498"/>
                  </a:lnTo>
                  <a:lnTo>
                    <a:pt x="439" y="498"/>
                  </a:lnTo>
                  <a:lnTo>
                    <a:pt x="439" y="498"/>
                  </a:lnTo>
                  <a:lnTo>
                    <a:pt x="441" y="500"/>
                  </a:lnTo>
                  <a:lnTo>
                    <a:pt x="441" y="502"/>
                  </a:lnTo>
                  <a:lnTo>
                    <a:pt x="441" y="502"/>
                  </a:lnTo>
                  <a:lnTo>
                    <a:pt x="441" y="502"/>
                  </a:lnTo>
                  <a:lnTo>
                    <a:pt x="441" y="502"/>
                  </a:lnTo>
                  <a:lnTo>
                    <a:pt x="439" y="504"/>
                  </a:lnTo>
                  <a:lnTo>
                    <a:pt x="439" y="506"/>
                  </a:lnTo>
                  <a:lnTo>
                    <a:pt x="437" y="508"/>
                  </a:lnTo>
                  <a:lnTo>
                    <a:pt x="437" y="508"/>
                  </a:lnTo>
                  <a:lnTo>
                    <a:pt x="435" y="508"/>
                  </a:lnTo>
                  <a:lnTo>
                    <a:pt x="435" y="508"/>
                  </a:lnTo>
                  <a:lnTo>
                    <a:pt x="435" y="510"/>
                  </a:lnTo>
                  <a:lnTo>
                    <a:pt x="433" y="512"/>
                  </a:lnTo>
                  <a:lnTo>
                    <a:pt x="433" y="512"/>
                  </a:lnTo>
                  <a:lnTo>
                    <a:pt x="433" y="514"/>
                  </a:lnTo>
                  <a:lnTo>
                    <a:pt x="433" y="514"/>
                  </a:lnTo>
                  <a:lnTo>
                    <a:pt x="431" y="514"/>
                  </a:lnTo>
                  <a:lnTo>
                    <a:pt x="431" y="514"/>
                  </a:lnTo>
                  <a:lnTo>
                    <a:pt x="429" y="519"/>
                  </a:lnTo>
                  <a:lnTo>
                    <a:pt x="429" y="519"/>
                  </a:lnTo>
                  <a:lnTo>
                    <a:pt x="431" y="521"/>
                  </a:lnTo>
                  <a:lnTo>
                    <a:pt x="431" y="521"/>
                  </a:lnTo>
                  <a:lnTo>
                    <a:pt x="429" y="521"/>
                  </a:lnTo>
                  <a:lnTo>
                    <a:pt x="429" y="523"/>
                  </a:lnTo>
                  <a:lnTo>
                    <a:pt x="427" y="525"/>
                  </a:lnTo>
                  <a:lnTo>
                    <a:pt x="429" y="527"/>
                  </a:lnTo>
                  <a:lnTo>
                    <a:pt x="429" y="529"/>
                  </a:lnTo>
                  <a:lnTo>
                    <a:pt x="429" y="529"/>
                  </a:lnTo>
                  <a:lnTo>
                    <a:pt x="431" y="529"/>
                  </a:lnTo>
                  <a:lnTo>
                    <a:pt x="431" y="531"/>
                  </a:lnTo>
                  <a:lnTo>
                    <a:pt x="431" y="533"/>
                  </a:lnTo>
                  <a:lnTo>
                    <a:pt x="431" y="535"/>
                  </a:lnTo>
                  <a:lnTo>
                    <a:pt x="431" y="537"/>
                  </a:lnTo>
                  <a:lnTo>
                    <a:pt x="431" y="539"/>
                  </a:lnTo>
                  <a:lnTo>
                    <a:pt x="431" y="539"/>
                  </a:lnTo>
                  <a:lnTo>
                    <a:pt x="433" y="539"/>
                  </a:lnTo>
                  <a:lnTo>
                    <a:pt x="433" y="537"/>
                  </a:lnTo>
                  <a:lnTo>
                    <a:pt x="435" y="537"/>
                  </a:lnTo>
                  <a:lnTo>
                    <a:pt x="437" y="535"/>
                  </a:lnTo>
                  <a:lnTo>
                    <a:pt x="439" y="535"/>
                  </a:lnTo>
                  <a:lnTo>
                    <a:pt x="443" y="535"/>
                  </a:lnTo>
                  <a:lnTo>
                    <a:pt x="445" y="535"/>
                  </a:lnTo>
                  <a:lnTo>
                    <a:pt x="445" y="535"/>
                  </a:lnTo>
                  <a:lnTo>
                    <a:pt x="445" y="535"/>
                  </a:lnTo>
                  <a:lnTo>
                    <a:pt x="449" y="535"/>
                  </a:lnTo>
                  <a:lnTo>
                    <a:pt x="449" y="535"/>
                  </a:lnTo>
                  <a:lnTo>
                    <a:pt x="449" y="535"/>
                  </a:lnTo>
                  <a:lnTo>
                    <a:pt x="449" y="535"/>
                  </a:lnTo>
                  <a:lnTo>
                    <a:pt x="447" y="537"/>
                  </a:lnTo>
                  <a:lnTo>
                    <a:pt x="447" y="539"/>
                  </a:lnTo>
                  <a:lnTo>
                    <a:pt x="447" y="539"/>
                  </a:lnTo>
                  <a:lnTo>
                    <a:pt x="449" y="541"/>
                  </a:lnTo>
                  <a:lnTo>
                    <a:pt x="449" y="541"/>
                  </a:lnTo>
                  <a:lnTo>
                    <a:pt x="451" y="543"/>
                  </a:lnTo>
                  <a:lnTo>
                    <a:pt x="451" y="545"/>
                  </a:lnTo>
                  <a:lnTo>
                    <a:pt x="451" y="545"/>
                  </a:lnTo>
                  <a:lnTo>
                    <a:pt x="451" y="547"/>
                  </a:lnTo>
                  <a:lnTo>
                    <a:pt x="453" y="547"/>
                  </a:lnTo>
                  <a:lnTo>
                    <a:pt x="453" y="549"/>
                  </a:lnTo>
                  <a:lnTo>
                    <a:pt x="453" y="551"/>
                  </a:lnTo>
                  <a:lnTo>
                    <a:pt x="455" y="553"/>
                  </a:lnTo>
                  <a:lnTo>
                    <a:pt x="459" y="553"/>
                  </a:lnTo>
                  <a:lnTo>
                    <a:pt x="459" y="553"/>
                  </a:lnTo>
                  <a:lnTo>
                    <a:pt x="462" y="553"/>
                  </a:lnTo>
                  <a:lnTo>
                    <a:pt x="462" y="553"/>
                  </a:lnTo>
                  <a:lnTo>
                    <a:pt x="464" y="556"/>
                  </a:lnTo>
                  <a:lnTo>
                    <a:pt x="464" y="556"/>
                  </a:lnTo>
                  <a:lnTo>
                    <a:pt x="464" y="556"/>
                  </a:lnTo>
                  <a:lnTo>
                    <a:pt x="462" y="558"/>
                  </a:lnTo>
                  <a:lnTo>
                    <a:pt x="462" y="560"/>
                  </a:lnTo>
                  <a:lnTo>
                    <a:pt x="462" y="562"/>
                  </a:lnTo>
                  <a:lnTo>
                    <a:pt x="462" y="564"/>
                  </a:lnTo>
                  <a:lnTo>
                    <a:pt x="462" y="566"/>
                  </a:lnTo>
                  <a:lnTo>
                    <a:pt x="459" y="568"/>
                  </a:lnTo>
                  <a:lnTo>
                    <a:pt x="459" y="570"/>
                  </a:lnTo>
                  <a:lnTo>
                    <a:pt x="459" y="570"/>
                  </a:lnTo>
                  <a:lnTo>
                    <a:pt x="462" y="570"/>
                  </a:lnTo>
                  <a:lnTo>
                    <a:pt x="462" y="572"/>
                  </a:lnTo>
                  <a:lnTo>
                    <a:pt x="462" y="572"/>
                  </a:lnTo>
                  <a:lnTo>
                    <a:pt x="464" y="572"/>
                  </a:lnTo>
                  <a:lnTo>
                    <a:pt x="468" y="572"/>
                  </a:lnTo>
                  <a:lnTo>
                    <a:pt x="472" y="572"/>
                  </a:lnTo>
                  <a:lnTo>
                    <a:pt x="472" y="572"/>
                  </a:lnTo>
                  <a:lnTo>
                    <a:pt x="474" y="574"/>
                  </a:lnTo>
                  <a:lnTo>
                    <a:pt x="474" y="574"/>
                  </a:lnTo>
                  <a:lnTo>
                    <a:pt x="474" y="576"/>
                  </a:lnTo>
                  <a:lnTo>
                    <a:pt x="474" y="578"/>
                  </a:lnTo>
                  <a:lnTo>
                    <a:pt x="474" y="578"/>
                  </a:lnTo>
                  <a:lnTo>
                    <a:pt x="476" y="578"/>
                  </a:lnTo>
                  <a:lnTo>
                    <a:pt x="476" y="580"/>
                  </a:lnTo>
                  <a:lnTo>
                    <a:pt x="476" y="580"/>
                  </a:lnTo>
                  <a:lnTo>
                    <a:pt x="476" y="582"/>
                  </a:lnTo>
                  <a:lnTo>
                    <a:pt x="476" y="582"/>
                  </a:lnTo>
                  <a:lnTo>
                    <a:pt x="478" y="582"/>
                  </a:lnTo>
                  <a:lnTo>
                    <a:pt x="478" y="582"/>
                  </a:lnTo>
                  <a:lnTo>
                    <a:pt x="480" y="582"/>
                  </a:lnTo>
                  <a:lnTo>
                    <a:pt x="482" y="582"/>
                  </a:lnTo>
                  <a:lnTo>
                    <a:pt x="484" y="582"/>
                  </a:lnTo>
                  <a:lnTo>
                    <a:pt x="484" y="582"/>
                  </a:lnTo>
                  <a:lnTo>
                    <a:pt x="486" y="582"/>
                  </a:lnTo>
                  <a:lnTo>
                    <a:pt x="488" y="580"/>
                  </a:lnTo>
                  <a:lnTo>
                    <a:pt x="490" y="578"/>
                  </a:lnTo>
                  <a:lnTo>
                    <a:pt x="492" y="578"/>
                  </a:lnTo>
                  <a:lnTo>
                    <a:pt x="492" y="578"/>
                  </a:lnTo>
                  <a:lnTo>
                    <a:pt x="492" y="578"/>
                  </a:lnTo>
                  <a:lnTo>
                    <a:pt x="492" y="578"/>
                  </a:lnTo>
                  <a:lnTo>
                    <a:pt x="492" y="580"/>
                  </a:lnTo>
                  <a:lnTo>
                    <a:pt x="492" y="580"/>
                  </a:lnTo>
                  <a:lnTo>
                    <a:pt x="494" y="582"/>
                  </a:lnTo>
                  <a:lnTo>
                    <a:pt x="494" y="584"/>
                  </a:lnTo>
                  <a:lnTo>
                    <a:pt x="494" y="584"/>
                  </a:lnTo>
                  <a:lnTo>
                    <a:pt x="494" y="584"/>
                  </a:lnTo>
                  <a:lnTo>
                    <a:pt x="494" y="586"/>
                  </a:lnTo>
                  <a:lnTo>
                    <a:pt x="494" y="588"/>
                  </a:lnTo>
                  <a:lnTo>
                    <a:pt x="496" y="588"/>
                  </a:lnTo>
                  <a:lnTo>
                    <a:pt x="496" y="588"/>
                  </a:lnTo>
                  <a:lnTo>
                    <a:pt x="498" y="586"/>
                  </a:lnTo>
                  <a:lnTo>
                    <a:pt x="501" y="586"/>
                  </a:lnTo>
                  <a:lnTo>
                    <a:pt x="501" y="588"/>
                  </a:lnTo>
                  <a:lnTo>
                    <a:pt x="501" y="588"/>
                  </a:lnTo>
                  <a:lnTo>
                    <a:pt x="503" y="588"/>
                  </a:lnTo>
                  <a:lnTo>
                    <a:pt x="503" y="588"/>
                  </a:lnTo>
                  <a:lnTo>
                    <a:pt x="503" y="588"/>
                  </a:lnTo>
                  <a:lnTo>
                    <a:pt x="505" y="588"/>
                  </a:lnTo>
                  <a:lnTo>
                    <a:pt x="505" y="588"/>
                  </a:lnTo>
                  <a:lnTo>
                    <a:pt x="505" y="586"/>
                  </a:lnTo>
                  <a:lnTo>
                    <a:pt x="503" y="586"/>
                  </a:lnTo>
                  <a:lnTo>
                    <a:pt x="503" y="586"/>
                  </a:lnTo>
                  <a:lnTo>
                    <a:pt x="503" y="584"/>
                  </a:lnTo>
                  <a:lnTo>
                    <a:pt x="503" y="582"/>
                  </a:lnTo>
                  <a:lnTo>
                    <a:pt x="503" y="580"/>
                  </a:lnTo>
                  <a:lnTo>
                    <a:pt x="503" y="578"/>
                  </a:lnTo>
                  <a:lnTo>
                    <a:pt x="503" y="576"/>
                  </a:lnTo>
                  <a:lnTo>
                    <a:pt x="501" y="576"/>
                  </a:lnTo>
                  <a:lnTo>
                    <a:pt x="498" y="574"/>
                  </a:lnTo>
                  <a:lnTo>
                    <a:pt x="498" y="572"/>
                  </a:lnTo>
                  <a:lnTo>
                    <a:pt x="498" y="572"/>
                  </a:lnTo>
                  <a:lnTo>
                    <a:pt x="498" y="570"/>
                  </a:lnTo>
                  <a:lnTo>
                    <a:pt x="498" y="570"/>
                  </a:lnTo>
                  <a:lnTo>
                    <a:pt x="496" y="568"/>
                  </a:lnTo>
                  <a:lnTo>
                    <a:pt x="498" y="568"/>
                  </a:lnTo>
                  <a:lnTo>
                    <a:pt x="498" y="568"/>
                  </a:lnTo>
                  <a:lnTo>
                    <a:pt x="498" y="566"/>
                  </a:lnTo>
                  <a:lnTo>
                    <a:pt x="498" y="564"/>
                  </a:lnTo>
                  <a:lnTo>
                    <a:pt x="501" y="564"/>
                  </a:lnTo>
                  <a:lnTo>
                    <a:pt x="501" y="564"/>
                  </a:lnTo>
                  <a:lnTo>
                    <a:pt x="501" y="564"/>
                  </a:lnTo>
                  <a:lnTo>
                    <a:pt x="503" y="566"/>
                  </a:lnTo>
                  <a:lnTo>
                    <a:pt x="503" y="566"/>
                  </a:lnTo>
                  <a:lnTo>
                    <a:pt x="505" y="566"/>
                  </a:lnTo>
                  <a:lnTo>
                    <a:pt x="507" y="566"/>
                  </a:lnTo>
                  <a:lnTo>
                    <a:pt x="507" y="566"/>
                  </a:lnTo>
                  <a:lnTo>
                    <a:pt x="507" y="566"/>
                  </a:lnTo>
                  <a:lnTo>
                    <a:pt x="509" y="564"/>
                  </a:lnTo>
                  <a:lnTo>
                    <a:pt x="509" y="564"/>
                  </a:lnTo>
                  <a:lnTo>
                    <a:pt x="509" y="562"/>
                  </a:lnTo>
                  <a:lnTo>
                    <a:pt x="511" y="560"/>
                  </a:lnTo>
                  <a:lnTo>
                    <a:pt x="511" y="560"/>
                  </a:lnTo>
                  <a:lnTo>
                    <a:pt x="511" y="560"/>
                  </a:lnTo>
                  <a:lnTo>
                    <a:pt x="511" y="560"/>
                  </a:lnTo>
                  <a:lnTo>
                    <a:pt x="513" y="560"/>
                  </a:lnTo>
                  <a:lnTo>
                    <a:pt x="515" y="562"/>
                  </a:lnTo>
                  <a:lnTo>
                    <a:pt x="517" y="562"/>
                  </a:lnTo>
                  <a:lnTo>
                    <a:pt x="517" y="564"/>
                  </a:lnTo>
                  <a:lnTo>
                    <a:pt x="519" y="564"/>
                  </a:lnTo>
                  <a:lnTo>
                    <a:pt x="519" y="566"/>
                  </a:lnTo>
                  <a:lnTo>
                    <a:pt x="521" y="566"/>
                  </a:lnTo>
                  <a:lnTo>
                    <a:pt x="521" y="564"/>
                  </a:lnTo>
                  <a:lnTo>
                    <a:pt x="521" y="564"/>
                  </a:lnTo>
                  <a:lnTo>
                    <a:pt x="521" y="562"/>
                  </a:lnTo>
                  <a:lnTo>
                    <a:pt x="523" y="562"/>
                  </a:lnTo>
                  <a:lnTo>
                    <a:pt x="523" y="560"/>
                  </a:lnTo>
                  <a:lnTo>
                    <a:pt x="523" y="560"/>
                  </a:lnTo>
                  <a:lnTo>
                    <a:pt x="525" y="560"/>
                  </a:lnTo>
                  <a:lnTo>
                    <a:pt x="525" y="560"/>
                  </a:lnTo>
                  <a:lnTo>
                    <a:pt x="527" y="562"/>
                  </a:lnTo>
                  <a:lnTo>
                    <a:pt x="527" y="562"/>
                  </a:lnTo>
                  <a:lnTo>
                    <a:pt x="527" y="562"/>
                  </a:lnTo>
                  <a:lnTo>
                    <a:pt x="529" y="560"/>
                  </a:lnTo>
                  <a:lnTo>
                    <a:pt x="529" y="560"/>
                  </a:lnTo>
                  <a:lnTo>
                    <a:pt x="529" y="560"/>
                  </a:lnTo>
                  <a:lnTo>
                    <a:pt x="533" y="564"/>
                  </a:lnTo>
                  <a:lnTo>
                    <a:pt x="535" y="564"/>
                  </a:lnTo>
                  <a:lnTo>
                    <a:pt x="535" y="564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0"/>
                  </a:lnTo>
                  <a:lnTo>
                    <a:pt x="537" y="558"/>
                  </a:lnTo>
                  <a:lnTo>
                    <a:pt x="537" y="558"/>
                  </a:lnTo>
                  <a:lnTo>
                    <a:pt x="540" y="560"/>
                  </a:lnTo>
                  <a:lnTo>
                    <a:pt x="540" y="560"/>
                  </a:lnTo>
                  <a:lnTo>
                    <a:pt x="542" y="560"/>
                  </a:lnTo>
                  <a:lnTo>
                    <a:pt x="544" y="558"/>
                  </a:lnTo>
                  <a:lnTo>
                    <a:pt x="544" y="558"/>
                  </a:lnTo>
                  <a:lnTo>
                    <a:pt x="546" y="558"/>
                  </a:lnTo>
                  <a:lnTo>
                    <a:pt x="546" y="558"/>
                  </a:lnTo>
                  <a:lnTo>
                    <a:pt x="546" y="558"/>
                  </a:lnTo>
                  <a:lnTo>
                    <a:pt x="548" y="556"/>
                  </a:lnTo>
                  <a:lnTo>
                    <a:pt x="548" y="556"/>
                  </a:lnTo>
                  <a:lnTo>
                    <a:pt x="548" y="553"/>
                  </a:lnTo>
                  <a:lnTo>
                    <a:pt x="548" y="551"/>
                  </a:lnTo>
                  <a:lnTo>
                    <a:pt x="548" y="551"/>
                  </a:lnTo>
                  <a:lnTo>
                    <a:pt x="550" y="551"/>
                  </a:lnTo>
                  <a:lnTo>
                    <a:pt x="552" y="549"/>
                  </a:lnTo>
                  <a:lnTo>
                    <a:pt x="554" y="549"/>
                  </a:lnTo>
                  <a:lnTo>
                    <a:pt x="554" y="549"/>
                  </a:lnTo>
                  <a:lnTo>
                    <a:pt x="554" y="549"/>
                  </a:lnTo>
                  <a:lnTo>
                    <a:pt x="556" y="551"/>
                  </a:lnTo>
                  <a:lnTo>
                    <a:pt x="558" y="551"/>
                  </a:lnTo>
                  <a:lnTo>
                    <a:pt x="558" y="553"/>
                  </a:lnTo>
                  <a:lnTo>
                    <a:pt x="558" y="553"/>
                  </a:lnTo>
                  <a:lnTo>
                    <a:pt x="560" y="553"/>
                  </a:lnTo>
                  <a:lnTo>
                    <a:pt x="562" y="556"/>
                  </a:lnTo>
                  <a:lnTo>
                    <a:pt x="564" y="556"/>
                  </a:lnTo>
                  <a:lnTo>
                    <a:pt x="564" y="556"/>
                  </a:lnTo>
                  <a:lnTo>
                    <a:pt x="566" y="556"/>
                  </a:lnTo>
                  <a:lnTo>
                    <a:pt x="566" y="556"/>
                  </a:lnTo>
                  <a:lnTo>
                    <a:pt x="566" y="556"/>
                  </a:lnTo>
                  <a:lnTo>
                    <a:pt x="568" y="556"/>
                  </a:lnTo>
                  <a:lnTo>
                    <a:pt x="568" y="556"/>
                  </a:lnTo>
                  <a:lnTo>
                    <a:pt x="570" y="558"/>
                  </a:lnTo>
                  <a:lnTo>
                    <a:pt x="570" y="558"/>
                  </a:lnTo>
                  <a:lnTo>
                    <a:pt x="572" y="558"/>
                  </a:lnTo>
                  <a:lnTo>
                    <a:pt x="574" y="558"/>
                  </a:lnTo>
                  <a:lnTo>
                    <a:pt x="574" y="558"/>
                  </a:lnTo>
                  <a:lnTo>
                    <a:pt x="577" y="558"/>
                  </a:lnTo>
                  <a:lnTo>
                    <a:pt x="579" y="560"/>
                  </a:lnTo>
                  <a:lnTo>
                    <a:pt x="579" y="560"/>
                  </a:lnTo>
                  <a:lnTo>
                    <a:pt x="579" y="562"/>
                  </a:lnTo>
                  <a:lnTo>
                    <a:pt x="577" y="562"/>
                  </a:lnTo>
                  <a:lnTo>
                    <a:pt x="577" y="562"/>
                  </a:lnTo>
                  <a:lnTo>
                    <a:pt x="577" y="564"/>
                  </a:lnTo>
                  <a:lnTo>
                    <a:pt x="577" y="566"/>
                  </a:lnTo>
                  <a:lnTo>
                    <a:pt x="577" y="568"/>
                  </a:lnTo>
                  <a:lnTo>
                    <a:pt x="577" y="568"/>
                  </a:lnTo>
                  <a:lnTo>
                    <a:pt x="579" y="568"/>
                  </a:lnTo>
                  <a:lnTo>
                    <a:pt x="579" y="568"/>
                  </a:lnTo>
                  <a:lnTo>
                    <a:pt x="579" y="570"/>
                  </a:lnTo>
                  <a:lnTo>
                    <a:pt x="579" y="572"/>
                  </a:lnTo>
                  <a:lnTo>
                    <a:pt x="579" y="574"/>
                  </a:lnTo>
                  <a:lnTo>
                    <a:pt x="581" y="574"/>
                  </a:lnTo>
                  <a:lnTo>
                    <a:pt x="581" y="574"/>
                  </a:lnTo>
                  <a:lnTo>
                    <a:pt x="581" y="574"/>
                  </a:lnTo>
                  <a:lnTo>
                    <a:pt x="583" y="574"/>
                  </a:lnTo>
                  <a:lnTo>
                    <a:pt x="585" y="574"/>
                  </a:lnTo>
                  <a:lnTo>
                    <a:pt x="585" y="574"/>
                  </a:lnTo>
                  <a:lnTo>
                    <a:pt x="585" y="576"/>
                  </a:lnTo>
                  <a:lnTo>
                    <a:pt x="585" y="576"/>
                  </a:lnTo>
                  <a:lnTo>
                    <a:pt x="587" y="576"/>
                  </a:lnTo>
                  <a:lnTo>
                    <a:pt x="589" y="578"/>
                  </a:lnTo>
                  <a:lnTo>
                    <a:pt x="589" y="578"/>
                  </a:lnTo>
                  <a:lnTo>
                    <a:pt x="591" y="580"/>
                  </a:lnTo>
                  <a:lnTo>
                    <a:pt x="593" y="580"/>
                  </a:lnTo>
                  <a:lnTo>
                    <a:pt x="593" y="580"/>
                  </a:lnTo>
                  <a:lnTo>
                    <a:pt x="595" y="580"/>
                  </a:lnTo>
                  <a:lnTo>
                    <a:pt x="597" y="580"/>
                  </a:lnTo>
                  <a:lnTo>
                    <a:pt x="599" y="580"/>
                  </a:lnTo>
                  <a:lnTo>
                    <a:pt x="601" y="582"/>
                  </a:lnTo>
                  <a:lnTo>
                    <a:pt x="601" y="582"/>
                  </a:lnTo>
                  <a:lnTo>
                    <a:pt x="603" y="582"/>
                  </a:lnTo>
                  <a:lnTo>
                    <a:pt x="603" y="580"/>
                  </a:lnTo>
                  <a:lnTo>
                    <a:pt x="605" y="582"/>
                  </a:lnTo>
                  <a:lnTo>
                    <a:pt x="607" y="580"/>
                  </a:lnTo>
                  <a:lnTo>
                    <a:pt x="607" y="578"/>
                  </a:lnTo>
                  <a:lnTo>
                    <a:pt x="607" y="578"/>
                  </a:lnTo>
                  <a:lnTo>
                    <a:pt x="607" y="578"/>
                  </a:lnTo>
                  <a:lnTo>
                    <a:pt x="609" y="580"/>
                  </a:lnTo>
                  <a:lnTo>
                    <a:pt x="609" y="580"/>
                  </a:lnTo>
                  <a:lnTo>
                    <a:pt x="609" y="580"/>
                  </a:lnTo>
                  <a:lnTo>
                    <a:pt x="609" y="578"/>
                  </a:lnTo>
                  <a:lnTo>
                    <a:pt x="609" y="576"/>
                  </a:lnTo>
                  <a:lnTo>
                    <a:pt x="609" y="574"/>
                  </a:lnTo>
                  <a:lnTo>
                    <a:pt x="609" y="574"/>
                  </a:lnTo>
                  <a:lnTo>
                    <a:pt x="611" y="576"/>
                  </a:lnTo>
                  <a:lnTo>
                    <a:pt x="611" y="576"/>
                  </a:lnTo>
                  <a:lnTo>
                    <a:pt x="611" y="578"/>
                  </a:lnTo>
                  <a:lnTo>
                    <a:pt x="611" y="578"/>
                  </a:lnTo>
                  <a:lnTo>
                    <a:pt x="613" y="580"/>
                  </a:lnTo>
                  <a:lnTo>
                    <a:pt x="613" y="580"/>
                  </a:lnTo>
                  <a:lnTo>
                    <a:pt x="616" y="580"/>
                  </a:lnTo>
                  <a:lnTo>
                    <a:pt x="616" y="580"/>
                  </a:lnTo>
                  <a:lnTo>
                    <a:pt x="618" y="580"/>
                  </a:lnTo>
                  <a:lnTo>
                    <a:pt x="620" y="580"/>
                  </a:lnTo>
                  <a:lnTo>
                    <a:pt x="620" y="582"/>
                  </a:lnTo>
                  <a:lnTo>
                    <a:pt x="620" y="582"/>
                  </a:lnTo>
                  <a:lnTo>
                    <a:pt x="620" y="584"/>
                  </a:lnTo>
                  <a:lnTo>
                    <a:pt x="620" y="584"/>
                  </a:lnTo>
                  <a:lnTo>
                    <a:pt x="622" y="584"/>
                  </a:lnTo>
                  <a:lnTo>
                    <a:pt x="624" y="582"/>
                  </a:lnTo>
                  <a:lnTo>
                    <a:pt x="626" y="582"/>
                  </a:lnTo>
                  <a:lnTo>
                    <a:pt x="626" y="582"/>
                  </a:lnTo>
                  <a:lnTo>
                    <a:pt x="626" y="578"/>
                  </a:lnTo>
                  <a:lnTo>
                    <a:pt x="626" y="578"/>
                  </a:lnTo>
                  <a:lnTo>
                    <a:pt x="626" y="580"/>
                  </a:lnTo>
                  <a:lnTo>
                    <a:pt x="628" y="582"/>
                  </a:lnTo>
                  <a:lnTo>
                    <a:pt x="630" y="582"/>
                  </a:lnTo>
                  <a:lnTo>
                    <a:pt x="630" y="582"/>
                  </a:lnTo>
                  <a:lnTo>
                    <a:pt x="632" y="582"/>
                  </a:lnTo>
                  <a:lnTo>
                    <a:pt x="632" y="582"/>
                  </a:lnTo>
                  <a:lnTo>
                    <a:pt x="632" y="584"/>
                  </a:lnTo>
                  <a:lnTo>
                    <a:pt x="630" y="586"/>
                  </a:lnTo>
                  <a:lnTo>
                    <a:pt x="630" y="586"/>
                  </a:lnTo>
                  <a:lnTo>
                    <a:pt x="630" y="588"/>
                  </a:lnTo>
                  <a:lnTo>
                    <a:pt x="630" y="590"/>
                  </a:lnTo>
                  <a:lnTo>
                    <a:pt x="630" y="593"/>
                  </a:lnTo>
                  <a:lnTo>
                    <a:pt x="630" y="595"/>
                  </a:lnTo>
                  <a:lnTo>
                    <a:pt x="632" y="595"/>
                  </a:lnTo>
                  <a:lnTo>
                    <a:pt x="632" y="595"/>
                  </a:lnTo>
                  <a:lnTo>
                    <a:pt x="632" y="597"/>
                  </a:lnTo>
                  <a:lnTo>
                    <a:pt x="632" y="599"/>
                  </a:lnTo>
                  <a:lnTo>
                    <a:pt x="634" y="601"/>
                  </a:lnTo>
                  <a:lnTo>
                    <a:pt x="636" y="601"/>
                  </a:lnTo>
                  <a:lnTo>
                    <a:pt x="636" y="601"/>
                  </a:lnTo>
                  <a:lnTo>
                    <a:pt x="636" y="603"/>
                  </a:lnTo>
                  <a:lnTo>
                    <a:pt x="636" y="603"/>
                  </a:lnTo>
                  <a:lnTo>
                    <a:pt x="634" y="603"/>
                  </a:lnTo>
                  <a:lnTo>
                    <a:pt x="634" y="603"/>
                  </a:lnTo>
                  <a:lnTo>
                    <a:pt x="636" y="605"/>
                  </a:lnTo>
                  <a:lnTo>
                    <a:pt x="638" y="605"/>
                  </a:lnTo>
                  <a:lnTo>
                    <a:pt x="642" y="605"/>
                  </a:lnTo>
                  <a:lnTo>
                    <a:pt x="644" y="603"/>
                  </a:lnTo>
                  <a:lnTo>
                    <a:pt x="644" y="603"/>
                  </a:lnTo>
                  <a:lnTo>
                    <a:pt x="644" y="601"/>
                  </a:lnTo>
                  <a:lnTo>
                    <a:pt x="644" y="601"/>
                  </a:lnTo>
                  <a:lnTo>
                    <a:pt x="640" y="597"/>
                  </a:lnTo>
                  <a:lnTo>
                    <a:pt x="640" y="597"/>
                  </a:lnTo>
                  <a:lnTo>
                    <a:pt x="642" y="597"/>
                  </a:lnTo>
                  <a:lnTo>
                    <a:pt x="642" y="595"/>
                  </a:lnTo>
                  <a:lnTo>
                    <a:pt x="642" y="595"/>
                  </a:lnTo>
                  <a:lnTo>
                    <a:pt x="638" y="595"/>
                  </a:lnTo>
                  <a:lnTo>
                    <a:pt x="638" y="593"/>
                  </a:lnTo>
                  <a:lnTo>
                    <a:pt x="638" y="590"/>
                  </a:lnTo>
                  <a:lnTo>
                    <a:pt x="640" y="588"/>
                  </a:lnTo>
                  <a:lnTo>
                    <a:pt x="640" y="588"/>
                  </a:lnTo>
                  <a:lnTo>
                    <a:pt x="640" y="586"/>
                  </a:lnTo>
                  <a:lnTo>
                    <a:pt x="640" y="586"/>
                  </a:lnTo>
                  <a:lnTo>
                    <a:pt x="640" y="586"/>
                  </a:lnTo>
                  <a:lnTo>
                    <a:pt x="642" y="586"/>
                  </a:lnTo>
                  <a:lnTo>
                    <a:pt x="642" y="588"/>
                  </a:lnTo>
                  <a:lnTo>
                    <a:pt x="644" y="588"/>
                  </a:lnTo>
                  <a:lnTo>
                    <a:pt x="644" y="586"/>
                  </a:lnTo>
                  <a:lnTo>
                    <a:pt x="646" y="584"/>
                  </a:lnTo>
                  <a:lnTo>
                    <a:pt x="648" y="584"/>
                  </a:lnTo>
                  <a:lnTo>
                    <a:pt x="650" y="584"/>
                  </a:lnTo>
                  <a:lnTo>
                    <a:pt x="650" y="582"/>
                  </a:lnTo>
                  <a:lnTo>
                    <a:pt x="650" y="582"/>
                  </a:lnTo>
                  <a:lnTo>
                    <a:pt x="650" y="582"/>
                  </a:lnTo>
                  <a:lnTo>
                    <a:pt x="652" y="582"/>
                  </a:lnTo>
                  <a:lnTo>
                    <a:pt x="652" y="582"/>
                  </a:lnTo>
                  <a:lnTo>
                    <a:pt x="655" y="582"/>
                  </a:lnTo>
                  <a:lnTo>
                    <a:pt x="657" y="582"/>
                  </a:lnTo>
                  <a:lnTo>
                    <a:pt x="659" y="582"/>
                  </a:lnTo>
                  <a:lnTo>
                    <a:pt x="661" y="580"/>
                  </a:lnTo>
                  <a:lnTo>
                    <a:pt x="661" y="580"/>
                  </a:lnTo>
                  <a:lnTo>
                    <a:pt x="661" y="578"/>
                  </a:lnTo>
                  <a:lnTo>
                    <a:pt x="663" y="578"/>
                  </a:lnTo>
                  <a:lnTo>
                    <a:pt x="663" y="578"/>
                  </a:lnTo>
                  <a:lnTo>
                    <a:pt x="663" y="578"/>
                  </a:lnTo>
                  <a:lnTo>
                    <a:pt x="663" y="576"/>
                  </a:lnTo>
                  <a:lnTo>
                    <a:pt x="665" y="576"/>
                  </a:lnTo>
                  <a:lnTo>
                    <a:pt x="667" y="576"/>
                  </a:lnTo>
                  <a:lnTo>
                    <a:pt x="667" y="578"/>
                  </a:lnTo>
                  <a:lnTo>
                    <a:pt x="669" y="578"/>
                  </a:lnTo>
                  <a:lnTo>
                    <a:pt x="671" y="578"/>
                  </a:lnTo>
                  <a:lnTo>
                    <a:pt x="671" y="576"/>
                  </a:lnTo>
                  <a:lnTo>
                    <a:pt x="671" y="574"/>
                  </a:lnTo>
                  <a:lnTo>
                    <a:pt x="669" y="574"/>
                  </a:lnTo>
                  <a:lnTo>
                    <a:pt x="671" y="574"/>
                  </a:lnTo>
                  <a:lnTo>
                    <a:pt x="671" y="574"/>
                  </a:lnTo>
                  <a:lnTo>
                    <a:pt x="671" y="574"/>
                  </a:lnTo>
                  <a:lnTo>
                    <a:pt x="671" y="576"/>
                  </a:lnTo>
                  <a:lnTo>
                    <a:pt x="673" y="576"/>
                  </a:lnTo>
                  <a:lnTo>
                    <a:pt x="673" y="578"/>
                  </a:lnTo>
                  <a:lnTo>
                    <a:pt x="675" y="576"/>
                  </a:lnTo>
                  <a:lnTo>
                    <a:pt x="675" y="576"/>
                  </a:lnTo>
                  <a:lnTo>
                    <a:pt x="675" y="574"/>
                  </a:lnTo>
                  <a:lnTo>
                    <a:pt x="677" y="574"/>
                  </a:lnTo>
                  <a:lnTo>
                    <a:pt x="679" y="576"/>
                  </a:lnTo>
                  <a:lnTo>
                    <a:pt x="679" y="574"/>
                  </a:lnTo>
                  <a:lnTo>
                    <a:pt x="679" y="574"/>
                  </a:lnTo>
                  <a:lnTo>
                    <a:pt x="679" y="572"/>
                  </a:lnTo>
                  <a:lnTo>
                    <a:pt x="681" y="570"/>
                  </a:lnTo>
                  <a:lnTo>
                    <a:pt x="681" y="572"/>
                  </a:lnTo>
                  <a:lnTo>
                    <a:pt x="683" y="572"/>
                  </a:lnTo>
                  <a:lnTo>
                    <a:pt x="685" y="570"/>
                  </a:lnTo>
                  <a:lnTo>
                    <a:pt x="685" y="570"/>
                  </a:lnTo>
                  <a:lnTo>
                    <a:pt x="685" y="570"/>
                  </a:lnTo>
                  <a:lnTo>
                    <a:pt x="687" y="570"/>
                  </a:lnTo>
                  <a:lnTo>
                    <a:pt x="687" y="570"/>
                  </a:lnTo>
                  <a:lnTo>
                    <a:pt x="687" y="570"/>
                  </a:lnTo>
                  <a:lnTo>
                    <a:pt x="687" y="568"/>
                  </a:lnTo>
                  <a:lnTo>
                    <a:pt x="687" y="568"/>
                  </a:lnTo>
                  <a:lnTo>
                    <a:pt x="687" y="570"/>
                  </a:lnTo>
                  <a:lnTo>
                    <a:pt x="687" y="570"/>
                  </a:lnTo>
                  <a:lnTo>
                    <a:pt x="687" y="568"/>
                  </a:lnTo>
                  <a:lnTo>
                    <a:pt x="687" y="566"/>
                  </a:lnTo>
                  <a:lnTo>
                    <a:pt x="687" y="566"/>
                  </a:lnTo>
                  <a:lnTo>
                    <a:pt x="687" y="562"/>
                  </a:lnTo>
                  <a:lnTo>
                    <a:pt x="685" y="560"/>
                  </a:lnTo>
                  <a:lnTo>
                    <a:pt x="685" y="560"/>
                  </a:lnTo>
                  <a:lnTo>
                    <a:pt x="685" y="560"/>
                  </a:lnTo>
                  <a:lnTo>
                    <a:pt x="683" y="558"/>
                  </a:lnTo>
                  <a:lnTo>
                    <a:pt x="683" y="558"/>
                  </a:lnTo>
                  <a:lnTo>
                    <a:pt x="683" y="556"/>
                  </a:lnTo>
                  <a:lnTo>
                    <a:pt x="683" y="556"/>
                  </a:lnTo>
                  <a:lnTo>
                    <a:pt x="683" y="556"/>
                  </a:lnTo>
                  <a:lnTo>
                    <a:pt x="683" y="553"/>
                  </a:lnTo>
                  <a:lnTo>
                    <a:pt x="685" y="553"/>
                  </a:lnTo>
                  <a:lnTo>
                    <a:pt x="685" y="553"/>
                  </a:lnTo>
                  <a:lnTo>
                    <a:pt x="685" y="553"/>
                  </a:lnTo>
                  <a:lnTo>
                    <a:pt x="685" y="556"/>
                  </a:lnTo>
                  <a:lnTo>
                    <a:pt x="687" y="556"/>
                  </a:lnTo>
                  <a:lnTo>
                    <a:pt x="687" y="558"/>
                  </a:lnTo>
                  <a:lnTo>
                    <a:pt x="687" y="558"/>
                  </a:lnTo>
                  <a:lnTo>
                    <a:pt x="689" y="560"/>
                  </a:lnTo>
                  <a:lnTo>
                    <a:pt x="691" y="562"/>
                  </a:lnTo>
                  <a:lnTo>
                    <a:pt x="694" y="564"/>
                  </a:lnTo>
                  <a:lnTo>
                    <a:pt x="694" y="564"/>
                  </a:lnTo>
                  <a:lnTo>
                    <a:pt x="694" y="564"/>
                  </a:lnTo>
                  <a:lnTo>
                    <a:pt x="696" y="564"/>
                  </a:lnTo>
                  <a:lnTo>
                    <a:pt x="696" y="564"/>
                  </a:lnTo>
                  <a:lnTo>
                    <a:pt x="696" y="564"/>
                  </a:lnTo>
                  <a:lnTo>
                    <a:pt x="698" y="564"/>
                  </a:lnTo>
                  <a:lnTo>
                    <a:pt x="698" y="564"/>
                  </a:lnTo>
                  <a:lnTo>
                    <a:pt x="698" y="564"/>
                  </a:lnTo>
                  <a:lnTo>
                    <a:pt x="700" y="562"/>
                  </a:lnTo>
                  <a:lnTo>
                    <a:pt x="700" y="562"/>
                  </a:lnTo>
                  <a:lnTo>
                    <a:pt x="702" y="564"/>
                  </a:lnTo>
                  <a:lnTo>
                    <a:pt x="704" y="564"/>
                  </a:lnTo>
                  <a:lnTo>
                    <a:pt x="702" y="562"/>
                  </a:lnTo>
                  <a:lnTo>
                    <a:pt x="704" y="562"/>
                  </a:lnTo>
                  <a:lnTo>
                    <a:pt x="704" y="560"/>
                  </a:lnTo>
                  <a:lnTo>
                    <a:pt x="704" y="560"/>
                  </a:lnTo>
                  <a:lnTo>
                    <a:pt x="704" y="560"/>
                  </a:lnTo>
                  <a:lnTo>
                    <a:pt x="706" y="562"/>
                  </a:lnTo>
                  <a:lnTo>
                    <a:pt x="708" y="562"/>
                  </a:lnTo>
                  <a:lnTo>
                    <a:pt x="708" y="562"/>
                  </a:lnTo>
                  <a:lnTo>
                    <a:pt x="708" y="562"/>
                  </a:lnTo>
                  <a:lnTo>
                    <a:pt x="710" y="560"/>
                  </a:lnTo>
                  <a:lnTo>
                    <a:pt x="710" y="560"/>
                  </a:lnTo>
                  <a:lnTo>
                    <a:pt x="712" y="558"/>
                  </a:lnTo>
                  <a:lnTo>
                    <a:pt x="714" y="560"/>
                  </a:lnTo>
                  <a:lnTo>
                    <a:pt x="716" y="560"/>
                  </a:lnTo>
                  <a:lnTo>
                    <a:pt x="718" y="560"/>
                  </a:lnTo>
                  <a:lnTo>
                    <a:pt x="718" y="560"/>
                  </a:lnTo>
                  <a:lnTo>
                    <a:pt x="718" y="558"/>
                  </a:lnTo>
                  <a:lnTo>
                    <a:pt x="718" y="558"/>
                  </a:lnTo>
                  <a:lnTo>
                    <a:pt x="720" y="558"/>
                  </a:lnTo>
                  <a:lnTo>
                    <a:pt x="722" y="558"/>
                  </a:lnTo>
                  <a:lnTo>
                    <a:pt x="726" y="558"/>
                  </a:lnTo>
                  <a:lnTo>
                    <a:pt x="726" y="558"/>
                  </a:lnTo>
                  <a:lnTo>
                    <a:pt x="728" y="556"/>
                  </a:lnTo>
                  <a:lnTo>
                    <a:pt x="728" y="556"/>
                  </a:lnTo>
                  <a:lnTo>
                    <a:pt x="728" y="556"/>
                  </a:lnTo>
                  <a:lnTo>
                    <a:pt x="730" y="556"/>
                  </a:lnTo>
                  <a:lnTo>
                    <a:pt x="733" y="556"/>
                  </a:lnTo>
                  <a:lnTo>
                    <a:pt x="733" y="556"/>
                  </a:lnTo>
                  <a:lnTo>
                    <a:pt x="733" y="551"/>
                  </a:lnTo>
                  <a:lnTo>
                    <a:pt x="733" y="551"/>
                  </a:lnTo>
                  <a:lnTo>
                    <a:pt x="735" y="551"/>
                  </a:lnTo>
                  <a:lnTo>
                    <a:pt x="735" y="549"/>
                  </a:lnTo>
                  <a:lnTo>
                    <a:pt x="735" y="549"/>
                  </a:lnTo>
                  <a:lnTo>
                    <a:pt x="733" y="549"/>
                  </a:lnTo>
                  <a:lnTo>
                    <a:pt x="735" y="547"/>
                  </a:lnTo>
                  <a:lnTo>
                    <a:pt x="735" y="547"/>
                  </a:lnTo>
                  <a:lnTo>
                    <a:pt x="737" y="547"/>
                  </a:lnTo>
                  <a:lnTo>
                    <a:pt x="737" y="543"/>
                  </a:lnTo>
                  <a:lnTo>
                    <a:pt x="739" y="543"/>
                  </a:lnTo>
                  <a:lnTo>
                    <a:pt x="739" y="545"/>
                  </a:lnTo>
                  <a:lnTo>
                    <a:pt x="741" y="543"/>
                  </a:lnTo>
                  <a:lnTo>
                    <a:pt x="741" y="543"/>
                  </a:lnTo>
                  <a:lnTo>
                    <a:pt x="743" y="541"/>
                  </a:lnTo>
                  <a:lnTo>
                    <a:pt x="743" y="541"/>
                  </a:lnTo>
                  <a:lnTo>
                    <a:pt x="743" y="543"/>
                  </a:lnTo>
                  <a:lnTo>
                    <a:pt x="745" y="543"/>
                  </a:lnTo>
                  <a:lnTo>
                    <a:pt x="745" y="543"/>
                  </a:lnTo>
                  <a:lnTo>
                    <a:pt x="745" y="541"/>
                  </a:lnTo>
                  <a:lnTo>
                    <a:pt x="745" y="541"/>
                  </a:lnTo>
                  <a:lnTo>
                    <a:pt x="745" y="541"/>
                  </a:lnTo>
                  <a:lnTo>
                    <a:pt x="745" y="539"/>
                  </a:lnTo>
                  <a:lnTo>
                    <a:pt x="747" y="539"/>
                  </a:lnTo>
                  <a:lnTo>
                    <a:pt x="747" y="539"/>
                  </a:lnTo>
                  <a:lnTo>
                    <a:pt x="747" y="537"/>
                  </a:lnTo>
                  <a:lnTo>
                    <a:pt x="749" y="537"/>
                  </a:lnTo>
                  <a:lnTo>
                    <a:pt x="751" y="537"/>
                  </a:lnTo>
                  <a:lnTo>
                    <a:pt x="751" y="535"/>
                  </a:lnTo>
                  <a:lnTo>
                    <a:pt x="753" y="533"/>
                  </a:lnTo>
                  <a:lnTo>
                    <a:pt x="753" y="531"/>
                  </a:lnTo>
                  <a:lnTo>
                    <a:pt x="751" y="529"/>
                  </a:lnTo>
                  <a:lnTo>
                    <a:pt x="749" y="529"/>
                  </a:lnTo>
                  <a:lnTo>
                    <a:pt x="749" y="529"/>
                  </a:lnTo>
                  <a:lnTo>
                    <a:pt x="749" y="529"/>
                  </a:lnTo>
                  <a:lnTo>
                    <a:pt x="749" y="527"/>
                  </a:lnTo>
                  <a:lnTo>
                    <a:pt x="749" y="529"/>
                  </a:lnTo>
                  <a:lnTo>
                    <a:pt x="751" y="527"/>
                  </a:lnTo>
                  <a:lnTo>
                    <a:pt x="751" y="527"/>
                  </a:lnTo>
                  <a:lnTo>
                    <a:pt x="751" y="525"/>
                  </a:lnTo>
                  <a:lnTo>
                    <a:pt x="753" y="525"/>
                  </a:lnTo>
                  <a:lnTo>
                    <a:pt x="755" y="527"/>
                  </a:lnTo>
                  <a:lnTo>
                    <a:pt x="757" y="525"/>
                  </a:lnTo>
                  <a:lnTo>
                    <a:pt x="759" y="527"/>
                  </a:lnTo>
                  <a:lnTo>
                    <a:pt x="761" y="525"/>
                  </a:lnTo>
                  <a:lnTo>
                    <a:pt x="761" y="523"/>
                  </a:lnTo>
                  <a:lnTo>
                    <a:pt x="761" y="523"/>
                  </a:lnTo>
                  <a:lnTo>
                    <a:pt x="759" y="523"/>
                  </a:lnTo>
                  <a:lnTo>
                    <a:pt x="759" y="521"/>
                  </a:lnTo>
                  <a:lnTo>
                    <a:pt x="761" y="521"/>
                  </a:lnTo>
                  <a:lnTo>
                    <a:pt x="763" y="521"/>
                  </a:lnTo>
                  <a:lnTo>
                    <a:pt x="763" y="519"/>
                  </a:lnTo>
                  <a:lnTo>
                    <a:pt x="763" y="519"/>
                  </a:lnTo>
                  <a:lnTo>
                    <a:pt x="763" y="516"/>
                  </a:lnTo>
                  <a:lnTo>
                    <a:pt x="763" y="514"/>
                  </a:lnTo>
                  <a:lnTo>
                    <a:pt x="763" y="514"/>
                  </a:lnTo>
                  <a:lnTo>
                    <a:pt x="767" y="514"/>
                  </a:lnTo>
                  <a:lnTo>
                    <a:pt x="767" y="514"/>
                  </a:lnTo>
                  <a:lnTo>
                    <a:pt x="767" y="512"/>
                  </a:lnTo>
                  <a:lnTo>
                    <a:pt x="765" y="512"/>
                  </a:lnTo>
                  <a:lnTo>
                    <a:pt x="765" y="510"/>
                  </a:lnTo>
                  <a:lnTo>
                    <a:pt x="765" y="510"/>
                  </a:lnTo>
                  <a:lnTo>
                    <a:pt x="767" y="510"/>
                  </a:lnTo>
                  <a:lnTo>
                    <a:pt x="770" y="510"/>
                  </a:lnTo>
                  <a:lnTo>
                    <a:pt x="770" y="510"/>
                  </a:lnTo>
                  <a:lnTo>
                    <a:pt x="772" y="510"/>
                  </a:lnTo>
                  <a:lnTo>
                    <a:pt x="774" y="512"/>
                  </a:lnTo>
                  <a:lnTo>
                    <a:pt x="774" y="510"/>
                  </a:lnTo>
                  <a:lnTo>
                    <a:pt x="774" y="510"/>
                  </a:lnTo>
                  <a:lnTo>
                    <a:pt x="772" y="508"/>
                  </a:lnTo>
                  <a:lnTo>
                    <a:pt x="772" y="506"/>
                  </a:lnTo>
                  <a:lnTo>
                    <a:pt x="772" y="502"/>
                  </a:lnTo>
                  <a:lnTo>
                    <a:pt x="772" y="502"/>
                  </a:lnTo>
                  <a:lnTo>
                    <a:pt x="772" y="500"/>
                  </a:lnTo>
                  <a:lnTo>
                    <a:pt x="770" y="500"/>
                  </a:lnTo>
                  <a:lnTo>
                    <a:pt x="767" y="500"/>
                  </a:lnTo>
                  <a:lnTo>
                    <a:pt x="765" y="500"/>
                  </a:lnTo>
                  <a:lnTo>
                    <a:pt x="765" y="500"/>
                  </a:lnTo>
                  <a:lnTo>
                    <a:pt x="763" y="498"/>
                  </a:lnTo>
                  <a:lnTo>
                    <a:pt x="763" y="498"/>
                  </a:lnTo>
                  <a:lnTo>
                    <a:pt x="765" y="498"/>
                  </a:lnTo>
                  <a:lnTo>
                    <a:pt x="767" y="498"/>
                  </a:lnTo>
                  <a:lnTo>
                    <a:pt x="767" y="498"/>
                  </a:lnTo>
                  <a:lnTo>
                    <a:pt x="770" y="498"/>
                  </a:lnTo>
                  <a:lnTo>
                    <a:pt x="772" y="496"/>
                  </a:lnTo>
                  <a:lnTo>
                    <a:pt x="772" y="494"/>
                  </a:lnTo>
                  <a:lnTo>
                    <a:pt x="774" y="494"/>
                  </a:lnTo>
                  <a:lnTo>
                    <a:pt x="774" y="494"/>
                  </a:lnTo>
                  <a:lnTo>
                    <a:pt x="772" y="492"/>
                  </a:lnTo>
                  <a:lnTo>
                    <a:pt x="772" y="492"/>
                  </a:lnTo>
                  <a:lnTo>
                    <a:pt x="772" y="490"/>
                  </a:lnTo>
                  <a:lnTo>
                    <a:pt x="770" y="488"/>
                  </a:lnTo>
                  <a:lnTo>
                    <a:pt x="767" y="488"/>
                  </a:lnTo>
                  <a:lnTo>
                    <a:pt x="767" y="488"/>
                  </a:lnTo>
                  <a:lnTo>
                    <a:pt x="767" y="486"/>
                  </a:lnTo>
                  <a:lnTo>
                    <a:pt x="767" y="486"/>
                  </a:lnTo>
                  <a:lnTo>
                    <a:pt x="767" y="486"/>
                  </a:lnTo>
                  <a:lnTo>
                    <a:pt x="770" y="486"/>
                  </a:lnTo>
                  <a:lnTo>
                    <a:pt x="770" y="486"/>
                  </a:lnTo>
                  <a:lnTo>
                    <a:pt x="770" y="484"/>
                  </a:lnTo>
                  <a:lnTo>
                    <a:pt x="770" y="484"/>
                  </a:lnTo>
                  <a:lnTo>
                    <a:pt x="770" y="486"/>
                  </a:lnTo>
                  <a:lnTo>
                    <a:pt x="772" y="486"/>
                  </a:lnTo>
                  <a:lnTo>
                    <a:pt x="772" y="488"/>
                  </a:lnTo>
                  <a:lnTo>
                    <a:pt x="772" y="488"/>
                  </a:lnTo>
                  <a:lnTo>
                    <a:pt x="772" y="488"/>
                  </a:lnTo>
                  <a:lnTo>
                    <a:pt x="774" y="490"/>
                  </a:lnTo>
                  <a:lnTo>
                    <a:pt x="774" y="488"/>
                  </a:lnTo>
                  <a:lnTo>
                    <a:pt x="776" y="488"/>
                  </a:lnTo>
                  <a:lnTo>
                    <a:pt x="776" y="486"/>
                  </a:lnTo>
                  <a:lnTo>
                    <a:pt x="776" y="484"/>
                  </a:lnTo>
                  <a:lnTo>
                    <a:pt x="776" y="479"/>
                  </a:lnTo>
                  <a:lnTo>
                    <a:pt x="778" y="479"/>
                  </a:lnTo>
                  <a:lnTo>
                    <a:pt x="778" y="477"/>
                  </a:lnTo>
                  <a:lnTo>
                    <a:pt x="780" y="475"/>
                  </a:lnTo>
                  <a:lnTo>
                    <a:pt x="780" y="473"/>
                  </a:lnTo>
                  <a:lnTo>
                    <a:pt x="780" y="473"/>
                  </a:lnTo>
                  <a:lnTo>
                    <a:pt x="780" y="471"/>
                  </a:lnTo>
                  <a:lnTo>
                    <a:pt x="780" y="469"/>
                  </a:lnTo>
                  <a:lnTo>
                    <a:pt x="780" y="469"/>
                  </a:lnTo>
                  <a:lnTo>
                    <a:pt x="780" y="467"/>
                  </a:lnTo>
                  <a:lnTo>
                    <a:pt x="782" y="465"/>
                  </a:lnTo>
                  <a:lnTo>
                    <a:pt x="782" y="465"/>
                  </a:lnTo>
                  <a:lnTo>
                    <a:pt x="780" y="463"/>
                  </a:lnTo>
                  <a:lnTo>
                    <a:pt x="780" y="463"/>
                  </a:lnTo>
                  <a:lnTo>
                    <a:pt x="780" y="463"/>
                  </a:lnTo>
                  <a:lnTo>
                    <a:pt x="782" y="463"/>
                  </a:lnTo>
                  <a:lnTo>
                    <a:pt x="782" y="463"/>
                  </a:lnTo>
                  <a:lnTo>
                    <a:pt x="784" y="461"/>
                  </a:lnTo>
                  <a:lnTo>
                    <a:pt x="784" y="457"/>
                  </a:lnTo>
                  <a:lnTo>
                    <a:pt x="784" y="457"/>
                  </a:lnTo>
                  <a:lnTo>
                    <a:pt x="786" y="457"/>
                  </a:lnTo>
                  <a:lnTo>
                    <a:pt x="786" y="459"/>
                  </a:lnTo>
                  <a:lnTo>
                    <a:pt x="788" y="459"/>
                  </a:lnTo>
                  <a:lnTo>
                    <a:pt x="790" y="457"/>
                  </a:lnTo>
                  <a:lnTo>
                    <a:pt x="792" y="457"/>
                  </a:lnTo>
                  <a:lnTo>
                    <a:pt x="790" y="457"/>
                  </a:lnTo>
                  <a:lnTo>
                    <a:pt x="790" y="453"/>
                  </a:lnTo>
                  <a:lnTo>
                    <a:pt x="788" y="451"/>
                  </a:lnTo>
                  <a:lnTo>
                    <a:pt x="788" y="451"/>
                  </a:lnTo>
                  <a:lnTo>
                    <a:pt x="790" y="449"/>
                  </a:lnTo>
                  <a:lnTo>
                    <a:pt x="790" y="449"/>
                  </a:lnTo>
                  <a:lnTo>
                    <a:pt x="790" y="447"/>
                  </a:lnTo>
                  <a:lnTo>
                    <a:pt x="788" y="447"/>
                  </a:lnTo>
                  <a:lnTo>
                    <a:pt x="788" y="447"/>
                  </a:lnTo>
                  <a:lnTo>
                    <a:pt x="790" y="447"/>
                  </a:lnTo>
                  <a:lnTo>
                    <a:pt x="788" y="445"/>
                  </a:lnTo>
                  <a:lnTo>
                    <a:pt x="786" y="442"/>
                  </a:lnTo>
                  <a:lnTo>
                    <a:pt x="784" y="442"/>
                  </a:lnTo>
                  <a:lnTo>
                    <a:pt x="786" y="440"/>
                  </a:lnTo>
                  <a:lnTo>
                    <a:pt x="786" y="440"/>
                  </a:lnTo>
                  <a:lnTo>
                    <a:pt x="788" y="440"/>
                  </a:lnTo>
                  <a:lnTo>
                    <a:pt x="788" y="440"/>
                  </a:lnTo>
                  <a:lnTo>
                    <a:pt x="790" y="440"/>
                  </a:lnTo>
                  <a:lnTo>
                    <a:pt x="792" y="442"/>
                  </a:lnTo>
                  <a:lnTo>
                    <a:pt x="792" y="442"/>
                  </a:lnTo>
                  <a:lnTo>
                    <a:pt x="790" y="436"/>
                  </a:lnTo>
                  <a:lnTo>
                    <a:pt x="790" y="434"/>
                  </a:lnTo>
                  <a:lnTo>
                    <a:pt x="788" y="432"/>
                  </a:lnTo>
                  <a:lnTo>
                    <a:pt x="788" y="434"/>
                  </a:lnTo>
                  <a:lnTo>
                    <a:pt x="786" y="436"/>
                  </a:lnTo>
                  <a:lnTo>
                    <a:pt x="784" y="436"/>
                  </a:lnTo>
                  <a:lnTo>
                    <a:pt x="784" y="434"/>
                  </a:lnTo>
                  <a:lnTo>
                    <a:pt x="786" y="434"/>
                  </a:lnTo>
                  <a:lnTo>
                    <a:pt x="788" y="430"/>
                  </a:lnTo>
                  <a:lnTo>
                    <a:pt x="790" y="428"/>
                  </a:lnTo>
                  <a:lnTo>
                    <a:pt x="790" y="428"/>
                  </a:lnTo>
                  <a:lnTo>
                    <a:pt x="788" y="428"/>
                  </a:lnTo>
                  <a:lnTo>
                    <a:pt x="786" y="428"/>
                  </a:lnTo>
                  <a:lnTo>
                    <a:pt x="784" y="426"/>
                  </a:lnTo>
                  <a:lnTo>
                    <a:pt x="778" y="422"/>
                  </a:lnTo>
                  <a:lnTo>
                    <a:pt x="778" y="422"/>
                  </a:lnTo>
                  <a:lnTo>
                    <a:pt x="776" y="420"/>
                  </a:lnTo>
                  <a:lnTo>
                    <a:pt x="774" y="420"/>
                  </a:lnTo>
                  <a:lnTo>
                    <a:pt x="772" y="424"/>
                  </a:lnTo>
                  <a:lnTo>
                    <a:pt x="767" y="424"/>
                  </a:lnTo>
                  <a:lnTo>
                    <a:pt x="763" y="420"/>
                  </a:lnTo>
                  <a:lnTo>
                    <a:pt x="761" y="422"/>
                  </a:lnTo>
                  <a:lnTo>
                    <a:pt x="759" y="422"/>
                  </a:lnTo>
                  <a:lnTo>
                    <a:pt x="759" y="422"/>
                  </a:lnTo>
                  <a:lnTo>
                    <a:pt x="759" y="422"/>
                  </a:lnTo>
                  <a:lnTo>
                    <a:pt x="759" y="422"/>
                  </a:lnTo>
                  <a:lnTo>
                    <a:pt x="763" y="420"/>
                  </a:lnTo>
                  <a:lnTo>
                    <a:pt x="765" y="420"/>
                  </a:lnTo>
                  <a:lnTo>
                    <a:pt x="767" y="420"/>
                  </a:lnTo>
                  <a:lnTo>
                    <a:pt x="770" y="420"/>
                  </a:lnTo>
                  <a:lnTo>
                    <a:pt x="770" y="418"/>
                  </a:lnTo>
                  <a:lnTo>
                    <a:pt x="770" y="416"/>
                  </a:lnTo>
                  <a:lnTo>
                    <a:pt x="774" y="414"/>
                  </a:lnTo>
                  <a:lnTo>
                    <a:pt x="776" y="412"/>
                  </a:lnTo>
                  <a:lnTo>
                    <a:pt x="776" y="412"/>
                  </a:lnTo>
                  <a:lnTo>
                    <a:pt x="780" y="410"/>
                  </a:lnTo>
                  <a:lnTo>
                    <a:pt x="780" y="410"/>
                  </a:lnTo>
                  <a:lnTo>
                    <a:pt x="782" y="410"/>
                  </a:lnTo>
                  <a:lnTo>
                    <a:pt x="780" y="407"/>
                  </a:lnTo>
                  <a:lnTo>
                    <a:pt x="780" y="405"/>
                  </a:lnTo>
                  <a:lnTo>
                    <a:pt x="776" y="401"/>
                  </a:lnTo>
                  <a:lnTo>
                    <a:pt x="770" y="399"/>
                  </a:lnTo>
                  <a:lnTo>
                    <a:pt x="767" y="397"/>
                  </a:lnTo>
                  <a:lnTo>
                    <a:pt x="763" y="395"/>
                  </a:lnTo>
                  <a:lnTo>
                    <a:pt x="761" y="395"/>
                  </a:lnTo>
                  <a:lnTo>
                    <a:pt x="759" y="393"/>
                  </a:lnTo>
                  <a:lnTo>
                    <a:pt x="759" y="391"/>
                  </a:lnTo>
                  <a:lnTo>
                    <a:pt x="757" y="391"/>
                  </a:lnTo>
                  <a:lnTo>
                    <a:pt x="753" y="389"/>
                  </a:lnTo>
                  <a:lnTo>
                    <a:pt x="751" y="391"/>
                  </a:lnTo>
                  <a:lnTo>
                    <a:pt x="749" y="391"/>
                  </a:lnTo>
                  <a:lnTo>
                    <a:pt x="747" y="391"/>
                  </a:lnTo>
                  <a:lnTo>
                    <a:pt x="747" y="391"/>
                  </a:lnTo>
                  <a:lnTo>
                    <a:pt x="747" y="391"/>
                  </a:lnTo>
                  <a:lnTo>
                    <a:pt x="749" y="391"/>
                  </a:lnTo>
                  <a:lnTo>
                    <a:pt x="753" y="387"/>
                  </a:lnTo>
                  <a:lnTo>
                    <a:pt x="755" y="389"/>
                  </a:lnTo>
                  <a:lnTo>
                    <a:pt x="759" y="389"/>
                  </a:lnTo>
                  <a:lnTo>
                    <a:pt x="761" y="393"/>
                  </a:lnTo>
                  <a:lnTo>
                    <a:pt x="765" y="393"/>
                  </a:lnTo>
                  <a:lnTo>
                    <a:pt x="767" y="393"/>
                  </a:lnTo>
                  <a:lnTo>
                    <a:pt x="767" y="393"/>
                  </a:lnTo>
                  <a:lnTo>
                    <a:pt x="774" y="395"/>
                  </a:lnTo>
                  <a:lnTo>
                    <a:pt x="776" y="395"/>
                  </a:lnTo>
                  <a:lnTo>
                    <a:pt x="778" y="395"/>
                  </a:lnTo>
                  <a:lnTo>
                    <a:pt x="776" y="393"/>
                  </a:lnTo>
                  <a:lnTo>
                    <a:pt x="776" y="391"/>
                  </a:lnTo>
                  <a:lnTo>
                    <a:pt x="774" y="389"/>
                  </a:lnTo>
                  <a:lnTo>
                    <a:pt x="772" y="389"/>
                  </a:lnTo>
                  <a:lnTo>
                    <a:pt x="770" y="387"/>
                  </a:lnTo>
                  <a:lnTo>
                    <a:pt x="767" y="387"/>
                  </a:lnTo>
                  <a:lnTo>
                    <a:pt x="767" y="387"/>
                  </a:lnTo>
                  <a:lnTo>
                    <a:pt x="765" y="383"/>
                  </a:lnTo>
                  <a:lnTo>
                    <a:pt x="763" y="383"/>
                  </a:lnTo>
                  <a:lnTo>
                    <a:pt x="763" y="381"/>
                  </a:lnTo>
                  <a:lnTo>
                    <a:pt x="757" y="379"/>
                  </a:lnTo>
                  <a:lnTo>
                    <a:pt x="755" y="379"/>
                  </a:lnTo>
                  <a:lnTo>
                    <a:pt x="755" y="377"/>
                  </a:lnTo>
                  <a:lnTo>
                    <a:pt x="755" y="375"/>
                  </a:lnTo>
                  <a:lnTo>
                    <a:pt x="753" y="370"/>
                  </a:lnTo>
                  <a:lnTo>
                    <a:pt x="749" y="366"/>
                  </a:lnTo>
                  <a:lnTo>
                    <a:pt x="747" y="362"/>
                  </a:lnTo>
                  <a:lnTo>
                    <a:pt x="743" y="360"/>
                  </a:lnTo>
                  <a:lnTo>
                    <a:pt x="743" y="358"/>
                  </a:lnTo>
                  <a:lnTo>
                    <a:pt x="741" y="356"/>
                  </a:lnTo>
                  <a:lnTo>
                    <a:pt x="737" y="350"/>
                  </a:lnTo>
                  <a:lnTo>
                    <a:pt x="737" y="348"/>
                  </a:lnTo>
                  <a:lnTo>
                    <a:pt x="735" y="348"/>
                  </a:lnTo>
                  <a:lnTo>
                    <a:pt x="730" y="346"/>
                  </a:lnTo>
                  <a:lnTo>
                    <a:pt x="726" y="344"/>
                  </a:lnTo>
                  <a:lnTo>
                    <a:pt x="724" y="342"/>
                  </a:lnTo>
                  <a:lnTo>
                    <a:pt x="720" y="340"/>
                  </a:lnTo>
                  <a:lnTo>
                    <a:pt x="718" y="340"/>
                  </a:lnTo>
                  <a:lnTo>
                    <a:pt x="716" y="340"/>
                  </a:lnTo>
                  <a:lnTo>
                    <a:pt x="716" y="338"/>
                  </a:lnTo>
                  <a:lnTo>
                    <a:pt x="714" y="333"/>
                  </a:lnTo>
                  <a:lnTo>
                    <a:pt x="716" y="333"/>
                  </a:lnTo>
                  <a:lnTo>
                    <a:pt x="716" y="329"/>
                  </a:lnTo>
                  <a:lnTo>
                    <a:pt x="718" y="327"/>
                  </a:lnTo>
                  <a:lnTo>
                    <a:pt x="718" y="325"/>
                  </a:lnTo>
                  <a:lnTo>
                    <a:pt x="718" y="323"/>
                  </a:lnTo>
                  <a:lnTo>
                    <a:pt x="720" y="323"/>
                  </a:lnTo>
                  <a:lnTo>
                    <a:pt x="720" y="323"/>
                  </a:lnTo>
                  <a:lnTo>
                    <a:pt x="720" y="321"/>
                  </a:lnTo>
                  <a:lnTo>
                    <a:pt x="722" y="321"/>
                  </a:lnTo>
                  <a:lnTo>
                    <a:pt x="722" y="319"/>
                  </a:lnTo>
                  <a:lnTo>
                    <a:pt x="722" y="319"/>
                  </a:lnTo>
                  <a:lnTo>
                    <a:pt x="724" y="317"/>
                  </a:lnTo>
                  <a:lnTo>
                    <a:pt x="724" y="317"/>
                  </a:lnTo>
                  <a:lnTo>
                    <a:pt x="724" y="315"/>
                  </a:lnTo>
                  <a:lnTo>
                    <a:pt x="722" y="315"/>
                  </a:lnTo>
                  <a:lnTo>
                    <a:pt x="720" y="313"/>
                  </a:lnTo>
                  <a:lnTo>
                    <a:pt x="720" y="313"/>
                  </a:lnTo>
                  <a:lnTo>
                    <a:pt x="722" y="313"/>
                  </a:lnTo>
                  <a:lnTo>
                    <a:pt x="722" y="311"/>
                  </a:lnTo>
                  <a:lnTo>
                    <a:pt x="724" y="311"/>
                  </a:lnTo>
                  <a:lnTo>
                    <a:pt x="724" y="313"/>
                  </a:lnTo>
                  <a:lnTo>
                    <a:pt x="724" y="313"/>
                  </a:lnTo>
                  <a:lnTo>
                    <a:pt x="724" y="315"/>
                  </a:lnTo>
                  <a:lnTo>
                    <a:pt x="726" y="315"/>
                  </a:lnTo>
                  <a:lnTo>
                    <a:pt x="726" y="313"/>
                  </a:lnTo>
                  <a:lnTo>
                    <a:pt x="728" y="313"/>
                  </a:lnTo>
                  <a:lnTo>
                    <a:pt x="728" y="313"/>
                  </a:lnTo>
                  <a:lnTo>
                    <a:pt x="728" y="309"/>
                  </a:lnTo>
                  <a:lnTo>
                    <a:pt x="728" y="309"/>
                  </a:lnTo>
                  <a:lnTo>
                    <a:pt x="728" y="307"/>
                  </a:lnTo>
                  <a:lnTo>
                    <a:pt x="730" y="309"/>
                  </a:lnTo>
                  <a:lnTo>
                    <a:pt x="730" y="307"/>
                  </a:lnTo>
                  <a:lnTo>
                    <a:pt x="730" y="307"/>
                  </a:lnTo>
                  <a:lnTo>
                    <a:pt x="730" y="307"/>
                  </a:lnTo>
                  <a:lnTo>
                    <a:pt x="728" y="305"/>
                  </a:lnTo>
                  <a:lnTo>
                    <a:pt x="728" y="305"/>
                  </a:lnTo>
                  <a:lnTo>
                    <a:pt x="728" y="305"/>
                  </a:lnTo>
                  <a:lnTo>
                    <a:pt x="730" y="305"/>
                  </a:lnTo>
                  <a:lnTo>
                    <a:pt x="733" y="305"/>
                  </a:lnTo>
                  <a:lnTo>
                    <a:pt x="733" y="303"/>
                  </a:lnTo>
                  <a:lnTo>
                    <a:pt x="737" y="303"/>
                  </a:lnTo>
                  <a:lnTo>
                    <a:pt x="739" y="301"/>
                  </a:lnTo>
                  <a:lnTo>
                    <a:pt x="743" y="299"/>
                  </a:lnTo>
                  <a:lnTo>
                    <a:pt x="745" y="299"/>
                  </a:lnTo>
                  <a:lnTo>
                    <a:pt x="747" y="299"/>
                  </a:lnTo>
                  <a:lnTo>
                    <a:pt x="747" y="299"/>
                  </a:lnTo>
                  <a:lnTo>
                    <a:pt x="747" y="299"/>
                  </a:lnTo>
                  <a:lnTo>
                    <a:pt x="749" y="301"/>
                  </a:lnTo>
                  <a:lnTo>
                    <a:pt x="749" y="301"/>
                  </a:lnTo>
                  <a:lnTo>
                    <a:pt x="749" y="301"/>
                  </a:lnTo>
                  <a:lnTo>
                    <a:pt x="751" y="299"/>
                  </a:lnTo>
                  <a:lnTo>
                    <a:pt x="751" y="299"/>
                  </a:lnTo>
                  <a:lnTo>
                    <a:pt x="751" y="296"/>
                  </a:lnTo>
                  <a:lnTo>
                    <a:pt x="751" y="296"/>
                  </a:lnTo>
                  <a:lnTo>
                    <a:pt x="749" y="296"/>
                  </a:lnTo>
                  <a:lnTo>
                    <a:pt x="751" y="294"/>
                  </a:lnTo>
                  <a:lnTo>
                    <a:pt x="751" y="294"/>
                  </a:lnTo>
                  <a:lnTo>
                    <a:pt x="749" y="290"/>
                  </a:lnTo>
                  <a:lnTo>
                    <a:pt x="751" y="290"/>
                  </a:lnTo>
                  <a:lnTo>
                    <a:pt x="749" y="288"/>
                  </a:lnTo>
                  <a:lnTo>
                    <a:pt x="747" y="290"/>
                  </a:lnTo>
                  <a:lnTo>
                    <a:pt x="745" y="290"/>
                  </a:lnTo>
                  <a:lnTo>
                    <a:pt x="743" y="288"/>
                  </a:lnTo>
                  <a:lnTo>
                    <a:pt x="741" y="288"/>
                  </a:lnTo>
                  <a:lnTo>
                    <a:pt x="741" y="288"/>
                  </a:lnTo>
                  <a:lnTo>
                    <a:pt x="741" y="288"/>
                  </a:lnTo>
                  <a:lnTo>
                    <a:pt x="739" y="288"/>
                  </a:lnTo>
                  <a:lnTo>
                    <a:pt x="737" y="288"/>
                  </a:lnTo>
                  <a:lnTo>
                    <a:pt x="735" y="288"/>
                  </a:lnTo>
                  <a:lnTo>
                    <a:pt x="733" y="288"/>
                  </a:lnTo>
                  <a:lnTo>
                    <a:pt x="730" y="286"/>
                  </a:lnTo>
                  <a:lnTo>
                    <a:pt x="726" y="286"/>
                  </a:lnTo>
                  <a:lnTo>
                    <a:pt x="724" y="284"/>
                  </a:lnTo>
                  <a:lnTo>
                    <a:pt x="718" y="282"/>
                  </a:lnTo>
                  <a:lnTo>
                    <a:pt x="714" y="284"/>
                  </a:lnTo>
                  <a:lnTo>
                    <a:pt x="712" y="284"/>
                  </a:lnTo>
                  <a:lnTo>
                    <a:pt x="712" y="284"/>
                  </a:lnTo>
                  <a:lnTo>
                    <a:pt x="712" y="284"/>
                  </a:lnTo>
                  <a:lnTo>
                    <a:pt x="714" y="286"/>
                  </a:lnTo>
                  <a:lnTo>
                    <a:pt x="712" y="288"/>
                  </a:lnTo>
                  <a:lnTo>
                    <a:pt x="708" y="290"/>
                  </a:lnTo>
                  <a:lnTo>
                    <a:pt x="710" y="292"/>
                  </a:lnTo>
                  <a:lnTo>
                    <a:pt x="710" y="292"/>
                  </a:lnTo>
                  <a:lnTo>
                    <a:pt x="708" y="294"/>
                  </a:lnTo>
                  <a:lnTo>
                    <a:pt x="704" y="294"/>
                  </a:lnTo>
                  <a:lnTo>
                    <a:pt x="702" y="294"/>
                  </a:lnTo>
                  <a:lnTo>
                    <a:pt x="698" y="294"/>
                  </a:lnTo>
                  <a:lnTo>
                    <a:pt x="696" y="292"/>
                  </a:lnTo>
                  <a:lnTo>
                    <a:pt x="696" y="290"/>
                  </a:lnTo>
                  <a:lnTo>
                    <a:pt x="694" y="288"/>
                  </a:lnTo>
                  <a:lnTo>
                    <a:pt x="694" y="286"/>
                  </a:lnTo>
                  <a:lnTo>
                    <a:pt x="694" y="284"/>
                  </a:lnTo>
                  <a:lnTo>
                    <a:pt x="694" y="284"/>
                  </a:lnTo>
                  <a:lnTo>
                    <a:pt x="694" y="284"/>
                  </a:lnTo>
                  <a:lnTo>
                    <a:pt x="694" y="282"/>
                  </a:lnTo>
                  <a:lnTo>
                    <a:pt x="694" y="282"/>
                  </a:lnTo>
                  <a:lnTo>
                    <a:pt x="691" y="280"/>
                  </a:lnTo>
                  <a:lnTo>
                    <a:pt x="689" y="278"/>
                  </a:lnTo>
                  <a:lnTo>
                    <a:pt x="687" y="276"/>
                  </a:lnTo>
                  <a:lnTo>
                    <a:pt x="685" y="276"/>
                  </a:lnTo>
                  <a:lnTo>
                    <a:pt x="683" y="276"/>
                  </a:lnTo>
                  <a:lnTo>
                    <a:pt x="675" y="276"/>
                  </a:lnTo>
                  <a:lnTo>
                    <a:pt x="669" y="272"/>
                  </a:lnTo>
                  <a:lnTo>
                    <a:pt x="667" y="270"/>
                  </a:lnTo>
                  <a:lnTo>
                    <a:pt x="665" y="268"/>
                  </a:lnTo>
                  <a:lnTo>
                    <a:pt x="663" y="266"/>
                  </a:lnTo>
                  <a:lnTo>
                    <a:pt x="663" y="264"/>
                  </a:lnTo>
                  <a:lnTo>
                    <a:pt x="663" y="257"/>
                  </a:lnTo>
                  <a:lnTo>
                    <a:pt x="665" y="257"/>
                  </a:lnTo>
                  <a:lnTo>
                    <a:pt x="667" y="255"/>
                  </a:lnTo>
                  <a:lnTo>
                    <a:pt x="669" y="257"/>
                  </a:lnTo>
                  <a:lnTo>
                    <a:pt x="671" y="259"/>
                  </a:lnTo>
                  <a:lnTo>
                    <a:pt x="675" y="257"/>
                  </a:lnTo>
                  <a:lnTo>
                    <a:pt x="675" y="257"/>
                  </a:lnTo>
                  <a:lnTo>
                    <a:pt x="677" y="257"/>
                  </a:lnTo>
                  <a:lnTo>
                    <a:pt x="679" y="257"/>
                  </a:lnTo>
                  <a:lnTo>
                    <a:pt x="681" y="257"/>
                  </a:lnTo>
                  <a:lnTo>
                    <a:pt x="681" y="257"/>
                  </a:lnTo>
                  <a:lnTo>
                    <a:pt x="681" y="255"/>
                  </a:lnTo>
                  <a:lnTo>
                    <a:pt x="683" y="253"/>
                  </a:lnTo>
                  <a:lnTo>
                    <a:pt x="683" y="249"/>
                  </a:lnTo>
                  <a:lnTo>
                    <a:pt x="683" y="247"/>
                  </a:lnTo>
                  <a:lnTo>
                    <a:pt x="683" y="247"/>
                  </a:lnTo>
                  <a:lnTo>
                    <a:pt x="685" y="243"/>
                  </a:lnTo>
                  <a:lnTo>
                    <a:pt x="687" y="241"/>
                  </a:lnTo>
                  <a:lnTo>
                    <a:pt x="694" y="239"/>
                  </a:lnTo>
                  <a:lnTo>
                    <a:pt x="696" y="239"/>
                  </a:lnTo>
                  <a:lnTo>
                    <a:pt x="696" y="233"/>
                  </a:lnTo>
                  <a:lnTo>
                    <a:pt x="698" y="231"/>
                  </a:lnTo>
                  <a:lnTo>
                    <a:pt x="698" y="231"/>
                  </a:lnTo>
                  <a:lnTo>
                    <a:pt x="698" y="229"/>
                  </a:lnTo>
                  <a:lnTo>
                    <a:pt x="700" y="229"/>
                  </a:lnTo>
                  <a:lnTo>
                    <a:pt x="700" y="227"/>
                  </a:lnTo>
                  <a:lnTo>
                    <a:pt x="706" y="227"/>
                  </a:lnTo>
                  <a:lnTo>
                    <a:pt x="706" y="229"/>
                  </a:lnTo>
                  <a:lnTo>
                    <a:pt x="708" y="229"/>
                  </a:lnTo>
                  <a:lnTo>
                    <a:pt x="708" y="227"/>
                  </a:lnTo>
                  <a:lnTo>
                    <a:pt x="708" y="227"/>
                  </a:lnTo>
                  <a:lnTo>
                    <a:pt x="708" y="225"/>
                  </a:lnTo>
                  <a:lnTo>
                    <a:pt x="710" y="229"/>
                  </a:lnTo>
                  <a:lnTo>
                    <a:pt x="716" y="231"/>
                  </a:lnTo>
                  <a:lnTo>
                    <a:pt x="718" y="233"/>
                  </a:lnTo>
                  <a:lnTo>
                    <a:pt x="718" y="233"/>
                  </a:lnTo>
                  <a:lnTo>
                    <a:pt x="720" y="235"/>
                  </a:lnTo>
                  <a:lnTo>
                    <a:pt x="720" y="237"/>
                  </a:lnTo>
                  <a:lnTo>
                    <a:pt x="720" y="237"/>
                  </a:lnTo>
                  <a:lnTo>
                    <a:pt x="718" y="241"/>
                  </a:lnTo>
                  <a:lnTo>
                    <a:pt x="718" y="243"/>
                  </a:lnTo>
                  <a:lnTo>
                    <a:pt x="716" y="243"/>
                  </a:lnTo>
                  <a:lnTo>
                    <a:pt x="714" y="245"/>
                  </a:lnTo>
                  <a:lnTo>
                    <a:pt x="714" y="245"/>
                  </a:lnTo>
                  <a:lnTo>
                    <a:pt x="714" y="247"/>
                  </a:lnTo>
                  <a:lnTo>
                    <a:pt x="716" y="249"/>
                  </a:lnTo>
                  <a:lnTo>
                    <a:pt x="714" y="249"/>
                  </a:lnTo>
                  <a:lnTo>
                    <a:pt x="714" y="249"/>
                  </a:lnTo>
                  <a:lnTo>
                    <a:pt x="712" y="249"/>
                  </a:lnTo>
                  <a:lnTo>
                    <a:pt x="712" y="251"/>
                  </a:lnTo>
                  <a:lnTo>
                    <a:pt x="714" y="251"/>
                  </a:lnTo>
                  <a:lnTo>
                    <a:pt x="714" y="253"/>
                  </a:lnTo>
                  <a:lnTo>
                    <a:pt x="716" y="253"/>
                  </a:lnTo>
                  <a:lnTo>
                    <a:pt x="718" y="253"/>
                  </a:lnTo>
                  <a:lnTo>
                    <a:pt x="722" y="253"/>
                  </a:lnTo>
                  <a:lnTo>
                    <a:pt x="722" y="253"/>
                  </a:lnTo>
                  <a:lnTo>
                    <a:pt x="722" y="253"/>
                  </a:lnTo>
                  <a:lnTo>
                    <a:pt x="720" y="255"/>
                  </a:lnTo>
                  <a:lnTo>
                    <a:pt x="720" y="255"/>
                  </a:lnTo>
                  <a:lnTo>
                    <a:pt x="722" y="257"/>
                  </a:lnTo>
                  <a:lnTo>
                    <a:pt x="718" y="262"/>
                  </a:lnTo>
                  <a:lnTo>
                    <a:pt x="716" y="262"/>
                  </a:lnTo>
                  <a:lnTo>
                    <a:pt x="716" y="262"/>
                  </a:lnTo>
                  <a:lnTo>
                    <a:pt x="716" y="264"/>
                  </a:lnTo>
                  <a:lnTo>
                    <a:pt x="718" y="266"/>
                  </a:lnTo>
                  <a:lnTo>
                    <a:pt x="718" y="266"/>
                  </a:lnTo>
                  <a:lnTo>
                    <a:pt x="718" y="264"/>
                  </a:lnTo>
                  <a:lnTo>
                    <a:pt x="720" y="264"/>
                  </a:lnTo>
                  <a:lnTo>
                    <a:pt x="722" y="264"/>
                  </a:lnTo>
                  <a:lnTo>
                    <a:pt x="724" y="262"/>
                  </a:lnTo>
                  <a:lnTo>
                    <a:pt x="724" y="262"/>
                  </a:lnTo>
                  <a:lnTo>
                    <a:pt x="722" y="262"/>
                  </a:lnTo>
                  <a:lnTo>
                    <a:pt x="722" y="259"/>
                  </a:lnTo>
                  <a:lnTo>
                    <a:pt x="724" y="259"/>
                  </a:lnTo>
                  <a:lnTo>
                    <a:pt x="724" y="259"/>
                  </a:lnTo>
                  <a:lnTo>
                    <a:pt x="726" y="259"/>
                  </a:lnTo>
                  <a:lnTo>
                    <a:pt x="726" y="259"/>
                  </a:lnTo>
                  <a:lnTo>
                    <a:pt x="726" y="259"/>
                  </a:lnTo>
                  <a:lnTo>
                    <a:pt x="728" y="257"/>
                  </a:lnTo>
                  <a:lnTo>
                    <a:pt x="728" y="257"/>
                  </a:lnTo>
                  <a:lnTo>
                    <a:pt x="728" y="255"/>
                  </a:lnTo>
                  <a:lnTo>
                    <a:pt x="730" y="253"/>
                  </a:lnTo>
                  <a:lnTo>
                    <a:pt x="735" y="249"/>
                  </a:lnTo>
                  <a:lnTo>
                    <a:pt x="737" y="249"/>
                  </a:lnTo>
                  <a:lnTo>
                    <a:pt x="739" y="247"/>
                  </a:lnTo>
                  <a:lnTo>
                    <a:pt x="741" y="247"/>
                  </a:lnTo>
                  <a:lnTo>
                    <a:pt x="741" y="247"/>
                  </a:lnTo>
                  <a:lnTo>
                    <a:pt x="743" y="245"/>
                  </a:lnTo>
                  <a:lnTo>
                    <a:pt x="745" y="245"/>
                  </a:lnTo>
                  <a:lnTo>
                    <a:pt x="745" y="245"/>
                  </a:lnTo>
                  <a:lnTo>
                    <a:pt x="745" y="245"/>
                  </a:lnTo>
                  <a:lnTo>
                    <a:pt x="745" y="243"/>
                  </a:lnTo>
                  <a:lnTo>
                    <a:pt x="747" y="245"/>
                  </a:lnTo>
                  <a:lnTo>
                    <a:pt x="753" y="245"/>
                  </a:lnTo>
                  <a:lnTo>
                    <a:pt x="755" y="243"/>
                  </a:lnTo>
                  <a:lnTo>
                    <a:pt x="755" y="243"/>
                  </a:lnTo>
                  <a:lnTo>
                    <a:pt x="755" y="243"/>
                  </a:lnTo>
                  <a:lnTo>
                    <a:pt x="755" y="241"/>
                  </a:lnTo>
                  <a:lnTo>
                    <a:pt x="755" y="239"/>
                  </a:lnTo>
                  <a:lnTo>
                    <a:pt x="757" y="237"/>
                  </a:lnTo>
                  <a:lnTo>
                    <a:pt x="757" y="237"/>
                  </a:lnTo>
                  <a:lnTo>
                    <a:pt x="759" y="235"/>
                  </a:lnTo>
                  <a:lnTo>
                    <a:pt x="759" y="235"/>
                  </a:lnTo>
                  <a:lnTo>
                    <a:pt x="761" y="235"/>
                  </a:lnTo>
                  <a:lnTo>
                    <a:pt x="761" y="235"/>
                  </a:lnTo>
                  <a:lnTo>
                    <a:pt x="761" y="233"/>
                  </a:lnTo>
                  <a:lnTo>
                    <a:pt x="761" y="233"/>
                  </a:lnTo>
                  <a:lnTo>
                    <a:pt x="761" y="233"/>
                  </a:lnTo>
                  <a:lnTo>
                    <a:pt x="763" y="231"/>
                  </a:lnTo>
                  <a:lnTo>
                    <a:pt x="765" y="231"/>
                  </a:lnTo>
                  <a:lnTo>
                    <a:pt x="765" y="229"/>
                  </a:lnTo>
                  <a:lnTo>
                    <a:pt x="767" y="229"/>
                  </a:lnTo>
                  <a:lnTo>
                    <a:pt x="767" y="229"/>
                  </a:lnTo>
                  <a:lnTo>
                    <a:pt x="767" y="229"/>
                  </a:lnTo>
                  <a:lnTo>
                    <a:pt x="767" y="229"/>
                  </a:lnTo>
                  <a:lnTo>
                    <a:pt x="767" y="227"/>
                  </a:lnTo>
                  <a:lnTo>
                    <a:pt x="767" y="227"/>
                  </a:lnTo>
                  <a:lnTo>
                    <a:pt x="770" y="227"/>
                  </a:lnTo>
                  <a:lnTo>
                    <a:pt x="772" y="227"/>
                  </a:lnTo>
                  <a:lnTo>
                    <a:pt x="772" y="225"/>
                  </a:lnTo>
                  <a:lnTo>
                    <a:pt x="772" y="225"/>
                  </a:lnTo>
                  <a:lnTo>
                    <a:pt x="772" y="225"/>
                  </a:lnTo>
                  <a:lnTo>
                    <a:pt x="774" y="222"/>
                  </a:lnTo>
                  <a:lnTo>
                    <a:pt x="774" y="220"/>
                  </a:lnTo>
                  <a:lnTo>
                    <a:pt x="774" y="218"/>
                  </a:lnTo>
                  <a:lnTo>
                    <a:pt x="774" y="218"/>
                  </a:lnTo>
                  <a:lnTo>
                    <a:pt x="774" y="218"/>
                  </a:lnTo>
                  <a:lnTo>
                    <a:pt x="774" y="218"/>
                  </a:lnTo>
                  <a:lnTo>
                    <a:pt x="774" y="216"/>
                  </a:lnTo>
                  <a:lnTo>
                    <a:pt x="774" y="214"/>
                  </a:lnTo>
                  <a:lnTo>
                    <a:pt x="774" y="214"/>
                  </a:lnTo>
                  <a:lnTo>
                    <a:pt x="774" y="212"/>
                  </a:lnTo>
                  <a:lnTo>
                    <a:pt x="774" y="212"/>
                  </a:lnTo>
                  <a:lnTo>
                    <a:pt x="776" y="212"/>
                  </a:lnTo>
                  <a:lnTo>
                    <a:pt x="776" y="212"/>
                  </a:lnTo>
                  <a:lnTo>
                    <a:pt x="776" y="212"/>
                  </a:lnTo>
                  <a:lnTo>
                    <a:pt x="776" y="210"/>
                  </a:lnTo>
                  <a:lnTo>
                    <a:pt x="778" y="212"/>
                  </a:lnTo>
                  <a:lnTo>
                    <a:pt x="778" y="212"/>
                  </a:lnTo>
                  <a:lnTo>
                    <a:pt x="780" y="212"/>
                  </a:lnTo>
                  <a:lnTo>
                    <a:pt x="780" y="214"/>
                  </a:lnTo>
                  <a:lnTo>
                    <a:pt x="782" y="214"/>
                  </a:lnTo>
                  <a:lnTo>
                    <a:pt x="782" y="214"/>
                  </a:lnTo>
                  <a:lnTo>
                    <a:pt x="784" y="216"/>
                  </a:lnTo>
                  <a:lnTo>
                    <a:pt x="784" y="216"/>
                  </a:lnTo>
                  <a:lnTo>
                    <a:pt x="788" y="216"/>
                  </a:lnTo>
                  <a:lnTo>
                    <a:pt x="788" y="216"/>
                  </a:lnTo>
                  <a:lnTo>
                    <a:pt x="790" y="216"/>
                  </a:lnTo>
                  <a:lnTo>
                    <a:pt x="792" y="216"/>
                  </a:lnTo>
                  <a:lnTo>
                    <a:pt x="794" y="216"/>
                  </a:lnTo>
                  <a:lnTo>
                    <a:pt x="796" y="216"/>
                  </a:lnTo>
                  <a:lnTo>
                    <a:pt x="796" y="218"/>
                  </a:lnTo>
                  <a:lnTo>
                    <a:pt x="798" y="218"/>
                  </a:lnTo>
                  <a:lnTo>
                    <a:pt x="798" y="218"/>
                  </a:lnTo>
                  <a:lnTo>
                    <a:pt x="798" y="216"/>
                  </a:lnTo>
                  <a:lnTo>
                    <a:pt x="798" y="216"/>
                  </a:lnTo>
                  <a:lnTo>
                    <a:pt x="798" y="214"/>
                  </a:lnTo>
                  <a:lnTo>
                    <a:pt x="798" y="214"/>
                  </a:lnTo>
                  <a:lnTo>
                    <a:pt x="798" y="214"/>
                  </a:lnTo>
                  <a:lnTo>
                    <a:pt x="796" y="212"/>
                  </a:lnTo>
                  <a:lnTo>
                    <a:pt x="794" y="212"/>
                  </a:lnTo>
                  <a:lnTo>
                    <a:pt x="794" y="210"/>
                  </a:lnTo>
                  <a:lnTo>
                    <a:pt x="792" y="210"/>
                  </a:lnTo>
                  <a:lnTo>
                    <a:pt x="792" y="208"/>
                  </a:lnTo>
                  <a:lnTo>
                    <a:pt x="792" y="208"/>
                  </a:lnTo>
                  <a:lnTo>
                    <a:pt x="792" y="208"/>
                  </a:lnTo>
                  <a:lnTo>
                    <a:pt x="792" y="206"/>
                  </a:lnTo>
                  <a:lnTo>
                    <a:pt x="794" y="206"/>
                  </a:lnTo>
                  <a:lnTo>
                    <a:pt x="796" y="206"/>
                  </a:lnTo>
                  <a:lnTo>
                    <a:pt x="800" y="206"/>
                  </a:lnTo>
                  <a:lnTo>
                    <a:pt x="802" y="206"/>
                  </a:lnTo>
                  <a:lnTo>
                    <a:pt x="802" y="206"/>
                  </a:lnTo>
                  <a:lnTo>
                    <a:pt x="804" y="206"/>
                  </a:lnTo>
                  <a:lnTo>
                    <a:pt x="804" y="206"/>
                  </a:lnTo>
                  <a:lnTo>
                    <a:pt x="804" y="204"/>
                  </a:lnTo>
                  <a:lnTo>
                    <a:pt x="806" y="204"/>
                  </a:lnTo>
                  <a:lnTo>
                    <a:pt x="806" y="204"/>
                  </a:lnTo>
                  <a:lnTo>
                    <a:pt x="806" y="202"/>
                  </a:lnTo>
                  <a:lnTo>
                    <a:pt x="806" y="202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9" y="200"/>
                  </a:lnTo>
                  <a:lnTo>
                    <a:pt x="809" y="200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198"/>
                  </a:lnTo>
                  <a:lnTo>
                    <a:pt x="811" y="196"/>
                  </a:lnTo>
                  <a:lnTo>
                    <a:pt x="811" y="194"/>
                  </a:lnTo>
                  <a:lnTo>
                    <a:pt x="809" y="194"/>
                  </a:lnTo>
                  <a:lnTo>
                    <a:pt x="809" y="192"/>
                  </a:lnTo>
                  <a:lnTo>
                    <a:pt x="809" y="190"/>
                  </a:lnTo>
                  <a:lnTo>
                    <a:pt x="809" y="190"/>
                  </a:lnTo>
                  <a:lnTo>
                    <a:pt x="811" y="190"/>
                  </a:lnTo>
                  <a:lnTo>
                    <a:pt x="811" y="190"/>
                  </a:lnTo>
                  <a:lnTo>
                    <a:pt x="811" y="190"/>
                  </a:lnTo>
                  <a:lnTo>
                    <a:pt x="813" y="190"/>
                  </a:lnTo>
                  <a:lnTo>
                    <a:pt x="813" y="190"/>
                  </a:lnTo>
                  <a:lnTo>
                    <a:pt x="813" y="192"/>
                  </a:lnTo>
                  <a:lnTo>
                    <a:pt x="815" y="192"/>
                  </a:lnTo>
                  <a:lnTo>
                    <a:pt x="815" y="192"/>
                  </a:lnTo>
                  <a:lnTo>
                    <a:pt x="817" y="194"/>
                  </a:lnTo>
                  <a:lnTo>
                    <a:pt x="819" y="196"/>
                  </a:lnTo>
                  <a:lnTo>
                    <a:pt x="819" y="196"/>
                  </a:lnTo>
                  <a:lnTo>
                    <a:pt x="821" y="196"/>
                  </a:lnTo>
                  <a:lnTo>
                    <a:pt x="823" y="198"/>
                  </a:lnTo>
                  <a:lnTo>
                    <a:pt x="823" y="198"/>
                  </a:lnTo>
                  <a:lnTo>
                    <a:pt x="823" y="198"/>
                  </a:lnTo>
                  <a:lnTo>
                    <a:pt x="823" y="196"/>
                  </a:lnTo>
                  <a:lnTo>
                    <a:pt x="821" y="196"/>
                  </a:lnTo>
                  <a:lnTo>
                    <a:pt x="821" y="196"/>
                  </a:lnTo>
                  <a:lnTo>
                    <a:pt x="819" y="194"/>
                  </a:lnTo>
                  <a:lnTo>
                    <a:pt x="819" y="194"/>
                  </a:lnTo>
                  <a:lnTo>
                    <a:pt x="819" y="194"/>
                  </a:lnTo>
                  <a:lnTo>
                    <a:pt x="821" y="194"/>
                  </a:lnTo>
                  <a:lnTo>
                    <a:pt x="821" y="194"/>
                  </a:lnTo>
                  <a:lnTo>
                    <a:pt x="823" y="192"/>
                  </a:lnTo>
                  <a:lnTo>
                    <a:pt x="823" y="192"/>
                  </a:lnTo>
                  <a:lnTo>
                    <a:pt x="825" y="192"/>
                  </a:lnTo>
                  <a:lnTo>
                    <a:pt x="825" y="192"/>
                  </a:lnTo>
                  <a:lnTo>
                    <a:pt x="827" y="192"/>
                  </a:lnTo>
                  <a:lnTo>
                    <a:pt x="827" y="192"/>
                  </a:lnTo>
                  <a:lnTo>
                    <a:pt x="827" y="190"/>
                  </a:lnTo>
                  <a:lnTo>
                    <a:pt x="827" y="190"/>
                  </a:lnTo>
                  <a:lnTo>
                    <a:pt x="827" y="187"/>
                  </a:lnTo>
                  <a:lnTo>
                    <a:pt x="827" y="187"/>
                  </a:lnTo>
                  <a:lnTo>
                    <a:pt x="827" y="187"/>
                  </a:lnTo>
                  <a:lnTo>
                    <a:pt x="825" y="185"/>
                  </a:lnTo>
                  <a:lnTo>
                    <a:pt x="825" y="183"/>
                  </a:lnTo>
                  <a:lnTo>
                    <a:pt x="825" y="183"/>
                  </a:lnTo>
                  <a:lnTo>
                    <a:pt x="825" y="181"/>
                  </a:lnTo>
                  <a:lnTo>
                    <a:pt x="825" y="181"/>
                  </a:lnTo>
                  <a:lnTo>
                    <a:pt x="823" y="181"/>
                  </a:lnTo>
                  <a:lnTo>
                    <a:pt x="823" y="181"/>
                  </a:lnTo>
                  <a:lnTo>
                    <a:pt x="823" y="179"/>
                  </a:lnTo>
                  <a:lnTo>
                    <a:pt x="821" y="177"/>
                  </a:lnTo>
                  <a:lnTo>
                    <a:pt x="821" y="177"/>
                  </a:lnTo>
                  <a:lnTo>
                    <a:pt x="819" y="171"/>
                  </a:lnTo>
                  <a:lnTo>
                    <a:pt x="819" y="171"/>
                  </a:lnTo>
                  <a:lnTo>
                    <a:pt x="813" y="163"/>
                  </a:lnTo>
                  <a:lnTo>
                    <a:pt x="811" y="161"/>
                  </a:lnTo>
                  <a:lnTo>
                    <a:pt x="809" y="161"/>
                  </a:lnTo>
                  <a:lnTo>
                    <a:pt x="806" y="159"/>
                  </a:lnTo>
                  <a:lnTo>
                    <a:pt x="806" y="157"/>
                  </a:lnTo>
                  <a:lnTo>
                    <a:pt x="806" y="157"/>
                  </a:lnTo>
                  <a:lnTo>
                    <a:pt x="806" y="157"/>
                  </a:lnTo>
                  <a:lnTo>
                    <a:pt x="806" y="155"/>
                  </a:lnTo>
                  <a:lnTo>
                    <a:pt x="809" y="155"/>
                  </a:lnTo>
                  <a:lnTo>
                    <a:pt x="809" y="155"/>
                  </a:lnTo>
                  <a:lnTo>
                    <a:pt x="811" y="155"/>
                  </a:lnTo>
                  <a:lnTo>
                    <a:pt x="813" y="153"/>
                  </a:lnTo>
                  <a:lnTo>
                    <a:pt x="813" y="150"/>
                  </a:lnTo>
                  <a:lnTo>
                    <a:pt x="813" y="150"/>
                  </a:lnTo>
                  <a:lnTo>
                    <a:pt x="813" y="148"/>
                  </a:lnTo>
                  <a:lnTo>
                    <a:pt x="813" y="148"/>
                  </a:lnTo>
                  <a:lnTo>
                    <a:pt x="813" y="146"/>
                  </a:lnTo>
                  <a:lnTo>
                    <a:pt x="813" y="146"/>
                  </a:lnTo>
                  <a:lnTo>
                    <a:pt x="815" y="148"/>
                  </a:lnTo>
                  <a:lnTo>
                    <a:pt x="817" y="148"/>
                  </a:lnTo>
                  <a:lnTo>
                    <a:pt x="819" y="148"/>
                  </a:lnTo>
                  <a:lnTo>
                    <a:pt x="819" y="148"/>
                  </a:lnTo>
                  <a:lnTo>
                    <a:pt x="823" y="150"/>
                  </a:lnTo>
                  <a:lnTo>
                    <a:pt x="825" y="150"/>
                  </a:lnTo>
                  <a:lnTo>
                    <a:pt x="827" y="150"/>
                  </a:lnTo>
                  <a:lnTo>
                    <a:pt x="829" y="150"/>
                  </a:lnTo>
                  <a:lnTo>
                    <a:pt x="831" y="150"/>
                  </a:lnTo>
                  <a:lnTo>
                    <a:pt x="831" y="153"/>
                  </a:lnTo>
                  <a:lnTo>
                    <a:pt x="833" y="153"/>
                  </a:lnTo>
                  <a:lnTo>
                    <a:pt x="833" y="150"/>
                  </a:lnTo>
                  <a:lnTo>
                    <a:pt x="833" y="150"/>
                  </a:lnTo>
                  <a:lnTo>
                    <a:pt x="833" y="14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8" name="Freeform 213">
              <a:extLst>
                <a:ext uri="{FF2B5EF4-FFF2-40B4-BE49-F238E27FC236}">
                  <a16:creationId xmlns:a16="http://schemas.microsoft.com/office/drawing/2014/main" id="{D450A3B5-442D-7E4D-B37E-269851A68B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8010" y="3211265"/>
              <a:ext cx="103390" cy="92694"/>
            </a:xfrm>
            <a:custGeom>
              <a:avLst/>
              <a:gdLst>
                <a:gd name="T0" fmla="*/ 19 w 87"/>
                <a:gd name="T1" fmla="*/ 72 h 78"/>
                <a:gd name="T2" fmla="*/ 15 w 87"/>
                <a:gd name="T3" fmla="*/ 61 h 78"/>
                <a:gd name="T4" fmla="*/ 17 w 87"/>
                <a:gd name="T5" fmla="*/ 59 h 78"/>
                <a:gd name="T6" fmla="*/ 84 w 87"/>
                <a:gd name="T7" fmla="*/ 33 h 78"/>
                <a:gd name="T8" fmla="*/ 87 w 87"/>
                <a:gd name="T9" fmla="*/ 20 h 78"/>
                <a:gd name="T10" fmla="*/ 80 w 87"/>
                <a:gd name="T11" fmla="*/ 12 h 78"/>
                <a:gd name="T12" fmla="*/ 80 w 87"/>
                <a:gd name="T13" fmla="*/ 6 h 78"/>
                <a:gd name="T14" fmla="*/ 82 w 87"/>
                <a:gd name="T15" fmla="*/ 0 h 78"/>
                <a:gd name="T16" fmla="*/ 78 w 87"/>
                <a:gd name="T17" fmla="*/ 2 h 78"/>
                <a:gd name="T18" fmla="*/ 76 w 87"/>
                <a:gd name="T19" fmla="*/ 4 h 78"/>
                <a:gd name="T20" fmla="*/ 72 w 87"/>
                <a:gd name="T21" fmla="*/ 6 h 78"/>
                <a:gd name="T22" fmla="*/ 68 w 87"/>
                <a:gd name="T23" fmla="*/ 4 h 78"/>
                <a:gd name="T24" fmla="*/ 66 w 87"/>
                <a:gd name="T25" fmla="*/ 2 h 78"/>
                <a:gd name="T26" fmla="*/ 62 w 87"/>
                <a:gd name="T27" fmla="*/ 4 h 78"/>
                <a:gd name="T28" fmla="*/ 58 w 87"/>
                <a:gd name="T29" fmla="*/ 6 h 78"/>
                <a:gd name="T30" fmla="*/ 60 w 87"/>
                <a:gd name="T31" fmla="*/ 14 h 78"/>
                <a:gd name="T32" fmla="*/ 56 w 87"/>
                <a:gd name="T33" fmla="*/ 10 h 78"/>
                <a:gd name="T34" fmla="*/ 48 w 87"/>
                <a:gd name="T35" fmla="*/ 10 h 78"/>
                <a:gd name="T36" fmla="*/ 45 w 87"/>
                <a:gd name="T37" fmla="*/ 6 h 78"/>
                <a:gd name="T38" fmla="*/ 43 w 87"/>
                <a:gd name="T39" fmla="*/ 8 h 78"/>
                <a:gd name="T40" fmla="*/ 39 w 87"/>
                <a:gd name="T41" fmla="*/ 4 h 78"/>
                <a:gd name="T42" fmla="*/ 29 w 87"/>
                <a:gd name="T43" fmla="*/ 6 h 78"/>
                <a:gd name="T44" fmla="*/ 23 w 87"/>
                <a:gd name="T45" fmla="*/ 6 h 78"/>
                <a:gd name="T46" fmla="*/ 17 w 87"/>
                <a:gd name="T47" fmla="*/ 6 h 78"/>
                <a:gd name="T48" fmla="*/ 8 w 87"/>
                <a:gd name="T49" fmla="*/ 10 h 78"/>
                <a:gd name="T50" fmla="*/ 4 w 87"/>
                <a:gd name="T51" fmla="*/ 18 h 78"/>
                <a:gd name="T52" fmla="*/ 2 w 87"/>
                <a:gd name="T53" fmla="*/ 20 h 78"/>
                <a:gd name="T54" fmla="*/ 2 w 87"/>
                <a:gd name="T55" fmla="*/ 26 h 78"/>
                <a:gd name="T56" fmla="*/ 4 w 87"/>
                <a:gd name="T57" fmla="*/ 37 h 78"/>
                <a:gd name="T58" fmla="*/ 8 w 87"/>
                <a:gd name="T59" fmla="*/ 41 h 78"/>
                <a:gd name="T60" fmla="*/ 15 w 87"/>
                <a:gd name="T61" fmla="*/ 55 h 78"/>
                <a:gd name="T62" fmla="*/ 15 w 87"/>
                <a:gd name="T63" fmla="*/ 57 h 78"/>
                <a:gd name="T64" fmla="*/ 17 w 87"/>
                <a:gd name="T65" fmla="*/ 65 h 78"/>
                <a:gd name="T66" fmla="*/ 23 w 87"/>
                <a:gd name="T67" fmla="*/ 68 h 78"/>
                <a:gd name="T68" fmla="*/ 27 w 87"/>
                <a:gd name="T69" fmla="*/ 65 h 78"/>
                <a:gd name="T70" fmla="*/ 25 w 87"/>
                <a:gd name="T71" fmla="*/ 74 h 78"/>
                <a:gd name="T72" fmla="*/ 29 w 87"/>
                <a:gd name="T73" fmla="*/ 76 h 78"/>
                <a:gd name="T74" fmla="*/ 37 w 87"/>
                <a:gd name="T75" fmla="*/ 76 h 78"/>
                <a:gd name="T76" fmla="*/ 41 w 87"/>
                <a:gd name="T77" fmla="*/ 76 h 78"/>
                <a:gd name="T78" fmla="*/ 48 w 87"/>
                <a:gd name="T79" fmla="*/ 74 h 78"/>
                <a:gd name="T80" fmla="*/ 50 w 87"/>
                <a:gd name="T81" fmla="*/ 72 h 78"/>
                <a:gd name="T82" fmla="*/ 54 w 87"/>
                <a:gd name="T83" fmla="*/ 70 h 78"/>
                <a:gd name="T84" fmla="*/ 56 w 87"/>
                <a:gd name="T85" fmla="*/ 68 h 78"/>
                <a:gd name="T86" fmla="*/ 62 w 87"/>
                <a:gd name="T87" fmla="*/ 68 h 78"/>
                <a:gd name="T88" fmla="*/ 64 w 87"/>
                <a:gd name="T89" fmla="*/ 70 h 78"/>
                <a:gd name="T90" fmla="*/ 66 w 87"/>
                <a:gd name="T91" fmla="*/ 68 h 78"/>
                <a:gd name="T92" fmla="*/ 62 w 87"/>
                <a:gd name="T93" fmla="*/ 61 h 78"/>
                <a:gd name="T94" fmla="*/ 60 w 87"/>
                <a:gd name="T95" fmla="*/ 55 h 78"/>
                <a:gd name="T96" fmla="*/ 62 w 87"/>
                <a:gd name="T97" fmla="*/ 55 h 78"/>
                <a:gd name="T98" fmla="*/ 68 w 87"/>
                <a:gd name="T99" fmla="*/ 55 h 78"/>
                <a:gd name="T100" fmla="*/ 70 w 87"/>
                <a:gd name="T101" fmla="*/ 51 h 78"/>
                <a:gd name="T102" fmla="*/ 74 w 87"/>
                <a:gd name="T103" fmla="*/ 49 h 78"/>
                <a:gd name="T104" fmla="*/ 80 w 87"/>
                <a:gd name="T105" fmla="*/ 43 h 78"/>
                <a:gd name="T106" fmla="*/ 84 w 87"/>
                <a:gd name="T107" fmla="*/ 45 h 78"/>
                <a:gd name="T108" fmla="*/ 87 w 87"/>
                <a:gd name="T109" fmla="*/ 3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7" h="78">
                  <a:moveTo>
                    <a:pt x="19" y="72"/>
                  </a:moveTo>
                  <a:lnTo>
                    <a:pt x="21" y="74"/>
                  </a:lnTo>
                  <a:lnTo>
                    <a:pt x="21" y="72"/>
                  </a:lnTo>
                  <a:lnTo>
                    <a:pt x="19" y="72"/>
                  </a:lnTo>
                  <a:lnTo>
                    <a:pt x="19" y="72"/>
                  </a:lnTo>
                  <a:close/>
                  <a:moveTo>
                    <a:pt x="15" y="59"/>
                  </a:moveTo>
                  <a:lnTo>
                    <a:pt x="15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59"/>
                  </a:lnTo>
                  <a:lnTo>
                    <a:pt x="15" y="59"/>
                  </a:lnTo>
                  <a:close/>
                  <a:moveTo>
                    <a:pt x="87" y="37"/>
                  </a:moveTo>
                  <a:lnTo>
                    <a:pt x="87" y="33"/>
                  </a:lnTo>
                  <a:lnTo>
                    <a:pt x="84" y="33"/>
                  </a:lnTo>
                  <a:lnTo>
                    <a:pt x="84" y="31"/>
                  </a:lnTo>
                  <a:lnTo>
                    <a:pt x="84" y="26"/>
                  </a:lnTo>
                  <a:lnTo>
                    <a:pt x="87" y="22"/>
                  </a:lnTo>
                  <a:lnTo>
                    <a:pt x="87" y="20"/>
                  </a:lnTo>
                  <a:lnTo>
                    <a:pt x="84" y="18"/>
                  </a:lnTo>
                  <a:lnTo>
                    <a:pt x="82" y="16"/>
                  </a:lnTo>
                  <a:lnTo>
                    <a:pt x="82" y="12"/>
                  </a:lnTo>
                  <a:lnTo>
                    <a:pt x="80" y="12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4" y="4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60" y="10"/>
                  </a:lnTo>
                  <a:lnTo>
                    <a:pt x="62" y="12"/>
                  </a:lnTo>
                  <a:lnTo>
                    <a:pt x="60" y="14"/>
                  </a:lnTo>
                  <a:lnTo>
                    <a:pt x="58" y="14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5" y="8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5" y="6"/>
                  </a:lnTo>
                  <a:lnTo>
                    <a:pt x="33" y="6"/>
                  </a:lnTo>
                  <a:lnTo>
                    <a:pt x="29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5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3" y="6"/>
                  </a:lnTo>
                  <a:lnTo>
                    <a:pt x="11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7"/>
                  </a:lnTo>
                  <a:lnTo>
                    <a:pt x="6" y="39"/>
                  </a:lnTo>
                  <a:lnTo>
                    <a:pt x="8" y="39"/>
                  </a:lnTo>
                  <a:lnTo>
                    <a:pt x="11" y="41"/>
                  </a:lnTo>
                  <a:lnTo>
                    <a:pt x="8" y="41"/>
                  </a:lnTo>
                  <a:lnTo>
                    <a:pt x="8" y="45"/>
                  </a:lnTo>
                  <a:lnTo>
                    <a:pt x="11" y="47"/>
                  </a:lnTo>
                  <a:lnTo>
                    <a:pt x="13" y="53"/>
                  </a:lnTo>
                  <a:lnTo>
                    <a:pt x="15" y="55"/>
                  </a:lnTo>
                  <a:lnTo>
                    <a:pt x="13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7"/>
                  </a:lnTo>
                  <a:lnTo>
                    <a:pt x="17" y="59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7" y="65"/>
                  </a:lnTo>
                  <a:lnTo>
                    <a:pt x="19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3" y="68"/>
                  </a:lnTo>
                  <a:lnTo>
                    <a:pt x="23" y="65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7" y="65"/>
                  </a:lnTo>
                  <a:lnTo>
                    <a:pt x="27" y="70"/>
                  </a:lnTo>
                  <a:lnTo>
                    <a:pt x="27" y="72"/>
                  </a:lnTo>
                  <a:lnTo>
                    <a:pt x="25" y="72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6"/>
                  </a:lnTo>
                  <a:lnTo>
                    <a:pt x="27" y="76"/>
                  </a:lnTo>
                  <a:lnTo>
                    <a:pt x="29" y="76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1" y="76"/>
                  </a:lnTo>
                  <a:lnTo>
                    <a:pt x="37" y="76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41" y="78"/>
                  </a:lnTo>
                  <a:lnTo>
                    <a:pt x="41" y="76"/>
                  </a:lnTo>
                  <a:lnTo>
                    <a:pt x="43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6" y="68"/>
                  </a:lnTo>
                  <a:lnTo>
                    <a:pt x="58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0"/>
                  </a:lnTo>
                  <a:lnTo>
                    <a:pt x="66" y="68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2" y="63"/>
                  </a:lnTo>
                  <a:lnTo>
                    <a:pt x="62" y="61"/>
                  </a:lnTo>
                  <a:lnTo>
                    <a:pt x="62" y="59"/>
                  </a:lnTo>
                  <a:lnTo>
                    <a:pt x="62" y="57"/>
                  </a:lnTo>
                  <a:lnTo>
                    <a:pt x="60" y="57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64" y="53"/>
                  </a:lnTo>
                  <a:lnTo>
                    <a:pt x="64" y="53"/>
                  </a:lnTo>
                  <a:lnTo>
                    <a:pt x="66" y="53"/>
                  </a:lnTo>
                  <a:lnTo>
                    <a:pt x="68" y="55"/>
                  </a:lnTo>
                  <a:lnTo>
                    <a:pt x="70" y="55"/>
                  </a:lnTo>
                  <a:lnTo>
                    <a:pt x="70" y="55"/>
                  </a:lnTo>
                  <a:lnTo>
                    <a:pt x="70" y="53"/>
                  </a:lnTo>
                  <a:lnTo>
                    <a:pt x="70" y="51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2" y="49"/>
                  </a:lnTo>
                  <a:lnTo>
                    <a:pt x="74" y="49"/>
                  </a:lnTo>
                  <a:lnTo>
                    <a:pt x="74" y="47"/>
                  </a:lnTo>
                  <a:lnTo>
                    <a:pt x="78" y="47"/>
                  </a:lnTo>
                  <a:lnTo>
                    <a:pt x="78" y="45"/>
                  </a:lnTo>
                  <a:lnTo>
                    <a:pt x="80" y="43"/>
                  </a:lnTo>
                  <a:lnTo>
                    <a:pt x="82" y="43"/>
                  </a:lnTo>
                  <a:lnTo>
                    <a:pt x="82" y="43"/>
                  </a:lnTo>
                  <a:lnTo>
                    <a:pt x="84" y="43"/>
                  </a:lnTo>
                  <a:lnTo>
                    <a:pt x="84" y="45"/>
                  </a:lnTo>
                  <a:lnTo>
                    <a:pt x="84" y="43"/>
                  </a:lnTo>
                  <a:lnTo>
                    <a:pt x="87" y="43"/>
                  </a:lnTo>
                  <a:lnTo>
                    <a:pt x="87" y="41"/>
                  </a:lnTo>
                  <a:lnTo>
                    <a:pt x="87" y="39"/>
                  </a:lnTo>
                  <a:lnTo>
                    <a:pt x="87" y="3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9" name="Freeform 217">
              <a:extLst>
                <a:ext uri="{FF2B5EF4-FFF2-40B4-BE49-F238E27FC236}">
                  <a16:creationId xmlns:a16="http://schemas.microsoft.com/office/drawing/2014/main" id="{3AA9E93B-EACF-E343-8692-7B65771E04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876" y="3421609"/>
              <a:ext cx="24956" cy="21391"/>
            </a:xfrm>
            <a:custGeom>
              <a:avLst/>
              <a:gdLst>
                <a:gd name="T0" fmla="*/ 19 w 21"/>
                <a:gd name="T1" fmla="*/ 10 h 18"/>
                <a:gd name="T2" fmla="*/ 19 w 21"/>
                <a:gd name="T3" fmla="*/ 8 h 18"/>
                <a:gd name="T4" fmla="*/ 19 w 21"/>
                <a:gd name="T5" fmla="*/ 6 h 18"/>
                <a:gd name="T6" fmla="*/ 17 w 21"/>
                <a:gd name="T7" fmla="*/ 4 h 18"/>
                <a:gd name="T8" fmla="*/ 17 w 21"/>
                <a:gd name="T9" fmla="*/ 2 h 18"/>
                <a:gd name="T10" fmla="*/ 15 w 21"/>
                <a:gd name="T11" fmla="*/ 2 h 18"/>
                <a:gd name="T12" fmla="*/ 15 w 21"/>
                <a:gd name="T13" fmla="*/ 4 h 18"/>
                <a:gd name="T14" fmla="*/ 15 w 21"/>
                <a:gd name="T15" fmla="*/ 6 h 18"/>
                <a:gd name="T16" fmla="*/ 17 w 21"/>
                <a:gd name="T17" fmla="*/ 8 h 18"/>
                <a:gd name="T18" fmla="*/ 17 w 21"/>
                <a:gd name="T19" fmla="*/ 12 h 18"/>
                <a:gd name="T20" fmla="*/ 19 w 21"/>
                <a:gd name="T21" fmla="*/ 12 h 18"/>
                <a:gd name="T22" fmla="*/ 19 w 21"/>
                <a:gd name="T23" fmla="*/ 12 h 18"/>
                <a:gd name="T24" fmla="*/ 21 w 21"/>
                <a:gd name="T25" fmla="*/ 12 h 18"/>
                <a:gd name="T26" fmla="*/ 21 w 21"/>
                <a:gd name="T27" fmla="*/ 12 h 18"/>
                <a:gd name="T28" fmla="*/ 21 w 21"/>
                <a:gd name="T29" fmla="*/ 12 h 18"/>
                <a:gd name="T30" fmla="*/ 19 w 21"/>
                <a:gd name="T31" fmla="*/ 10 h 18"/>
                <a:gd name="T32" fmla="*/ 15 w 21"/>
                <a:gd name="T33" fmla="*/ 0 h 18"/>
                <a:gd name="T34" fmla="*/ 15 w 21"/>
                <a:gd name="T35" fmla="*/ 0 h 18"/>
                <a:gd name="T36" fmla="*/ 13 w 21"/>
                <a:gd name="T37" fmla="*/ 2 h 18"/>
                <a:gd name="T38" fmla="*/ 11 w 21"/>
                <a:gd name="T39" fmla="*/ 2 h 18"/>
                <a:gd name="T40" fmla="*/ 9 w 21"/>
                <a:gd name="T41" fmla="*/ 4 h 18"/>
                <a:gd name="T42" fmla="*/ 9 w 21"/>
                <a:gd name="T43" fmla="*/ 6 h 18"/>
                <a:gd name="T44" fmla="*/ 7 w 21"/>
                <a:gd name="T45" fmla="*/ 6 h 18"/>
                <a:gd name="T46" fmla="*/ 5 w 21"/>
                <a:gd name="T47" fmla="*/ 8 h 18"/>
                <a:gd name="T48" fmla="*/ 3 w 21"/>
                <a:gd name="T49" fmla="*/ 8 h 18"/>
                <a:gd name="T50" fmla="*/ 0 w 21"/>
                <a:gd name="T51" fmla="*/ 8 h 18"/>
                <a:gd name="T52" fmla="*/ 0 w 21"/>
                <a:gd name="T53" fmla="*/ 8 h 18"/>
                <a:gd name="T54" fmla="*/ 3 w 21"/>
                <a:gd name="T55" fmla="*/ 10 h 18"/>
                <a:gd name="T56" fmla="*/ 3 w 21"/>
                <a:gd name="T57" fmla="*/ 10 h 18"/>
                <a:gd name="T58" fmla="*/ 3 w 21"/>
                <a:gd name="T59" fmla="*/ 12 h 18"/>
                <a:gd name="T60" fmla="*/ 5 w 21"/>
                <a:gd name="T61" fmla="*/ 12 h 18"/>
                <a:gd name="T62" fmla="*/ 5 w 21"/>
                <a:gd name="T63" fmla="*/ 14 h 18"/>
                <a:gd name="T64" fmla="*/ 5 w 21"/>
                <a:gd name="T65" fmla="*/ 14 h 18"/>
                <a:gd name="T66" fmla="*/ 7 w 21"/>
                <a:gd name="T67" fmla="*/ 14 h 18"/>
                <a:gd name="T68" fmla="*/ 7 w 21"/>
                <a:gd name="T69" fmla="*/ 14 h 18"/>
                <a:gd name="T70" fmla="*/ 9 w 21"/>
                <a:gd name="T71" fmla="*/ 16 h 18"/>
                <a:gd name="T72" fmla="*/ 9 w 21"/>
                <a:gd name="T73" fmla="*/ 18 h 18"/>
                <a:gd name="T74" fmla="*/ 9 w 21"/>
                <a:gd name="T75" fmla="*/ 18 h 18"/>
                <a:gd name="T76" fmla="*/ 11 w 21"/>
                <a:gd name="T77" fmla="*/ 18 h 18"/>
                <a:gd name="T78" fmla="*/ 11 w 21"/>
                <a:gd name="T79" fmla="*/ 16 h 18"/>
                <a:gd name="T80" fmla="*/ 13 w 21"/>
                <a:gd name="T81" fmla="*/ 16 h 18"/>
                <a:gd name="T82" fmla="*/ 13 w 21"/>
                <a:gd name="T83" fmla="*/ 14 h 18"/>
                <a:gd name="T84" fmla="*/ 13 w 21"/>
                <a:gd name="T85" fmla="*/ 14 h 18"/>
                <a:gd name="T86" fmla="*/ 13 w 21"/>
                <a:gd name="T87" fmla="*/ 12 h 18"/>
                <a:gd name="T88" fmla="*/ 13 w 21"/>
                <a:gd name="T89" fmla="*/ 12 h 18"/>
                <a:gd name="T90" fmla="*/ 13 w 21"/>
                <a:gd name="T91" fmla="*/ 10 h 18"/>
                <a:gd name="T92" fmla="*/ 13 w 21"/>
                <a:gd name="T93" fmla="*/ 10 h 18"/>
                <a:gd name="T94" fmla="*/ 11 w 21"/>
                <a:gd name="T95" fmla="*/ 8 h 18"/>
                <a:gd name="T96" fmla="*/ 11 w 21"/>
                <a:gd name="T97" fmla="*/ 6 h 18"/>
                <a:gd name="T98" fmla="*/ 11 w 21"/>
                <a:gd name="T99" fmla="*/ 6 h 18"/>
                <a:gd name="T100" fmla="*/ 11 w 21"/>
                <a:gd name="T101" fmla="*/ 6 h 18"/>
                <a:gd name="T102" fmla="*/ 13 w 21"/>
                <a:gd name="T103" fmla="*/ 4 h 18"/>
                <a:gd name="T104" fmla="*/ 15 w 21"/>
                <a:gd name="T105" fmla="*/ 4 h 18"/>
                <a:gd name="T106" fmla="*/ 15 w 21"/>
                <a:gd name="T107" fmla="*/ 2 h 18"/>
                <a:gd name="T108" fmla="*/ 15 w 21"/>
                <a:gd name="T109" fmla="*/ 2 h 18"/>
                <a:gd name="T110" fmla="*/ 15 w 21"/>
                <a:gd name="T1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" h="18">
                  <a:moveTo>
                    <a:pt x="19" y="10"/>
                  </a:moveTo>
                  <a:lnTo>
                    <a:pt x="19" y="8"/>
                  </a:lnTo>
                  <a:lnTo>
                    <a:pt x="19" y="6"/>
                  </a:lnTo>
                  <a:lnTo>
                    <a:pt x="17" y="4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7" y="8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19" y="10"/>
                  </a:lnTo>
                  <a:close/>
                  <a:moveTo>
                    <a:pt x="15" y="0"/>
                  </a:moveTo>
                  <a:lnTo>
                    <a:pt x="15" y="0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9" y="4"/>
                  </a:lnTo>
                  <a:lnTo>
                    <a:pt x="9" y="6"/>
                  </a:lnTo>
                  <a:lnTo>
                    <a:pt x="7" y="6"/>
                  </a:lnTo>
                  <a:lnTo>
                    <a:pt x="5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9" y="16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1" y="8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0" name="Freeform 219">
              <a:extLst>
                <a:ext uri="{FF2B5EF4-FFF2-40B4-BE49-F238E27FC236}">
                  <a16:creationId xmlns:a16="http://schemas.microsoft.com/office/drawing/2014/main" id="{C4048D12-A61A-3D4E-8E5B-A9F458642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2337" y="3687808"/>
              <a:ext cx="4754" cy="4754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0 h 4"/>
                <a:gd name="T4" fmla="*/ 2 w 4"/>
                <a:gd name="T5" fmla="*/ 2 h 4"/>
                <a:gd name="T6" fmla="*/ 2 w 4"/>
                <a:gd name="T7" fmla="*/ 2 h 4"/>
                <a:gd name="T8" fmla="*/ 2 w 4"/>
                <a:gd name="T9" fmla="*/ 2 h 4"/>
                <a:gd name="T10" fmla="*/ 2 w 4"/>
                <a:gd name="T11" fmla="*/ 4 h 4"/>
                <a:gd name="T12" fmla="*/ 2 w 4"/>
                <a:gd name="T13" fmla="*/ 4 h 4"/>
                <a:gd name="T14" fmla="*/ 2 w 4"/>
                <a:gd name="T15" fmla="*/ 4 h 4"/>
                <a:gd name="T16" fmla="*/ 2 w 4"/>
                <a:gd name="T17" fmla="*/ 2 h 4"/>
                <a:gd name="T18" fmla="*/ 2 w 4"/>
                <a:gd name="T19" fmla="*/ 2 h 4"/>
                <a:gd name="T20" fmla="*/ 0 w 4"/>
                <a:gd name="T21" fmla="*/ 2 h 4"/>
                <a:gd name="T22" fmla="*/ 2 w 4"/>
                <a:gd name="T23" fmla="*/ 4 h 4"/>
                <a:gd name="T24" fmla="*/ 2 w 4"/>
                <a:gd name="T25" fmla="*/ 4 h 4"/>
                <a:gd name="T26" fmla="*/ 2 w 4"/>
                <a:gd name="T27" fmla="*/ 4 h 4"/>
                <a:gd name="T28" fmla="*/ 4 w 4"/>
                <a:gd name="T29" fmla="*/ 4 h 4"/>
                <a:gd name="T30" fmla="*/ 4 w 4"/>
                <a:gd name="T31" fmla="*/ 2 h 4"/>
                <a:gd name="T32" fmla="*/ 4 w 4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1" name="Freeform 225">
              <a:extLst>
                <a:ext uri="{FF2B5EF4-FFF2-40B4-BE49-F238E27FC236}">
                  <a16:creationId xmlns:a16="http://schemas.microsoft.com/office/drawing/2014/main" id="{FDBB1BDA-805D-D64A-9222-EAE7CDF3B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290" y="2912979"/>
              <a:ext cx="62985" cy="36840"/>
            </a:xfrm>
            <a:custGeom>
              <a:avLst/>
              <a:gdLst>
                <a:gd name="T0" fmla="*/ 53 w 53"/>
                <a:gd name="T1" fmla="*/ 25 h 31"/>
                <a:gd name="T2" fmla="*/ 51 w 53"/>
                <a:gd name="T3" fmla="*/ 22 h 31"/>
                <a:gd name="T4" fmla="*/ 51 w 53"/>
                <a:gd name="T5" fmla="*/ 20 h 31"/>
                <a:gd name="T6" fmla="*/ 51 w 53"/>
                <a:gd name="T7" fmla="*/ 18 h 31"/>
                <a:gd name="T8" fmla="*/ 49 w 53"/>
                <a:gd name="T9" fmla="*/ 16 h 31"/>
                <a:gd name="T10" fmla="*/ 47 w 53"/>
                <a:gd name="T11" fmla="*/ 16 h 31"/>
                <a:gd name="T12" fmla="*/ 43 w 53"/>
                <a:gd name="T13" fmla="*/ 14 h 31"/>
                <a:gd name="T14" fmla="*/ 43 w 53"/>
                <a:gd name="T15" fmla="*/ 12 h 31"/>
                <a:gd name="T16" fmla="*/ 43 w 53"/>
                <a:gd name="T17" fmla="*/ 10 h 31"/>
                <a:gd name="T18" fmla="*/ 43 w 53"/>
                <a:gd name="T19" fmla="*/ 8 h 31"/>
                <a:gd name="T20" fmla="*/ 41 w 53"/>
                <a:gd name="T21" fmla="*/ 6 h 31"/>
                <a:gd name="T22" fmla="*/ 37 w 53"/>
                <a:gd name="T23" fmla="*/ 4 h 31"/>
                <a:gd name="T24" fmla="*/ 37 w 53"/>
                <a:gd name="T25" fmla="*/ 4 h 31"/>
                <a:gd name="T26" fmla="*/ 35 w 53"/>
                <a:gd name="T27" fmla="*/ 6 h 31"/>
                <a:gd name="T28" fmla="*/ 33 w 53"/>
                <a:gd name="T29" fmla="*/ 6 h 31"/>
                <a:gd name="T30" fmla="*/ 29 w 53"/>
                <a:gd name="T31" fmla="*/ 4 h 31"/>
                <a:gd name="T32" fmla="*/ 24 w 53"/>
                <a:gd name="T33" fmla="*/ 4 h 31"/>
                <a:gd name="T34" fmla="*/ 22 w 53"/>
                <a:gd name="T35" fmla="*/ 4 h 31"/>
                <a:gd name="T36" fmla="*/ 22 w 53"/>
                <a:gd name="T37" fmla="*/ 4 h 31"/>
                <a:gd name="T38" fmla="*/ 22 w 53"/>
                <a:gd name="T39" fmla="*/ 2 h 31"/>
                <a:gd name="T40" fmla="*/ 18 w 53"/>
                <a:gd name="T41" fmla="*/ 0 h 31"/>
                <a:gd name="T42" fmla="*/ 14 w 53"/>
                <a:gd name="T43" fmla="*/ 0 h 31"/>
                <a:gd name="T44" fmla="*/ 12 w 53"/>
                <a:gd name="T45" fmla="*/ 2 h 31"/>
                <a:gd name="T46" fmla="*/ 10 w 53"/>
                <a:gd name="T47" fmla="*/ 4 h 31"/>
                <a:gd name="T48" fmla="*/ 8 w 53"/>
                <a:gd name="T49" fmla="*/ 6 h 31"/>
                <a:gd name="T50" fmla="*/ 6 w 53"/>
                <a:gd name="T51" fmla="*/ 12 h 31"/>
                <a:gd name="T52" fmla="*/ 4 w 53"/>
                <a:gd name="T53" fmla="*/ 14 h 31"/>
                <a:gd name="T54" fmla="*/ 2 w 53"/>
                <a:gd name="T55" fmla="*/ 18 h 31"/>
                <a:gd name="T56" fmla="*/ 0 w 53"/>
                <a:gd name="T57" fmla="*/ 20 h 31"/>
                <a:gd name="T58" fmla="*/ 2 w 53"/>
                <a:gd name="T59" fmla="*/ 22 h 31"/>
                <a:gd name="T60" fmla="*/ 2 w 53"/>
                <a:gd name="T61" fmla="*/ 22 h 31"/>
                <a:gd name="T62" fmla="*/ 4 w 53"/>
                <a:gd name="T63" fmla="*/ 27 h 31"/>
                <a:gd name="T64" fmla="*/ 8 w 53"/>
                <a:gd name="T65" fmla="*/ 29 h 31"/>
                <a:gd name="T66" fmla="*/ 12 w 53"/>
                <a:gd name="T67" fmla="*/ 27 h 31"/>
                <a:gd name="T68" fmla="*/ 14 w 53"/>
                <a:gd name="T69" fmla="*/ 29 h 31"/>
                <a:gd name="T70" fmla="*/ 16 w 53"/>
                <a:gd name="T71" fmla="*/ 29 h 31"/>
                <a:gd name="T72" fmla="*/ 16 w 53"/>
                <a:gd name="T73" fmla="*/ 29 h 31"/>
                <a:gd name="T74" fmla="*/ 18 w 53"/>
                <a:gd name="T75" fmla="*/ 31 h 31"/>
                <a:gd name="T76" fmla="*/ 24 w 53"/>
                <a:gd name="T77" fmla="*/ 29 h 31"/>
                <a:gd name="T78" fmla="*/ 24 w 53"/>
                <a:gd name="T79" fmla="*/ 27 h 31"/>
                <a:gd name="T80" fmla="*/ 29 w 53"/>
                <a:gd name="T81" fmla="*/ 27 h 31"/>
                <a:gd name="T82" fmla="*/ 31 w 53"/>
                <a:gd name="T83" fmla="*/ 29 h 31"/>
                <a:gd name="T84" fmla="*/ 35 w 53"/>
                <a:gd name="T85" fmla="*/ 29 h 31"/>
                <a:gd name="T86" fmla="*/ 41 w 53"/>
                <a:gd name="T87" fmla="*/ 29 h 31"/>
                <a:gd name="T88" fmla="*/ 45 w 53"/>
                <a:gd name="T89" fmla="*/ 27 h 31"/>
                <a:gd name="T90" fmla="*/ 47 w 53"/>
                <a:gd name="T91" fmla="*/ 29 h 31"/>
                <a:gd name="T92" fmla="*/ 51 w 53"/>
                <a:gd name="T93" fmla="*/ 27 h 31"/>
                <a:gd name="T94" fmla="*/ 51 w 53"/>
                <a:gd name="T95" fmla="*/ 27 h 31"/>
                <a:gd name="T96" fmla="*/ 53 w 53"/>
                <a:gd name="T97" fmla="*/ 27 h 31"/>
                <a:gd name="T98" fmla="*/ 53 w 53"/>
                <a:gd name="T9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" h="31">
                  <a:moveTo>
                    <a:pt x="53" y="25"/>
                  </a:moveTo>
                  <a:lnTo>
                    <a:pt x="53" y="25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0"/>
                  </a:lnTo>
                  <a:lnTo>
                    <a:pt x="53" y="18"/>
                  </a:lnTo>
                  <a:lnTo>
                    <a:pt x="51" y="18"/>
                  </a:lnTo>
                  <a:lnTo>
                    <a:pt x="51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7" y="16"/>
                  </a:lnTo>
                  <a:lnTo>
                    <a:pt x="45" y="16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8"/>
                  </a:lnTo>
                  <a:lnTo>
                    <a:pt x="43" y="6"/>
                  </a:lnTo>
                  <a:lnTo>
                    <a:pt x="41" y="6"/>
                  </a:lnTo>
                  <a:lnTo>
                    <a:pt x="39" y="6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1" y="6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10" y="27"/>
                  </a:lnTo>
                  <a:lnTo>
                    <a:pt x="12" y="27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31"/>
                  </a:lnTo>
                  <a:lnTo>
                    <a:pt x="18" y="31"/>
                  </a:lnTo>
                  <a:lnTo>
                    <a:pt x="20" y="29"/>
                  </a:lnTo>
                  <a:lnTo>
                    <a:pt x="24" y="29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7" y="27"/>
                  </a:lnTo>
                  <a:lnTo>
                    <a:pt x="29" y="27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3" y="29"/>
                  </a:lnTo>
                  <a:lnTo>
                    <a:pt x="35" y="29"/>
                  </a:lnTo>
                  <a:lnTo>
                    <a:pt x="39" y="29"/>
                  </a:lnTo>
                  <a:lnTo>
                    <a:pt x="41" y="29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5" y="29"/>
                  </a:lnTo>
                  <a:lnTo>
                    <a:pt x="47" y="29"/>
                  </a:lnTo>
                  <a:lnTo>
                    <a:pt x="49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2" name="Freeform 232">
              <a:extLst>
                <a:ext uri="{FF2B5EF4-FFF2-40B4-BE49-F238E27FC236}">
                  <a16:creationId xmlns:a16="http://schemas.microsoft.com/office/drawing/2014/main" id="{47C10386-9A22-5F4A-AB2F-96F4DBF2A4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6159" y="2952196"/>
              <a:ext cx="99825" cy="124781"/>
            </a:xfrm>
            <a:custGeom>
              <a:avLst/>
              <a:gdLst>
                <a:gd name="T0" fmla="*/ 72 w 84"/>
                <a:gd name="T1" fmla="*/ 92 h 105"/>
                <a:gd name="T2" fmla="*/ 70 w 84"/>
                <a:gd name="T3" fmla="*/ 86 h 105"/>
                <a:gd name="T4" fmla="*/ 57 w 84"/>
                <a:gd name="T5" fmla="*/ 80 h 105"/>
                <a:gd name="T6" fmla="*/ 61 w 84"/>
                <a:gd name="T7" fmla="*/ 72 h 105"/>
                <a:gd name="T8" fmla="*/ 51 w 84"/>
                <a:gd name="T9" fmla="*/ 72 h 105"/>
                <a:gd name="T10" fmla="*/ 47 w 84"/>
                <a:gd name="T11" fmla="*/ 72 h 105"/>
                <a:gd name="T12" fmla="*/ 53 w 84"/>
                <a:gd name="T13" fmla="*/ 82 h 105"/>
                <a:gd name="T14" fmla="*/ 47 w 84"/>
                <a:gd name="T15" fmla="*/ 66 h 105"/>
                <a:gd name="T16" fmla="*/ 82 w 84"/>
                <a:gd name="T17" fmla="*/ 90 h 105"/>
                <a:gd name="T18" fmla="*/ 78 w 84"/>
                <a:gd name="T19" fmla="*/ 70 h 105"/>
                <a:gd name="T20" fmla="*/ 74 w 84"/>
                <a:gd name="T21" fmla="*/ 55 h 105"/>
                <a:gd name="T22" fmla="*/ 67 w 84"/>
                <a:gd name="T23" fmla="*/ 53 h 105"/>
                <a:gd name="T24" fmla="*/ 65 w 84"/>
                <a:gd name="T25" fmla="*/ 63 h 105"/>
                <a:gd name="T26" fmla="*/ 59 w 84"/>
                <a:gd name="T27" fmla="*/ 61 h 105"/>
                <a:gd name="T28" fmla="*/ 59 w 84"/>
                <a:gd name="T29" fmla="*/ 63 h 105"/>
                <a:gd name="T30" fmla="*/ 57 w 84"/>
                <a:gd name="T31" fmla="*/ 45 h 105"/>
                <a:gd name="T32" fmla="*/ 61 w 84"/>
                <a:gd name="T33" fmla="*/ 43 h 105"/>
                <a:gd name="T34" fmla="*/ 65 w 84"/>
                <a:gd name="T35" fmla="*/ 39 h 105"/>
                <a:gd name="T36" fmla="*/ 70 w 84"/>
                <a:gd name="T37" fmla="*/ 33 h 105"/>
                <a:gd name="T38" fmla="*/ 72 w 84"/>
                <a:gd name="T39" fmla="*/ 29 h 105"/>
                <a:gd name="T40" fmla="*/ 53 w 84"/>
                <a:gd name="T41" fmla="*/ 24 h 105"/>
                <a:gd name="T42" fmla="*/ 35 w 84"/>
                <a:gd name="T43" fmla="*/ 24 h 105"/>
                <a:gd name="T44" fmla="*/ 28 w 84"/>
                <a:gd name="T45" fmla="*/ 18 h 105"/>
                <a:gd name="T46" fmla="*/ 22 w 84"/>
                <a:gd name="T47" fmla="*/ 8 h 105"/>
                <a:gd name="T48" fmla="*/ 16 w 84"/>
                <a:gd name="T49" fmla="*/ 6 h 105"/>
                <a:gd name="T50" fmla="*/ 12 w 84"/>
                <a:gd name="T51" fmla="*/ 4 h 105"/>
                <a:gd name="T52" fmla="*/ 10 w 84"/>
                <a:gd name="T53" fmla="*/ 4 h 105"/>
                <a:gd name="T54" fmla="*/ 2 w 84"/>
                <a:gd name="T55" fmla="*/ 0 h 105"/>
                <a:gd name="T56" fmla="*/ 4 w 84"/>
                <a:gd name="T57" fmla="*/ 6 h 105"/>
                <a:gd name="T58" fmla="*/ 2 w 84"/>
                <a:gd name="T59" fmla="*/ 14 h 105"/>
                <a:gd name="T60" fmla="*/ 12 w 84"/>
                <a:gd name="T61" fmla="*/ 20 h 105"/>
                <a:gd name="T62" fmla="*/ 14 w 84"/>
                <a:gd name="T63" fmla="*/ 24 h 105"/>
                <a:gd name="T64" fmla="*/ 6 w 84"/>
                <a:gd name="T65" fmla="*/ 31 h 105"/>
                <a:gd name="T66" fmla="*/ 6 w 84"/>
                <a:gd name="T67" fmla="*/ 37 h 105"/>
                <a:gd name="T68" fmla="*/ 14 w 84"/>
                <a:gd name="T69" fmla="*/ 41 h 105"/>
                <a:gd name="T70" fmla="*/ 14 w 84"/>
                <a:gd name="T71" fmla="*/ 53 h 105"/>
                <a:gd name="T72" fmla="*/ 18 w 84"/>
                <a:gd name="T73" fmla="*/ 61 h 105"/>
                <a:gd name="T74" fmla="*/ 22 w 84"/>
                <a:gd name="T75" fmla="*/ 72 h 105"/>
                <a:gd name="T76" fmla="*/ 26 w 84"/>
                <a:gd name="T77" fmla="*/ 86 h 105"/>
                <a:gd name="T78" fmla="*/ 33 w 84"/>
                <a:gd name="T79" fmla="*/ 82 h 105"/>
                <a:gd name="T80" fmla="*/ 35 w 84"/>
                <a:gd name="T81" fmla="*/ 86 h 105"/>
                <a:gd name="T82" fmla="*/ 39 w 84"/>
                <a:gd name="T83" fmla="*/ 74 h 105"/>
                <a:gd name="T84" fmla="*/ 43 w 84"/>
                <a:gd name="T85" fmla="*/ 80 h 105"/>
                <a:gd name="T86" fmla="*/ 45 w 84"/>
                <a:gd name="T87" fmla="*/ 86 h 105"/>
                <a:gd name="T88" fmla="*/ 47 w 84"/>
                <a:gd name="T89" fmla="*/ 74 h 105"/>
                <a:gd name="T90" fmla="*/ 47 w 84"/>
                <a:gd name="T91" fmla="*/ 68 h 105"/>
                <a:gd name="T92" fmla="*/ 45 w 84"/>
                <a:gd name="T93" fmla="*/ 59 h 105"/>
                <a:gd name="T94" fmla="*/ 45 w 84"/>
                <a:gd name="T95" fmla="*/ 55 h 105"/>
                <a:gd name="T96" fmla="*/ 51 w 84"/>
                <a:gd name="T97" fmla="*/ 70 h 105"/>
                <a:gd name="T98" fmla="*/ 61 w 84"/>
                <a:gd name="T99" fmla="*/ 68 h 105"/>
                <a:gd name="T100" fmla="*/ 70 w 84"/>
                <a:gd name="T101" fmla="*/ 78 h 105"/>
                <a:gd name="T102" fmla="*/ 78 w 84"/>
                <a:gd name="T103" fmla="*/ 103 h 105"/>
                <a:gd name="T104" fmla="*/ 78 w 84"/>
                <a:gd name="T105" fmla="*/ 100 h 105"/>
                <a:gd name="T106" fmla="*/ 80 w 84"/>
                <a:gd name="T107" fmla="*/ 9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4" h="105">
                  <a:moveTo>
                    <a:pt x="72" y="88"/>
                  </a:moveTo>
                  <a:lnTo>
                    <a:pt x="72" y="88"/>
                  </a:lnTo>
                  <a:lnTo>
                    <a:pt x="72" y="88"/>
                  </a:lnTo>
                  <a:lnTo>
                    <a:pt x="70" y="88"/>
                  </a:lnTo>
                  <a:lnTo>
                    <a:pt x="72" y="90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0"/>
                  </a:lnTo>
                  <a:lnTo>
                    <a:pt x="72" y="88"/>
                  </a:lnTo>
                  <a:close/>
                  <a:moveTo>
                    <a:pt x="70" y="84"/>
                  </a:moveTo>
                  <a:lnTo>
                    <a:pt x="70" y="84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70" y="88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70" y="84"/>
                  </a:lnTo>
                  <a:close/>
                  <a:moveTo>
                    <a:pt x="55" y="74"/>
                  </a:moveTo>
                  <a:lnTo>
                    <a:pt x="57" y="82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57" y="76"/>
                  </a:lnTo>
                  <a:lnTo>
                    <a:pt x="55" y="74"/>
                  </a:lnTo>
                  <a:close/>
                  <a:moveTo>
                    <a:pt x="63" y="74"/>
                  </a:moveTo>
                  <a:lnTo>
                    <a:pt x="63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4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4"/>
                  </a:lnTo>
                  <a:close/>
                  <a:moveTo>
                    <a:pt x="51" y="72"/>
                  </a:moveTo>
                  <a:lnTo>
                    <a:pt x="49" y="70"/>
                  </a:lnTo>
                  <a:lnTo>
                    <a:pt x="49" y="70"/>
                  </a:lnTo>
                  <a:lnTo>
                    <a:pt x="49" y="68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9" y="74"/>
                  </a:lnTo>
                  <a:lnTo>
                    <a:pt x="49" y="76"/>
                  </a:lnTo>
                  <a:lnTo>
                    <a:pt x="51" y="78"/>
                  </a:lnTo>
                  <a:lnTo>
                    <a:pt x="49" y="82"/>
                  </a:lnTo>
                  <a:lnTo>
                    <a:pt x="49" y="82"/>
                  </a:lnTo>
                  <a:lnTo>
                    <a:pt x="53" y="82"/>
                  </a:lnTo>
                  <a:lnTo>
                    <a:pt x="53" y="80"/>
                  </a:lnTo>
                  <a:lnTo>
                    <a:pt x="53" y="76"/>
                  </a:lnTo>
                  <a:lnTo>
                    <a:pt x="53" y="74"/>
                  </a:lnTo>
                  <a:lnTo>
                    <a:pt x="51" y="72"/>
                  </a:lnTo>
                  <a:close/>
                  <a:moveTo>
                    <a:pt x="49" y="66"/>
                  </a:moveTo>
                  <a:lnTo>
                    <a:pt x="47" y="63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9" y="66"/>
                  </a:lnTo>
                  <a:lnTo>
                    <a:pt x="49" y="66"/>
                  </a:lnTo>
                  <a:close/>
                  <a:moveTo>
                    <a:pt x="84" y="94"/>
                  </a:moveTo>
                  <a:lnTo>
                    <a:pt x="82" y="92"/>
                  </a:lnTo>
                  <a:lnTo>
                    <a:pt x="82" y="90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80" y="82"/>
                  </a:lnTo>
                  <a:lnTo>
                    <a:pt x="80" y="76"/>
                  </a:lnTo>
                  <a:lnTo>
                    <a:pt x="80" y="74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8" y="68"/>
                  </a:lnTo>
                  <a:lnTo>
                    <a:pt x="76" y="68"/>
                  </a:lnTo>
                  <a:lnTo>
                    <a:pt x="76" y="66"/>
                  </a:lnTo>
                  <a:lnTo>
                    <a:pt x="76" y="63"/>
                  </a:lnTo>
                  <a:lnTo>
                    <a:pt x="74" y="61"/>
                  </a:lnTo>
                  <a:lnTo>
                    <a:pt x="74" y="59"/>
                  </a:lnTo>
                  <a:lnTo>
                    <a:pt x="74" y="55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0" y="51"/>
                  </a:lnTo>
                  <a:lnTo>
                    <a:pt x="70" y="51"/>
                  </a:lnTo>
                  <a:lnTo>
                    <a:pt x="70" y="53"/>
                  </a:lnTo>
                  <a:lnTo>
                    <a:pt x="67" y="53"/>
                  </a:lnTo>
                  <a:lnTo>
                    <a:pt x="67" y="53"/>
                  </a:lnTo>
                  <a:lnTo>
                    <a:pt x="67" y="53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5" y="61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1" y="63"/>
                  </a:lnTo>
                  <a:lnTo>
                    <a:pt x="61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7" y="57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47"/>
                  </a:lnTo>
                  <a:lnTo>
                    <a:pt x="57" y="47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5" y="43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5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7"/>
                  </a:lnTo>
                  <a:lnTo>
                    <a:pt x="67" y="35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67" y="31"/>
                  </a:lnTo>
                  <a:lnTo>
                    <a:pt x="70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29"/>
                  </a:lnTo>
                  <a:lnTo>
                    <a:pt x="70" y="29"/>
                  </a:lnTo>
                  <a:lnTo>
                    <a:pt x="67" y="26"/>
                  </a:lnTo>
                  <a:lnTo>
                    <a:pt x="65" y="24"/>
                  </a:lnTo>
                  <a:lnTo>
                    <a:pt x="59" y="24"/>
                  </a:lnTo>
                  <a:lnTo>
                    <a:pt x="55" y="26"/>
                  </a:lnTo>
                  <a:lnTo>
                    <a:pt x="55" y="24"/>
                  </a:lnTo>
                  <a:lnTo>
                    <a:pt x="53" y="24"/>
                  </a:lnTo>
                  <a:lnTo>
                    <a:pt x="49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1" y="24"/>
                  </a:lnTo>
                  <a:lnTo>
                    <a:pt x="39" y="24"/>
                  </a:lnTo>
                  <a:lnTo>
                    <a:pt x="37" y="24"/>
                  </a:lnTo>
                  <a:lnTo>
                    <a:pt x="35" y="24"/>
                  </a:lnTo>
                  <a:lnTo>
                    <a:pt x="33" y="24"/>
                  </a:lnTo>
                  <a:lnTo>
                    <a:pt x="30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9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4" y="37"/>
                  </a:lnTo>
                  <a:lnTo>
                    <a:pt x="6" y="37"/>
                  </a:lnTo>
                  <a:lnTo>
                    <a:pt x="6" y="39"/>
                  </a:lnTo>
                  <a:lnTo>
                    <a:pt x="8" y="37"/>
                  </a:lnTo>
                  <a:lnTo>
                    <a:pt x="8" y="39"/>
                  </a:lnTo>
                  <a:lnTo>
                    <a:pt x="10" y="39"/>
                  </a:lnTo>
                  <a:lnTo>
                    <a:pt x="10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5"/>
                  </a:lnTo>
                  <a:lnTo>
                    <a:pt x="14" y="47"/>
                  </a:lnTo>
                  <a:lnTo>
                    <a:pt x="14" y="49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6" y="55"/>
                  </a:lnTo>
                  <a:lnTo>
                    <a:pt x="16" y="57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8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3"/>
                  </a:lnTo>
                  <a:lnTo>
                    <a:pt x="20" y="66"/>
                  </a:lnTo>
                  <a:lnTo>
                    <a:pt x="20" y="68"/>
                  </a:lnTo>
                  <a:lnTo>
                    <a:pt x="22" y="70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4"/>
                  </a:lnTo>
                  <a:lnTo>
                    <a:pt x="24" y="78"/>
                  </a:lnTo>
                  <a:lnTo>
                    <a:pt x="24" y="80"/>
                  </a:lnTo>
                  <a:lnTo>
                    <a:pt x="24" y="82"/>
                  </a:lnTo>
                  <a:lnTo>
                    <a:pt x="26" y="82"/>
                  </a:lnTo>
                  <a:lnTo>
                    <a:pt x="26" y="86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30" y="88"/>
                  </a:lnTo>
                  <a:lnTo>
                    <a:pt x="33" y="86"/>
                  </a:lnTo>
                  <a:lnTo>
                    <a:pt x="33" y="84"/>
                  </a:lnTo>
                  <a:lnTo>
                    <a:pt x="33" y="82"/>
                  </a:lnTo>
                  <a:lnTo>
                    <a:pt x="30" y="80"/>
                  </a:lnTo>
                  <a:lnTo>
                    <a:pt x="30" y="78"/>
                  </a:lnTo>
                  <a:lnTo>
                    <a:pt x="33" y="84"/>
                  </a:lnTo>
                  <a:lnTo>
                    <a:pt x="35" y="86"/>
                  </a:lnTo>
                  <a:lnTo>
                    <a:pt x="35" y="88"/>
                  </a:lnTo>
                  <a:lnTo>
                    <a:pt x="35" y="86"/>
                  </a:lnTo>
                  <a:lnTo>
                    <a:pt x="35" y="86"/>
                  </a:lnTo>
                  <a:lnTo>
                    <a:pt x="37" y="84"/>
                  </a:lnTo>
                  <a:lnTo>
                    <a:pt x="37" y="84"/>
                  </a:lnTo>
                  <a:lnTo>
                    <a:pt x="37" y="82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37" y="76"/>
                  </a:lnTo>
                  <a:lnTo>
                    <a:pt x="39" y="74"/>
                  </a:lnTo>
                  <a:lnTo>
                    <a:pt x="39" y="78"/>
                  </a:lnTo>
                  <a:lnTo>
                    <a:pt x="39" y="80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41" y="82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1" y="82"/>
                  </a:lnTo>
                  <a:lnTo>
                    <a:pt x="41" y="84"/>
                  </a:lnTo>
                  <a:lnTo>
                    <a:pt x="41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2"/>
                  </a:lnTo>
                  <a:lnTo>
                    <a:pt x="47" y="80"/>
                  </a:lnTo>
                  <a:lnTo>
                    <a:pt x="49" y="80"/>
                  </a:lnTo>
                  <a:lnTo>
                    <a:pt x="49" y="78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47" y="74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5" y="70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7" y="68"/>
                  </a:lnTo>
                  <a:lnTo>
                    <a:pt x="45" y="66"/>
                  </a:lnTo>
                  <a:lnTo>
                    <a:pt x="45" y="63"/>
                  </a:lnTo>
                  <a:lnTo>
                    <a:pt x="47" y="63"/>
                  </a:lnTo>
                  <a:lnTo>
                    <a:pt x="47" y="61"/>
                  </a:lnTo>
                  <a:lnTo>
                    <a:pt x="47" y="61"/>
                  </a:lnTo>
                  <a:lnTo>
                    <a:pt x="47" y="59"/>
                  </a:lnTo>
                  <a:lnTo>
                    <a:pt x="45" y="59"/>
                  </a:lnTo>
                  <a:lnTo>
                    <a:pt x="43" y="57"/>
                  </a:lnTo>
                  <a:lnTo>
                    <a:pt x="41" y="57"/>
                  </a:lnTo>
                  <a:lnTo>
                    <a:pt x="43" y="57"/>
                  </a:lnTo>
                  <a:lnTo>
                    <a:pt x="45" y="57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7" y="53"/>
                  </a:lnTo>
                  <a:lnTo>
                    <a:pt x="47" y="55"/>
                  </a:lnTo>
                  <a:lnTo>
                    <a:pt x="47" y="57"/>
                  </a:lnTo>
                  <a:lnTo>
                    <a:pt x="47" y="59"/>
                  </a:lnTo>
                  <a:lnTo>
                    <a:pt x="47" y="63"/>
                  </a:lnTo>
                  <a:lnTo>
                    <a:pt x="49" y="63"/>
                  </a:lnTo>
                  <a:lnTo>
                    <a:pt x="51" y="70"/>
                  </a:lnTo>
                  <a:lnTo>
                    <a:pt x="53" y="72"/>
                  </a:lnTo>
                  <a:lnTo>
                    <a:pt x="57" y="72"/>
                  </a:lnTo>
                  <a:lnTo>
                    <a:pt x="57" y="72"/>
                  </a:lnTo>
                  <a:lnTo>
                    <a:pt x="59" y="70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3" y="70"/>
                  </a:lnTo>
                  <a:lnTo>
                    <a:pt x="65" y="74"/>
                  </a:lnTo>
                  <a:lnTo>
                    <a:pt x="67" y="76"/>
                  </a:lnTo>
                  <a:lnTo>
                    <a:pt x="67" y="78"/>
                  </a:lnTo>
                  <a:lnTo>
                    <a:pt x="70" y="78"/>
                  </a:lnTo>
                  <a:lnTo>
                    <a:pt x="70" y="76"/>
                  </a:lnTo>
                  <a:lnTo>
                    <a:pt x="70" y="78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86"/>
                  </a:lnTo>
                  <a:lnTo>
                    <a:pt x="74" y="88"/>
                  </a:lnTo>
                  <a:lnTo>
                    <a:pt x="74" y="92"/>
                  </a:lnTo>
                  <a:lnTo>
                    <a:pt x="76" y="98"/>
                  </a:lnTo>
                  <a:lnTo>
                    <a:pt x="78" y="103"/>
                  </a:lnTo>
                  <a:lnTo>
                    <a:pt x="78" y="105"/>
                  </a:lnTo>
                  <a:lnTo>
                    <a:pt x="80" y="105"/>
                  </a:lnTo>
                  <a:lnTo>
                    <a:pt x="80" y="105"/>
                  </a:lnTo>
                  <a:lnTo>
                    <a:pt x="80" y="105"/>
                  </a:lnTo>
                  <a:lnTo>
                    <a:pt x="80" y="103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98"/>
                  </a:lnTo>
                  <a:lnTo>
                    <a:pt x="76" y="96"/>
                  </a:lnTo>
                  <a:lnTo>
                    <a:pt x="76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80" y="94"/>
                  </a:lnTo>
                  <a:lnTo>
                    <a:pt x="82" y="94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3" name="Freeform 237">
              <a:extLst>
                <a:ext uri="{FF2B5EF4-FFF2-40B4-BE49-F238E27FC236}">
                  <a16:creationId xmlns:a16="http://schemas.microsoft.com/office/drawing/2014/main" id="{FB3C0C4D-ABD4-7148-A287-9439E899C4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0124" y="3750793"/>
              <a:ext cx="772452" cy="964971"/>
            </a:xfrm>
            <a:custGeom>
              <a:avLst/>
              <a:gdLst>
                <a:gd name="T0" fmla="*/ 406 w 650"/>
                <a:gd name="T1" fmla="*/ 607 h 812"/>
                <a:gd name="T2" fmla="*/ 423 w 650"/>
                <a:gd name="T3" fmla="*/ 568 h 812"/>
                <a:gd name="T4" fmla="*/ 388 w 650"/>
                <a:gd name="T5" fmla="*/ 574 h 812"/>
                <a:gd name="T6" fmla="*/ 388 w 650"/>
                <a:gd name="T7" fmla="*/ 609 h 812"/>
                <a:gd name="T8" fmla="*/ 410 w 650"/>
                <a:gd name="T9" fmla="*/ 598 h 812"/>
                <a:gd name="T10" fmla="*/ 431 w 650"/>
                <a:gd name="T11" fmla="*/ 586 h 812"/>
                <a:gd name="T12" fmla="*/ 445 w 650"/>
                <a:gd name="T13" fmla="*/ 566 h 812"/>
                <a:gd name="T14" fmla="*/ 453 w 650"/>
                <a:gd name="T15" fmla="*/ 549 h 812"/>
                <a:gd name="T16" fmla="*/ 394 w 650"/>
                <a:gd name="T17" fmla="*/ 543 h 812"/>
                <a:gd name="T18" fmla="*/ 332 w 650"/>
                <a:gd name="T19" fmla="*/ 471 h 812"/>
                <a:gd name="T20" fmla="*/ 636 w 650"/>
                <a:gd name="T21" fmla="*/ 323 h 812"/>
                <a:gd name="T22" fmla="*/ 648 w 650"/>
                <a:gd name="T23" fmla="*/ 269 h 812"/>
                <a:gd name="T24" fmla="*/ 620 w 650"/>
                <a:gd name="T25" fmla="*/ 247 h 812"/>
                <a:gd name="T26" fmla="*/ 601 w 650"/>
                <a:gd name="T27" fmla="*/ 187 h 812"/>
                <a:gd name="T28" fmla="*/ 459 w 650"/>
                <a:gd name="T29" fmla="*/ 130 h 812"/>
                <a:gd name="T30" fmla="*/ 425 w 650"/>
                <a:gd name="T31" fmla="*/ 105 h 812"/>
                <a:gd name="T32" fmla="*/ 238 w 650"/>
                <a:gd name="T33" fmla="*/ 82 h 812"/>
                <a:gd name="T34" fmla="*/ 420 w 650"/>
                <a:gd name="T35" fmla="*/ 76 h 812"/>
                <a:gd name="T36" fmla="*/ 425 w 650"/>
                <a:gd name="T37" fmla="*/ 27 h 812"/>
                <a:gd name="T38" fmla="*/ 345 w 650"/>
                <a:gd name="T39" fmla="*/ 27 h 812"/>
                <a:gd name="T40" fmla="*/ 429 w 650"/>
                <a:gd name="T41" fmla="*/ 21 h 812"/>
                <a:gd name="T42" fmla="*/ 632 w 650"/>
                <a:gd name="T43" fmla="*/ 267 h 812"/>
                <a:gd name="T44" fmla="*/ 607 w 650"/>
                <a:gd name="T45" fmla="*/ 228 h 812"/>
                <a:gd name="T46" fmla="*/ 587 w 650"/>
                <a:gd name="T47" fmla="*/ 181 h 812"/>
                <a:gd name="T48" fmla="*/ 562 w 650"/>
                <a:gd name="T49" fmla="*/ 126 h 812"/>
                <a:gd name="T50" fmla="*/ 535 w 650"/>
                <a:gd name="T51" fmla="*/ 74 h 812"/>
                <a:gd name="T52" fmla="*/ 525 w 650"/>
                <a:gd name="T53" fmla="*/ 14 h 812"/>
                <a:gd name="T54" fmla="*/ 505 w 650"/>
                <a:gd name="T55" fmla="*/ 62 h 812"/>
                <a:gd name="T56" fmla="*/ 453 w 650"/>
                <a:gd name="T57" fmla="*/ 130 h 812"/>
                <a:gd name="T58" fmla="*/ 412 w 650"/>
                <a:gd name="T59" fmla="*/ 99 h 812"/>
                <a:gd name="T60" fmla="*/ 429 w 650"/>
                <a:gd name="T61" fmla="*/ 39 h 812"/>
                <a:gd name="T62" fmla="*/ 406 w 650"/>
                <a:gd name="T63" fmla="*/ 37 h 812"/>
                <a:gd name="T64" fmla="*/ 357 w 650"/>
                <a:gd name="T65" fmla="*/ 23 h 812"/>
                <a:gd name="T66" fmla="*/ 342 w 650"/>
                <a:gd name="T67" fmla="*/ 39 h 812"/>
                <a:gd name="T68" fmla="*/ 320 w 650"/>
                <a:gd name="T69" fmla="*/ 62 h 812"/>
                <a:gd name="T70" fmla="*/ 305 w 650"/>
                <a:gd name="T71" fmla="*/ 88 h 812"/>
                <a:gd name="T72" fmla="*/ 285 w 650"/>
                <a:gd name="T73" fmla="*/ 86 h 812"/>
                <a:gd name="T74" fmla="*/ 252 w 650"/>
                <a:gd name="T75" fmla="*/ 78 h 812"/>
                <a:gd name="T76" fmla="*/ 240 w 650"/>
                <a:gd name="T77" fmla="*/ 93 h 812"/>
                <a:gd name="T78" fmla="*/ 221 w 650"/>
                <a:gd name="T79" fmla="*/ 105 h 812"/>
                <a:gd name="T80" fmla="*/ 211 w 650"/>
                <a:gd name="T81" fmla="*/ 113 h 812"/>
                <a:gd name="T82" fmla="*/ 201 w 650"/>
                <a:gd name="T83" fmla="*/ 132 h 812"/>
                <a:gd name="T84" fmla="*/ 166 w 650"/>
                <a:gd name="T85" fmla="*/ 167 h 812"/>
                <a:gd name="T86" fmla="*/ 59 w 650"/>
                <a:gd name="T87" fmla="*/ 212 h 812"/>
                <a:gd name="T88" fmla="*/ 24 w 650"/>
                <a:gd name="T89" fmla="*/ 267 h 812"/>
                <a:gd name="T90" fmla="*/ 20 w 650"/>
                <a:gd name="T91" fmla="*/ 296 h 812"/>
                <a:gd name="T92" fmla="*/ 24 w 650"/>
                <a:gd name="T93" fmla="*/ 350 h 812"/>
                <a:gd name="T94" fmla="*/ 2 w 650"/>
                <a:gd name="T95" fmla="*/ 444 h 812"/>
                <a:gd name="T96" fmla="*/ 108 w 650"/>
                <a:gd name="T97" fmla="*/ 436 h 812"/>
                <a:gd name="T98" fmla="*/ 240 w 650"/>
                <a:gd name="T99" fmla="*/ 395 h 812"/>
                <a:gd name="T100" fmla="*/ 308 w 650"/>
                <a:gd name="T101" fmla="*/ 430 h 812"/>
                <a:gd name="T102" fmla="*/ 316 w 650"/>
                <a:gd name="T103" fmla="*/ 450 h 812"/>
                <a:gd name="T104" fmla="*/ 345 w 650"/>
                <a:gd name="T105" fmla="*/ 442 h 812"/>
                <a:gd name="T106" fmla="*/ 349 w 650"/>
                <a:gd name="T107" fmla="*/ 463 h 812"/>
                <a:gd name="T108" fmla="*/ 359 w 650"/>
                <a:gd name="T109" fmla="*/ 489 h 812"/>
                <a:gd name="T110" fmla="*/ 412 w 650"/>
                <a:gd name="T111" fmla="*/ 520 h 812"/>
                <a:gd name="T112" fmla="*/ 427 w 650"/>
                <a:gd name="T113" fmla="*/ 524 h 812"/>
                <a:gd name="T114" fmla="*/ 470 w 650"/>
                <a:gd name="T115" fmla="*/ 512 h 812"/>
                <a:gd name="T116" fmla="*/ 537 w 650"/>
                <a:gd name="T117" fmla="*/ 459 h 812"/>
                <a:gd name="T118" fmla="*/ 574 w 650"/>
                <a:gd name="T119" fmla="*/ 420 h 812"/>
                <a:gd name="T120" fmla="*/ 634 w 650"/>
                <a:gd name="T121" fmla="*/ 333 h 812"/>
                <a:gd name="T122" fmla="*/ 519 w 650"/>
                <a:gd name="T123" fmla="*/ 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0" h="812">
                  <a:moveTo>
                    <a:pt x="410" y="812"/>
                  </a:moveTo>
                  <a:lnTo>
                    <a:pt x="410" y="812"/>
                  </a:lnTo>
                  <a:lnTo>
                    <a:pt x="410" y="812"/>
                  </a:lnTo>
                  <a:lnTo>
                    <a:pt x="414" y="810"/>
                  </a:lnTo>
                  <a:lnTo>
                    <a:pt x="416" y="808"/>
                  </a:lnTo>
                  <a:lnTo>
                    <a:pt x="414" y="808"/>
                  </a:lnTo>
                  <a:lnTo>
                    <a:pt x="410" y="812"/>
                  </a:lnTo>
                  <a:close/>
                  <a:moveTo>
                    <a:pt x="402" y="609"/>
                  </a:moveTo>
                  <a:lnTo>
                    <a:pt x="402" y="609"/>
                  </a:lnTo>
                  <a:lnTo>
                    <a:pt x="402" y="609"/>
                  </a:lnTo>
                  <a:lnTo>
                    <a:pt x="402" y="611"/>
                  </a:lnTo>
                  <a:lnTo>
                    <a:pt x="400" y="611"/>
                  </a:lnTo>
                  <a:lnTo>
                    <a:pt x="400" y="611"/>
                  </a:lnTo>
                  <a:lnTo>
                    <a:pt x="400" y="611"/>
                  </a:lnTo>
                  <a:lnTo>
                    <a:pt x="400" y="611"/>
                  </a:lnTo>
                  <a:lnTo>
                    <a:pt x="402" y="611"/>
                  </a:lnTo>
                  <a:lnTo>
                    <a:pt x="402" y="611"/>
                  </a:lnTo>
                  <a:lnTo>
                    <a:pt x="404" y="611"/>
                  </a:lnTo>
                  <a:lnTo>
                    <a:pt x="404" y="609"/>
                  </a:lnTo>
                  <a:lnTo>
                    <a:pt x="404" y="609"/>
                  </a:lnTo>
                  <a:lnTo>
                    <a:pt x="404" y="609"/>
                  </a:lnTo>
                  <a:lnTo>
                    <a:pt x="402" y="609"/>
                  </a:lnTo>
                  <a:close/>
                  <a:moveTo>
                    <a:pt x="406" y="605"/>
                  </a:moveTo>
                  <a:lnTo>
                    <a:pt x="406" y="605"/>
                  </a:lnTo>
                  <a:lnTo>
                    <a:pt x="406" y="607"/>
                  </a:lnTo>
                  <a:lnTo>
                    <a:pt x="406" y="607"/>
                  </a:lnTo>
                  <a:lnTo>
                    <a:pt x="406" y="607"/>
                  </a:lnTo>
                  <a:lnTo>
                    <a:pt x="406" y="607"/>
                  </a:lnTo>
                  <a:lnTo>
                    <a:pt x="406" y="607"/>
                  </a:lnTo>
                  <a:lnTo>
                    <a:pt x="408" y="605"/>
                  </a:lnTo>
                  <a:lnTo>
                    <a:pt x="408" y="605"/>
                  </a:lnTo>
                  <a:lnTo>
                    <a:pt x="406" y="605"/>
                  </a:lnTo>
                  <a:close/>
                  <a:moveTo>
                    <a:pt x="423" y="596"/>
                  </a:moveTo>
                  <a:lnTo>
                    <a:pt x="423" y="596"/>
                  </a:lnTo>
                  <a:lnTo>
                    <a:pt x="423" y="598"/>
                  </a:lnTo>
                  <a:lnTo>
                    <a:pt x="423" y="598"/>
                  </a:lnTo>
                  <a:lnTo>
                    <a:pt x="423" y="598"/>
                  </a:lnTo>
                  <a:lnTo>
                    <a:pt x="423" y="596"/>
                  </a:lnTo>
                  <a:lnTo>
                    <a:pt x="425" y="596"/>
                  </a:lnTo>
                  <a:lnTo>
                    <a:pt x="425" y="596"/>
                  </a:lnTo>
                  <a:lnTo>
                    <a:pt x="425" y="596"/>
                  </a:lnTo>
                  <a:lnTo>
                    <a:pt x="423" y="596"/>
                  </a:lnTo>
                  <a:close/>
                  <a:moveTo>
                    <a:pt x="443" y="563"/>
                  </a:moveTo>
                  <a:lnTo>
                    <a:pt x="443" y="563"/>
                  </a:lnTo>
                  <a:lnTo>
                    <a:pt x="439" y="566"/>
                  </a:lnTo>
                  <a:lnTo>
                    <a:pt x="439" y="566"/>
                  </a:lnTo>
                  <a:lnTo>
                    <a:pt x="437" y="563"/>
                  </a:lnTo>
                  <a:lnTo>
                    <a:pt x="435" y="566"/>
                  </a:lnTo>
                  <a:lnTo>
                    <a:pt x="433" y="568"/>
                  </a:lnTo>
                  <a:lnTo>
                    <a:pt x="433" y="568"/>
                  </a:lnTo>
                  <a:lnTo>
                    <a:pt x="431" y="568"/>
                  </a:lnTo>
                  <a:lnTo>
                    <a:pt x="431" y="566"/>
                  </a:lnTo>
                  <a:lnTo>
                    <a:pt x="431" y="566"/>
                  </a:lnTo>
                  <a:lnTo>
                    <a:pt x="429" y="568"/>
                  </a:lnTo>
                  <a:lnTo>
                    <a:pt x="427" y="568"/>
                  </a:lnTo>
                  <a:lnTo>
                    <a:pt x="425" y="568"/>
                  </a:lnTo>
                  <a:lnTo>
                    <a:pt x="425" y="568"/>
                  </a:lnTo>
                  <a:lnTo>
                    <a:pt x="423" y="568"/>
                  </a:lnTo>
                  <a:lnTo>
                    <a:pt x="423" y="570"/>
                  </a:lnTo>
                  <a:lnTo>
                    <a:pt x="420" y="570"/>
                  </a:lnTo>
                  <a:lnTo>
                    <a:pt x="420" y="570"/>
                  </a:lnTo>
                  <a:lnTo>
                    <a:pt x="420" y="570"/>
                  </a:lnTo>
                  <a:lnTo>
                    <a:pt x="418" y="570"/>
                  </a:lnTo>
                  <a:lnTo>
                    <a:pt x="418" y="570"/>
                  </a:lnTo>
                  <a:lnTo>
                    <a:pt x="414" y="570"/>
                  </a:lnTo>
                  <a:lnTo>
                    <a:pt x="410" y="570"/>
                  </a:lnTo>
                  <a:lnTo>
                    <a:pt x="408" y="568"/>
                  </a:lnTo>
                  <a:lnTo>
                    <a:pt x="408" y="568"/>
                  </a:lnTo>
                  <a:lnTo>
                    <a:pt x="406" y="566"/>
                  </a:lnTo>
                  <a:lnTo>
                    <a:pt x="406" y="566"/>
                  </a:lnTo>
                  <a:lnTo>
                    <a:pt x="406" y="566"/>
                  </a:lnTo>
                  <a:lnTo>
                    <a:pt x="404" y="566"/>
                  </a:lnTo>
                  <a:lnTo>
                    <a:pt x="404" y="566"/>
                  </a:lnTo>
                  <a:lnTo>
                    <a:pt x="404" y="566"/>
                  </a:lnTo>
                  <a:lnTo>
                    <a:pt x="402" y="563"/>
                  </a:lnTo>
                  <a:lnTo>
                    <a:pt x="402" y="563"/>
                  </a:lnTo>
                  <a:lnTo>
                    <a:pt x="402" y="563"/>
                  </a:lnTo>
                  <a:lnTo>
                    <a:pt x="400" y="563"/>
                  </a:lnTo>
                  <a:lnTo>
                    <a:pt x="398" y="563"/>
                  </a:lnTo>
                  <a:lnTo>
                    <a:pt x="396" y="561"/>
                  </a:lnTo>
                  <a:lnTo>
                    <a:pt x="396" y="561"/>
                  </a:lnTo>
                  <a:lnTo>
                    <a:pt x="394" y="563"/>
                  </a:lnTo>
                  <a:lnTo>
                    <a:pt x="390" y="568"/>
                  </a:lnTo>
                  <a:lnTo>
                    <a:pt x="390" y="570"/>
                  </a:lnTo>
                  <a:lnTo>
                    <a:pt x="390" y="570"/>
                  </a:lnTo>
                  <a:lnTo>
                    <a:pt x="388" y="574"/>
                  </a:lnTo>
                  <a:lnTo>
                    <a:pt x="388" y="574"/>
                  </a:lnTo>
                  <a:lnTo>
                    <a:pt x="388" y="574"/>
                  </a:lnTo>
                  <a:lnTo>
                    <a:pt x="388" y="578"/>
                  </a:lnTo>
                  <a:lnTo>
                    <a:pt x="388" y="582"/>
                  </a:lnTo>
                  <a:lnTo>
                    <a:pt x="388" y="586"/>
                  </a:lnTo>
                  <a:lnTo>
                    <a:pt x="388" y="586"/>
                  </a:lnTo>
                  <a:lnTo>
                    <a:pt x="386" y="588"/>
                  </a:lnTo>
                  <a:lnTo>
                    <a:pt x="388" y="588"/>
                  </a:lnTo>
                  <a:lnTo>
                    <a:pt x="388" y="588"/>
                  </a:lnTo>
                  <a:lnTo>
                    <a:pt x="388" y="588"/>
                  </a:lnTo>
                  <a:lnTo>
                    <a:pt x="388" y="590"/>
                  </a:lnTo>
                  <a:lnTo>
                    <a:pt x="388" y="592"/>
                  </a:lnTo>
                  <a:lnTo>
                    <a:pt x="388" y="592"/>
                  </a:lnTo>
                  <a:lnTo>
                    <a:pt x="386" y="594"/>
                  </a:lnTo>
                  <a:lnTo>
                    <a:pt x="388" y="592"/>
                  </a:lnTo>
                  <a:lnTo>
                    <a:pt x="388" y="590"/>
                  </a:lnTo>
                  <a:lnTo>
                    <a:pt x="386" y="590"/>
                  </a:lnTo>
                  <a:lnTo>
                    <a:pt x="384" y="592"/>
                  </a:lnTo>
                  <a:lnTo>
                    <a:pt x="384" y="594"/>
                  </a:lnTo>
                  <a:lnTo>
                    <a:pt x="381" y="603"/>
                  </a:lnTo>
                  <a:lnTo>
                    <a:pt x="381" y="603"/>
                  </a:lnTo>
                  <a:lnTo>
                    <a:pt x="384" y="603"/>
                  </a:lnTo>
                  <a:lnTo>
                    <a:pt x="384" y="603"/>
                  </a:lnTo>
                  <a:lnTo>
                    <a:pt x="384" y="605"/>
                  </a:lnTo>
                  <a:lnTo>
                    <a:pt x="384" y="607"/>
                  </a:lnTo>
                  <a:lnTo>
                    <a:pt x="384" y="609"/>
                  </a:lnTo>
                  <a:lnTo>
                    <a:pt x="386" y="609"/>
                  </a:lnTo>
                  <a:lnTo>
                    <a:pt x="388" y="609"/>
                  </a:lnTo>
                  <a:lnTo>
                    <a:pt x="388" y="609"/>
                  </a:lnTo>
                  <a:lnTo>
                    <a:pt x="388" y="609"/>
                  </a:lnTo>
                  <a:lnTo>
                    <a:pt x="388" y="609"/>
                  </a:lnTo>
                  <a:lnTo>
                    <a:pt x="386" y="609"/>
                  </a:lnTo>
                  <a:lnTo>
                    <a:pt x="384" y="609"/>
                  </a:lnTo>
                  <a:lnTo>
                    <a:pt x="384" y="611"/>
                  </a:lnTo>
                  <a:lnTo>
                    <a:pt x="384" y="611"/>
                  </a:lnTo>
                  <a:lnTo>
                    <a:pt x="384" y="613"/>
                  </a:lnTo>
                  <a:lnTo>
                    <a:pt x="386" y="613"/>
                  </a:lnTo>
                  <a:lnTo>
                    <a:pt x="388" y="613"/>
                  </a:lnTo>
                  <a:lnTo>
                    <a:pt x="392" y="613"/>
                  </a:lnTo>
                  <a:lnTo>
                    <a:pt x="392" y="613"/>
                  </a:lnTo>
                  <a:lnTo>
                    <a:pt x="394" y="615"/>
                  </a:lnTo>
                  <a:lnTo>
                    <a:pt x="394" y="613"/>
                  </a:lnTo>
                  <a:lnTo>
                    <a:pt x="396" y="613"/>
                  </a:lnTo>
                  <a:lnTo>
                    <a:pt x="400" y="609"/>
                  </a:lnTo>
                  <a:lnTo>
                    <a:pt x="400" y="609"/>
                  </a:lnTo>
                  <a:lnTo>
                    <a:pt x="402" y="609"/>
                  </a:lnTo>
                  <a:lnTo>
                    <a:pt x="400" y="607"/>
                  </a:lnTo>
                  <a:lnTo>
                    <a:pt x="400" y="607"/>
                  </a:lnTo>
                  <a:lnTo>
                    <a:pt x="402" y="607"/>
                  </a:lnTo>
                  <a:lnTo>
                    <a:pt x="402" y="607"/>
                  </a:lnTo>
                  <a:lnTo>
                    <a:pt x="404" y="607"/>
                  </a:lnTo>
                  <a:lnTo>
                    <a:pt x="406" y="605"/>
                  </a:lnTo>
                  <a:lnTo>
                    <a:pt x="406" y="605"/>
                  </a:lnTo>
                  <a:lnTo>
                    <a:pt x="406" y="603"/>
                  </a:lnTo>
                  <a:lnTo>
                    <a:pt x="408" y="603"/>
                  </a:lnTo>
                  <a:lnTo>
                    <a:pt x="408" y="603"/>
                  </a:lnTo>
                  <a:lnTo>
                    <a:pt x="408" y="603"/>
                  </a:lnTo>
                  <a:lnTo>
                    <a:pt x="410" y="600"/>
                  </a:lnTo>
                  <a:lnTo>
                    <a:pt x="410" y="598"/>
                  </a:lnTo>
                  <a:lnTo>
                    <a:pt x="410" y="600"/>
                  </a:lnTo>
                  <a:lnTo>
                    <a:pt x="410" y="603"/>
                  </a:lnTo>
                  <a:lnTo>
                    <a:pt x="410" y="603"/>
                  </a:lnTo>
                  <a:lnTo>
                    <a:pt x="412" y="603"/>
                  </a:lnTo>
                  <a:lnTo>
                    <a:pt x="412" y="600"/>
                  </a:lnTo>
                  <a:lnTo>
                    <a:pt x="414" y="600"/>
                  </a:lnTo>
                  <a:lnTo>
                    <a:pt x="414" y="600"/>
                  </a:lnTo>
                  <a:lnTo>
                    <a:pt x="416" y="603"/>
                  </a:lnTo>
                  <a:lnTo>
                    <a:pt x="416" y="603"/>
                  </a:lnTo>
                  <a:lnTo>
                    <a:pt x="414" y="603"/>
                  </a:lnTo>
                  <a:lnTo>
                    <a:pt x="414" y="603"/>
                  </a:lnTo>
                  <a:lnTo>
                    <a:pt x="414" y="603"/>
                  </a:lnTo>
                  <a:lnTo>
                    <a:pt x="412" y="603"/>
                  </a:lnTo>
                  <a:lnTo>
                    <a:pt x="412" y="605"/>
                  </a:lnTo>
                  <a:lnTo>
                    <a:pt x="412" y="607"/>
                  </a:lnTo>
                  <a:lnTo>
                    <a:pt x="412" y="607"/>
                  </a:lnTo>
                  <a:lnTo>
                    <a:pt x="414" y="607"/>
                  </a:lnTo>
                  <a:lnTo>
                    <a:pt x="416" y="607"/>
                  </a:lnTo>
                  <a:lnTo>
                    <a:pt x="418" y="603"/>
                  </a:lnTo>
                  <a:lnTo>
                    <a:pt x="418" y="600"/>
                  </a:lnTo>
                  <a:lnTo>
                    <a:pt x="420" y="596"/>
                  </a:lnTo>
                  <a:lnTo>
                    <a:pt x="423" y="594"/>
                  </a:lnTo>
                  <a:lnTo>
                    <a:pt x="423" y="594"/>
                  </a:lnTo>
                  <a:lnTo>
                    <a:pt x="425" y="592"/>
                  </a:lnTo>
                  <a:lnTo>
                    <a:pt x="425" y="592"/>
                  </a:lnTo>
                  <a:lnTo>
                    <a:pt x="427" y="590"/>
                  </a:lnTo>
                  <a:lnTo>
                    <a:pt x="429" y="588"/>
                  </a:lnTo>
                  <a:lnTo>
                    <a:pt x="431" y="586"/>
                  </a:lnTo>
                  <a:lnTo>
                    <a:pt x="431" y="586"/>
                  </a:lnTo>
                  <a:lnTo>
                    <a:pt x="431" y="586"/>
                  </a:lnTo>
                  <a:lnTo>
                    <a:pt x="431" y="586"/>
                  </a:lnTo>
                  <a:lnTo>
                    <a:pt x="433" y="584"/>
                  </a:lnTo>
                  <a:lnTo>
                    <a:pt x="433" y="586"/>
                  </a:lnTo>
                  <a:lnTo>
                    <a:pt x="431" y="586"/>
                  </a:lnTo>
                  <a:lnTo>
                    <a:pt x="431" y="586"/>
                  </a:lnTo>
                  <a:lnTo>
                    <a:pt x="433" y="586"/>
                  </a:lnTo>
                  <a:lnTo>
                    <a:pt x="431" y="588"/>
                  </a:lnTo>
                  <a:lnTo>
                    <a:pt x="431" y="588"/>
                  </a:lnTo>
                  <a:lnTo>
                    <a:pt x="431" y="588"/>
                  </a:lnTo>
                  <a:lnTo>
                    <a:pt x="431" y="590"/>
                  </a:lnTo>
                  <a:lnTo>
                    <a:pt x="431" y="590"/>
                  </a:lnTo>
                  <a:lnTo>
                    <a:pt x="433" y="588"/>
                  </a:lnTo>
                  <a:lnTo>
                    <a:pt x="433" y="588"/>
                  </a:lnTo>
                  <a:lnTo>
                    <a:pt x="433" y="586"/>
                  </a:lnTo>
                  <a:lnTo>
                    <a:pt x="433" y="586"/>
                  </a:lnTo>
                  <a:lnTo>
                    <a:pt x="433" y="586"/>
                  </a:lnTo>
                  <a:lnTo>
                    <a:pt x="433" y="586"/>
                  </a:lnTo>
                  <a:lnTo>
                    <a:pt x="435" y="584"/>
                  </a:lnTo>
                  <a:lnTo>
                    <a:pt x="435" y="582"/>
                  </a:lnTo>
                  <a:lnTo>
                    <a:pt x="437" y="578"/>
                  </a:lnTo>
                  <a:lnTo>
                    <a:pt x="439" y="578"/>
                  </a:lnTo>
                  <a:lnTo>
                    <a:pt x="439" y="576"/>
                  </a:lnTo>
                  <a:lnTo>
                    <a:pt x="441" y="574"/>
                  </a:lnTo>
                  <a:lnTo>
                    <a:pt x="443" y="572"/>
                  </a:lnTo>
                  <a:lnTo>
                    <a:pt x="443" y="570"/>
                  </a:lnTo>
                  <a:lnTo>
                    <a:pt x="443" y="570"/>
                  </a:lnTo>
                  <a:lnTo>
                    <a:pt x="445" y="566"/>
                  </a:lnTo>
                  <a:lnTo>
                    <a:pt x="445" y="566"/>
                  </a:lnTo>
                  <a:lnTo>
                    <a:pt x="443" y="563"/>
                  </a:lnTo>
                  <a:close/>
                  <a:moveTo>
                    <a:pt x="449" y="557"/>
                  </a:moveTo>
                  <a:lnTo>
                    <a:pt x="447" y="559"/>
                  </a:lnTo>
                  <a:lnTo>
                    <a:pt x="447" y="559"/>
                  </a:lnTo>
                  <a:lnTo>
                    <a:pt x="447" y="559"/>
                  </a:lnTo>
                  <a:lnTo>
                    <a:pt x="449" y="559"/>
                  </a:lnTo>
                  <a:lnTo>
                    <a:pt x="449" y="557"/>
                  </a:lnTo>
                  <a:lnTo>
                    <a:pt x="449" y="557"/>
                  </a:lnTo>
                  <a:close/>
                  <a:moveTo>
                    <a:pt x="398" y="557"/>
                  </a:moveTo>
                  <a:lnTo>
                    <a:pt x="398" y="557"/>
                  </a:lnTo>
                  <a:lnTo>
                    <a:pt x="396" y="557"/>
                  </a:lnTo>
                  <a:lnTo>
                    <a:pt x="396" y="559"/>
                  </a:lnTo>
                  <a:lnTo>
                    <a:pt x="398" y="557"/>
                  </a:lnTo>
                  <a:lnTo>
                    <a:pt x="398" y="557"/>
                  </a:lnTo>
                  <a:lnTo>
                    <a:pt x="398" y="557"/>
                  </a:lnTo>
                  <a:close/>
                  <a:moveTo>
                    <a:pt x="453" y="555"/>
                  </a:moveTo>
                  <a:lnTo>
                    <a:pt x="449" y="555"/>
                  </a:lnTo>
                  <a:lnTo>
                    <a:pt x="447" y="555"/>
                  </a:lnTo>
                  <a:lnTo>
                    <a:pt x="447" y="555"/>
                  </a:lnTo>
                  <a:lnTo>
                    <a:pt x="447" y="557"/>
                  </a:lnTo>
                  <a:lnTo>
                    <a:pt x="447" y="557"/>
                  </a:lnTo>
                  <a:lnTo>
                    <a:pt x="449" y="557"/>
                  </a:lnTo>
                  <a:lnTo>
                    <a:pt x="451" y="557"/>
                  </a:lnTo>
                  <a:lnTo>
                    <a:pt x="451" y="557"/>
                  </a:lnTo>
                  <a:lnTo>
                    <a:pt x="451" y="557"/>
                  </a:lnTo>
                  <a:lnTo>
                    <a:pt x="453" y="557"/>
                  </a:lnTo>
                  <a:lnTo>
                    <a:pt x="453" y="555"/>
                  </a:lnTo>
                  <a:lnTo>
                    <a:pt x="453" y="555"/>
                  </a:lnTo>
                  <a:close/>
                  <a:moveTo>
                    <a:pt x="453" y="549"/>
                  </a:moveTo>
                  <a:lnTo>
                    <a:pt x="453" y="547"/>
                  </a:lnTo>
                  <a:lnTo>
                    <a:pt x="453" y="545"/>
                  </a:lnTo>
                  <a:lnTo>
                    <a:pt x="449" y="547"/>
                  </a:lnTo>
                  <a:lnTo>
                    <a:pt x="449" y="549"/>
                  </a:lnTo>
                  <a:lnTo>
                    <a:pt x="449" y="549"/>
                  </a:lnTo>
                  <a:lnTo>
                    <a:pt x="449" y="549"/>
                  </a:lnTo>
                  <a:lnTo>
                    <a:pt x="449" y="549"/>
                  </a:lnTo>
                  <a:lnTo>
                    <a:pt x="449" y="549"/>
                  </a:lnTo>
                  <a:lnTo>
                    <a:pt x="449" y="553"/>
                  </a:lnTo>
                  <a:lnTo>
                    <a:pt x="449" y="553"/>
                  </a:lnTo>
                  <a:lnTo>
                    <a:pt x="449" y="553"/>
                  </a:lnTo>
                  <a:lnTo>
                    <a:pt x="449" y="553"/>
                  </a:lnTo>
                  <a:lnTo>
                    <a:pt x="451" y="553"/>
                  </a:lnTo>
                  <a:lnTo>
                    <a:pt x="453" y="553"/>
                  </a:lnTo>
                  <a:lnTo>
                    <a:pt x="453" y="553"/>
                  </a:lnTo>
                  <a:lnTo>
                    <a:pt x="453" y="551"/>
                  </a:lnTo>
                  <a:lnTo>
                    <a:pt x="453" y="551"/>
                  </a:lnTo>
                  <a:lnTo>
                    <a:pt x="455" y="551"/>
                  </a:lnTo>
                  <a:lnTo>
                    <a:pt x="455" y="551"/>
                  </a:lnTo>
                  <a:lnTo>
                    <a:pt x="455" y="549"/>
                  </a:lnTo>
                  <a:lnTo>
                    <a:pt x="453" y="549"/>
                  </a:lnTo>
                  <a:close/>
                  <a:moveTo>
                    <a:pt x="392" y="551"/>
                  </a:moveTo>
                  <a:lnTo>
                    <a:pt x="392" y="549"/>
                  </a:lnTo>
                  <a:lnTo>
                    <a:pt x="394" y="549"/>
                  </a:lnTo>
                  <a:lnTo>
                    <a:pt x="394" y="549"/>
                  </a:lnTo>
                  <a:lnTo>
                    <a:pt x="396" y="547"/>
                  </a:lnTo>
                  <a:lnTo>
                    <a:pt x="396" y="545"/>
                  </a:lnTo>
                  <a:lnTo>
                    <a:pt x="396" y="543"/>
                  </a:lnTo>
                  <a:lnTo>
                    <a:pt x="394" y="543"/>
                  </a:lnTo>
                  <a:lnTo>
                    <a:pt x="394" y="545"/>
                  </a:lnTo>
                  <a:lnTo>
                    <a:pt x="392" y="545"/>
                  </a:lnTo>
                  <a:lnTo>
                    <a:pt x="392" y="545"/>
                  </a:lnTo>
                  <a:lnTo>
                    <a:pt x="392" y="547"/>
                  </a:lnTo>
                  <a:lnTo>
                    <a:pt x="390" y="549"/>
                  </a:lnTo>
                  <a:lnTo>
                    <a:pt x="390" y="551"/>
                  </a:lnTo>
                  <a:lnTo>
                    <a:pt x="388" y="551"/>
                  </a:lnTo>
                  <a:lnTo>
                    <a:pt x="388" y="551"/>
                  </a:lnTo>
                  <a:lnTo>
                    <a:pt x="390" y="551"/>
                  </a:lnTo>
                  <a:lnTo>
                    <a:pt x="392" y="551"/>
                  </a:lnTo>
                  <a:close/>
                  <a:moveTo>
                    <a:pt x="425" y="524"/>
                  </a:moveTo>
                  <a:lnTo>
                    <a:pt x="427" y="524"/>
                  </a:lnTo>
                  <a:lnTo>
                    <a:pt x="425" y="522"/>
                  </a:lnTo>
                  <a:lnTo>
                    <a:pt x="425" y="522"/>
                  </a:lnTo>
                  <a:lnTo>
                    <a:pt x="425" y="522"/>
                  </a:lnTo>
                  <a:lnTo>
                    <a:pt x="423" y="524"/>
                  </a:lnTo>
                  <a:lnTo>
                    <a:pt x="425" y="522"/>
                  </a:lnTo>
                  <a:lnTo>
                    <a:pt x="425" y="524"/>
                  </a:lnTo>
                  <a:close/>
                  <a:moveTo>
                    <a:pt x="429" y="520"/>
                  </a:moveTo>
                  <a:lnTo>
                    <a:pt x="429" y="520"/>
                  </a:lnTo>
                  <a:lnTo>
                    <a:pt x="427" y="520"/>
                  </a:lnTo>
                  <a:lnTo>
                    <a:pt x="427" y="520"/>
                  </a:lnTo>
                  <a:lnTo>
                    <a:pt x="427" y="520"/>
                  </a:lnTo>
                  <a:lnTo>
                    <a:pt x="427" y="522"/>
                  </a:lnTo>
                  <a:lnTo>
                    <a:pt x="429" y="520"/>
                  </a:lnTo>
                  <a:close/>
                  <a:moveTo>
                    <a:pt x="338" y="471"/>
                  </a:moveTo>
                  <a:lnTo>
                    <a:pt x="336" y="471"/>
                  </a:lnTo>
                  <a:lnTo>
                    <a:pt x="332" y="471"/>
                  </a:lnTo>
                  <a:lnTo>
                    <a:pt x="332" y="471"/>
                  </a:lnTo>
                  <a:lnTo>
                    <a:pt x="334" y="469"/>
                  </a:lnTo>
                  <a:lnTo>
                    <a:pt x="334" y="469"/>
                  </a:lnTo>
                  <a:lnTo>
                    <a:pt x="332" y="469"/>
                  </a:lnTo>
                  <a:lnTo>
                    <a:pt x="330" y="469"/>
                  </a:lnTo>
                  <a:lnTo>
                    <a:pt x="326" y="471"/>
                  </a:lnTo>
                  <a:lnTo>
                    <a:pt x="318" y="471"/>
                  </a:lnTo>
                  <a:lnTo>
                    <a:pt x="318" y="473"/>
                  </a:lnTo>
                  <a:lnTo>
                    <a:pt x="316" y="475"/>
                  </a:lnTo>
                  <a:lnTo>
                    <a:pt x="316" y="475"/>
                  </a:lnTo>
                  <a:lnTo>
                    <a:pt x="318" y="477"/>
                  </a:lnTo>
                  <a:lnTo>
                    <a:pt x="320" y="477"/>
                  </a:lnTo>
                  <a:lnTo>
                    <a:pt x="322" y="477"/>
                  </a:lnTo>
                  <a:lnTo>
                    <a:pt x="324" y="477"/>
                  </a:lnTo>
                  <a:lnTo>
                    <a:pt x="326" y="475"/>
                  </a:lnTo>
                  <a:lnTo>
                    <a:pt x="328" y="477"/>
                  </a:lnTo>
                  <a:lnTo>
                    <a:pt x="328" y="477"/>
                  </a:lnTo>
                  <a:lnTo>
                    <a:pt x="330" y="477"/>
                  </a:lnTo>
                  <a:lnTo>
                    <a:pt x="332" y="475"/>
                  </a:lnTo>
                  <a:lnTo>
                    <a:pt x="332" y="475"/>
                  </a:lnTo>
                  <a:lnTo>
                    <a:pt x="336" y="473"/>
                  </a:lnTo>
                  <a:lnTo>
                    <a:pt x="338" y="475"/>
                  </a:lnTo>
                  <a:lnTo>
                    <a:pt x="338" y="475"/>
                  </a:lnTo>
                  <a:lnTo>
                    <a:pt x="340" y="473"/>
                  </a:lnTo>
                  <a:lnTo>
                    <a:pt x="340" y="471"/>
                  </a:lnTo>
                  <a:lnTo>
                    <a:pt x="338" y="471"/>
                  </a:lnTo>
                  <a:close/>
                  <a:moveTo>
                    <a:pt x="638" y="319"/>
                  </a:moveTo>
                  <a:lnTo>
                    <a:pt x="636" y="321"/>
                  </a:lnTo>
                  <a:lnTo>
                    <a:pt x="636" y="323"/>
                  </a:lnTo>
                  <a:lnTo>
                    <a:pt x="636" y="323"/>
                  </a:lnTo>
                  <a:lnTo>
                    <a:pt x="636" y="323"/>
                  </a:lnTo>
                  <a:lnTo>
                    <a:pt x="638" y="319"/>
                  </a:lnTo>
                  <a:lnTo>
                    <a:pt x="638" y="319"/>
                  </a:lnTo>
                  <a:lnTo>
                    <a:pt x="638" y="319"/>
                  </a:lnTo>
                  <a:close/>
                  <a:moveTo>
                    <a:pt x="638" y="313"/>
                  </a:moveTo>
                  <a:lnTo>
                    <a:pt x="638" y="313"/>
                  </a:lnTo>
                  <a:lnTo>
                    <a:pt x="638" y="315"/>
                  </a:lnTo>
                  <a:lnTo>
                    <a:pt x="638" y="317"/>
                  </a:lnTo>
                  <a:lnTo>
                    <a:pt x="638" y="317"/>
                  </a:lnTo>
                  <a:lnTo>
                    <a:pt x="638" y="315"/>
                  </a:lnTo>
                  <a:lnTo>
                    <a:pt x="640" y="311"/>
                  </a:lnTo>
                  <a:lnTo>
                    <a:pt x="640" y="311"/>
                  </a:lnTo>
                  <a:lnTo>
                    <a:pt x="638" y="313"/>
                  </a:lnTo>
                  <a:close/>
                  <a:moveTo>
                    <a:pt x="12" y="294"/>
                  </a:moveTo>
                  <a:lnTo>
                    <a:pt x="12" y="294"/>
                  </a:lnTo>
                  <a:lnTo>
                    <a:pt x="12" y="292"/>
                  </a:lnTo>
                  <a:lnTo>
                    <a:pt x="12" y="292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2" y="284"/>
                  </a:lnTo>
                  <a:lnTo>
                    <a:pt x="10" y="284"/>
                  </a:lnTo>
                  <a:lnTo>
                    <a:pt x="10" y="284"/>
                  </a:lnTo>
                  <a:lnTo>
                    <a:pt x="10" y="288"/>
                  </a:lnTo>
                  <a:lnTo>
                    <a:pt x="12" y="294"/>
                  </a:lnTo>
                  <a:close/>
                  <a:moveTo>
                    <a:pt x="648" y="271"/>
                  </a:moveTo>
                  <a:lnTo>
                    <a:pt x="648" y="269"/>
                  </a:lnTo>
                  <a:lnTo>
                    <a:pt x="648" y="269"/>
                  </a:lnTo>
                  <a:lnTo>
                    <a:pt x="648" y="269"/>
                  </a:lnTo>
                  <a:lnTo>
                    <a:pt x="648" y="269"/>
                  </a:lnTo>
                  <a:lnTo>
                    <a:pt x="646" y="271"/>
                  </a:lnTo>
                  <a:lnTo>
                    <a:pt x="648" y="271"/>
                  </a:lnTo>
                  <a:lnTo>
                    <a:pt x="648" y="274"/>
                  </a:lnTo>
                  <a:lnTo>
                    <a:pt x="646" y="274"/>
                  </a:lnTo>
                  <a:lnTo>
                    <a:pt x="646" y="276"/>
                  </a:lnTo>
                  <a:lnTo>
                    <a:pt x="644" y="278"/>
                  </a:lnTo>
                  <a:lnTo>
                    <a:pt x="642" y="280"/>
                  </a:lnTo>
                  <a:lnTo>
                    <a:pt x="642" y="280"/>
                  </a:lnTo>
                  <a:lnTo>
                    <a:pt x="642" y="282"/>
                  </a:lnTo>
                  <a:lnTo>
                    <a:pt x="640" y="284"/>
                  </a:lnTo>
                  <a:lnTo>
                    <a:pt x="640" y="288"/>
                  </a:lnTo>
                  <a:lnTo>
                    <a:pt x="640" y="288"/>
                  </a:lnTo>
                  <a:lnTo>
                    <a:pt x="640" y="288"/>
                  </a:lnTo>
                  <a:lnTo>
                    <a:pt x="642" y="286"/>
                  </a:lnTo>
                  <a:lnTo>
                    <a:pt x="644" y="284"/>
                  </a:lnTo>
                  <a:lnTo>
                    <a:pt x="648" y="276"/>
                  </a:lnTo>
                  <a:lnTo>
                    <a:pt x="650" y="274"/>
                  </a:lnTo>
                  <a:lnTo>
                    <a:pt x="648" y="271"/>
                  </a:lnTo>
                  <a:close/>
                  <a:moveTo>
                    <a:pt x="622" y="251"/>
                  </a:moveTo>
                  <a:lnTo>
                    <a:pt x="622" y="251"/>
                  </a:lnTo>
                  <a:lnTo>
                    <a:pt x="624" y="251"/>
                  </a:lnTo>
                  <a:lnTo>
                    <a:pt x="622" y="249"/>
                  </a:lnTo>
                  <a:lnTo>
                    <a:pt x="622" y="249"/>
                  </a:lnTo>
                  <a:lnTo>
                    <a:pt x="622" y="247"/>
                  </a:lnTo>
                  <a:lnTo>
                    <a:pt x="622" y="247"/>
                  </a:lnTo>
                  <a:lnTo>
                    <a:pt x="622" y="247"/>
                  </a:lnTo>
                  <a:lnTo>
                    <a:pt x="622" y="247"/>
                  </a:lnTo>
                  <a:lnTo>
                    <a:pt x="620" y="245"/>
                  </a:lnTo>
                  <a:lnTo>
                    <a:pt x="620" y="247"/>
                  </a:lnTo>
                  <a:lnTo>
                    <a:pt x="622" y="251"/>
                  </a:lnTo>
                  <a:lnTo>
                    <a:pt x="622" y="251"/>
                  </a:lnTo>
                  <a:close/>
                  <a:moveTo>
                    <a:pt x="616" y="224"/>
                  </a:moveTo>
                  <a:lnTo>
                    <a:pt x="618" y="224"/>
                  </a:lnTo>
                  <a:lnTo>
                    <a:pt x="618" y="222"/>
                  </a:lnTo>
                  <a:lnTo>
                    <a:pt x="616" y="222"/>
                  </a:lnTo>
                  <a:lnTo>
                    <a:pt x="616" y="224"/>
                  </a:lnTo>
                  <a:lnTo>
                    <a:pt x="616" y="224"/>
                  </a:lnTo>
                  <a:lnTo>
                    <a:pt x="616" y="224"/>
                  </a:lnTo>
                  <a:lnTo>
                    <a:pt x="616" y="224"/>
                  </a:lnTo>
                  <a:close/>
                  <a:moveTo>
                    <a:pt x="607" y="222"/>
                  </a:moveTo>
                  <a:lnTo>
                    <a:pt x="607" y="222"/>
                  </a:lnTo>
                  <a:lnTo>
                    <a:pt x="607" y="220"/>
                  </a:lnTo>
                  <a:lnTo>
                    <a:pt x="607" y="220"/>
                  </a:lnTo>
                  <a:lnTo>
                    <a:pt x="607" y="222"/>
                  </a:lnTo>
                  <a:lnTo>
                    <a:pt x="607" y="222"/>
                  </a:lnTo>
                  <a:lnTo>
                    <a:pt x="607" y="222"/>
                  </a:lnTo>
                  <a:close/>
                  <a:moveTo>
                    <a:pt x="63" y="197"/>
                  </a:moveTo>
                  <a:lnTo>
                    <a:pt x="65" y="197"/>
                  </a:lnTo>
                  <a:lnTo>
                    <a:pt x="65" y="195"/>
                  </a:lnTo>
                  <a:lnTo>
                    <a:pt x="65" y="195"/>
                  </a:lnTo>
                  <a:lnTo>
                    <a:pt x="63" y="195"/>
                  </a:lnTo>
                  <a:lnTo>
                    <a:pt x="63" y="197"/>
                  </a:lnTo>
                  <a:lnTo>
                    <a:pt x="63" y="197"/>
                  </a:lnTo>
                  <a:lnTo>
                    <a:pt x="63" y="197"/>
                  </a:lnTo>
                  <a:close/>
                  <a:moveTo>
                    <a:pt x="601" y="185"/>
                  </a:moveTo>
                  <a:lnTo>
                    <a:pt x="599" y="187"/>
                  </a:lnTo>
                  <a:lnTo>
                    <a:pt x="599" y="187"/>
                  </a:lnTo>
                  <a:lnTo>
                    <a:pt x="601" y="187"/>
                  </a:lnTo>
                  <a:lnTo>
                    <a:pt x="601" y="187"/>
                  </a:lnTo>
                  <a:lnTo>
                    <a:pt x="601" y="187"/>
                  </a:lnTo>
                  <a:lnTo>
                    <a:pt x="601" y="187"/>
                  </a:lnTo>
                  <a:lnTo>
                    <a:pt x="601" y="185"/>
                  </a:lnTo>
                  <a:close/>
                  <a:moveTo>
                    <a:pt x="599" y="185"/>
                  </a:moveTo>
                  <a:lnTo>
                    <a:pt x="599" y="185"/>
                  </a:lnTo>
                  <a:lnTo>
                    <a:pt x="601" y="183"/>
                  </a:lnTo>
                  <a:lnTo>
                    <a:pt x="599" y="183"/>
                  </a:lnTo>
                  <a:lnTo>
                    <a:pt x="599" y="185"/>
                  </a:lnTo>
                  <a:lnTo>
                    <a:pt x="599" y="185"/>
                  </a:lnTo>
                  <a:lnTo>
                    <a:pt x="599" y="185"/>
                  </a:lnTo>
                  <a:lnTo>
                    <a:pt x="599" y="185"/>
                  </a:lnTo>
                  <a:close/>
                  <a:moveTo>
                    <a:pt x="564" y="150"/>
                  </a:moveTo>
                  <a:lnTo>
                    <a:pt x="564" y="150"/>
                  </a:lnTo>
                  <a:lnTo>
                    <a:pt x="562" y="150"/>
                  </a:lnTo>
                  <a:lnTo>
                    <a:pt x="562" y="150"/>
                  </a:lnTo>
                  <a:lnTo>
                    <a:pt x="562" y="150"/>
                  </a:lnTo>
                  <a:lnTo>
                    <a:pt x="562" y="152"/>
                  </a:lnTo>
                  <a:lnTo>
                    <a:pt x="562" y="154"/>
                  </a:lnTo>
                  <a:lnTo>
                    <a:pt x="564" y="154"/>
                  </a:lnTo>
                  <a:lnTo>
                    <a:pt x="564" y="154"/>
                  </a:lnTo>
                  <a:lnTo>
                    <a:pt x="564" y="152"/>
                  </a:lnTo>
                  <a:lnTo>
                    <a:pt x="564" y="152"/>
                  </a:lnTo>
                  <a:lnTo>
                    <a:pt x="564" y="150"/>
                  </a:lnTo>
                  <a:lnTo>
                    <a:pt x="564" y="150"/>
                  </a:lnTo>
                  <a:close/>
                  <a:moveTo>
                    <a:pt x="459" y="128"/>
                  </a:moveTo>
                  <a:lnTo>
                    <a:pt x="457" y="130"/>
                  </a:lnTo>
                  <a:lnTo>
                    <a:pt x="459" y="130"/>
                  </a:lnTo>
                  <a:lnTo>
                    <a:pt x="459" y="130"/>
                  </a:lnTo>
                  <a:lnTo>
                    <a:pt x="462" y="130"/>
                  </a:lnTo>
                  <a:lnTo>
                    <a:pt x="462" y="128"/>
                  </a:lnTo>
                  <a:lnTo>
                    <a:pt x="459" y="128"/>
                  </a:lnTo>
                  <a:lnTo>
                    <a:pt x="459" y="128"/>
                  </a:lnTo>
                  <a:close/>
                  <a:moveTo>
                    <a:pt x="457" y="121"/>
                  </a:moveTo>
                  <a:lnTo>
                    <a:pt x="457" y="121"/>
                  </a:lnTo>
                  <a:lnTo>
                    <a:pt x="459" y="121"/>
                  </a:lnTo>
                  <a:lnTo>
                    <a:pt x="459" y="121"/>
                  </a:lnTo>
                  <a:lnTo>
                    <a:pt x="459" y="121"/>
                  </a:lnTo>
                  <a:lnTo>
                    <a:pt x="462" y="119"/>
                  </a:lnTo>
                  <a:lnTo>
                    <a:pt x="464" y="119"/>
                  </a:lnTo>
                  <a:lnTo>
                    <a:pt x="466" y="117"/>
                  </a:lnTo>
                  <a:lnTo>
                    <a:pt x="464" y="115"/>
                  </a:lnTo>
                  <a:lnTo>
                    <a:pt x="464" y="115"/>
                  </a:lnTo>
                  <a:lnTo>
                    <a:pt x="462" y="117"/>
                  </a:lnTo>
                  <a:lnTo>
                    <a:pt x="459" y="117"/>
                  </a:lnTo>
                  <a:lnTo>
                    <a:pt x="457" y="119"/>
                  </a:lnTo>
                  <a:lnTo>
                    <a:pt x="455" y="119"/>
                  </a:lnTo>
                  <a:lnTo>
                    <a:pt x="455" y="121"/>
                  </a:lnTo>
                  <a:lnTo>
                    <a:pt x="455" y="123"/>
                  </a:lnTo>
                  <a:lnTo>
                    <a:pt x="457" y="121"/>
                  </a:lnTo>
                  <a:close/>
                  <a:moveTo>
                    <a:pt x="425" y="101"/>
                  </a:moveTo>
                  <a:lnTo>
                    <a:pt x="425" y="103"/>
                  </a:lnTo>
                  <a:lnTo>
                    <a:pt x="425" y="103"/>
                  </a:lnTo>
                  <a:lnTo>
                    <a:pt x="423" y="103"/>
                  </a:lnTo>
                  <a:lnTo>
                    <a:pt x="425" y="103"/>
                  </a:lnTo>
                  <a:lnTo>
                    <a:pt x="425" y="105"/>
                  </a:lnTo>
                  <a:lnTo>
                    <a:pt x="425" y="105"/>
                  </a:lnTo>
                  <a:lnTo>
                    <a:pt x="425" y="105"/>
                  </a:lnTo>
                  <a:lnTo>
                    <a:pt x="425" y="105"/>
                  </a:lnTo>
                  <a:lnTo>
                    <a:pt x="425" y="103"/>
                  </a:lnTo>
                  <a:lnTo>
                    <a:pt x="425" y="101"/>
                  </a:lnTo>
                  <a:close/>
                  <a:moveTo>
                    <a:pt x="416" y="103"/>
                  </a:moveTo>
                  <a:lnTo>
                    <a:pt x="418" y="103"/>
                  </a:lnTo>
                  <a:lnTo>
                    <a:pt x="418" y="101"/>
                  </a:lnTo>
                  <a:lnTo>
                    <a:pt x="418" y="101"/>
                  </a:lnTo>
                  <a:lnTo>
                    <a:pt x="416" y="101"/>
                  </a:lnTo>
                  <a:lnTo>
                    <a:pt x="416" y="101"/>
                  </a:lnTo>
                  <a:lnTo>
                    <a:pt x="416" y="103"/>
                  </a:lnTo>
                  <a:lnTo>
                    <a:pt x="416" y="103"/>
                  </a:lnTo>
                  <a:close/>
                  <a:moveTo>
                    <a:pt x="423" y="103"/>
                  </a:moveTo>
                  <a:lnTo>
                    <a:pt x="423" y="101"/>
                  </a:lnTo>
                  <a:lnTo>
                    <a:pt x="423" y="101"/>
                  </a:lnTo>
                  <a:lnTo>
                    <a:pt x="423" y="99"/>
                  </a:lnTo>
                  <a:lnTo>
                    <a:pt x="423" y="101"/>
                  </a:lnTo>
                  <a:lnTo>
                    <a:pt x="423" y="103"/>
                  </a:lnTo>
                  <a:close/>
                  <a:moveTo>
                    <a:pt x="225" y="99"/>
                  </a:moveTo>
                  <a:lnTo>
                    <a:pt x="225" y="99"/>
                  </a:lnTo>
                  <a:lnTo>
                    <a:pt x="225" y="99"/>
                  </a:lnTo>
                  <a:lnTo>
                    <a:pt x="227" y="97"/>
                  </a:lnTo>
                  <a:lnTo>
                    <a:pt x="225" y="97"/>
                  </a:lnTo>
                  <a:lnTo>
                    <a:pt x="225" y="95"/>
                  </a:lnTo>
                  <a:lnTo>
                    <a:pt x="225" y="95"/>
                  </a:lnTo>
                  <a:lnTo>
                    <a:pt x="225" y="97"/>
                  </a:lnTo>
                  <a:lnTo>
                    <a:pt x="225" y="97"/>
                  </a:lnTo>
                  <a:lnTo>
                    <a:pt x="225" y="97"/>
                  </a:lnTo>
                  <a:lnTo>
                    <a:pt x="225" y="99"/>
                  </a:lnTo>
                  <a:close/>
                  <a:moveTo>
                    <a:pt x="238" y="82"/>
                  </a:moveTo>
                  <a:lnTo>
                    <a:pt x="238" y="82"/>
                  </a:lnTo>
                  <a:lnTo>
                    <a:pt x="238" y="80"/>
                  </a:lnTo>
                  <a:lnTo>
                    <a:pt x="238" y="80"/>
                  </a:lnTo>
                  <a:lnTo>
                    <a:pt x="238" y="80"/>
                  </a:lnTo>
                  <a:lnTo>
                    <a:pt x="236" y="82"/>
                  </a:lnTo>
                  <a:lnTo>
                    <a:pt x="238" y="84"/>
                  </a:lnTo>
                  <a:lnTo>
                    <a:pt x="238" y="82"/>
                  </a:lnTo>
                  <a:close/>
                  <a:moveTo>
                    <a:pt x="425" y="72"/>
                  </a:moveTo>
                  <a:lnTo>
                    <a:pt x="427" y="70"/>
                  </a:lnTo>
                  <a:lnTo>
                    <a:pt x="427" y="70"/>
                  </a:lnTo>
                  <a:lnTo>
                    <a:pt x="429" y="68"/>
                  </a:lnTo>
                  <a:lnTo>
                    <a:pt x="427" y="68"/>
                  </a:lnTo>
                  <a:lnTo>
                    <a:pt x="427" y="68"/>
                  </a:lnTo>
                  <a:lnTo>
                    <a:pt x="427" y="68"/>
                  </a:lnTo>
                  <a:lnTo>
                    <a:pt x="427" y="70"/>
                  </a:lnTo>
                  <a:lnTo>
                    <a:pt x="425" y="70"/>
                  </a:lnTo>
                  <a:lnTo>
                    <a:pt x="425" y="68"/>
                  </a:lnTo>
                  <a:lnTo>
                    <a:pt x="425" y="68"/>
                  </a:lnTo>
                  <a:lnTo>
                    <a:pt x="425" y="66"/>
                  </a:lnTo>
                  <a:lnTo>
                    <a:pt x="425" y="66"/>
                  </a:lnTo>
                  <a:lnTo>
                    <a:pt x="423" y="68"/>
                  </a:lnTo>
                  <a:lnTo>
                    <a:pt x="423" y="68"/>
                  </a:lnTo>
                  <a:lnTo>
                    <a:pt x="420" y="70"/>
                  </a:lnTo>
                  <a:lnTo>
                    <a:pt x="418" y="72"/>
                  </a:lnTo>
                  <a:lnTo>
                    <a:pt x="418" y="74"/>
                  </a:lnTo>
                  <a:lnTo>
                    <a:pt x="418" y="76"/>
                  </a:lnTo>
                  <a:lnTo>
                    <a:pt x="418" y="76"/>
                  </a:lnTo>
                  <a:lnTo>
                    <a:pt x="418" y="76"/>
                  </a:lnTo>
                  <a:lnTo>
                    <a:pt x="420" y="76"/>
                  </a:lnTo>
                  <a:lnTo>
                    <a:pt x="423" y="78"/>
                  </a:lnTo>
                  <a:lnTo>
                    <a:pt x="425" y="76"/>
                  </a:lnTo>
                  <a:lnTo>
                    <a:pt x="427" y="78"/>
                  </a:lnTo>
                  <a:lnTo>
                    <a:pt x="427" y="76"/>
                  </a:lnTo>
                  <a:lnTo>
                    <a:pt x="427" y="76"/>
                  </a:lnTo>
                  <a:lnTo>
                    <a:pt x="427" y="76"/>
                  </a:lnTo>
                  <a:lnTo>
                    <a:pt x="427" y="76"/>
                  </a:lnTo>
                  <a:lnTo>
                    <a:pt x="425" y="74"/>
                  </a:lnTo>
                  <a:lnTo>
                    <a:pt x="425" y="74"/>
                  </a:lnTo>
                  <a:lnTo>
                    <a:pt x="425" y="74"/>
                  </a:lnTo>
                  <a:lnTo>
                    <a:pt x="425" y="72"/>
                  </a:lnTo>
                  <a:close/>
                  <a:moveTo>
                    <a:pt x="418" y="68"/>
                  </a:moveTo>
                  <a:lnTo>
                    <a:pt x="418" y="66"/>
                  </a:lnTo>
                  <a:lnTo>
                    <a:pt x="416" y="66"/>
                  </a:lnTo>
                  <a:lnTo>
                    <a:pt x="416" y="68"/>
                  </a:lnTo>
                  <a:lnTo>
                    <a:pt x="416" y="68"/>
                  </a:lnTo>
                  <a:lnTo>
                    <a:pt x="414" y="68"/>
                  </a:lnTo>
                  <a:lnTo>
                    <a:pt x="414" y="68"/>
                  </a:lnTo>
                  <a:lnTo>
                    <a:pt x="416" y="70"/>
                  </a:lnTo>
                  <a:lnTo>
                    <a:pt x="416" y="68"/>
                  </a:lnTo>
                  <a:lnTo>
                    <a:pt x="418" y="68"/>
                  </a:lnTo>
                  <a:close/>
                  <a:moveTo>
                    <a:pt x="425" y="27"/>
                  </a:moveTo>
                  <a:lnTo>
                    <a:pt x="427" y="27"/>
                  </a:lnTo>
                  <a:lnTo>
                    <a:pt x="427" y="25"/>
                  </a:lnTo>
                  <a:lnTo>
                    <a:pt x="427" y="27"/>
                  </a:lnTo>
                  <a:lnTo>
                    <a:pt x="423" y="27"/>
                  </a:lnTo>
                  <a:lnTo>
                    <a:pt x="420" y="29"/>
                  </a:lnTo>
                  <a:lnTo>
                    <a:pt x="425" y="29"/>
                  </a:lnTo>
                  <a:lnTo>
                    <a:pt x="425" y="27"/>
                  </a:lnTo>
                  <a:close/>
                  <a:moveTo>
                    <a:pt x="324" y="33"/>
                  </a:moveTo>
                  <a:lnTo>
                    <a:pt x="326" y="31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28" y="29"/>
                  </a:lnTo>
                  <a:lnTo>
                    <a:pt x="328" y="29"/>
                  </a:lnTo>
                  <a:lnTo>
                    <a:pt x="328" y="27"/>
                  </a:lnTo>
                  <a:lnTo>
                    <a:pt x="328" y="25"/>
                  </a:lnTo>
                  <a:lnTo>
                    <a:pt x="328" y="23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4" y="27"/>
                  </a:lnTo>
                  <a:lnTo>
                    <a:pt x="324" y="27"/>
                  </a:lnTo>
                  <a:lnTo>
                    <a:pt x="324" y="29"/>
                  </a:lnTo>
                  <a:lnTo>
                    <a:pt x="324" y="29"/>
                  </a:lnTo>
                  <a:lnTo>
                    <a:pt x="322" y="29"/>
                  </a:lnTo>
                  <a:lnTo>
                    <a:pt x="322" y="31"/>
                  </a:lnTo>
                  <a:lnTo>
                    <a:pt x="322" y="33"/>
                  </a:lnTo>
                  <a:lnTo>
                    <a:pt x="324" y="33"/>
                  </a:lnTo>
                  <a:close/>
                  <a:moveTo>
                    <a:pt x="328" y="25"/>
                  </a:moveTo>
                  <a:lnTo>
                    <a:pt x="330" y="29"/>
                  </a:lnTo>
                  <a:lnTo>
                    <a:pt x="332" y="31"/>
                  </a:lnTo>
                  <a:lnTo>
                    <a:pt x="336" y="35"/>
                  </a:lnTo>
                  <a:lnTo>
                    <a:pt x="342" y="31"/>
                  </a:lnTo>
                  <a:lnTo>
                    <a:pt x="345" y="27"/>
                  </a:lnTo>
                  <a:lnTo>
                    <a:pt x="345" y="27"/>
                  </a:lnTo>
                  <a:lnTo>
                    <a:pt x="345" y="27"/>
                  </a:lnTo>
                  <a:lnTo>
                    <a:pt x="347" y="25"/>
                  </a:lnTo>
                  <a:lnTo>
                    <a:pt x="347" y="25"/>
                  </a:lnTo>
                  <a:lnTo>
                    <a:pt x="347" y="25"/>
                  </a:lnTo>
                  <a:lnTo>
                    <a:pt x="345" y="23"/>
                  </a:lnTo>
                  <a:lnTo>
                    <a:pt x="345" y="21"/>
                  </a:lnTo>
                  <a:lnTo>
                    <a:pt x="342" y="21"/>
                  </a:lnTo>
                  <a:lnTo>
                    <a:pt x="342" y="21"/>
                  </a:lnTo>
                  <a:lnTo>
                    <a:pt x="340" y="23"/>
                  </a:lnTo>
                  <a:lnTo>
                    <a:pt x="338" y="23"/>
                  </a:lnTo>
                  <a:lnTo>
                    <a:pt x="338" y="23"/>
                  </a:lnTo>
                  <a:lnTo>
                    <a:pt x="336" y="23"/>
                  </a:lnTo>
                  <a:lnTo>
                    <a:pt x="334" y="25"/>
                  </a:lnTo>
                  <a:lnTo>
                    <a:pt x="332" y="25"/>
                  </a:lnTo>
                  <a:lnTo>
                    <a:pt x="330" y="23"/>
                  </a:lnTo>
                  <a:lnTo>
                    <a:pt x="330" y="23"/>
                  </a:lnTo>
                  <a:lnTo>
                    <a:pt x="330" y="21"/>
                  </a:lnTo>
                  <a:lnTo>
                    <a:pt x="328" y="21"/>
                  </a:lnTo>
                  <a:lnTo>
                    <a:pt x="328" y="21"/>
                  </a:lnTo>
                  <a:lnTo>
                    <a:pt x="328" y="21"/>
                  </a:lnTo>
                  <a:lnTo>
                    <a:pt x="328" y="23"/>
                  </a:lnTo>
                  <a:lnTo>
                    <a:pt x="328" y="25"/>
                  </a:lnTo>
                  <a:close/>
                  <a:moveTo>
                    <a:pt x="431" y="21"/>
                  </a:moveTo>
                  <a:lnTo>
                    <a:pt x="433" y="17"/>
                  </a:lnTo>
                  <a:lnTo>
                    <a:pt x="431" y="17"/>
                  </a:lnTo>
                  <a:lnTo>
                    <a:pt x="431" y="19"/>
                  </a:lnTo>
                  <a:lnTo>
                    <a:pt x="431" y="21"/>
                  </a:lnTo>
                  <a:lnTo>
                    <a:pt x="431" y="21"/>
                  </a:lnTo>
                  <a:lnTo>
                    <a:pt x="429" y="21"/>
                  </a:lnTo>
                  <a:lnTo>
                    <a:pt x="427" y="23"/>
                  </a:lnTo>
                  <a:lnTo>
                    <a:pt x="427" y="25"/>
                  </a:lnTo>
                  <a:lnTo>
                    <a:pt x="427" y="25"/>
                  </a:lnTo>
                  <a:lnTo>
                    <a:pt x="429" y="25"/>
                  </a:lnTo>
                  <a:lnTo>
                    <a:pt x="431" y="21"/>
                  </a:lnTo>
                  <a:close/>
                  <a:moveTo>
                    <a:pt x="363" y="23"/>
                  </a:moveTo>
                  <a:lnTo>
                    <a:pt x="363" y="23"/>
                  </a:lnTo>
                  <a:lnTo>
                    <a:pt x="365" y="21"/>
                  </a:lnTo>
                  <a:lnTo>
                    <a:pt x="365" y="19"/>
                  </a:lnTo>
                  <a:lnTo>
                    <a:pt x="365" y="17"/>
                  </a:lnTo>
                  <a:lnTo>
                    <a:pt x="365" y="17"/>
                  </a:lnTo>
                  <a:lnTo>
                    <a:pt x="363" y="17"/>
                  </a:lnTo>
                  <a:lnTo>
                    <a:pt x="363" y="19"/>
                  </a:lnTo>
                  <a:lnTo>
                    <a:pt x="363" y="19"/>
                  </a:lnTo>
                  <a:lnTo>
                    <a:pt x="363" y="21"/>
                  </a:lnTo>
                  <a:lnTo>
                    <a:pt x="363" y="23"/>
                  </a:lnTo>
                  <a:close/>
                  <a:moveTo>
                    <a:pt x="640" y="290"/>
                  </a:moveTo>
                  <a:lnTo>
                    <a:pt x="640" y="290"/>
                  </a:lnTo>
                  <a:lnTo>
                    <a:pt x="638" y="286"/>
                  </a:lnTo>
                  <a:lnTo>
                    <a:pt x="640" y="282"/>
                  </a:lnTo>
                  <a:lnTo>
                    <a:pt x="638" y="280"/>
                  </a:lnTo>
                  <a:lnTo>
                    <a:pt x="638" y="278"/>
                  </a:lnTo>
                  <a:lnTo>
                    <a:pt x="636" y="276"/>
                  </a:lnTo>
                  <a:lnTo>
                    <a:pt x="636" y="274"/>
                  </a:lnTo>
                  <a:lnTo>
                    <a:pt x="636" y="271"/>
                  </a:lnTo>
                  <a:lnTo>
                    <a:pt x="636" y="269"/>
                  </a:lnTo>
                  <a:lnTo>
                    <a:pt x="634" y="269"/>
                  </a:lnTo>
                  <a:lnTo>
                    <a:pt x="634" y="269"/>
                  </a:lnTo>
                  <a:lnTo>
                    <a:pt x="632" y="267"/>
                  </a:lnTo>
                  <a:lnTo>
                    <a:pt x="632" y="265"/>
                  </a:lnTo>
                  <a:lnTo>
                    <a:pt x="630" y="259"/>
                  </a:lnTo>
                  <a:lnTo>
                    <a:pt x="630" y="257"/>
                  </a:lnTo>
                  <a:lnTo>
                    <a:pt x="628" y="257"/>
                  </a:lnTo>
                  <a:lnTo>
                    <a:pt x="626" y="257"/>
                  </a:lnTo>
                  <a:lnTo>
                    <a:pt x="624" y="255"/>
                  </a:lnTo>
                  <a:lnTo>
                    <a:pt x="622" y="253"/>
                  </a:lnTo>
                  <a:lnTo>
                    <a:pt x="620" y="251"/>
                  </a:lnTo>
                  <a:lnTo>
                    <a:pt x="620" y="251"/>
                  </a:lnTo>
                  <a:lnTo>
                    <a:pt x="618" y="249"/>
                  </a:lnTo>
                  <a:lnTo>
                    <a:pt x="618" y="247"/>
                  </a:lnTo>
                  <a:lnTo>
                    <a:pt x="618" y="245"/>
                  </a:lnTo>
                  <a:lnTo>
                    <a:pt x="618" y="241"/>
                  </a:lnTo>
                  <a:lnTo>
                    <a:pt x="618" y="237"/>
                  </a:lnTo>
                  <a:lnTo>
                    <a:pt x="620" y="230"/>
                  </a:lnTo>
                  <a:lnTo>
                    <a:pt x="618" y="226"/>
                  </a:lnTo>
                  <a:lnTo>
                    <a:pt x="618" y="226"/>
                  </a:lnTo>
                  <a:lnTo>
                    <a:pt x="618" y="226"/>
                  </a:lnTo>
                  <a:lnTo>
                    <a:pt x="616" y="228"/>
                  </a:lnTo>
                  <a:lnTo>
                    <a:pt x="616" y="228"/>
                  </a:lnTo>
                  <a:lnTo>
                    <a:pt x="616" y="228"/>
                  </a:lnTo>
                  <a:lnTo>
                    <a:pt x="613" y="228"/>
                  </a:lnTo>
                  <a:lnTo>
                    <a:pt x="611" y="226"/>
                  </a:lnTo>
                  <a:lnTo>
                    <a:pt x="611" y="224"/>
                  </a:lnTo>
                  <a:lnTo>
                    <a:pt x="609" y="222"/>
                  </a:lnTo>
                  <a:lnTo>
                    <a:pt x="609" y="222"/>
                  </a:lnTo>
                  <a:lnTo>
                    <a:pt x="609" y="222"/>
                  </a:lnTo>
                  <a:lnTo>
                    <a:pt x="607" y="224"/>
                  </a:lnTo>
                  <a:lnTo>
                    <a:pt x="607" y="228"/>
                  </a:lnTo>
                  <a:lnTo>
                    <a:pt x="607" y="228"/>
                  </a:lnTo>
                  <a:lnTo>
                    <a:pt x="605" y="228"/>
                  </a:lnTo>
                  <a:lnTo>
                    <a:pt x="605" y="226"/>
                  </a:lnTo>
                  <a:lnTo>
                    <a:pt x="603" y="226"/>
                  </a:lnTo>
                  <a:lnTo>
                    <a:pt x="603" y="226"/>
                  </a:lnTo>
                  <a:lnTo>
                    <a:pt x="603" y="224"/>
                  </a:lnTo>
                  <a:lnTo>
                    <a:pt x="601" y="224"/>
                  </a:lnTo>
                  <a:lnTo>
                    <a:pt x="601" y="220"/>
                  </a:lnTo>
                  <a:lnTo>
                    <a:pt x="601" y="214"/>
                  </a:lnTo>
                  <a:lnTo>
                    <a:pt x="603" y="212"/>
                  </a:lnTo>
                  <a:lnTo>
                    <a:pt x="601" y="210"/>
                  </a:lnTo>
                  <a:lnTo>
                    <a:pt x="601" y="206"/>
                  </a:lnTo>
                  <a:lnTo>
                    <a:pt x="601" y="206"/>
                  </a:lnTo>
                  <a:lnTo>
                    <a:pt x="601" y="204"/>
                  </a:lnTo>
                  <a:lnTo>
                    <a:pt x="599" y="200"/>
                  </a:lnTo>
                  <a:lnTo>
                    <a:pt x="597" y="197"/>
                  </a:lnTo>
                  <a:lnTo>
                    <a:pt x="595" y="195"/>
                  </a:lnTo>
                  <a:lnTo>
                    <a:pt x="595" y="193"/>
                  </a:lnTo>
                  <a:lnTo>
                    <a:pt x="595" y="191"/>
                  </a:lnTo>
                  <a:lnTo>
                    <a:pt x="597" y="191"/>
                  </a:lnTo>
                  <a:lnTo>
                    <a:pt x="597" y="191"/>
                  </a:lnTo>
                  <a:lnTo>
                    <a:pt x="597" y="189"/>
                  </a:lnTo>
                  <a:lnTo>
                    <a:pt x="597" y="187"/>
                  </a:lnTo>
                  <a:lnTo>
                    <a:pt x="595" y="185"/>
                  </a:lnTo>
                  <a:lnTo>
                    <a:pt x="593" y="185"/>
                  </a:lnTo>
                  <a:lnTo>
                    <a:pt x="591" y="183"/>
                  </a:lnTo>
                  <a:lnTo>
                    <a:pt x="589" y="181"/>
                  </a:lnTo>
                  <a:lnTo>
                    <a:pt x="587" y="181"/>
                  </a:lnTo>
                  <a:lnTo>
                    <a:pt x="587" y="181"/>
                  </a:lnTo>
                  <a:lnTo>
                    <a:pt x="585" y="179"/>
                  </a:lnTo>
                  <a:lnTo>
                    <a:pt x="585" y="179"/>
                  </a:lnTo>
                  <a:lnTo>
                    <a:pt x="583" y="179"/>
                  </a:lnTo>
                  <a:lnTo>
                    <a:pt x="581" y="175"/>
                  </a:lnTo>
                  <a:lnTo>
                    <a:pt x="579" y="173"/>
                  </a:lnTo>
                  <a:lnTo>
                    <a:pt x="579" y="171"/>
                  </a:lnTo>
                  <a:lnTo>
                    <a:pt x="579" y="171"/>
                  </a:lnTo>
                  <a:lnTo>
                    <a:pt x="577" y="171"/>
                  </a:lnTo>
                  <a:lnTo>
                    <a:pt x="577" y="171"/>
                  </a:lnTo>
                  <a:lnTo>
                    <a:pt x="574" y="171"/>
                  </a:lnTo>
                  <a:lnTo>
                    <a:pt x="572" y="171"/>
                  </a:lnTo>
                  <a:lnTo>
                    <a:pt x="572" y="169"/>
                  </a:lnTo>
                  <a:lnTo>
                    <a:pt x="570" y="169"/>
                  </a:lnTo>
                  <a:lnTo>
                    <a:pt x="568" y="167"/>
                  </a:lnTo>
                  <a:lnTo>
                    <a:pt x="566" y="167"/>
                  </a:lnTo>
                  <a:lnTo>
                    <a:pt x="564" y="165"/>
                  </a:lnTo>
                  <a:lnTo>
                    <a:pt x="564" y="163"/>
                  </a:lnTo>
                  <a:lnTo>
                    <a:pt x="562" y="160"/>
                  </a:lnTo>
                  <a:lnTo>
                    <a:pt x="564" y="158"/>
                  </a:lnTo>
                  <a:lnTo>
                    <a:pt x="564" y="156"/>
                  </a:lnTo>
                  <a:lnTo>
                    <a:pt x="562" y="154"/>
                  </a:lnTo>
                  <a:lnTo>
                    <a:pt x="560" y="150"/>
                  </a:lnTo>
                  <a:lnTo>
                    <a:pt x="560" y="148"/>
                  </a:lnTo>
                  <a:lnTo>
                    <a:pt x="562" y="146"/>
                  </a:lnTo>
                  <a:lnTo>
                    <a:pt x="564" y="138"/>
                  </a:lnTo>
                  <a:lnTo>
                    <a:pt x="564" y="134"/>
                  </a:lnTo>
                  <a:lnTo>
                    <a:pt x="562" y="128"/>
                  </a:lnTo>
                  <a:lnTo>
                    <a:pt x="562" y="126"/>
                  </a:lnTo>
                  <a:lnTo>
                    <a:pt x="562" y="126"/>
                  </a:lnTo>
                  <a:lnTo>
                    <a:pt x="560" y="126"/>
                  </a:lnTo>
                  <a:lnTo>
                    <a:pt x="560" y="121"/>
                  </a:lnTo>
                  <a:lnTo>
                    <a:pt x="558" y="119"/>
                  </a:lnTo>
                  <a:lnTo>
                    <a:pt x="558" y="119"/>
                  </a:lnTo>
                  <a:lnTo>
                    <a:pt x="556" y="117"/>
                  </a:lnTo>
                  <a:lnTo>
                    <a:pt x="558" y="115"/>
                  </a:lnTo>
                  <a:lnTo>
                    <a:pt x="558" y="113"/>
                  </a:lnTo>
                  <a:lnTo>
                    <a:pt x="558" y="109"/>
                  </a:lnTo>
                  <a:lnTo>
                    <a:pt x="558" y="107"/>
                  </a:lnTo>
                  <a:lnTo>
                    <a:pt x="558" y="103"/>
                  </a:lnTo>
                  <a:lnTo>
                    <a:pt x="558" y="99"/>
                  </a:lnTo>
                  <a:lnTo>
                    <a:pt x="558" y="97"/>
                  </a:lnTo>
                  <a:lnTo>
                    <a:pt x="558" y="95"/>
                  </a:lnTo>
                  <a:lnTo>
                    <a:pt x="558" y="93"/>
                  </a:lnTo>
                  <a:lnTo>
                    <a:pt x="558" y="91"/>
                  </a:lnTo>
                  <a:lnTo>
                    <a:pt x="560" y="88"/>
                  </a:lnTo>
                  <a:lnTo>
                    <a:pt x="558" y="88"/>
                  </a:lnTo>
                  <a:lnTo>
                    <a:pt x="556" y="86"/>
                  </a:lnTo>
                  <a:lnTo>
                    <a:pt x="554" y="84"/>
                  </a:lnTo>
                  <a:lnTo>
                    <a:pt x="550" y="80"/>
                  </a:lnTo>
                  <a:lnTo>
                    <a:pt x="550" y="78"/>
                  </a:lnTo>
                  <a:lnTo>
                    <a:pt x="548" y="76"/>
                  </a:lnTo>
                  <a:lnTo>
                    <a:pt x="546" y="78"/>
                  </a:lnTo>
                  <a:lnTo>
                    <a:pt x="544" y="78"/>
                  </a:lnTo>
                  <a:lnTo>
                    <a:pt x="542" y="80"/>
                  </a:lnTo>
                  <a:lnTo>
                    <a:pt x="540" y="80"/>
                  </a:lnTo>
                  <a:lnTo>
                    <a:pt x="537" y="80"/>
                  </a:lnTo>
                  <a:lnTo>
                    <a:pt x="535" y="78"/>
                  </a:lnTo>
                  <a:lnTo>
                    <a:pt x="535" y="74"/>
                  </a:lnTo>
                  <a:lnTo>
                    <a:pt x="535" y="72"/>
                  </a:lnTo>
                  <a:lnTo>
                    <a:pt x="535" y="70"/>
                  </a:lnTo>
                  <a:lnTo>
                    <a:pt x="535" y="68"/>
                  </a:lnTo>
                  <a:lnTo>
                    <a:pt x="535" y="62"/>
                  </a:lnTo>
                  <a:lnTo>
                    <a:pt x="535" y="60"/>
                  </a:lnTo>
                  <a:lnTo>
                    <a:pt x="535" y="56"/>
                  </a:lnTo>
                  <a:lnTo>
                    <a:pt x="535" y="51"/>
                  </a:lnTo>
                  <a:lnTo>
                    <a:pt x="535" y="49"/>
                  </a:lnTo>
                  <a:lnTo>
                    <a:pt x="535" y="47"/>
                  </a:lnTo>
                  <a:lnTo>
                    <a:pt x="533" y="45"/>
                  </a:lnTo>
                  <a:lnTo>
                    <a:pt x="533" y="43"/>
                  </a:lnTo>
                  <a:lnTo>
                    <a:pt x="531" y="41"/>
                  </a:lnTo>
                  <a:lnTo>
                    <a:pt x="531" y="41"/>
                  </a:lnTo>
                  <a:lnTo>
                    <a:pt x="531" y="39"/>
                  </a:lnTo>
                  <a:lnTo>
                    <a:pt x="531" y="39"/>
                  </a:lnTo>
                  <a:lnTo>
                    <a:pt x="531" y="37"/>
                  </a:lnTo>
                  <a:lnTo>
                    <a:pt x="533" y="35"/>
                  </a:lnTo>
                  <a:lnTo>
                    <a:pt x="531" y="33"/>
                  </a:lnTo>
                  <a:lnTo>
                    <a:pt x="529" y="33"/>
                  </a:lnTo>
                  <a:lnTo>
                    <a:pt x="529" y="33"/>
                  </a:lnTo>
                  <a:lnTo>
                    <a:pt x="529" y="33"/>
                  </a:lnTo>
                  <a:lnTo>
                    <a:pt x="529" y="29"/>
                  </a:lnTo>
                  <a:lnTo>
                    <a:pt x="529" y="25"/>
                  </a:lnTo>
                  <a:lnTo>
                    <a:pt x="529" y="23"/>
                  </a:lnTo>
                  <a:lnTo>
                    <a:pt x="529" y="21"/>
                  </a:lnTo>
                  <a:lnTo>
                    <a:pt x="529" y="19"/>
                  </a:lnTo>
                  <a:lnTo>
                    <a:pt x="527" y="17"/>
                  </a:lnTo>
                  <a:lnTo>
                    <a:pt x="525" y="14"/>
                  </a:lnTo>
                  <a:lnTo>
                    <a:pt x="525" y="14"/>
                  </a:lnTo>
                  <a:lnTo>
                    <a:pt x="525" y="12"/>
                  </a:lnTo>
                  <a:lnTo>
                    <a:pt x="525" y="12"/>
                  </a:lnTo>
                  <a:lnTo>
                    <a:pt x="523" y="12"/>
                  </a:lnTo>
                  <a:lnTo>
                    <a:pt x="523" y="12"/>
                  </a:lnTo>
                  <a:lnTo>
                    <a:pt x="521" y="14"/>
                  </a:lnTo>
                  <a:lnTo>
                    <a:pt x="519" y="17"/>
                  </a:lnTo>
                  <a:lnTo>
                    <a:pt x="517" y="23"/>
                  </a:lnTo>
                  <a:lnTo>
                    <a:pt x="515" y="29"/>
                  </a:lnTo>
                  <a:lnTo>
                    <a:pt x="513" y="33"/>
                  </a:lnTo>
                  <a:lnTo>
                    <a:pt x="513" y="35"/>
                  </a:lnTo>
                  <a:lnTo>
                    <a:pt x="513" y="37"/>
                  </a:lnTo>
                  <a:lnTo>
                    <a:pt x="513" y="35"/>
                  </a:lnTo>
                  <a:lnTo>
                    <a:pt x="513" y="35"/>
                  </a:lnTo>
                  <a:lnTo>
                    <a:pt x="511" y="37"/>
                  </a:lnTo>
                  <a:lnTo>
                    <a:pt x="509" y="41"/>
                  </a:lnTo>
                  <a:lnTo>
                    <a:pt x="507" y="45"/>
                  </a:lnTo>
                  <a:lnTo>
                    <a:pt x="509" y="45"/>
                  </a:lnTo>
                  <a:lnTo>
                    <a:pt x="509" y="45"/>
                  </a:lnTo>
                  <a:lnTo>
                    <a:pt x="511" y="45"/>
                  </a:lnTo>
                  <a:lnTo>
                    <a:pt x="511" y="47"/>
                  </a:lnTo>
                  <a:lnTo>
                    <a:pt x="511" y="47"/>
                  </a:lnTo>
                  <a:lnTo>
                    <a:pt x="511" y="49"/>
                  </a:lnTo>
                  <a:lnTo>
                    <a:pt x="511" y="49"/>
                  </a:lnTo>
                  <a:lnTo>
                    <a:pt x="511" y="49"/>
                  </a:lnTo>
                  <a:lnTo>
                    <a:pt x="509" y="49"/>
                  </a:lnTo>
                  <a:lnTo>
                    <a:pt x="509" y="51"/>
                  </a:lnTo>
                  <a:lnTo>
                    <a:pt x="505" y="54"/>
                  </a:lnTo>
                  <a:lnTo>
                    <a:pt x="505" y="58"/>
                  </a:lnTo>
                  <a:lnTo>
                    <a:pt x="505" y="62"/>
                  </a:lnTo>
                  <a:lnTo>
                    <a:pt x="503" y="64"/>
                  </a:lnTo>
                  <a:lnTo>
                    <a:pt x="501" y="68"/>
                  </a:lnTo>
                  <a:lnTo>
                    <a:pt x="501" y="70"/>
                  </a:lnTo>
                  <a:lnTo>
                    <a:pt x="503" y="72"/>
                  </a:lnTo>
                  <a:lnTo>
                    <a:pt x="503" y="74"/>
                  </a:lnTo>
                  <a:lnTo>
                    <a:pt x="501" y="78"/>
                  </a:lnTo>
                  <a:lnTo>
                    <a:pt x="501" y="80"/>
                  </a:lnTo>
                  <a:lnTo>
                    <a:pt x="501" y="88"/>
                  </a:lnTo>
                  <a:lnTo>
                    <a:pt x="501" y="91"/>
                  </a:lnTo>
                  <a:lnTo>
                    <a:pt x="498" y="95"/>
                  </a:lnTo>
                  <a:lnTo>
                    <a:pt x="496" y="101"/>
                  </a:lnTo>
                  <a:lnTo>
                    <a:pt x="494" y="107"/>
                  </a:lnTo>
                  <a:lnTo>
                    <a:pt x="494" y="111"/>
                  </a:lnTo>
                  <a:lnTo>
                    <a:pt x="492" y="113"/>
                  </a:lnTo>
                  <a:lnTo>
                    <a:pt x="490" y="117"/>
                  </a:lnTo>
                  <a:lnTo>
                    <a:pt x="488" y="121"/>
                  </a:lnTo>
                  <a:lnTo>
                    <a:pt x="484" y="128"/>
                  </a:lnTo>
                  <a:lnTo>
                    <a:pt x="482" y="132"/>
                  </a:lnTo>
                  <a:lnTo>
                    <a:pt x="480" y="136"/>
                  </a:lnTo>
                  <a:lnTo>
                    <a:pt x="476" y="138"/>
                  </a:lnTo>
                  <a:lnTo>
                    <a:pt x="474" y="138"/>
                  </a:lnTo>
                  <a:lnTo>
                    <a:pt x="470" y="140"/>
                  </a:lnTo>
                  <a:lnTo>
                    <a:pt x="466" y="140"/>
                  </a:lnTo>
                  <a:lnTo>
                    <a:pt x="466" y="140"/>
                  </a:lnTo>
                  <a:lnTo>
                    <a:pt x="464" y="138"/>
                  </a:lnTo>
                  <a:lnTo>
                    <a:pt x="462" y="138"/>
                  </a:lnTo>
                  <a:lnTo>
                    <a:pt x="457" y="134"/>
                  </a:lnTo>
                  <a:lnTo>
                    <a:pt x="455" y="134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28"/>
                  </a:lnTo>
                  <a:lnTo>
                    <a:pt x="453" y="126"/>
                  </a:lnTo>
                  <a:lnTo>
                    <a:pt x="449" y="126"/>
                  </a:lnTo>
                  <a:lnTo>
                    <a:pt x="447" y="123"/>
                  </a:lnTo>
                  <a:lnTo>
                    <a:pt x="445" y="123"/>
                  </a:lnTo>
                  <a:lnTo>
                    <a:pt x="441" y="121"/>
                  </a:lnTo>
                  <a:lnTo>
                    <a:pt x="439" y="119"/>
                  </a:lnTo>
                  <a:lnTo>
                    <a:pt x="437" y="117"/>
                  </a:lnTo>
                  <a:lnTo>
                    <a:pt x="435" y="113"/>
                  </a:lnTo>
                  <a:lnTo>
                    <a:pt x="431" y="111"/>
                  </a:lnTo>
                  <a:lnTo>
                    <a:pt x="429" y="109"/>
                  </a:lnTo>
                  <a:lnTo>
                    <a:pt x="427" y="109"/>
                  </a:lnTo>
                  <a:lnTo>
                    <a:pt x="425" y="107"/>
                  </a:lnTo>
                  <a:lnTo>
                    <a:pt x="425" y="107"/>
                  </a:lnTo>
                  <a:lnTo>
                    <a:pt x="423" y="107"/>
                  </a:lnTo>
                  <a:lnTo>
                    <a:pt x="420" y="107"/>
                  </a:lnTo>
                  <a:lnTo>
                    <a:pt x="418" y="105"/>
                  </a:lnTo>
                  <a:lnTo>
                    <a:pt x="418" y="105"/>
                  </a:lnTo>
                  <a:lnTo>
                    <a:pt x="418" y="105"/>
                  </a:lnTo>
                  <a:lnTo>
                    <a:pt x="420" y="103"/>
                  </a:lnTo>
                  <a:lnTo>
                    <a:pt x="418" y="103"/>
                  </a:lnTo>
                  <a:lnTo>
                    <a:pt x="418" y="103"/>
                  </a:lnTo>
                  <a:lnTo>
                    <a:pt x="418" y="103"/>
                  </a:lnTo>
                  <a:lnTo>
                    <a:pt x="418" y="103"/>
                  </a:lnTo>
                  <a:lnTo>
                    <a:pt x="416" y="103"/>
                  </a:lnTo>
                  <a:lnTo>
                    <a:pt x="412" y="101"/>
                  </a:lnTo>
                  <a:lnTo>
                    <a:pt x="412" y="99"/>
                  </a:lnTo>
                  <a:lnTo>
                    <a:pt x="412" y="99"/>
                  </a:lnTo>
                  <a:lnTo>
                    <a:pt x="408" y="95"/>
                  </a:lnTo>
                  <a:lnTo>
                    <a:pt x="406" y="93"/>
                  </a:lnTo>
                  <a:lnTo>
                    <a:pt x="402" y="91"/>
                  </a:lnTo>
                  <a:lnTo>
                    <a:pt x="402" y="88"/>
                  </a:lnTo>
                  <a:lnTo>
                    <a:pt x="402" y="88"/>
                  </a:lnTo>
                  <a:lnTo>
                    <a:pt x="402" y="86"/>
                  </a:lnTo>
                  <a:lnTo>
                    <a:pt x="402" y="84"/>
                  </a:lnTo>
                  <a:lnTo>
                    <a:pt x="404" y="82"/>
                  </a:lnTo>
                  <a:lnTo>
                    <a:pt x="408" y="78"/>
                  </a:lnTo>
                  <a:lnTo>
                    <a:pt x="408" y="76"/>
                  </a:lnTo>
                  <a:lnTo>
                    <a:pt x="410" y="74"/>
                  </a:lnTo>
                  <a:lnTo>
                    <a:pt x="412" y="70"/>
                  </a:lnTo>
                  <a:lnTo>
                    <a:pt x="412" y="68"/>
                  </a:lnTo>
                  <a:lnTo>
                    <a:pt x="412" y="66"/>
                  </a:lnTo>
                  <a:lnTo>
                    <a:pt x="414" y="60"/>
                  </a:lnTo>
                  <a:lnTo>
                    <a:pt x="418" y="58"/>
                  </a:lnTo>
                  <a:lnTo>
                    <a:pt x="418" y="58"/>
                  </a:lnTo>
                  <a:lnTo>
                    <a:pt x="420" y="56"/>
                  </a:lnTo>
                  <a:lnTo>
                    <a:pt x="420" y="58"/>
                  </a:lnTo>
                  <a:lnTo>
                    <a:pt x="420" y="58"/>
                  </a:lnTo>
                  <a:lnTo>
                    <a:pt x="423" y="58"/>
                  </a:lnTo>
                  <a:lnTo>
                    <a:pt x="425" y="54"/>
                  </a:lnTo>
                  <a:lnTo>
                    <a:pt x="425" y="51"/>
                  </a:lnTo>
                  <a:lnTo>
                    <a:pt x="425" y="51"/>
                  </a:lnTo>
                  <a:lnTo>
                    <a:pt x="425" y="49"/>
                  </a:lnTo>
                  <a:lnTo>
                    <a:pt x="433" y="41"/>
                  </a:lnTo>
                  <a:lnTo>
                    <a:pt x="431" y="39"/>
                  </a:lnTo>
                  <a:lnTo>
                    <a:pt x="431" y="39"/>
                  </a:lnTo>
                  <a:lnTo>
                    <a:pt x="429" y="39"/>
                  </a:lnTo>
                  <a:lnTo>
                    <a:pt x="427" y="37"/>
                  </a:lnTo>
                  <a:lnTo>
                    <a:pt x="427" y="35"/>
                  </a:lnTo>
                  <a:lnTo>
                    <a:pt x="425" y="35"/>
                  </a:lnTo>
                  <a:lnTo>
                    <a:pt x="420" y="37"/>
                  </a:lnTo>
                  <a:lnTo>
                    <a:pt x="420" y="39"/>
                  </a:lnTo>
                  <a:lnTo>
                    <a:pt x="423" y="39"/>
                  </a:lnTo>
                  <a:lnTo>
                    <a:pt x="423" y="41"/>
                  </a:lnTo>
                  <a:lnTo>
                    <a:pt x="420" y="43"/>
                  </a:lnTo>
                  <a:lnTo>
                    <a:pt x="420" y="43"/>
                  </a:lnTo>
                  <a:lnTo>
                    <a:pt x="418" y="43"/>
                  </a:lnTo>
                  <a:lnTo>
                    <a:pt x="416" y="41"/>
                  </a:lnTo>
                  <a:lnTo>
                    <a:pt x="416" y="39"/>
                  </a:lnTo>
                  <a:lnTo>
                    <a:pt x="416" y="39"/>
                  </a:lnTo>
                  <a:lnTo>
                    <a:pt x="414" y="39"/>
                  </a:lnTo>
                  <a:lnTo>
                    <a:pt x="414" y="39"/>
                  </a:lnTo>
                  <a:lnTo>
                    <a:pt x="412" y="39"/>
                  </a:lnTo>
                  <a:lnTo>
                    <a:pt x="412" y="39"/>
                  </a:lnTo>
                  <a:lnTo>
                    <a:pt x="412" y="39"/>
                  </a:lnTo>
                  <a:lnTo>
                    <a:pt x="414" y="37"/>
                  </a:lnTo>
                  <a:lnTo>
                    <a:pt x="416" y="35"/>
                  </a:lnTo>
                  <a:lnTo>
                    <a:pt x="416" y="35"/>
                  </a:lnTo>
                  <a:lnTo>
                    <a:pt x="414" y="35"/>
                  </a:lnTo>
                  <a:lnTo>
                    <a:pt x="414" y="33"/>
                  </a:lnTo>
                  <a:lnTo>
                    <a:pt x="416" y="33"/>
                  </a:lnTo>
                  <a:lnTo>
                    <a:pt x="416" y="33"/>
                  </a:lnTo>
                  <a:lnTo>
                    <a:pt x="414" y="33"/>
                  </a:lnTo>
                  <a:lnTo>
                    <a:pt x="412" y="35"/>
                  </a:lnTo>
                  <a:lnTo>
                    <a:pt x="410" y="37"/>
                  </a:lnTo>
                  <a:lnTo>
                    <a:pt x="406" y="37"/>
                  </a:lnTo>
                  <a:lnTo>
                    <a:pt x="404" y="39"/>
                  </a:lnTo>
                  <a:lnTo>
                    <a:pt x="402" y="39"/>
                  </a:lnTo>
                  <a:lnTo>
                    <a:pt x="398" y="37"/>
                  </a:lnTo>
                  <a:lnTo>
                    <a:pt x="398" y="37"/>
                  </a:lnTo>
                  <a:lnTo>
                    <a:pt x="398" y="35"/>
                  </a:lnTo>
                  <a:lnTo>
                    <a:pt x="394" y="37"/>
                  </a:lnTo>
                  <a:lnTo>
                    <a:pt x="392" y="37"/>
                  </a:lnTo>
                  <a:lnTo>
                    <a:pt x="392" y="35"/>
                  </a:lnTo>
                  <a:lnTo>
                    <a:pt x="390" y="35"/>
                  </a:lnTo>
                  <a:lnTo>
                    <a:pt x="388" y="35"/>
                  </a:lnTo>
                  <a:lnTo>
                    <a:pt x="384" y="33"/>
                  </a:lnTo>
                  <a:lnTo>
                    <a:pt x="379" y="31"/>
                  </a:lnTo>
                  <a:lnTo>
                    <a:pt x="377" y="33"/>
                  </a:lnTo>
                  <a:lnTo>
                    <a:pt x="377" y="31"/>
                  </a:lnTo>
                  <a:lnTo>
                    <a:pt x="375" y="31"/>
                  </a:lnTo>
                  <a:lnTo>
                    <a:pt x="373" y="31"/>
                  </a:lnTo>
                  <a:lnTo>
                    <a:pt x="371" y="29"/>
                  </a:lnTo>
                  <a:lnTo>
                    <a:pt x="371" y="25"/>
                  </a:lnTo>
                  <a:lnTo>
                    <a:pt x="369" y="25"/>
                  </a:lnTo>
                  <a:lnTo>
                    <a:pt x="367" y="25"/>
                  </a:lnTo>
                  <a:lnTo>
                    <a:pt x="365" y="25"/>
                  </a:lnTo>
                  <a:lnTo>
                    <a:pt x="365" y="27"/>
                  </a:lnTo>
                  <a:lnTo>
                    <a:pt x="363" y="25"/>
                  </a:lnTo>
                  <a:lnTo>
                    <a:pt x="359" y="21"/>
                  </a:lnTo>
                  <a:lnTo>
                    <a:pt x="359" y="21"/>
                  </a:lnTo>
                  <a:lnTo>
                    <a:pt x="359" y="21"/>
                  </a:lnTo>
                  <a:lnTo>
                    <a:pt x="357" y="23"/>
                  </a:lnTo>
                  <a:lnTo>
                    <a:pt x="357" y="23"/>
                  </a:lnTo>
                  <a:lnTo>
                    <a:pt x="357" y="23"/>
                  </a:lnTo>
                  <a:lnTo>
                    <a:pt x="355" y="21"/>
                  </a:lnTo>
                  <a:lnTo>
                    <a:pt x="355" y="21"/>
                  </a:lnTo>
                  <a:lnTo>
                    <a:pt x="351" y="23"/>
                  </a:lnTo>
                  <a:lnTo>
                    <a:pt x="351" y="23"/>
                  </a:lnTo>
                  <a:lnTo>
                    <a:pt x="353" y="23"/>
                  </a:lnTo>
                  <a:lnTo>
                    <a:pt x="355" y="25"/>
                  </a:lnTo>
                  <a:lnTo>
                    <a:pt x="357" y="27"/>
                  </a:lnTo>
                  <a:lnTo>
                    <a:pt x="359" y="25"/>
                  </a:lnTo>
                  <a:lnTo>
                    <a:pt x="361" y="27"/>
                  </a:lnTo>
                  <a:lnTo>
                    <a:pt x="365" y="29"/>
                  </a:lnTo>
                  <a:lnTo>
                    <a:pt x="363" y="31"/>
                  </a:lnTo>
                  <a:lnTo>
                    <a:pt x="363" y="33"/>
                  </a:lnTo>
                  <a:lnTo>
                    <a:pt x="363" y="35"/>
                  </a:lnTo>
                  <a:lnTo>
                    <a:pt x="363" y="35"/>
                  </a:lnTo>
                  <a:lnTo>
                    <a:pt x="365" y="37"/>
                  </a:lnTo>
                  <a:lnTo>
                    <a:pt x="363" y="37"/>
                  </a:lnTo>
                  <a:lnTo>
                    <a:pt x="363" y="37"/>
                  </a:lnTo>
                  <a:lnTo>
                    <a:pt x="361" y="37"/>
                  </a:lnTo>
                  <a:lnTo>
                    <a:pt x="359" y="39"/>
                  </a:lnTo>
                  <a:lnTo>
                    <a:pt x="359" y="41"/>
                  </a:lnTo>
                  <a:lnTo>
                    <a:pt x="359" y="39"/>
                  </a:lnTo>
                  <a:lnTo>
                    <a:pt x="357" y="39"/>
                  </a:lnTo>
                  <a:lnTo>
                    <a:pt x="355" y="39"/>
                  </a:lnTo>
                  <a:lnTo>
                    <a:pt x="353" y="41"/>
                  </a:lnTo>
                  <a:lnTo>
                    <a:pt x="353" y="39"/>
                  </a:lnTo>
                  <a:lnTo>
                    <a:pt x="351" y="39"/>
                  </a:lnTo>
                  <a:lnTo>
                    <a:pt x="349" y="41"/>
                  </a:lnTo>
                  <a:lnTo>
                    <a:pt x="342" y="41"/>
                  </a:lnTo>
                  <a:lnTo>
                    <a:pt x="342" y="39"/>
                  </a:lnTo>
                  <a:lnTo>
                    <a:pt x="342" y="37"/>
                  </a:lnTo>
                  <a:lnTo>
                    <a:pt x="342" y="37"/>
                  </a:lnTo>
                  <a:lnTo>
                    <a:pt x="340" y="37"/>
                  </a:lnTo>
                  <a:lnTo>
                    <a:pt x="340" y="39"/>
                  </a:lnTo>
                  <a:lnTo>
                    <a:pt x="336" y="39"/>
                  </a:lnTo>
                  <a:lnTo>
                    <a:pt x="336" y="39"/>
                  </a:lnTo>
                  <a:lnTo>
                    <a:pt x="336" y="41"/>
                  </a:lnTo>
                  <a:lnTo>
                    <a:pt x="336" y="41"/>
                  </a:lnTo>
                  <a:lnTo>
                    <a:pt x="336" y="41"/>
                  </a:lnTo>
                  <a:lnTo>
                    <a:pt x="334" y="41"/>
                  </a:lnTo>
                  <a:lnTo>
                    <a:pt x="334" y="43"/>
                  </a:lnTo>
                  <a:lnTo>
                    <a:pt x="334" y="45"/>
                  </a:lnTo>
                  <a:lnTo>
                    <a:pt x="334" y="45"/>
                  </a:lnTo>
                  <a:lnTo>
                    <a:pt x="332" y="45"/>
                  </a:lnTo>
                  <a:lnTo>
                    <a:pt x="332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5"/>
                  </a:lnTo>
                  <a:lnTo>
                    <a:pt x="330" y="47"/>
                  </a:lnTo>
                  <a:lnTo>
                    <a:pt x="328" y="47"/>
                  </a:lnTo>
                  <a:lnTo>
                    <a:pt x="326" y="47"/>
                  </a:lnTo>
                  <a:lnTo>
                    <a:pt x="326" y="47"/>
                  </a:lnTo>
                  <a:lnTo>
                    <a:pt x="324" y="51"/>
                  </a:lnTo>
                  <a:lnTo>
                    <a:pt x="322" y="54"/>
                  </a:lnTo>
                  <a:lnTo>
                    <a:pt x="322" y="56"/>
                  </a:lnTo>
                  <a:lnTo>
                    <a:pt x="320" y="56"/>
                  </a:lnTo>
                  <a:lnTo>
                    <a:pt x="322" y="60"/>
                  </a:lnTo>
                  <a:lnTo>
                    <a:pt x="322" y="62"/>
                  </a:lnTo>
                  <a:lnTo>
                    <a:pt x="320" y="62"/>
                  </a:lnTo>
                  <a:lnTo>
                    <a:pt x="318" y="62"/>
                  </a:lnTo>
                  <a:lnTo>
                    <a:pt x="316" y="64"/>
                  </a:lnTo>
                  <a:lnTo>
                    <a:pt x="316" y="64"/>
                  </a:lnTo>
                  <a:lnTo>
                    <a:pt x="314" y="66"/>
                  </a:lnTo>
                  <a:lnTo>
                    <a:pt x="314" y="68"/>
                  </a:lnTo>
                  <a:lnTo>
                    <a:pt x="314" y="68"/>
                  </a:lnTo>
                  <a:lnTo>
                    <a:pt x="312" y="70"/>
                  </a:lnTo>
                  <a:lnTo>
                    <a:pt x="312" y="72"/>
                  </a:lnTo>
                  <a:lnTo>
                    <a:pt x="310" y="72"/>
                  </a:lnTo>
                  <a:lnTo>
                    <a:pt x="308" y="76"/>
                  </a:lnTo>
                  <a:lnTo>
                    <a:pt x="305" y="80"/>
                  </a:lnTo>
                  <a:lnTo>
                    <a:pt x="308" y="80"/>
                  </a:lnTo>
                  <a:lnTo>
                    <a:pt x="310" y="82"/>
                  </a:lnTo>
                  <a:lnTo>
                    <a:pt x="310" y="82"/>
                  </a:lnTo>
                  <a:lnTo>
                    <a:pt x="310" y="82"/>
                  </a:lnTo>
                  <a:lnTo>
                    <a:pt x="308" y="84"/>
                  </a:lnTo>
                  <a:lnTo>
                    <a:pt x="310" y="84"/>
                  </a:lnTo>
                  <a:lnTo>
                    <a:pt x="310" y="86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0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91"/>
                  </a:lnTo>
                  <a:lnTo>
                    <a:pt x="308" y="93"/>
                  </a:lnTo>
                  <a:lnTo>
                    <a:pt x="308" y="93"/>
                  </a:lnTo>
                  <a:lnTo>
                    <a:pt x="308" y="93"/>
                  </a:lnTo>
                  <a:lnTo>
                    <a:pt x="308" y="91"/>
                  </a:lnTo>
                  <a:lnTo>
                    <a:pt x="305" y="88"/>
                  </a:lnTo>
                  <a:lnTo>
                    <a:pt x="303" y="88"/>
                  </a:lnTo>
                  <a:lnTo>
                    <a:pt x="303" y="88"/>
                  </a:lnTo>
                  <a:lnTo>
                    <a:pt x="301" y="88"/>
                  </a:lnTo>
                  <a:lnTo>
                    <a:pt x="301" y="93"/>
                  </a:lnTo>
                  <a:lnTo>
                    <a:pt x="301" y="93"/>
                  </a:lnTo>
                  <a:lnTo>
                    <a:pt x="301" y="93"/>
                  </a:lnTo>
                  <a:lnTo>
                    <a:pt x="301" y="91"/>
                  </a:lnTo>
                  <a:lnTo>
                    <a:pt x="299" y="88"/>
                  </a:lnTo>
                  <a:lnTo>
                    <a:pt x="293" y="86"/>
                  </a:lnTo>
                  <a:lnTo>
                    <a:pt x="291" y="86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8"/>
                  </a:lnTo>
                  <a:lnTo>
                    <a:pt x="287" y="88"/>
                  </a:lnTo>
                  <a:lnTo>
                    <a:pt x="287" y="88"/>
                  </a:lnTo>
                  <a:lnTo>
                    <a:pt x="285" y="91"/>
                  </a:lnTo>
                  <a:lnTo>
                    <a:pt x="285" y="91"/>
                  </a:lnTo>
                  <a:lnTo>
                    <a:pt x="285" y="93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5" y="97"/>
                  </a:lnTo>
                  <a:lnTo>
                    <a:pt x="285" y="95"/>
                  </a:lnTo>
                  <a:lnTo>
                    <a:pt x="283" y="95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3"/>
                  </a:lnTo>
                  <a:lnTo>
                    <a:pt x="285" y="88"/>
                  </a:lnTo>
                  <a:lnTo>
                    <a:pt x="285" y="86"/>
                  </a:lnTo>
                  <a:lnTo>
                    <a:pt x="285" y="86"/>
                  </a:lnTo>
                  <a:lnTo>
                    <a:pt x="285" y="84"/>
                  </a:lnTo>
                  <a:lnTo>
                    <a:pt x="281" y="80"/>
                  </a:lnTo>
                  <a:lnTo>
                    <a:pt x="279" y="78"/>
                  </a:lnTo>
                  <a:lnTo>
                    <a:pt x="279" y="76"/>
                  </a:lnTo>
                  <a:lnTo>
                    <a:pt x="277" y="74"/>
                  </a:lnTo>
                  <a:lnTo>
                    <a:pt x="275" y="72"/>
                  </a:lnTo>
                  <a:lnTo>
                    <a:pt x="273" y="70"/>
                  </a:lnTo>
                  <a:lnTo>
                    <a:pt x="271" y="70"/>
                  </a:lnTo>
                  <a:lnTo>
                    <a:pt x="269" y="68"/>
                  </a:lnTo>
                  <a:lnTo>
                    <a:pt x="266" y="68"/>
                  </a:lnTo>
                  <a:lnTo>
                    <a:pt x="264" y="68"/>
                  </a:lnTo>
                  <a:lnTo>
                    <a:pt x="264" y="70"/>
                  </a:lnTo>
                  <a:lnTo>
                    <a:pt x="264" y="72"/>
                  </a:lnTo>
                  <a:lnTo>
                    <a:pt x="262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58" y="72"/>
                  </a:lnTo>
                  <a:lnTo>
                    <a:pt x="258" y="74"/>
                  </a:lnTo>
                  <a:lnTo>
                    <a:pt x="256" y="74"/>
                  </a:lnTo>
                  <a:lnTo>
                    <a:pt x="256" y="74"/>
                  </a:lnTo>
                  <a:lnTo>
                    <a:pt x="256" y="74"/>
                  </a:lnTo>
                  <a:lnTo>
                    <a:pt x="254" y="72"/>
                  </a:lnTo>
                  <a:lnTo>
                    <a:pt x="254" y="72"/>
                  </a:lnTo>
                  <a:lnTo>
                    <a:pt x="252" y="72"/>
                  </a:lnTo>
                  <a:lnTo>
                    <a:pt x="254" y="74"/>
                  </a:lnTo>
                  <a:lnTo>
                    <a:pt x="254" y="74"/>
                  </a:lnTo>
                  <a:lnTo>
                    <a:pt x="254" y="76"/>
                  </a:lnTo>
                  <a:lnTo>
                    <a:pt x="252" y="76"/>
                  </a:lnTo>
                  <a:lnTo>
                    <a:pt x="252" y="78"/>
                  </a:lnTo>
                  <a:lnTo>
                    <a:pt x="252" y="78"/>
                  </a:lnTo>
                  <a:lnTo>
                    <a:pt x="252" y="80"/>
                  </a:lnTo>
                  <a:lnTo>
                    <a:pt x="250" y="82"/>
                  </a:lnTo>
                  <a:lnTo>
                    <a:pt x="248" y="84"/>
                  </a:lnTo>
                  <a:lnTo>
                    <a:pt x="248" y="82"/>
                  </a:lnTo>
                  <a:lnTo>
                    <a:pt x="248" y="82"/>
                  </a:lnTo>
                  <a:lnTo>
                    <a:pt x="248" y="80"/>
                  </a:lnTo>
                  <a:lnTo>
                    <a:pt x="246" y="80"/>
                  </a:lnTo>
                  <a:lnTo>
                    <a:pt x="246" y="82"/>
                  </a:lnTo>
                  <a:lnTo>
                    <a:pt x="246" y="82"/>
                  </a:lnTo>
                  <a:lnTo>
                    <a:pt x="246" y="82"/>
                  </a:lnTo>
                  <a:lnTo>
                    <a:pt x="246" y="80"/>
                  </a:lnTo>
                  <a:lnTo>
                    <a:pt x="246" y="78"/>
                  </a:lnTo>
                  <a:lnTo>
                    <a:pt x="246" y="78"/>
                  </a:lnTo>
                  <a:lnTo>
                    <a:pt x="246" y="76"/>
                  </a:lnTo>
                  <a:lnTo>
                    <a:pt x="246" y="78"/>
                  </a:lnTo>
                  <a:lnTo>
                    <a:pt x="244" y="78"/>
                  </a:lnTo>
                  <a:lnTo>
                    <a:pt x="244" y="80"/>
                  </a:lnTo>
                  <a:lnTo>
                    <a:pt x="244" y="82"/>
                  </a:lnTo>
                  <a:lnTo>
                    <a:pt x="242" y="82"/>
                  </a:lnTo>
                  <a:lnTo>
                    <a:pt x="240" y="82"/>
                  </a:lnTo>
                  <a:lnTo>
                    <a:pt x="240" y="82"/>
                  </a:lnTo>
                  <a:lnTo>
                    <a:pt x="240" y="84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38" y="88"/>
                  </a:lnTo>
                  <a:lnTo>
                    <a:pt x="238" y="88"/>
                  </a:lnTo>
                  <a:lnTo>
                    <a:pt x="240" y="91"/>
                  </a:lnTo>
                  <a:lnTo>
                    <a:pt x="240" y="93"/>
                  </a:lnTo>
                  <a:lnTo>
                    <a:pt x="240" y="93"/>
                  </a:lnTo>
                  <a:lnTo>
                    <a:pt x="238" y="93"/>
                  </a:lnTo>
                  <a:lnTo>
                    <a:pt x="236" y="91"/>
                  </a:lnTo>
                  <a:lnTo>
                    <a:pt x="236" y="91"/>
                  </a:lnTo>
                  <a:lnTo>
                    <a:pt x="234" y="91"/>
                  </a:lnTo>
                  <a:lnTo>
                    <a:pt x="234" y="91"/>
                  </a:lnTo>
                  <a:lnTo>
                    <a:pt x="234" y="93"/>
                  </a:lnTo>
                  <a:lnTo>
                    <a:pt x="234" y="93"/>
                  </a:lnTo>
                  <a:lnTo>
                    <a:pt x="232" y="93"/>
                  </a:lnTo>
                  <a:lnTo>
                    <a:pt x="232" y="93"/>
                  </a:lnTo>
                  <a:lnTo>
                    <a:pt x="232" y="95"/>
                  </a:lnTo>
                  <a:lnTo>
                    <a:pt x="232" y="95"/>
                  </a:lnTo>
                  <a:lnTo>
                    <a:pt x="232" y="97"/>
                  </a:lnTo>
                  <a:lnTo>
                    <a:pt x="234" y="97"/>
                  </a:lnTo>
                  <a:lnTo>
                    <a:pt x="234" y="97"/>
                  </a:lnTo>
                  <a:lnTo>
                    <a:pt x="234" y="97"/>
                  </a:lnTo>
                  <a:lnTo>
                    <a:pt x="234" y="99"/>
                  </a:lnTo>
                  <a:lnTo>
                    <a:pt x="234" y="99"/>
                  </a:lnTo>
                  <a:lnTo>
                    <a:pt x="232" y="99"/>
                  </a:lnTo>
                  <a:lnTo>
                    <a:pt x="230" y="97"/>
                  </a:lnTo>
                  <a:lnTo>
                    <a:pt x="227" y="95"/>
                  </a:lnTo>
                  <a:lnTo>
                    <a:pt x="227" y="97"/>
                  </a:lnTo>
                  <a:lnTo>
                    <a:pt x="227" y="97"/>
                  </a:lnTo>
                  <a:lnTo>
                    <a:pt x="227" y="99"/>
                  </a:lnTo>
                  <a:lnTo>
                    <a:pt x="225" y="99"/>
                  </a:lnTo>
                  <a:lnTo>
                    <a:pt x="225" y="99"/>
                  </a:lnTo>
                  <a:lnTo>
                    <a:pt x="223" y="99"/>
                  </a:lnTo>
                  <a:lnTo>
                    <a:pt x="223" y="103"/>
                  </a:lnTo>
                  <a:lnTo>
                    <a:pt x="221" y="105"/>
                  </a:lnTo>
                  <a:lnTo>
                    <a:pt x="223" y="107"/>
                  </a:lnTo>
                  <a:lnTo>
                    <a:pt x="223" y="109"/>
                  </a:lnTo>
                  <a:lnTo>
                    <a:pt x="225" y="105"/>
                  </a:lnTo>
                  <a:lnTo>
                    <a:pt x="225" y="105"/>
                  </a:lnTo>
                  <a:lnTo>
                    <a:pt x="225" y="107"/>
                  </a:lnTo>
                  <a:lnTo>
                    <a:pt x="225" y="107"/>
                  </a:lnTo>
                  <a:lnTo>
                    <a:pt x="225" y="109"/>
                  </a:lnTo>
                  <a:lnTo>
                    <a:pt x="223" y="111"/>
                  </a:lnTo>
                  <a:lnTo>
                    <a:pt x="223" y="111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13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3" y="115"/>
                  </a:lnTo>
                  <a:lnTo>
                    <a:pt x="225" y="115"/>
                  </a:lnTo>
                  <a:lnTo>
                    <a:pt x="225" y="115"/>
                  </a:lnTo>
                  <a:lnTo>
                    <a:pt x="225" y="115"/>
                  </a:lnTo>
                  <a:lnTo>
                    <a:pt x="225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19" y="115"/>
                  </a:lnTo>
                  <a:lnTo>
                    <a:pt x="217" y="115"/>
                  </a:lnTo>
                  <a:lnTo>
                    <a:pt x="217" y="113"/>
                  </a:lnTo>
                  <a:lnTo>
                    <a:pt x="215" y="113"/>
                  </a:lnTo>
                  <a:lnTo>
                    <a:pt x="213" y="113"/>
                  </a:lnTo>
                  <a:lnTo>
                    <a:pt x="213" y="115"/>
                  </a:lnTo>
                  <a:lnTo>
                    <a:pt x="211" y="115"/>
                  </a:lnTo>
                  <a:lnTo>
                    <a:pt x="211" y="113"/>
                  </a:lnTo>
                  <a:lnTo>
                    <a:pt x="209" y="111"/>
                  </a:lnTo>
                  <a:lnTo>
                    <a:pt x="209" y="113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7" y="117"/>
                  </a:lnTo>
                  <a:lnTo>
                    <a:pt x="205" y="117"/>
                  </a:lnTo>
                  <a:lnTo>
                    <a:pt x="207" y="119"/>
                  </a:lnTo>
                  <a:lnTo>
                    <a:pt x="207" y="121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09" y="128"/>
                  </a:lnTo>
                  <a:lnTo>
                    <a:pt x="209" y="130"/>
                  </a:lnTo>
                  <a:lnTo>
                    <a:pt x="209" y="130"/>
                  </a:lnTo>
                  <a:lnTo>
                    <a:pt x="209" y="130"/>
                  </a:lnTo>
                  <a:lnTo>
                    <a:pt x="207" y="128"/>
                  </a:lnTo>
                  <a:lnTo>
                    <a:pt x="207" y="128"/>
                  </a:lnTo>
                  <a:lnTo>
                    <a:pt x="205" y="128"/>
                  </a:lnTo>
                  <a:lnTo>
                    <a:pt x="205" y="130"/>
                  </a:lnTo>
                  <a:lnTo>
                    <a:pt x="205" y="132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3" y="136"/>
                  </a:lnTo>
                  <a:lnTo>
                    <a:pt x="203" y="134"/>
                  </a:lnTo>
                  <a:lnTo>
                    <a:pt x="201" y="132"/>
                  </a:lnTo>
                  <a:lnTo>
                    <a:pt x="201" y="128"/>
                  </a:lnTo>
                  <a:lnTo>
                    <a:pt x="199" y="126"/>
                  </a:lnTo>
                  <a:lnTo>
                    <a:pt x="199" y="121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195" y="119"/>
                  </a:lnTo>
                  <a:lnTo>
                    <a:pt x="193" y="121"/>
                  </a:lnTo>
                  <a:lnTo>
                    <a:pt x="193" y="123"/>
                  </a:lnTo>
                  <a:lnTo>
                    <a:pt x="191" y="126"/>
                  </a:lnTo>
                  <a:lnTo>
                    <a:pt x="188" y="126"/>
                  </a:lnTo>
                  <a:lnTo>
                    <a:pt x="186" y="128"/>
                  </a:lnTo>
                  <a:lnTo>
                    <a:pt x="186" y="128"/>
                  </a:lnTo>
                  <a:lnTo>
                    <a:pt x="184" y="130"/>
                  </a:lnTo>
                  <a:lnTo>
                    <a:pt x="182" y="134"/>
                  </a:lnTo>
                  <a:lnTo>
                    <a:pt x="182" y="136"/>
                  </a:lnTo>
                  <a:lnTo>
                    <a:pt x="180" y="138"/>
                  </a:lnTo>
                  <a:lnTo>
                    <a:pt x="182" y="140"/>
                  </a:lnTo>
                  <a:lnTo>
                    <a:pt x="182" y="144"/>
                  </a:lnTo>
                  <a:lnTo>
                    <a:pt x="182" y="146"/>
                  </a:lnTo>
                  <a:lnTo>
                    <a:pt x="182" y="146"/>
                  </a:lnTo>
                  <a:lnTo>
                    <a:pt x="182" y="148"/>
                  </a:lnTo>
                  <a:lnTo>
                    <a:pt x="182" y="148"/>
                  </a:lnTo>
                  <a:lnTo>
                    <a:pt x="176" y="152"/>
                  </a:lnTo>
                  <a:lnTo>
                    <a:pt x="174" y="154"/>
                  </a:lnTo>
                  <a:lnTo>
                    <a:pt x="172" y="156"/>
                  </a:lnTo>
                  <a:lnTo>
                    <a:pt x="172" y="158"/>
                  </a:lnTo>
                  <a:lnTo>
                    <a:pt x="170" y="160"/>
                  </a:lnTo>
                  <a:lnTo>
                    <a:pt x="168" y="163"/>
                  </a:lnTo>
                  <a:lnTo>
                    <a:pt x="166" y="167"/>
                  </a:lnTo>
                  <a:lnTo>
                    <a:pt x="164" y="171"/>
                  </a:lnTo>
                  <a:lnTo>
                    <a:pt x="160" y="173"/>
                  </a:lnTo>
                  <a:lnTo>
                    <a:pt x="158" y="175"/>
                  </a:lnTo>
                  <a:lnTo>
                    <a:pt x="156" y="177"/>
                  </a:lnTo>
                  <a:lnTo>
                    <a:pt x="147" y="179"/>
                  </a:lnTo>
                  <a:lnTo>
                    <a:pt x="143" y="181"/>
                  </a:lnTo>
                  <a:lnTo>
                    <a:pt x="137" y="181"/>
                  </a:lnTo>
                  <a:lnTo>
                    <a:pt x="133" y="183"/>
                  </a:lnTo>
                  <a:lnTo>
                    <a:pt x="129" y="183"/>
                  </a:lnTo>
                  <a:lnTo>
                    <a:pt x="125" y="183"/>
                  </a:lnTo>
                  <a:lnTo>
                    <a:pt x="119" y="187"/>
                  </a:lnTo>
                  <a:lnTo>
                    <a:pt x="115" y="189"/>
                  </a:lnTo>
                  <a:lnTo>
                    <a:pt x="110" y="189"/>
                  </a:lnTo>
                  <a:lnTo>
                    <a:pt x="108" y="189"/>
                  </a:lnTo>
                  <a:lnTo>
                    <a:pt x="104" y="193"/>
                  </a:lnTo>
                  <a:lnTo>
                    <a:pt x="100" y="193"/>
                  </a:lnTo>
                  <a:lnTo>
                    <a:pt x="96" y="195"/>
                  </a:lnTo>
                  <a:lnTo>
                    <a:pt x="94" y="195"/>
                  </a:lnTo>
                  <a:lnTo>
                    <a:pt x="92" y="193"/>
                  </a:lnTo>
                  <a:lnTo>
                    <a:pt x="90" y="193"/>
                  </a:lnTo>
                  <a:lnTo>
                    <a:pt x="88" y="193"/>
                  </a:lnTo>
                  <a:lnTo>
                    <a:pt x="86" y="193"/>
                  </a:lnTo>
                  <a:lnTo>
                    <a:pt x="84" y="195"/>
                  </a:lnTo>
                  <a:lnTo>
                    <a:pt x="73" y="202"/>
                  </a:lnTo>
                  <a:lnTo>
                    <a:pt x="71" y="204"/>
                  </a:lnTo>
                  <a:lnTo>
                    <a:pt x="69" y="206"/>
                  </a:lnTo>
                  <a:lnTo>
                    <a:pt x="65" y="208"/>
                  </a:lnTo>
                  <a:lnTo>
                    <a:pt x="63" y="210"/>
                  </a:lnTo>
                  <a:lnTo>
                    <a:pt x="59" y="212"/>
                  </a:lnTo>
                  <a:lnTo>
                    <a:pt x="53" y="214"/>
                  </a:lnTo>
                  <a:lnTo>
                    <a:pt x="51" y="216"/>
                  </a:lnTo>
                  <a:lnTo>
                    <a:pt x="49" y="218"/>
                  </a:lnTo>
                  <a:lnTo>
                    <a:pt x="45" y="224"/>
                  </a:lnTo>
                  <a:lnTo>
                    <a:pt x="43" y="224"/>
                  </a:lnTo>
                  <a:lnTo>
                    <a:pt x="43" y="226"/>
                  </a:lnTo>
                  <a:lnTo>
                    <a:pt x="41" y="228"/>
                  </a:lnTo>
                  <a:lnTo>
                    <a:pt x="39" y="228"/>
                  </a:lnTo>
                  <a:lnTo>
                    <a:pt x="41" y="224"/>
                  </a:lnTo>
                  <a:lnTo>
                    <a:pt x="39" y="222"/>
                  </a:lnTo>
                  <a:lnTo>
                    <a:pt x="41" y="218"/>
                  </a:lnTo>
                  <a:lnTo>
                    <a:pt x="41" y="216"/>
                  </a:lnTo>
                  <a:lnTo>
                    <a:pt x="39" y="216"/>
                  </a:lnTo>
                  <a:lnTo>
                    <a:pt x="39" y="218"/>
                  </a:lnTo>
                  <a:lnTo>
                    <a:pt x="34" y="224"/>
                  </a:lnTo>
                  <a:lnTo>
                    <a:pt x="32" y="230"/>
                  </a:lnTo>
                  <a:lnTo>
                    <a:pt x="32" y="234"/>
                  </a:lnTo>
                  <a:lnTo>
                    <a:pt x="32" y="237"/>
                  </a:lnTo>
                  <a:lnTo>
                    <a:pt x="32" y="239"/>
                  </a:lnTo>
                  <a:lnTo>
                    <a:pt x="30" y="241"/>
                  </a:lnTo>
                  <a:lnTo>
                    <a:pt x="30" y="243"/>
                  </a:lnTo>
                  <a:lnTo>
                    <a:pt x="30" y="245"/>
                  </a:lnTo>
                  <a:lnTo>
                    <a:pt x="26" y="251"/>
                  </a:lnTo>
                  <a:lnTo>
                    <a:pt x="24" y="253"/>
                  </a:lnTo>
                  <a:lnTo>
                    <a:pt x="22" y="257"/>
                  </a:lnTo>
                  <a:lnTo>
                    <a:pt x="22" y="261"/>
                  </a:lnTo>
                  <a:lnTo>
                    <a:pt x="22" y="263"/>
                  </a:lnTo>
                  <a:lnTo>
                    <a:pt x="22" y="267"/>
                  </a:lnTo>
                  <a:lnTo>
                    <a:pt x="24" y="267"/>
                  </a:lnTo>
                  <a:lnTo>
                    <a:pt x="24" y="274"/>
                  </a:lnTo>
                  <a:lnTo>
                    <a:pt x="24" y="278"/>
                  </a:lnTo>
                  <a:lnTo>
                    <a:pt x="26" y="284"/>
                  </a:lnTo>
                  <a:lnTo>
                    <a:pt x="28" y="290"/>
                  </a:lnTo>
                  <a:lnTo>
                    <a:pt x="28" y="292"/>
                  </a:lnTo>
                  <a:lnTo>
                    <a:pt x="28" y="294"/>
                  </a:lnTo>
                  <a:lnTo>
                    <a:pt x="28" y="298"/>
                  </a:lnTo>
                  <a:lnTo>
                    <a:pt x="26" y="298"/>
                  </a:lnTo>
                  <a:lnTo>
                    <a:pt x="24" y="300"/>
                  </a:lnTo>
                  <a:lnTo>
                    <a:pt x="24" y="298"/>
                  </a:lnTo>
                  <a:lnTo>
                    <a:pt x="24" y="296"/>
                  </a:lnTo>
                  <a:lnTo>
                    <a:pt x="24" y="292"/>
                  </a:lnTo>
                  <a:lnTo>
                    <a:pt x="22" y="292"/>
                  </a:lnTo>
                  <a:lnTo>
                    <a:pt x="22" y="294"/>
                  </a:lnTo>
                  <a:lnTo>
                    <a:pt x="20" y="296"/>
                  </a:lnTo>
                  <a:lnTo>
                    <a:pt x="20" y="294"/>
                  </a:lnTo>
                  <a:lnTo>
                    <a:pt x="20" y="294"/>
                  </a:lnTo>
                  <a:lnTo>
                    <a:pt x="20" y="294"/>
                  </a:lnTo>
                  <a:lnTo>
                    <a:pt x="20" y="292"/>
                  </a:lnTo>
                  <a:lnTo>
                    <a:pt x="22" y="290"/>
                  </a:lnTo>
                  <a:lnTo>
                    <a:pt x="20" y="288"/>
                  </a:lnTo>
                  <a:lnTo>
                    <a:pt x="20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6" y="288"/>
                  </a:lnTo>
                  <a:lnTo>
                    <a:pt x="18" y="290"/>
                  </a:lnTo>
                  <a:lnTo>
                    <a:pt x="18" y="294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2" y="298"/>
                  </a:lnTo>
                  <a:lnTo>
                    <a:pt x="20" y="302"/>
                  </a:lnTo>
                  <a:lnTo>
                    <a:pt x="20" y="302"/>
                  </a:lnTo>
                  <a:lnTo>
                    <a:pt x="18" y="302"/>
                  </a:lnTo>
                  <a:lnTo>
                    <a:pt x="16" y="302"/>
                  </a:lnTo>
                  <a:lnTo>
                    <a:pt x="16" y="300"/>
                  </a:lnTo>
                  <a:lnTo>
                    <a:pt x="16" y="296"/>
                  </a:lnTo>
                  <a:lnTo>
                    <a:pt x="16" y="294"/>
                  </a:lnTo>
                  <a:lnTo>
                    <a:pt x="14" y="294"/>
                  </a:lnTo>
                  <a:lnTo>
                    <a:pt x="14" y="294"/>
                  </a:lnTo>
                  <a:lnTo>
                    <a:pt x="14" y="296"/>
                  </a:lnTo>
                  <a:lnTo>
                    <a:pt x="14" y="296"/>
                  </a:lnTo>
                  <a:lnTo>
                    <a:pt x="14" y="296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4" y="300"/>
                  </a:lnTo>
                  <a:lnTo>
                    <a:pt x="18" y="309"/>
                  </a:lnTo>
                  <a:lnTo>
                    <a:pt x="20" y="317"/>
                  </a:lnTo>
                  <a:lnTo>
                    <a:pt x="20" y="321"/>
                  </a:lnTo>
                  <a:lnTo>
                    <a:pt x="20" y="329"/>
                  </a:lnTo>
                  <a:lnTo>
                    <a:pt x="20" y="331"/>
                  </a:lnTo>
                  <a:lnTo>
                    <a:pt x="20" y="335"/>
                  </a:lnTo>
                  <a:lnTo>
                    <a:pt x="22" y="339"/>
                  </a:lnTo>
                  <a:lnTo>
                    <a:pt x="22" y="341"/>
                  </a:lnTo>
                  <a:lnTo>
                    <a:pt x="22" y="343"/>
                  </a:lnTo>
                  <a:lnTo>
                    <a:pt x="22" y="346"/>
                  </a:lnTo>
                  <a:lnTo>
                    <a:pt x="24" y="350"/>
                  </a:lnTo>
                  <a:lnTo>
                    <a:pt x="24" y="356"/>
                  </a:lnTo>
                  <a:lnTo>
                    <a:pt x="24" y="358"/>
                  </a:lnTo>
                  <a:lnTo>
                    <a:pt x="24" y="360"/>
                  </a:lnTo>
                  <a:lnTo>
                    <a:pt x="22" y="366"/>
                  </a:lnTo>
                  <a:lnTo>
                    <a:pt x="22" y="370"/>
                  </a:lnTo>
                  <a:lnTo>
                    <a:pt x="22" y="376"/>
                  </a:lnTo>
                  <a:lnTo>
                    <a:pt x="22" y="380"/>
                  </a:lnTo>
                  <a:lnTo>
                    <a:pt x="22" y="383"/>
                  </a:lnTo>
                  <a:lnTo>
                    <a:pt x="22" y="389"/>
                  </a:lnTo>
                  <a:lnTo>
                    <a:pt x="24" y="397"/>
                  </a:lnTo>
                  <a:lnTo>
                    <a:pt x="24" y="401"/>
                  </a:lnTo>
                  <a:lnTo>
                    <a:pt x="20" y="409"/>
                  </a:lnTo>
                  <a:lnTo>
                    <a:pt x="20" y="413"/>
                  </a:lnTo>
                  <a:lnTo>
                    <a:pt x="18" y="413"/>
                  </a:lnTo>
                  <a:lnTo>
                    <a:pt x="18" y="415"/>
                  </a:lnTo>
                  <a:lnTo>
                    <a:pt x="16" y="422"/>
                  </a:lnTo>
                  <a:lnTo>
                    <a:pt x="16" y="424"/>
                  </a:lnTo>
                  <a:lnTo>
                    <a:pt x="14" y="428"/>
                  </a:lnTo>
                  <a:lnTo>
                    <a:pt x="12" y="430"/>
                  </a:lnTo>
                  <a:lnTo>
                    <a:pt x="8" y="432"/>
                  </a:lnTo>
                  <a:lnTo>
                    <a:pt x="6" y="432"/>
                  </a:lnTo>
                  <a:lnTo>
                    <a:pt x="4" y="432"/>
                  </a:lnTo>
                  <a:lnTo>
                    <a:pt x="4" y="430"/>
                  </a:lnTo>
                  <a:lnTo>
                    <a:pt x="2" y="436"/>
                  </a:lnTo>
                  <a:lnTo>
                    <a:pt x="0" y="440"/>
                  </a:lnTo>
                  <a:lnTo>
                    <a:pt x="0" y="442"/>
                  </a:lnTo>
                  <a:lnTo>
                    <a:pt x="0" y="444"/>
                  </a:lnTo>
                  <a:lnTo>
                    <a:pt x="0" y="446"/>
                  </a:lnTo>
                  <a:lnTo>
                    <a:pt x="2" y="444"/>
                  </a:lnTo>
                  <a:lnTo>
                    <a:pt x="2" y="444"/>
                  </a:lnTo>
                  <a:lnTo>
                    <a:pt x="6" y="446"/>
                  </a:lnTo>
                  <a:lnTo>
                    <a:pt x="8" y="448"/>
                  </a:lnTo>
                  <a:lnTo>
                    <a:pt x="10" y="454"/>
                  </a:lnTo>
                  <a:lnTo>
                    <a:pt x="14" y="454"/>
                  </a:lnTo>
                  <a:lnTo>
                    <a:pt x="16" y="457"/>
                  </a:lnTo>
                  <a:lnTo>
                    <a:pt x="22" y="459"/>
                  </a:lnTo>
                  <a:lnTo>
                    <a:pt x="26" y="459"/>
                  </a:lnTo>
                  <a:lnTo>
                    <a:pt x="32" y="459"/>
                  </a:lnTo>
                  <a:lnTo>
                    <a:pt x="34" y="459"/>
                  </a:lnTo>
                  <a:lnTo>
                    <a:pt x="37" y="459"/>
                  </a:lnTo>
                  <a:lnTo>
                    <a:pt x="39" y="459"/>
                  </a:lnTo>
                  <a:lnTo>
                    <a:pt x="43" y="457"/>
                  </a:lnTo>
                  <a:lnTo>
                    <a:pt x="49" y="452"/>
                  </a:lnTo>
                  <a:lnTo>
                    <a:pt x="57" y="448"/>
                  </a:lnTo>
                  <a:lnTo>
                    <a:pt x="59" y="448"/>
                  </a:lnTo>
                  <a:lnTo>
                    <a:pt x="63" y="448"/>
                  </a:lnTo>
                  <a:lnTo>
                    <a:pt x="65" y="446"/>
                  </a:lnTo>
                  <a:lnTo>
                    <a:pt x="71" y="440"/>
                  </a:lnTo>
                  <a:lnTo>
                    <a:pt x="71" y="440"/>
                  </a:lnTo>
                  <a:lnTo>
                    <a:pt x="76" y="438"/>
                  </a:lnTo>
                  <a:lnTo>
                    <a:pt x="80" y="438"/>
                  </a:lnTo>
                  <a:lnTo>
                    <a:pt x="84" y="438"/>
                  </a:lnTo>
                  <a:lnTo>
                    <a:pt x="86" y="438"/>
                  </a:lnTo>
                  <a:lnTo>
                    <a:pt x="90" y="436"/>
                  </a:lnTo>
                  <a:lnTo>
                    <a:pt x="100" y="436"/>
                  </a:lnTo>
                  <a:lnTo>
                    <a:pt x="104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10" y="438"/>
                  </a:lnTo>
                  <a:lnTo>
                    <a:pt x="121" y="438"/>
                  </a:lnTo>
                  <a:lnTo>
                    <a:pt x="123" y="436"/>
                  </a:lnTo>
                  <a:lnTo>
                    <a:pt x="125" y="438"/>
                  </a:lnTo>
                  <a:lnTo>
                    <a:pt x="127" y="438"/>
                  </a:lnTo>
                  <a:lnTo>
                    <a:pt x="129" y="438"/>
                  </a:lnTo>
                  <a:lnTo>
                    <a:pt x="131" y="438"/>
                  </a:lnTo>
                  <a:lnTo>
                    <a:pt x="133" y="436"/>
                  </a:lnTo>
                  <a:lnTo>
                    <a:pt x="139" y="432"/>
                  </a:lnTo>
                  <a:lnTo>
                    <a:pt x="141" y="430"/>
                  </a:lnTo>
                  <a:lnTo>
                    <a:pt x="145" y="424"/>
                  </a:lnTo>
                  <a:lnTo>
                    <a:pt x="147" y="422"/>
                  </a:lnTo>
                  <a:lnTo>
                    <a:pt x="152" y="420"/>
                  </a:lnTo>
                  <a:lnTo>
                    <a:pt x="154" y="420"/>
                  </a:lnTo>
                  <a:lnTo>
                    <a:pt x="158" y="420"/>
                  </a:lnTo>
                  <a:lnTo>
                    <a:pt x="166" y="413"/>
                  </a:lnTo>
                  <a:lnTo>
                    <a:pt x="170" y="413"/>
                  </a:lnTo>
                  <a:lnTo>
                    <a:pt x="172" y="411"/>
                  </a:lnTo>
                  <a:lnTo>
                    <a:pt x="178" y="407"/>
                  </a:lnTo>
                  <a:lnTo>
                    <a:pt x="182" y="407"/>
                  </a:lnTo>
                  <a:lnTo>
                    <a:pt x="193" y="407"/>
                  </a:lnTo>
                  <a:lnTo>
                    <a:pt x="197" y="407"/>
                  </a:lnTo>
                  <a:lnTo>
                    <a:pt x="201" y="407"/>
                  </a:lnTo>
                  <a:lnTo>
                    <a:pt x="207" y="405"/>
                  </a:lnTo>
                  <a:lnTo>
                    <a:pt x="213" y="403"/>
                  </a:lnTo>
                  <a:lnTo>
                    <a:pt x="221" y="401"/>
                  </a:lnTo>
                  <a:lnTo>
                    <a:pt x="230" y="397"/>
                  </a:lnTo>
                  <a:lnTo>
                    <a:pt x="234" y="397"/>
                  </a:lnTo>
                  <a:lnTo>
                    <a:pt x="240" y="395"/>
                  </a:lnTo>
                  <a:lnTo>
                    <a:pt x="248" y="395"/>
                  </a:lnTo>
                  <a:lnTo>
                    <a:pt x="258" y="395"/>
                  </a:lnTo>
                  <a:lnTo>
                    <a:pt x="260" y="395"/>
                  </a:lnTo>
                  <a:lnTo>
                    <a:pt x="262" y="395"/>
                  </a:lnTo>
                  <a:lnTo>
                    <a:pt x="264" y="393"/>
                  </a:lnTo>
                  <a:lnTo>
                    <a:pt x="266" y="393"/>
                  </a:lnTo>
                  <a:lnTo>
                    <a:pt x="269" y="395"/>
                  </a:lnTo>
                  <a:lnTo>
                    <a:pt x="273" y="397"/>
                  </a:lnTo>
                  <a:lnTo>
                    <a:pt x="279" y="403"/>
                  </a:lnTo>
                  <a:lnTo>
                    <a:pt x="279" y="403"/>
                  </a:lnTo>
                  <a:lnTo>
                    <a:pt x="285" y="401"/>
                  </a:lnTo>
                  <a:lnTo>
                    <a:pt x="287" y="401"/>
                  </a:lnTo>
                  <a:lnTo>
                    <a:pt x="291" y="405"/>
                  </a:lnTo>
                  <a:lnTo>
                    <a:pt x="295" y="405"/>
                  </a:lnTo>
                  <a:lnTo>
                    <a:pt x="297" y="405"/>
                  </a:lnTo>
                  <a:lnTo>
                    <a:pt x="299" y="407"/>
                  </a:lnTo>
                  <a:lnTo>
                    <a:pt x="299" y="407"/>
                  </a:lnTo>
                  <a:lnTo>
                    <a:pt x="301" y="409"/>
                  </a:lnTo>
                  <a:lnTo>
                    <a:pt x="305" y="413"/>
                  </a:lnTo>
                  <a:lnTo>
                    <a:pt x="305" y="415"/>
                  </a:lnTo>
                  <a:lnTo>
                    <a:pt x="303" y="415"/>
                  </a:lnTo>
                  <a:lnTo>
                    <a:pt x="303" y="415"/>
                  </a:lnTo>
                  <a:lnTo>
                    <a:pt x="301" y="415"/>
                  </a:lnTo>
                  <a:lnTo>
                    <a:pt x="301" y="420"/>
                  </a:lnTo>
                  <a:lnTo>
                    <a:pt x="301" y="424"/>
                  </a:lnTo>
                  <a:lnTo>
                    <a:pt x="308" y="424"/>
                  </a:lnTo>
                  <a:lnTo>
                    <a:pt x="308" y="426"/>
                  </a:lnTo>
                  <a:lnTo>
                    <a:pt x="308" y="428"/>
                  </a:lnTo>
                  <a:lnTo>
                    <a:pt x="308" y="430"/>
                  </a:lnTo>
                  <a:lnTo>
                    <a:pt x="308" y="432"/>
                  </a:lnTo>
                  <a:lnTo>
                    <a:pt x="310" y="436"/>
                  </a:lnTo>
                  <a:lnTo>
                    <a:pt x="310" y="438"/>
                  </a:lnTo>
                  <a:lnTo>
                    <a:pt x="310" y="438"/>
                  </a:lnTo>
                  <a:lnTo>
                    <a:pt x="310" y="442"/>
                  </a:lnTo>
                  <a:lnTo>
                    <a:pt x="310" y="442"/>
                  </a:lnTo>
                  <a:lnTo>
                    <a:pt x="310" y="446"/>
                  </a:lnTo>
                  <a:lnTo>
                    <a:pt x="310" y="450"/>
                  </a:lnTo>
                  <a:lnTo>
                    <a:pt x="310" y="450"/>
                  </a:lnTo>
                  <a:lnTo>
                    <a:pt x="308" y="450"/>
                  </a:lnTo>
                  <a:lnTo>
                    <a:pt x="308" y="448"/>
                  </a:lnTo>
                  <a:lnTo>
                    <a:pt x="305" y="448"/>
                  </a:lnTo>
                  <a:lnTo>
                    <a:pt x="305" y="448"/>
                  </a:lnTo>
                  <a:lnTo>
                    <a:pt x="305" y="448"/>
                  </a:lnTo>
                  <a:lnTo>
                    <a:pt x="303" y="450"/>
                  </a:lnTo>
                  <a:lnTo>
                    <a:pt x="305" y="450"/>
                  </a:lnTo>
                  <a:lnTo>
                    <a:pt x="305" y="450"/>
                  </a:lnTo>
                  <a:lnTo>
                    <a:pt x="308" y="450"/>
                  </a:lnTo>
                  <a:lnTo>
                    <a:pt x="308" y="452"/>
                  </a:lnTo>
                  <a:lnTo>
                    <a:pt x="308" y="452"/>
                  </a:lnTo>
                  <a:lnTo>
                    <a:pt x="310" y="457"/>
                  </a:lnTo>
                  <a:lnTo>
                    <a:pt x="312" y="457"/>
                  </a:lnTo>
                  <a:lnTo>
                    <a:pt x="312" y="454"/>
                  </a:lnTo>
                  <a:lnTo>
                    <a:pt x="314" y="457"/>
                  </a:lnTo>
                  <a:lnTo>
                    <a:pt x="314" y="457"/>
                  </a:lnTo>
                  <a:lnTo>
                    <a:pt x="316" y="457"/>
                  </a:lnTo>
                  <a:lnTo>
                    <a:pt x="316" y="452"/>
                  </a:lnTo>
                  <a:lnTo>
                    <a:pt x="316" y="452"/>
                  </a:lnTo>
                  <a:lnTo>
                    <a:pt x="316" y="450"/>
                  </a:lnTo>
                  <a:lnTo>
                    <a:pt x="316" y="450"/>
                  </a:lnTo>
                  <a:lnTo>
                    <a:pt x="318" y="450"/>
                  </a:lnTo>
                  <a:lnTo>
                    <a:pt x="320" y="446"/>
                  </a:lnTo>
                  <a:lnTo>
                    <a:pt x="328" y="440"/>
                  </a:lnTo>
                  <a:lnTo>
                    <a:pt x="330" y="438"/>
                  </a:lnTo>
                  <a:lnTo>
                    <a:pt x="332" y="438"/>
                  </a:lnTo>
                  <a:lnTo>
                    <a:pt x="336" y="436"/>
                  </a:lnTo>
                  <a:lnTo>
                    <a:pt x="338" y="434"/>
                  </a:lnTo>
                  <a:lnTo>
                    <a:pt x="340" y="434"/>
                  </a:lnTo>
                  <a:lnTo>
                    <a:pt x="342" y="434"/>
                  </a:lnTo>
                  <a:lnTo>
                    <a:pt x="345" y="432"/>
                  </a:lnTo>
                  <a:lnTo>
                    <a:pt x="347" y="428"/>
                  </a:lnTo>
                  <a:lnTo>
                    <a:pt x="351" y="424"/>
                  </a:lnTo>
                  <a:lnTo>
                    <a:pt x="353" y="422"/>
                  </a:lnTo>
                  <a:lnTo>
                    <a:pt x="355" y="420"/>
                  </a:lnTo>
                  <a:lnTo>
                    <a:pt x="359" y="417"/>
                  </a:lnTo>
                  <a:lnTo>
                    <a:pt x="359" y="415"/>
                  </a:lnTo>
                  <a:lnTo>
                    <a:pt x="359" y="413"/>
                  </a:lnTo>
                  <a:lnTo>
                    <a:pt x="361" y="415"/>
                  </a:lnTo>
                  <a:lnTo>
                    <a:pt x="361" y="417"/>
                  </a:lnTo>
                  <a:lnTo>
                    <a:pt x="359" y="422"/>
                  </a:lnTo>
                  <a:lnTo>
                    <a:pt x="357" y="424"/>
                  </a:lnTo>
                  <a:lnTo>
                    <a:pt x="357" y="424"/>
                  </a:lnTo>
                  <a:lnTo>
                    <a:pt x="355" y="426"/>
                  </a:lnTo>
                  <a:lnTo>
                    <a:pt x="355" y="430"/>
                  </a:lnTo>
                  <a:lnTo>
                    <a:pt x="355" y="432"/>
                  </a:lnTo>
                  <a:lnTo>
                    <a:pt x="351" y="434"/>
                  </a:lnTo>
                  <a:lnTo>
                    <a:pt x="349" y="436"/>
                  </a:lnTo>
                  <a:lnTo>
                    <a:pt x="345" y="442"/>
                  </a:lnTo>
                  <a:lnTo>
                    <a:pt x="342" y="444"/>
                  </a:lnTo>
                  <a:lnTo>
                    <a:pt x="342" y="446"/>
                  </a:lnTo>
                  <a:lnTo>
                    <a:pt x="340" y="448"/>
                  </a:lnTo>
                  <a:lnTo>
                    <a:pt x="340" y="450"/>
                  </a:lnTo>
                  <a:lnTo>
                    <a:pt x="338" y="452"/>
                  </a:lnTo>
                  <a:lnTo>
                    <a:pt x="336" y="457"/>
                  </a:lnTo>
                  <a:lnTo>
                    <a:pt x="334" y="457"/>
                  </a:lnTo>
                  <a:lnTo>
                    <a:pt x="334" y="457"/>
                  </a:lnTo>
                  <a:lnTo>
                    <a:pt x="332" y="457"/>
                  </a:lnTo>
                  <a:lnTo>
                    <a:pt x="330" y="457"/>
                  </a:lnTo>
                  <a:lnTo>
                    <a:pt x="326" y="463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30" y="463"/>
                  </a:lnTo>
                  <a:lnTo>
                    <a:pt x="332" y="461"/>
                  </a:lnTo>
                  <a:lnTo>
                    <a:pt x="336" y="461"/>
                  </a:lnTo>
                  <a:lnTo>
                    <a:pt x="336" y="461"/>
                  </a:lnTo>
                  <a:lnTo>
                    <a:pt x="338" y="461"/>
                  </a:lnTo>
                  <a:lnTo>
                    <a:pt x="345" y="452"/>
                  </a:lnTo>
                  <a:lnTo>
                    <a:pt x="349" y="448"/>
                  </a:lnTo>
                  <a:lnTo>
                    <a:pt x="351" y="446"/>
                  </a:lnTo>
                  <a:lnTo>
                    <a:pt x="351" y="444"/>
                  </a:lnTo>
                  <a:lnTo>
                    <a:pt x="353" y="442"/>
                  </a:lnTo>
                  <a:lnTo>
                    <a:pt x="353" y="444"/>
                  </a:lnTo>
                  <a:lnTo>
                    <a:pt x="353" y="446"/>
                  </a:lnTo>
                  <a:lnTo>
                    <a:pt x="355" y="450"/>
                  </a:lnTo>
                  <a:lnTo>
                    <a:pt x="355" y="452"/>
                  </a:lnTo>
                  <a:lnTo>
                    <a:pt x="353" y="459"/>
                  </a:lnTo>
                  <a:lnTo>
                    <a:pt x="349" y="463"/>
                  </a:lnTo>
                  <a:lnTo>
                    <a:pt x="347" y="465"/>
                  </a:lnTo>
                  <a:lnTo>
                    <a:pt x="345" y="467"/>
                  </a:lnTo>
                  <a:lnTo>
                    <a:pt x="342" y="469"/>
                  </a:lnTo>
                  <a:lnTo>
                    <a:pt x="347" y="469"/>
                  </a:lnTo>
                  <a:lnTo>
                    <a:pt x="349" y="469"/>
                  </a:lnTo>
                  <a:lnTo>
                    <a:pt x="351" y="469"/>
                  </a:lnTo>
                  <a:lnTo>
                    <a:pt x="353" y="467"/>
                  </a:lnTo>
                  <a:lnTo>
                    <a:pt x="355" y="467"/>
                  </a:lnTo>
                  <a:lnTo>
                    <a:pt x="355" y="467"/>
                  </a:lnTo>
                  <a:lnTo>
                    <a:pt x="357" y="467"/>
                  </a:lnTo>
                  <a:lnTo>
                    <a:pt x="359" y="465"/>
                  </a:lnTo>
                  <a:lnTo>
                    <a:pt x="361" y="465"/>
                  </a:lnTo>
                  <a:lnTo>
                    <a:pt x="361" y="465"/>
                  </a:lnTo>
                  <a:lnTo>
                    <a:pt x="361" y="465"/>
                  </a:lnTo>
                  <a:lnTo>
                    <a:pt x="361" y="465"/>
                  </a:lnTo>
                  <a:lnTo>
                    <a:pt x="361" y="467"/>
                  </a:lnTo>
                  <a:lnTo>
                    <a:pt x="359" y="469"/>
                  </a:lnTo>
                  <a:lnTo>
                    <a:pt x="359" y="469"/>
                  </a:lnTo>
                  <a:lnTo>
                    <a:pt x="359" y="467"/>
                  </a:lnTo>
                  <a:lnTo>
                    <a:pt x="357" y="467"/>
                  </a:lnTo>
                  <a:lnTo>
                    <a:pt x="357" y="469"/>
                  </a:lnTo>
                  <a:lnTo>
                    <a:pt x="355" y="469"/>
                  </a:lnTo>
                  <a:lnTo>
                    <a:pt x="355" y="469"/>
                  </a:lnTo>
                  <a:lnTo>
                    <a:pt x="355" y="471"/>
                  </a:lnTo>
                  <a:lnTo>
                    <a:pt x="357" y="473"/>
                  </a:lnTo>
                  <a:lnTo>
                    <a:pt x="359" y="477"/>
                  </a:lnTo>
                  <a:lnTo>
                    <a:pt x="359" y="477"/>
                  </a:lnTo>
                  <a:lnTo>
                    <a:pt x="361" y="483"/>
                  </a:lnTo>
                  <a:lnTo>
                    <a:pt x="359" y="489"/>
                  </a:lnTo>
                  <a:lnTo>
                    <a:pt x="359" y="489"/>
                  </a:lnTo>
                  <a:lnTo>
                    <a:pt x="357" y="494"/>
                  </a:lnTo>
                  <a:lnTo>
                    <a:pt x="355" y="496"/>
                  </a:lnTo>
                  <a:lnTo>
                    <a:pt x="355" y="498"/>
                  </a:lnTo>
                  <a:lnTo>
                    <a:pt x="353" y="500"/>
                  </a:lnTo>
                  <a:lnTo>
                    <a:pt x="355" y="502"/>
                  </a:lnTo>
                  <a:lnTo>
                    <a:pt x="357" y="508"/>
                  </a:lnTo>
                  <a:lnTo>
                    <a:pt x="357" y="512"/>
                  </a:lnTo>
                  <a:lnTo>
                    <a:pt x="359" y="514"/>
                  </a:lnTo>
                  <a:lnTo>
                    <a:pt x="365" y="514"/>
                  </a:lnTo>
                  <a:lnTo>
                    <a:pt x="367" y="516"/>
                  </a:lnTo>
                  <a:lnTo>
                    <a:pt x="369" y="520"/>
                  </a:lnTo>
                  <a:lnTo>
                    <a:pt x="369" y="520"/>
                  </a:lnTo>
                  <a:lnTo>
                    <a:pt x="371" y="520"/>
                  </a:lnTo>
                  <a:lnTo>
                    <a:pt x="373" y="518"/>
                  </a:lnTo>
                  <a:lnTo>
                    <a:pt x="377" y="518"/>
                  </a:lnTo>
                  <a:lnTo>
                    <a:pt x="379" y="520"/>
                  </a:lnTo>
                  <a:lnTo>
                    <a:pt x="381" y="520"/>
                  </a:lnTo>
                  <a:lnTo>
                    <a:pt x="384" y="520"/>
                  </a:lnTo>
                  <a:lnTo>
                    <a:pt x="386" y="522"/>
                  </a:lnTo>
                  <a:lnTo>
                    <a:pt x="388" y="524"/>
                  </a:lnTo>
                  <a:lnTo>
                    <a:pt x="390" y="526"/>
                  </a:lnTo>
                  <a:lnTo>
                    <a:pt x="392" y="526"/>
                  </a:lnTo>
                  <a:lnTo>
                    <a:pt x="394" y="529"/>
                  </a:lnTo>
                  <a:lnTo>
                    <a:pt x="396" y="529"/>
                  </a:lnTo>
                  <a:lnTo>
                    <a:pt x="398" y="529"/>
                  </a:lnTo>
                  <a:lnTo>
                    <a:pt x="402" y="526"/>
                  </a:lnTo>
                  <a:lnTo>
                    <a:pt x="408" y="522"/>
                  </a:lnTo>
                  <a:lnTo>
                    <a:pt x="412" y="520"/>
                  </a:lnTo>
                  <a:lnTo>
                    <a:pt x="414" y="520"/>
                  </a:lnTo>
                  <a:lnTo>
                    <a:pt x="416" y="518"/>
                  </a:lnTo>
                  <a:lnTo>
                    <a:pt x="418" y="518"/>
                  </a:lnTo>
                  <a:lnTo>
                    <a:pt x="418" y="516"/>
                  </a:lnTo>
                  <a:lnTo>
                    <a:pt x="416" y="516"/>
                  </a:lnTo>
                  <a:lnTo>
                    <a:pt x="414" y="516"/>
                  </a:lnTo>
                  <a:lnTo>
                    <a:pt x="416" y="516"/>
                  </a:lnTo>
                  <a:lnTo>
                    <a:pt x="418" y="514"/>
                  </a:lnTo>
                  <a:lnTo>
                    <a:pt x="425" y="512"/>
                  </a:lnTo>
                  <a:lnTo>
                    <a:pt x="427" y="512"/>
                  </a:lnTo>
                  <a:lnTo>
                    <a:pt x="427" y="514"/>
                  </a:lnTo>
                  <a:lnTo>
                    <a:pt x="427" y="516"/>
                  </a:lnTo>
                  <a:lnTo>
                    <a:pt x="425" y="518"/>
                  </a:lnTo>
                  <a:lnTo>
                    <a:pt x="423" y="518"/>
                  </a:lnTo>
                  <a:lnTo>
                    <a:pt x="420" y="520"/>
                  </a:lnTo>
                  <a:lnTo>
                    <a:pt x="418" y="520"/>
                  </a:lnTo>
                  <a:lnTo>
                    <a:pt x="418" y="520"/>
                  </a:lnTo>
                  <a:lnTo>
                    <a:pt x="418" y="522"/>
                  </a:lnTo>
                  <a:lnTo>
                    <a:pt x="420" y="522"/>
                  </a:lnTo>
                  <a:lnTo>
                    <a:pt x="425" y="520"/>
                  </a:lnTo>
                  <a:lnTo>
                    <a:pt x="427" y="518"/>
                  </a:lnTo>
                  <a:lnTo>
                    <a:pt x="427" y="518"/>
                  </a:lnTo>
                  <a:lnTo>
                    <a:pt x="429" y="518"/>
                  </a:lnTo>
                  <a:lnTo>
                    <a:pt x="431" y="518"/>
                  </a:lnTo>
                  <a:lnTo>
                    <a:pt x="431" y="520"/>
                  </a:lnTo>
                  <a:lnTo>
                    <a:pt x="431" y="520"/>
                  </a:lnTo>
                  <a:lnTo>
                    <a:pt x="429" y="522"/>
                  </a:lnTo>
                  <a:lnTo>
                    <a:pt x="427" y="522"/>
                  </a:lnTo>
                  <a:lnTo>
                    <a:pt x="427" y="524"/>
                  </a:lnTo>
                  <a:lnTo>
                    <a:pt x="429" y="524"/>
                  </a:lnTo>
                  <a:lnTo>
                    <a:pt x="429" y="526"/>
                  </a:lnTo>
                  <a:lnTo>
                    <a:pt x="429" y="526"/>
                  </a:lnTo>
                  <a:lnTo>
                    <a:pt x="431" y="526"/>
                  </a:lnTo>
                  <a:lnTo>
                    <a:pt x="431" y="529"/>
                  </a:lnTo>
                  <a:lnTo>
                    <a:pt x="431" y="531"/>
                  </a:lnTo>
                  <a:lnTo>
                    <a:pt x="433" y="531"/>
                  </a:lnTo>
                  <a:lnTo>
                    <a:pt x="433" y="529"/>
                  </a:lnTo>
                  <a:lnTo>
                    <a:pt x="435" y="531"/>
                  </a:lnTo>
                  <a:lnTo>
                    <a:pt x="435" y="531"/>
                  </a:lnTo>
                  <a:lnTo>
                    <a:pt x="435" y="533"/>
                  </a:lnTo>
                  <a:lnTo>
                    <a:pt x="435" y="535"/>
                  </a:lnTo>
                  <a:lnTo>
                    <a:pt x="435" y="535"/>
                  </a:lnTo>
                  <a:lnTo>
                    <a:pt x="437" y="535"/>
                  </a:lnTo>
                  <a:lnTo>
                    <a:pt x="437" y="533"/>
                  </a:lnTo>
                  <a:lnTo>
                    <a:pt x="439" y="533"/>
                  </a:lnTo>
                  <a:lnTo>
                    <a:pt x="439" y="529"/>
                  </a:lnTo>
                  <a:lnTo>
                    <a:pt x="439" y="529"/>
                  </a:lnTo>
                  <a:lnTo>
                    <a:pt x="437" y="531"/>
                  </a:lnTo>
                  <a:lnTo>
                    <a:pt x="437" y="529"/>
                  </a:lnTo>
                  <a:lnTo>
                    <a:pt x="437" y="529"/>
                  </a:lnTo>
                  <a:lnTo>
                    <a:pt x="437" y="526"/>
                  </a:lnTo>
                  <a:lnTo>
                    <a:pt x="439" y="526"/>
                  </a:lnTo>
                  <a:lnTo>
                    <a:pt x="439" y="526"/>
                  </a:lnTo>
                  <a:lnTo>
                    <a:pt x="441" y="526"/>
                  </a:lnTo>
                  <a:lnTo>
                    <a:pt x="447" y="526"/>
                  </a:lnTo>
                  <a:lnTo>
                    <a:pt x="459" y="518"/>
                  </a:lnTo>
                  <a:lnTo>
                    <a:pt x="464" y="514"/>
                  </a:lnTo>
                  <a:lnTo>
                    <a:pt x="470" y="512"/>
                  </a:lnTo>
                  <a:lnTo>
                    <a:pt x="474" y="510"/>
                  </a:lnTo>
                  <a:lnTo>
                    <a:pt x="476" y="510"/>
                  </a:lnTo>
                  <a:lnTo>
                    <a:pt x="486" y="510"/>
                  </a:lnTo>
                  <a:lnTo>
                    <a:pt x="492" y="510"/>
                  </a:lnTo>
                  <a:lnTo>
                    <a:pt x="494" y="510"/>
                  </a:lnTo>
                  <a:lnTo>
                    <a:pt x="496" y="508"/>
                  </a:lnTo>
                  <a:lnTo>
                    <a:pt x="501" y="506"/>
                  </a:lnTo>
                  <a:lnTo>
                    <a:pt x="503" y="506"/>
                  </a:lnTo>
                  <a:lnTo>
                    <a:pt x="505" y="504"/>
                  </a:lnTo>
                  <a:lnTo>
                    <a:pt x="505" y="504"/>
                  </a:lnTo>
                  <a:lnTo>
                    <a:pt x="507" y="502"/>
                  </a:lnTo>
                  <a:lnTo>
                    <a:pt x="507" y="500"/>
                  </a:lnTo>
                  <a:lnTo>
                    <a:pt x="509" y="496"/>
                  </a:lnTo>
                  <a:lnTo>
                    <a:pt x="511" y="491"/>
                  </a:lnTo>
                  <a:lnTo>
                    <a:pt x="513" y="489"/>
                  </a:lnTo>
                  <a:lnTo>
                    <a:pt x="515" y="487"/>
                  </a:lnTo>
                  <a:lnTo>
                    <a:pt x="517" y="483"/>
                  </a:lnTo>
                  <a:lnTo>
                    <a:pt x="521" y="479"/>
                  </a:lnTo>
                  <a:lnTo>
                    <a:pt x="521" y="475"/>
                  </a:lnTo>
                  <a:lnTo>
                    <a:pt x="523" y="473"/>
                  </a:lnTo>
                  <a:lnTo>
                    <a:pt x="527" y="471"/>
                  </a:lnTo>
                  <a:lnTo>
                    <a:pt x="529" y="469"/>
                  </a:lnTo>
                  <a:lnTo>
                    <a:pt x="535" y="461"/>
                  </a:lnTo>
                  <a:lnTo>
                    <a:pt x="535" y="461"/>
                  </a:lnTo>
                  <a:lnTo>
                    <a:pt x="537" y="461"/>
                  </a:lnTo>
                  <a:lnTo>
                    <a:pt x="537" y="461"/>
                  </a:lnTo>
                  <a:lnTo>
                    <a:pt x="537" y="461"/>
                  </a:lnTo>
                  <a:lnTo>
                    <a:pt x="537" y="461"/>
                  </a:lnTo>
                  <a:lnTo>
                    <a:pt x="537" y="459"/>
                  </a:lnTo>
                  <a:lnTo>
                    <a:pt x="537" y="459"/>
                  </a:lnTo>
                  <a:lnTo>
                    <a:pt x="540" y="459"/>
                  </a:lnTo>
                  <a:lnTo>
                    <a:pt x="540" y="459"/>
                  </a:lnTo>
                  <a:lnTo>
                    <a:pt x="540" y="459"/>
                  </a:lnTo>
                  <a:lnTo>
                    <a:pt x="540" y="457"/>
                  </a:lnTo>
                  <a:lnTo>
                    <a:pt x="542" y="457"/>
                  </a:lnTo>
                  <a:lnTo>
                    <a:pt x="544" y="452"/>
                  </a:lnTo>
                  <a:lnTo>
                    <a:pt x="546" y="448"/>
                  </a:lnTo>
                  <a:lnTo>
                    <a:pt x="548" y="446"/>
                  </a:lnTo>
                  <a:lnTo>
                    <a:pt x="550" y="444"/>
                  </a:lnTo>
                  <a:lnTo>
                    <a:pt x="552" y="442"/>
                  </a:lnTo>
                  <a:lnTo>
                    <a:pt x="556" y="440"/>
                  </a:lnTo>
                  <a:lnTo>
                    <a:pt x="554" y="440"/>
                  </a:lnTo>
                  <a:lnTo>
                    <a:pt x="554" y="440"/>
                  </a:lnTo>
                  <a:lnTo>
                    <a:pt x="554" y="438"/>
                  </a:lnTo>
                  <a:lnTo>
                    <a:pt x="556" y="438"/>
                  </a:lnTo>
                  <a:lnTo>
                    <a:pt x="556" y="438"/>
                  </a:lnTo>
                  <a:lnTo>
                    <a:pt x="556" y="438"/>
                  </a:lnTo>
                  <a:lnTo>
                    <a:pt x="558" y="436"/>
                  </a:lnTo>
                  <a:lnTo>
                    <a:pt x="560" y="434"/>
                  </a:lnTo>
                  <a:lnTo>
                    <a:pt x="560" y="432"/>
                  </a:lnTo>
                  <a:lnTo>
                    <a:pt x="562" y="430"/>
                  </a:lnTo>
                  <a:lnTo>
                    <a:pt x="562" y="430"/>
                  </a:lnTo>
                  <a:lnTo>
                    <a:pt x="564" y="428"/>
                  </a:lnTo>
                  <a:lnTo>
                    <a:pt x="564" y="428"/>
                  </a:lnTo>
                  <a:lnTo>
                    <a:pt x="566" y="426"/>
                  </a:lnTo>
                  <a:lnTo>
                    <a:pt x="568" y="424"/>
                  </a:lnTo>
                  <a:lnTo>
                    <a:pt x="570" y="422"/>
                  </a:lnTo>
                  <a:lnTo>
                    <a:pt x="574" y="420"/>
                  </a:lnTo>
                  <a:lnTo>
                    <a:pt x="577" y="417"/>
                  </a:lnTo>
                  <a:lnTo>
                    <a:pt x="581" y="415"/>
                  </a:lnTo>
                  <a:lnTo>
                    <a:pt x="581" y="415"/>
                  </a:lnTo>
                  <a:lnTo>
                    <a:pt x="581" y="415"/>
                  </a:lnTo>
                  <a:lnTo>
                    <a:pt x="581" y="415"/>
                  </a:lnTo>
                  <a:lnTo>
                    <a:pt x="581" y="415"/>
                  </a:lnTo>
                  <a:lnTo>
                    <a:pt x="583" y="413"/>
                  </a:lnTo>
                  <a:lnTo>
                    <a:pt x="585" y="413"/>
                  </a:lnTo>
                  <a:lnTo>
                    <a:pt x="587" y="411"/>
                  </a:lnTo>
                  <a:lnTo>
                    <a:pt x="589" y="409"/>
                  </a:lnTo>
                  <a:lnTo>
                    <a:pt x="591" y="407"/>
                  </a:lnTo>
                  <a:lnTo>
                    <a:pt x="591" y="403"/>
                  </a:lnTo>
                  <a:lnTo>
                    <a:pt x="597" y="399"/>
                  </a:lnTo>
                  <a:lnTo>
                    <a:pt x="603" y="393"/>
                  </a:lnTo>
                  <a:lnTo>
                    <a:pt x="605" y="389"/>
                  </a:lnTo>
                  <a:lnTo>
                    <a:pt x="605" y="387"/>
                  </a:lnTo>
                  <a:lnTo>
                    <a:pt x="607" y="383"/>
                  </a:lnTo>
                  <a:lnTo>
                    <a:pt x="609" y="378"/>
                  </a:lnTo>
                  <a:lnTo>
                    <a:pt x="609" y="376"/>
                  </a:lnTo>
                  <a:lnTo>
                    <a:pt x="616" y="368"/>
                  </a:lnTo>
                  <a:lnTo>
                    <a:pt x="618" y="366"/>
                  </a:lnTo>
                  <a:lnTo>
                    <a:pt x="620" y="364"/>
                  </a:lnTo>
                  <a:lnTo>
                    <a:pt x="622" y="356"/>
                  </a:lnTo>
                  <a:lnTo>
                    <a:pt x="624" y="354"/>
                  </a:lnTo>
                  <a:lnTo>
                    <a:pt x="628" y="348"/>
                  </a:lnTo>
                  <a:lnTo>
                    <a:pt x="632" y="346"/>
                  </a:lnTo>
                  <a:lnTo>
                    <a:pt x="632" y="341"/>
                  </a:lnTo>
                  <a:lnTo>
                    <a:pt x="632" y="339"/>
                  </a:lnTo>
                  <a:lnTo>
                    <a:pt x="634" y="333"/>
                  </a:lnTo>
                  <a:lnTo>
                    <a:pt x="634" y="329"/>
                  </a:lnTo>
                  <a:lnTo>
                    <a:pt x="634" y="327"/>
                  </a:lnTo>
                  <a:lnTo>
                    <a:pt x="634" y="325"/>
                  </a:lnTo>
                  <a:lnTo>
                    <a:pt x="634" y="319"/>
                  </a:lnTo>
                  <a:lnTo>
                    <a:pt x="634" y="315"/>
                  </a:lnTo>
                  <a:lnTo>
                    <a:pt x="636" y="311"/>
                  </a:lnTo>
                  <a:lnTo>
                    <a:pt x="638" y="298"/>
                  </a:lnTo>
                  <a:lnTo>
                    <a:pt x="642" y="292"/>
                  </a:lnTo>
                  <a:lnTo>
                    <a:pt x="640" y="290"/>
                  </a:lnTo>
                  <a:lnTo>
                    <a:pt x="640" y="290"/>
                  </a:lnTo>
                  <a:close/>
                  <a:moveTo>
                    <a:pt x="519" y="12"/>
                  </a:moveTo>
                  <a:lnTo>
                    <a:pt x="521" y="12"/>
                  </a:lnTo>
                  <a:lnTo>
                    <a:pt x="519" y="10"/>
                  </a:lnTo>
                  <a:lnTo>
                    <a:pt x="519" y="10"/>
                  </a:lnTo>
                  <a:lnTo>
                    <a:pt x="519" y="10"/>
                  </a:lnTo>
                  <a:lnTo>
                    <a:pt x="519" y="12"/>
                  </a:lnTo>
                  <a:lnTo>
                    <a:pt x="519" y="12"/>
                  </a:lnTo>
                  <a:close/>
                  <a:moveTo>
                    <a:pt x="521" y="2"/>
                  </a:moveTo>
                  <a:lnTo>
                    <a:pt x="521" y="4"/>
                  </a:lnTo>
                  <a:lnTo>
                    <a:pt x="523" y="2"/>
                  </a:lnTo>
                  <a:lnTo>
                    <a:pt x="523" y="2"/>
                  </a:lnTo>
                  <a:lnTo>
                    <a:pt x="521" y="2"/>
                  </a:lnTo>
                  <a:lnTo>
                    <a:pt x="521" y="2"/>
                  </a:lnTo>
                  <a:lnTo>
                    <a:pt x="521" y="2"/>
                  </a:lnTo>
                  <a:close/>
                  <a:moveTo>
                    <a:pt x="521" y="2"/>
                  </a:moveTo>
                  <a:lnTo>
                    <a:pt x="521" y="0"/>
                  </a:lnTo>
                  <a:lnTo>
                    <a:pt x="521" y="0"/>
                  </a:lnTo>
                  <a:lnTo>
                    <a:pt x="519" y="0"/>
                  </a:lnTo>
                  <a:lnTo>
                    <a:pt x="519" y="2"/>
                  </a:lnTo>
                  <a:lnTo>
                    <a:pt x="521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4" name="Freeform 245">
              <a:extLst>
                <a:ext uri="{FF2B5EF4-FFF2-40B4-BE49-F238E27FC236}">
                  <a16:creationId xmlns:a16="http://schemas.microsoft.com/office/drawing/2014/main" id="{DFBC0A13-6362-F949-9CEA-F373AA645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4623" y="3841110"/>
              <a:ext cx="4754" cy="2377"/>
            </a:xfrm>
            <a:custGeom>
              <a:avLst/>
              <a:gdLst>
                <a:gd name="T0" fmla="*/ 2 w 4"/>
                <a:gd name="T1" fmla="*/ 0 h 2"/>
                <a:gd name="T2" fmla="*/ 0 w 4"/>
                <a:gd name="T3" fmla="*/ 0 h 2"/>
                <a:gd name="T4" fmla="*/ 0 w 4"/>
                <a:gd name="T5" fmla="*/ 2 h 2"/>
                <a:gd name="T6" fmla="*/ 0 w 4"/>
                <a:gd name="T7" fmla="*/ 2 h 2"/>
                <a:gd name="T8" fmla="*/ 0 w 4"/>
                <a:gd name="T9" fmla="*/ 2 h 2"/>
                <a:gd name="T10" fmla="*/ 2 w 4"/>
                <a:gd name="T11" fmla="*/ 2 h 2"/>
                <a:gd name="T12" fmla="*/ 4 w 4"/>
                <a:gd name="T13" fmla="*/ 0 h 2"/>
                <a:gd name="T14" fmla="*/ 2 w 4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5" name="Freeform 249">
              <a:extLst>
                <a:ext uri="{FF2B5EF4-FFF2-40B4-BE49-F238E27FC236}">
                  <a16:creationId xmlns:a16="http://schemas.microsoft.com/office/drawing/2014/main" id="{A33C6EA2-0DB9-D44F-9832-9186D28E0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6631" y="2690751"/>
              <a:ext cx="245996" cy="199649"/>
            </a:xfrm>
            <a:custGeom>
              <a:avLst/>
              <a:gdLst>
                <a:gd name="T0" fmla="*/ 199 w 207"/>
                <a:gd name="T1" fmla="*/ 20 h 168"/>
                <a:gd name="T2" fmla="*/ 189 w 207"/>
                <a:gd name="T3" fmla="*/ 22 h 168"/>
                <a:gd name="T4" fmla="*/ 189 w 207"/>
                <a:gd name="T5" fmla="*/ 18 h 168"/>
                <a:gd name="T6" fmla="*/ 174 w 207"/>
                <a:gd name="T7" fmla="*/ 26 h 168"/>
                <a:gd name="T8" fmla="*/ 160 w 207"/>
                <a:gd name="T9" fmla="*/ 33 h 168"/>
                <a:gd name="T10" fmla="*/ 156 w 207"/>
                <a:gd name="T11" fmla="*/ 12 h 168"/>
                <a:gd name="T12" fmla="*/ 150 w 207"/>
                <a:gd name="T13" fmla="*/ 10 h 168"/>
                <a:gd name="T14" fmla="*/ 140 w 207"/>
                <a:gd name="T15" fmla="*/ 2 h 168"/>
                <a:gd name="T16" fmla="*/ 135 w 207"/>
                <a:gd name="T17" fmla="*/ 12 h 168"/>
                <a:gd name="T18" fmla="*/ 129 w 207"/>
                <a:gd name="T19" fmla="*/ 16 h 168"/>
                <a:gd name="T20" fmla="*/ 125 w 207"/>
                <a:gd name="T21" fmla="*/ 24 h 168"/>
                <a:gd name="T22" fmla="*/ 117 w 207"/>
                <a:gd name="T23" fmla="*/ 20 h 168"/>
                <a:gd name="T24" fmla="*/ 113 w 207"/>
                <a:gd name="T25" fmla="*/ 22 h 168"/>
                <a:gd name="T26" fmla="*/ 107 w 207"/>
                <a:gd name="T27" fmla="*/ 29 h 168"/>
                <a:gd name="T28" fmla="*/ 99 w 207"/>
                <a:gd name="T29" fmla="*/ 22 h 168"/>
                <a:gd name="T30" fmla="*/ 86 w 207"/>
                <a:gd name="T31" fmla="*/ 20 h 168"/>
                <a:gd name="T32" fmla="*/ 68 w 207"/>
                <a:gd name="T33" fmla="*/ 16 h 168"/>
                <a:gd name="T34" fmla="*/ 57 w 207"/>
                <a:gd name="T35" fmla="*/ 24 h 168"/>
                <a:gd name="T36" fmla="*/ 53 w 207"/>
                <a:gd name="T37" fmla="*/ 39 h 168"/>
                <a:gd name="T38" fmla="*/ 47 w 207"/>
                <a:gd name="T39" fmla="*/ 45 h 168"/>
                <a:gd name="T40" fmla="*/ 35 w 207"/>
                <a:gd name="T41" fmla="*/ 49 h 168"/>
                <a:gd name="T42" fmla="*/ 35 w 207"/>
                <a:gd name="T43" fmla="*/ 57 h 168"/>
                <a:gd name="T44" fmla="*/ 27 w 207"/>
                <a:gd name="T45" fmla="*/ 59 h 168"/>
                <a:gd name="T46" fmla="*/ 18 w 207"/>
                <a:gd name="T47" fmla="*/ 55 h 168"/>
                <a:gd name="T48" fmla="*/ 8 w 207"/>
                <a:gd name="T49" fmla="*/ 53 h 168"/>
                <a:gd name="T50" fmla="*/ 6 w 207"/>
                <a:gd name="T51" fmla="*/ 59 h 168"/>
                <a:gd name="T52" fmla="*/ 6 w 207"/>
                <a:gd name="T53" fmla="*/ 66 h 168"/>
                <a:gd name="T54" fmla="*/ 4 w 207"/>
                <a:gd name="T55" fmla="*/ 72 h 168"/>
                <a:gd name="T56" fmla="*/ 4 w 207"/>
                <a:gd name="T57" fmla="*/ 76 h 168"/>
                <a:gd name="T58" fmla="*/ 2 w 207"/>
                <a:gd name="T59" fmla="*/ 90 h 168"/>
                <a:gd name="T60" fmla="*/ 6 w 207"/>
                <a:gd name="T61" fmla="*/ 94 h 168"/>
                <a:gd name="T62" fmla="*/ 10 w 207"/>
                <a:gd name="T63" fmla="*/ 115 h 168"/>
                <a:gd name="T64" fmla="*/ 12 w 207"/>
                <a:gd name="T65" fmla="*/ 129 h 168"/>
                <a:gd name="T66" fmla="*/ 29 w 207"/>
                <a:gd name="T67" fmla="*/ 142 h 168"/>
                <a:gd name="T68" fmla="*/ 37 w 207"/>
                <a:gd name="T69" fmla="*/ 164 h 168"/>
                <a:gd name="T70" fmla="*/ 70 w 207"/>
                <a:gd name="T71" fmla="*/ 166 h 168"/>
                <a:gd name="T72" fmla="*/ 84 w 207"/>
                <a:gd name="T73" fmla="*/ 164 h 168"/>
                <a:gd name="T74" fmla="*/ 103 w 207"/>
                <a:gd name="T75" fmla="*/ 158 h 168"/>
                <a:gd name="T76" fmla="*/ 101 w 207"/>
                <a:gd name="T77" fmla="*/ 146 h 168"/>
                <a:gd name="T78" fmla="*/ 105 w 207"/>
                <a:gd name="T79" fmla="*/ 135 h 168"/>
                <a:gd name="T80" fmla="*/ 119 w 207"/>
                <a:gd name="T81" fmla="*/ 133 h 168"/>
                <a:gd name="T82" fmla="*/ 117 w 207"/>
                <a:gd name="T83" fmla="*/ 127 h 168"/>
                <a:gd name="T84" fmla="*/ 129 w 207"/>
                <a:gd name="T85" fmla="*/ 125 h 168"/>
                <a:gd name="T86" fmla="*/ 138 w 207"/>
                <a:gd name="T87" fmla="*/ 125 h 168"/>
                <a:gd name="T88" fmla="*/ 142 w 207"/>
                <a:gd name="T89" fmla="*/ 109 h 168"/>
                <a:gd name="T90" fmla="*/ 148 w 207"/>
                <a:gd name="T91" fmla="*/ 98 h 168"/>
                <a:gd name="T92" fmla="*/ 144 w 207"/>
                <a:gd name="T93" fmla="*/ 84 h 168"/>
                <a:gd name="T94" fmla="*/ 160 w 207"/>
                <a:gd name="T95" fmla="*/ 84 h 168"/>
                <a:gd name="T96" fmla="*/ 160 w 207"/>
                <a:gd name="T97" fmla="*/ 74 h 168"/>
                <a:gd name="T98" fmla="*/ 164 w 207"/>
                <a:gd name="T99" fmla="*/ 66 h 168"/>
                <a:gd name="T100" fmla="*/ 166 w 207"/>
                <a:gd name="T101" fmla="*/ 59 h 168"/>
                <a:gd name="T102" fmla="*/ 164 w 207"/>
                <a:gd name="T103" fmla="*/ 53 h 168"/>
                <a:gd name="T104" fmla="*/ 158 w 207"/>
                <a:gd name="T105" fmla="*/ 43 h 168"/>
                <a:gd name="T106" fmla="*/ 164 w 207"/>
                <a:gd name="T107" fmla="*/ 37 h 168"/>
                <a:gd name="T108" fmla="*/ 174 w 207"/>
                <a:gd name="T109" fmla="*/ 31 h 168"/>
                <a:gd name="T110" fmla="*/ 193 w 207"/>
                <a:gd name="T111" fmla="*/ 29 h 168"/>
                <a:gd name="T112" fmla="*/ 203 w 207"/>
                <a:gd name="T113" fmla="*/ 26 h 168"/>
                <a:gd name="T114" fmla="*/ 205 w 207"/>
                <a:gd name="T115" fmla="*/ 2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7" h="168">
                  <a:moveTo>
                    <a:pt x="207" y="22"/>
                  </a:moveTo>
                  <a:lnTo>
                    <a:pt x="207" y="22"/>
                  </a:lnTo>
                  <a:lnTo>
                    <a:pt x="205" y="20"/>
                  </a:lnTo>
                  <a:lnTo>
                    <a:pt x="203" y="20"/>
                  </a:lnTo>
                  <a:lnTo>
                    <a:pt x="201" y="20"/>
                  </a:lnTo>
                  <a:lnTo>
                    <a:pt x="201" y="20"/>
                  </a:lnTo>
                  <a:lnTo>
                    <a:pt x="199" y="20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5" y="20"/>
                  </a:lnTo>
                  <a:lnTo>
                    <a:pt x="193" y="22"/>
                  </a:lnTo>
                  <a:lnTo>
                    <a:pt x="191" y="22"/>
                  </a:lnTo>
                  <a:lnTo>
                    <a:pt x="189" y="22"/>
                  </a:lnTo>
                  <a:lnTo>
                    <a:pt x="189" y="22"/>
                  </a:lnTo>
                  <a:lnTo>
                    <a:pt x="189" y="22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89" y="20"/>
                  </a:lnTo>
                  <a:lnTo>
                    <a:pt x="189" y="18"/>
                  </a:lnTo>
                  <a:lnTo>
                    <a:pt x="189" y="18"/>
                  </a:lnTo>
                  <a:lnTo>
                    <a:pt x="187" y="18"/>
                  </a:lnTo>
                  <a:lnTo>
                    <a:pt x="187" y="18"/>
                  </a:lnTo>
                  <a:lnTo>
                    <a:pt x="185" y="18"/>
                  </a:lnTo>
                  <a:lnTo>
                    <a:pt x="183" y="20"/>
                  </a:lnTo>
                  <a:lnTo>
                    <a:pt x="179" y="22"/>
                  </a:lnTo>
                  <a:lnTo>
                    <a:pt x="177" y="24"/>
                  </a:lnTo>
                  <a:lnTo>
                    <a:pt x="174" y="26"/>
                  </a:lnTo>
                  <a:lnTo>
                    <a:pt x="170" y="29"/>
                  </a:lnTo>
                  <a:lnTo>
                    <a:pt x="168" y="29"/>
                  </a:lnTo>
                  <a:lnTo>
                    <a:pt x="166" y="31"/>
                  </a:lnTo>
                  <a:lnTo>
                    <a:pt x="164" y="33"/>
                  </a:lnTo>
                  <a:lnTo>
                    <a:pt x="162" y="33"/>
                  </a:lnTo>
                  <a:lnTo>
                    <a:pt x="162" y="33"/>
                  </a:lnTo>
                  <a:lnTo>
                    <a:pt x="160" y="33"/>
                  </a:lnTo>
                  <a:lnTo>
                    <a:pt x="158" y="31"/>
                  </a:lnTo>
                  <a:lnTo>
                    <a:pt x="158" y="26"/>
                  </a:lnTo>
                  <a:lnTo>
                    <a:pt x="156" y="24"/>
                  </a:lnTo>
                  <a:lnTo>
                    <a:pt x="156" y="22"/>
                  </a:lnTo>
                  <a:lnTo>
                    <a:pt x="156" y="18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0"/>
                  </a:lnTo>
                  <a:lnTo>
                    <a:pt x="154" y="10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0"/>
                  </a:lnTo>
                  <a:lnTo>
                    <a:pt x="150" y="10"/>
                  </a:lnTo>
                  <a:lnTo>
                    <a:pt x="150" y="8"/>
                  </a:lnTo>
                  <a:lnTo>
                    <a:pt x="150" y="6"/>
                  </a:lnTo>
                  <a:lnTo>
                    <a:pt x="148" y="4"/>
                  </a:lnTo>
                  <a:lnTo>
                    <a:pt x="146" y="2"/>
                  </a:lnTo>
                  <a:lnTo>
                    <a:pt x="142" y="0"/>
                  </a:lnTo>
                  <a:lnTo>
                    <a:pt x="140" y="0"/>
                  </a:lnTo>
                  <a:lnTo>
                    <a:pt x="140" y="2"/>
                  </a:lnTo>
                  <a:lnTo>
                    <a:pt x="138" y="6"/>
                  </a:lnTo>
                  <a:lnTo>
                    <a:pt x="138" y="8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5" y="14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1" y="16"/>
                  </a:lnTo>
                  <a:lnTo>
                    <a:pt x="129" y="16"/>
                  </a:lnTo>
                  <a:lnTo>
                    <a:pt x="127" y="16"/>
                  </a:lnTo>
                  <a:lnTo>
                    <a:pt x="125" y="16"/>
                  </a:lnTo>
                  <a:lnTo>
                    <a:pt x="125" y="18"/>
                  </a:lnTo>
                  <a:lnTo>
                    <a:pt x="125" y="20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1" y="24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3" y="22"/>
                  </a:lnTo>
                  <a:lnTo>
                    <a:pt x="113" y="24"/>
                  </a:lnTo>
                  <a:lnTo>
                    <a:pt x="111" y="24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7" y="29"/>
                  </a:lnTo>
                  <a:lnTo>
                    <a:pt x="105" y="29"/>
                  </a:lnTo>
                  <a:lnTo>
                    <a:pt x="103" y="26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2" y="22"/>
                  </a:lnTo>
                  <a:lnTo>
                    <a:pt x="90" y="20"/>
                  </a:lnTo>
                  <a:lnTo>
                    <a:pt x="86" y="20"/>
                  </a:lnTo>
                  <a:lnTo>
                    <a:pt x="82" y="20"/>
                  </a:lnTo>
                  <a:lnTo>
                    <a:pt x="80" y="20"/>
                  </a:lnTo>
                  <a:lnTo>
                    <a:pt x="78" y="20"/>
                  </a:lnTo>
                  <a:lnTo>
                    <a:pt x="74" y="20"/>
                  </a:lnTo>
                  <a:lnTo>
                    <a:pt x="72" y="18"/>
                  </a:lnTo>
                  <a:lnTo>
                    <a:pt x="70" y="16"/>
                  </a:lnTo>
                  <a:lnTo>
                    <a:pt x="68" y="16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20"/>
                  </a:lnTo>
                  <a:lnTo>
                    <a:pt x="68" y="22"/>
                  </a:lnTo>
                  <a:lnTo>
                    <a:pt x="64" y="22"/>
                  </a:lnTo>
                  <a:lnTo>
                    <a:pt x="59" y="22"/>
                  </a:lnTo>
                  <a:lnTo>
                    <a:pt x="57" y="24"/>
                  </a:lnTo>
                  <a:lnTo>
                    <a:pt x="55" y="24"/>
                  </a:lnTo>
                  <a:lnTo>
                    <a:pt x="55" y="26"/>
                  </a:lnTo>
                  <a:lnTo>
                    <a:pt x="55" y="29"/>
                  </a:lnTo>
                  <a:lnTo>
                    <a:pt x="55" y="33"/>
                  </a:lnTo>
                  <a:lnTo>
                    <a:pt x="55" y="35"/>
                  </a:lnTo>
                  <a:lnTo>
                    <a:pt x="55" y="39"/>
                  </a:lnTo>
                  <a:lnTo>
                    <a:pt x="53" y="39"/>
                  </a:lnTo>
                  <a:lnTo>
                    <a:pt x="53" y="41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5" y="45"/>
                  </a:lnTo>
                  <a:lnTo>
                    <a:pt x="43" y="47"/>
                  </a:lnTo>
                  <a:lnTo>
                    <a:pt x="41" y="47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7" y="51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7"/>
                  </a:lnTo>
                  <a:lnTo>
                    <a:pt x="35" y="57"/>
                  </a:lnTo>
                  <a:lnTo>
                    <a:pt x="33" y="57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0" y="57"/>
                  </a:lnTo>
                  <a:lnTo>
                    <a:pt x="18" y="57"/>
                  </a:lnTo>
                  <a:lnTo>
                    <a:pt x="18" y="55"/>
                  </a:lnTo>
                  <a:lnTo>
                    <a:pt x="16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2" y="55"/>
                  </a:lnTo>
                  <a:lnTo>
                    <a:pt x="10" y="55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7"/>
                  </a:lnTo>
                  <a:lnTo>
                    <a:pt x="6" y="57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8" y="63"/>
                  </a:lnTo>
                  <a:lnTo>
                    <a:pt x="6" y="63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6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4" y="76"/>
                  </a:lnTo>
                  <a:lnTo>
                    <a:pt x="6" y="78"/>
                  </a:lnTo>
                  <a:lnTo>
                    <a:pt x="2" y="78"/>
                  </a:lnTo>
                  <a:lnTo>
                    <a:pt x="2" y="80"/>
                  </a:lnTo>
                  <a:lnTo>
                    <a:pt x="0" y="82"/>
                  </a:lnTo>
                  <a:lnTo>
                    <a:pt x="2" y="86"/>
                  </a:lnTo>
                  <a:lnTo>
                    <a:pt x="2" y="88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6" y="94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100"/>
                  </a:lnTo>
                  <a:lnTo>
                    <a:pt x="4" y="103"/>
                  </a:lnTo>
                  <a:lnTo>
                    <a:pt x="6" y="105"/>
                  </a:lnTo>
                  <a:lnTo>
                    <a:pt x="8" y="109"/>
                  </a:lnTo>
                  <a:lnTo>
                    <a:pt x="10" y="115"/>
                  </a:lnTo>
                  <a:lnTo>
                    <a:pt x="10" y="117"/>
                  </a:lnTo>
                  <a:lnTo>
                    <a:pt x="10" y="121"/>
                  </a:lnTo>
                  <a:lnTo>
                    <a:pt x="10" y="121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6" y="129"/>
                  </a:lnTo>
                  <a:lnTo>
                    <a:pt x="20" y="131"/>
                  </a:lnTo>
                  <a:lnTo>
                    <a:pt x="27" y="131"/>
                  </a:lnTo>
                  <a:lnTo>
                    <a:pt x="27" y="133"/>
                  </a:lnTo>
                  <a:lnTo>
                    <a:pt x="29" y="137"/>
                  </a:lnTo>
                  <a:lnTo>
                    <a:pt x="29" y="140"/>
                  </a:lnTo>
                  <a:lnTo>
                    <a:pt x="29" y="142"/>
                  </a:lnTo>
                  <a:lnTo>
                    <a:pt x="27" y="146"/>
                  </a:lnTo>
                  <a:lnTo>
                    <a:pt x="23" y="150"/>
                  </a:lnTo>
                  <a:lnTo>
                    <a:pt x="20" y="154"/>
                  </a:lnTo>
                  <a:lnTo>
                    <a:pt x="16" y="158"/>
                  </a:lnTo>
                  <a:lnTo>
                    <a:pt x="23" y="160"/>
                  </a:lnTo>
                  <a:lnTo>
                    <a:pt x="29" y="162"/>
                  </a:lnTo>
                  <a:lnTo>
                    <a:pt x="37" y="164"/>
                  </a:lnTo>
                  <a:lnTo>
                    <a:pt x="41" y="166"/>
                  </a:lnTo>
                  <a:lnTo>
                    <a:pt x="43" y="166"/>
                  </a:lnTo>
                  <a:lnTo>
                    <a:pt x="59" y="166"/>
                  </a:lnTo>
                  <a:lnTo>
                    <a:pt x="68" y="166"/>
                  </a:lnTo>
                  <a:lnTo>
                    <a:pt x="70" y="168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2" y="166"/>
                  </a:lnTo>
                  <a:lnTo>
                    <a:pt x="74" y="164"/>
                  </a:lnTo>
                  <a:lnTo>
                    <a:pt x="76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2" y="164"/>
                  </a:lnTo>
                  <a:lnTo>
                    <a:pt x="84" y="164"/>
                  </a:lnTo>
                  <a:lnTo>
                    <a:pt x="86" y="164"/>
                  </a:lnTo>
                  <a:lnTo>
                    <a:pt x="90" y="162"/>
                  </a:lnTo>
                  <a:lnTo>
                    <a:pt x="92" y="162"/>
                  </a:lnTo>
                  <a:lnTo>
                    <a:pt x="96" y="160"/>
                  </a:lnTo>
                  <a:lnTo>
                    <a:pt x="101" y="160"/>
                  </a:lnTo>
                  <a:lnTo>
                    <a:pt x="101" y="158"/>
                  </a:lnTo>
                  <a:lnTo>
                    <a:pt x="103" y="158"/>
                  </a:lnTo>
                  <a:lnTo>
                    <a:pt x="103" y="156"/>
                  </a:lnTo>
                  <a:lnTo>
                    <a:pt x="101" y="156"/>
                  </a:lnTo>
                  <a:lnTo>
                    <a:pt x="101" y="154"/>
                  </a:lnTo>
                  <a:lnTo>
                    <a:pt x="101" y="152"/>
                  </a:lnTo>
                  <a:lnTo>
                    <a:pt x="101" y="150"/>
                  </a:lnTo>
                  <a:lnTo>
                    <a:pt x="101" y="148"/>
                  </a:lnTo>
                  <a:lnTo>
                    <a:pt x="101" y="146"/>
                  </a:lnTo>
                  <a:lnTo>
                    <a:pt x="101" y="142"/>
                  </a:lnTo>
                  <a:lnTo>
                    <a:pt x="101" y="140"/>
                  </a:lnTo>
                  <a:lnTo>
                    <a:pt x="103" y="140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5" y="137"/>
                  </a:lnTo>
                  <a:lnTo>
                    <a:pt x="105" y="135"/>
                  </a:lnTo>
                  <a:lnTo>
                    <a:pt x="107" y="133"/>
                  </a:lnTo>
                  <a:lnTo>
                    <a:pt x="107" y="133"/>
                  </a:lnTo>
                  <a:lnTo>
                    <a:pt x="109" y="133"/>
                  </a:lnTo>
                  <a:lnTo>
                    <a:pt x="111" y="133"/>
                  </a:lnTo>
                  <a:lnTo>
                    <a:pt x="113" y="133"/>
                  </a:lnTo>
                  <a:lnTo>
                    <a:pt x="117" y="133"/>
                  </a:lnTo>
                  <a:lnTo>
                    <a:pt x="119" y="133"/>
                  </a:lnTo>
                  <a:lnTo>
                    <a:pt x="119" y="133"/>
                  </a:lnTo>
                  <a:lnTo>
                    <a:pt x="121" y="131"/>
                  </a:lnTo>
                  <a:lnTo>
                    <a:pt x="119" y="131"/>
                  </a:lnTo>
                  <a:lnTo>
                    <a:pt x="119" y="131"/>
                  </a:lnTo>
                  <a:lnTo>
                    <a:pt x="117" y="129"/>
                  </a:lnTo>
                  <a:lnTo>
                    <a:pt x="117" y="129"/>
                  </a:lnTo>
                  <a:lnTo>
                    <a:pt x="117" y="127"/>
                  </a:lnTo>
                  <a:lnTo>
                    <a:pt x="119" y="127"/>
                  </a:lnTo>
                  <a:lnTo>
                    <a:pt x="123" y="125"/>
                  </a:lnTo>
                  <a:lnTo>
                    <a:pt x="125" y="125"/>
                  </a:lnTo>
                  <a:lnTo>
                    <a:pt x="125" y="123"/>
                  </a:lnTo>
                  <a:lnTo>
                    <a:pt x="125" y="123"/>
                  </a:lnTo>
                  <a:lnTo>
                    <a:pt x="127" y="123"/>
                  </a:lnTo>
                  <a:lnTo>
                    <a:pt x="129" y="125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3" y="125"/>
                  </a:lnTo>
                  <a:lnTo>
                    <a:pt x="133" y="125"/>
                  </a:lnTo>
                  <a:lnTo>
                    <a:pt x="135" y="127"/>
                  </a:lnTo>
                  <a:lnTo>
                    <a:pt x="138" y="127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2" y="123"/>
                  </a:lnTo>
                  <a:lnTo>
                    <a:pt x="142" y="121"/>
                  </a:lnTo>
                  <a:lnTo>
                    <a:pt x="142" y="115"/>
                  </a:lnTo>
                  <a:lnTo>
                    <a:pt x="140" y="113"/>
                  </a:lnTo>
                  <a:lnTo>
                    <a:pt x="140" y="111"/>
                  </a:lnTo>
                  <a:lnTo>
                    <a:pt x="142" y="109"/>
                  </a:lnTo>
                  <a:lnTo>
                    <a:pt x="142" y="107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2" y="100"/>
                  </a:lnTo>
                  <a:lnTo>
                    <a:pt x="144" y="100"/>
                  </a:lnTo>
                  <a:lnTo>
                    <a:pt x="146" y="100"/>
                  </a:lnTo>
                  <a:lnTo>
                    <a:pt x="148" y="98"/>
                  </a:lnTo>
                  <a:lnTo>
                    <a:pt x="150" y="98"/>
                  </a:lnTo>
                  <a:lnTo>
                    <a:pt x="152" y="96"/>
                  </a:lnTo>
                  <a:lnTo>
                    <a:pt x="152" y="94"/>
                  </a:lnTo>
                  <a:lnTo>
                    <a:pt x="152" y="92"/>
                  </a:lnTo>
                  <a:lnTo>
                    <a:pt x="150" y="90"/>
                  </a:lnTo>
                  <a:lnTo>
                    <a:pt x="148" y="88"/>
                  </a:lnTo>
                  <a:lnTo>
                    <a:pt x="144" y="84"/>
                  </a:lnTo>
                  <a:lnTo>
                    <a:pt x="144" y="82"/>
                  </a:lnTo>
                  <a:lnTo>
                    <a:pt x="146" y="82"/>
                  </a:lnTo>
                  <a:lnTo>
                    <a:pt x="150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2" y="82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2" y="78"/>
                  </a:lnTo>
                  <a:lnTo>
                    <a:pt x="162" y="76"/>
                  </a:lnTo>
                  <a:lnTo>
                    <a:pt x="160" y="76"/>
                  </a:lnTo>
                  <a:lnTo>
                    <a:pt x="160" y="74"/>
                  </a:lnTo>
                  <a:lnTo>
                    <a:pt x="160" y="74"/>
                  </a:lnTo>
                  <a:lnTo>
                    <a:pt x="160" y="74"/>
                  </a:lnTo>
                  <a:lnTo>
                    <a:pt x="160" y="72"/>
                  </a:lnTo>
                  <a:lnTo>
                    <a:pt x="160" y="70"/>
                  </a:lnTo>
                  <a:lnTo>
                    <a:pt x="162" y="70"/>
                  </a:lnTo>
                  <a:lnTo>
                    <a:pt x="162" y="68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6" y="63"/>
                  </a:lnTo>
                  <a:lnTo>
                    <a:pt x="166" y="63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59"/>
                  </a:lnTo>
                  <a:lnTo>
                    <a:pt x="164" y="59"/>
                  </a:lnTo>
                  <a:lnTo>
                    <a:pt x="164" y="59"/>
                  </a:lnTo>
                  <a:lnTo>
                    <a:pt x="166" y="57"/>
                  </a:lnTo>
                  <a:lnTo>
                    <a:pt x="166" y="57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4" y="53"/>
                  </a:lnTo>
                  <a:lnTo>
                    <a:pt x="162" y="51"/>
                  </a:lnTo>
                  <a:lnTo>
                    <a:pt x="162" y="49"/>
                  </a:lnTo>
                  <a:lnTo>
                    <a:pt x="160" y="49"/>
                  </a:lnTo>
                  <a:lnTo>
                    <a:pt x="160" y="47"/>
                  </a:lnTo>
                  <a:lnTo>
                    <a:pt x="158" y="45"/>
                  </a:lnTo>
                  <a:lnTo>
                    <a:pt x="156" y="45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60" y="41"/>
                  </a:lnTo>
                  <a:lnTo>
                    <a:pt x="160" y="39"/>
                  </a:lnTo>
                  <a:lnTo>
                    <a:pt x="162" y="39"/>
                  </a:lnTo>
                  <a:lnTo>
                    <a:pt x="164" y="39"/>
                  </a:lnTo>
                  <a:lnTo>
                    <a:pt x="164" y="39"/>
                  </a:lnTo>
                  <a:lnTo>
                    <a:pt x="164" y="37"/>
                  </a:lnTo>
                  <a:lnTo>
                    <a:pt x="166" y="37"/>
                  </a:lnTo>
                  <a:lnTo>
                    <a:pt x="168" y="35"/>
                  </a:lnTo>
                  <a:lnTo>
                    <a:pt x="168" y="33"/>
                  </a:lnTo>
                  <a:lnTo>
                    <a:pt x="170" y="33"/>
                  </a:lnTo>
                  <a:lnTo>
                    <a:pt x="170" y="33"/>
                  </a:lnTo>
                  <a:lnTo>
                    <a:pt x="172" y="33"/>
                  </a:lnTo>
                  <a:lnTo>
                    <a:pt x="174" y="31"/>
                  </a:lnTo>
                  <a:lnTo>
                    <a:pt x="174" y="31"/>
                  </a:lnTo>
                  <a:lnTo>
                    <a:pt x="179" y="31"/>
                  </a:lnTo>
                  <a:lnTo>
                    <a:pt x="181" y="31"/>
                  </a:lnTo>
                  <a:lnTo>
                    <a:pt x="183" y="31"/>
                  </a:lnTo>
                  <a:lnTo>
                    <a:pt x="187" y="29"/>
                  </a:lnTo>
                  <a:lnTo>
                    <a:pt x="193" y="29"/>
                  </a:lnTo>
                  <a:lnTo>
                    <a:pt x="193" y="29"/>
                  </a:lnTo>
                  <a:lnTo>
                    <a:pt x="195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9" y="29"/>
                  </a:lnTo>
                  <a:lnTo>
                    <a:pt x="203" y="29"/>
                  </a:lnTo>
                  <a:lnTo>
                    <a:pt x="203" y="26"/>
                  </a:lnTo>
                  <a:lnTo>
                    <a:pt x="203" y="26"/>
                  </a:lnTo>
                  <a:lnTo>
                    <a:pt x="203" y="26"/>
                  </a:lnTo>
                  <a:lnTo>
                    <a:pt x="201" y="24"/>
                  </a:lnTo>
                  <a:lnTo>
                    <a:pt x="201" y="24"/>
                  </a:lnTo>
                  <a:lnTo>
                    <a:pt x="203" y="22"/>
                  </a:lnTo>
                  <a:lnTo>
                    <a:pt x="205" y="22"/>
                  </a:lnTo>
                  <a:lnTo>
                    <a:pt x="205" y="22"/>
                  </a:lnTo>
                  <a:lnTo>
                    <a:pt x="205" y="22"/>
                  </a:lnTo>
                  <a:lnTo>
                    <a:pt x="205" y="22"/>
                  </a:lnTo>
                  <a:lnTo>
                    <a:pt x="207" y="22"/>
                  </a:lnTo>
                  <a:lnTo>
                    <a:pt x="207" y="22"/>
                  </a:lnTo>
                  <a:lnTo>
                    <a:pt x="207" y="2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186" name="Rectangle 185">
            <a:extLst>
              <a:ext uri="{FF2B5EF4-FFF2-40B4-BE49-F238E27FC236}">
                <a16:creationId xmlns:a16="http://schemas.microsoft.com/office/drawing/2014/main" id="{A01DA16B-C3F2-3547-BAFA-C873F8764F6F}"/>
              </a:ext>
            </a:extLst>
          </p:cNvPr>
          <p:cNvSpPr/>
          <p:nvPr/>
        </p:nvSpPr>
        <p:spPr>
          <a:xfrm>
            <a:off x="7575409" y="1764627"/>
            <a:ext cx="3657599" cy="13816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Flecha S Medium" panose="02050703060505060204" pitchFamily="18" charset="0"/>
              <a:ea typeface="+mn-ea"/>
              <a:cs typeface="+mn-cs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C512AE54-4CE5-2247-BE8B-0270080194E6}"/>
              </a:ext>
            </a:extLst>
          </p:cNvPr>
          <p:cNvSpPr txBox="1"/>
          <p:nvPr/>
        </p:nvSpPr>
        <p:spPr>
          <a:xfrm>
            <a:off x="7853077" y="1778767"/>
            <a:ext cx="3096939" cy="13388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 panose="02050703060505060204" pitchFamily="18" charset="0"/>
                <a:ea typeface="+mn-ea"/>
                <a:cs typeface="+mn-cs"/>
              </a:rPr>
              <a:t>Americas 57%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/>
              </a:rPr>
              <a:t>Members &gt; 113,000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/>
              </a:rPr>
              <a:t>CFA Program Candidates &gt; 50,070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/>
              </a:rPr>
              <a:t>Societies: 92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+mn-ea"/>
              <a:cs typeface="Arial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9BB6D1E0-9756-C046-AEF9-12DE49A93937}"/>
              </a:ext>
            </a:extLst>
          </p:cNvPr>
          <p:cNvSpPr/>
          <p:nvPr/>
        </p:nvSpPr>
        <p:spPr>
          <a:xfrm>
            <a:off x="7590626" y="3291332"/>
            <a:ext cx="3657599" cy="138160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6EBDE"/>
              </a:solidFill>
              <a:effectLst/>
              <a:uLnTx/>
              <a:uFillTx/>
              <a:latin typeface="Flecha S Medium" panose="02050703060505060204" pitchFamily="18" charset="0"/>
              <a:ea typeface="+mn-ea"/>
              <a:cs typeface="+mn-cs"/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B14425FD-10B6-0C40-BA5B-97930C4EC307}"/>
              </a:ext>
            </a:extLst>
          </p:cNvPr>
          <p:cNvSpPr txBox="1"/>
          <p:nvPr/>
        </p:nvSpPr>
        <p:spPr>
          <a:xfrm>
            <a:off x="7853077" y="3351192"/>
            <a:ext cx="3096939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 panose="02050703060505060204" pitchFamily="18" charset="0"/>
                <a:ea typeface="+mn-ea"/>
                <a:cs typeface="+mn-cs"/>
              </a:rPr>
              <a:t>EMEA 22%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Members &gt; 47,000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CFA Program Candidates &gt; 40,595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Societies: 47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C7A3E65-E63B-084A-B2A8-A1A02BDE9F4F}"/>
              </a:ext>
            </a:extLst>
          </p:cNvPr>
          <p:cNvSpPr/>
          <p:nvPr/>
        </p:nvSpPr>
        <p:spPr>
          <a:xfrm>
            <a:off x="7557176" y="4839089"/>
            <a:ext cx="3657599" cy="1380477"/>
          </a:xfrm>
          <a:prstGeom prst="rect">
            <a:avLst/>
          </a:prstGeom>
          <a:solidFill>
            <a:srgbClr val="4476FF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4476FF"/>
              </a:solidFill>
              <a:effectLst/>
              <a:uLnTx/>
              <a:uFillTx/>
              <a:latin typeface="Flecha S Medium" panose="02050703060505060204" pitchFamily="18" charset="0"/>
              <a:ea typeface="+mn-ea"/>
              <a:cs typeface="+mn-cs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296255A3-8DBF-A84A-8B3D-F1B348E75A70}"/>
              </a:ext>
            </a:extLst>
          </p:cNvPr>
          <p:cNvSpPr txBox="1"/>
          <p:nvPr/>
        </p:nvSpPr>
        <p:spPr>
          <a:xfrm>
            <a:off x="7564090" y="4853229"/>
            <a:ext cx="3662590" cy="13388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 panose="02050703060505060204" pitchFamily="18" charset="0"/>
                <a:ea typeface="+mn-ea"/>
                <a:cs typeface="+mn-cs"/>
              </a:rPr>
              <a:t>Asia Pacific 21%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/>
              </a:rPr>
              <a:t>Members &gt; 44,000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/>
              </a:rPr>
              <a:t>CFA Program Candidates &gt; 117,560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/>
              </a:rPr>
              <a:t>Societies: 19</a:t>
            </a:r>
          </a:p>
        </p:txBody>
      </p:sp>
      <p:sp>
        <p:nvSpPr>
          <p:cNvPr id="192" name="Footer Placeholder 3">
            <a:extLst>
              <a:ext uri="{FF2B5EF4-FFF2-40B4-BE49-F238E27FC236}">
                <a16:creationId xmlns:a16="http://schemas.microsoft.com/office/drawing/2014/main" id="{352F63CB-018B-6E47-B928-7488FF0CB642}"/>
              </a:ext>
            </a:extLst>
          </p:cNvPr>
          <p:cNvSpPr txBox="1">
            <a:spLocks/>
          </p:cNvSpPr>
          <p:nvPr/>
        </p:nvSpPr>
        <p:spPr>
          <a:xfrm rot="16200000">
            <a:off x="9592348" y="3846110"/>
            <a:ext cx="36575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FA Breuer Text Light" panose="02000506040000020004" pitchFamily="2" charset="77"/>
                <a:ea typeface="Tahoma"/>
                <a:cs typeface="Tahoma"/>
              </a:rPr>
              <a:t>Data as of July 2025</a:t>
            </a: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FA Breuer Text Light" panose="02000506040000020004" pitchFamily="2" charset="77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60059"/>
                </a:solidFill>
                <a:effectLst/>
                <a:uLnTx/>
                <a:uFillTx/>
                <a:latin typeface="CFA Breuer Text Light" panose="02000506040000020004" pitchFamily="2" charset="77"/>
                <a:ea typeface="Tahoma"/>
                <a:cs typeface="Tahoma"/>
              </a:rPr>
              <a:t>In the mainland of China, CFA Institute accepts CFA Charterholders only. 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60059"/>
              </a:solidFill>
              <a:effectLst/>
              <a:uLnTx/>
              <a:uFillTx/>
              <a:latin typeface="CFA Breuer Text Light" panose="02000506040000020004" pitchFamily="2" charset="77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8C57A16F-7D28-664C-AFD2-083E83696301}"/>
              </a:ext>
            </a:extLst>
          </p:cNvPr>
          <p:cNvSpPr txBox="1"/>
          <p:nvPr/>
        </p:nvSpPr>
        <p:spPr>
          <a:xfrm>
            <a:off x="588290" y="5267564"/>
            <a:ext cx="655183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158 local societies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More than 205,000 members in 158 markets</a:t>
            </a:r>
          </a:p>
        </p:txBody>
      </p: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B987B503-E645-B74F-ABBC-580DFEED17FC}"/>
              </a:ext>
            </a:extLst>
          </p:cNvPr>
          <p:cNvGrpSpPr/>
          <p:nvPr/>
        </p:nvGrpSpPr>
        <p:grpSpPr>
          <a:xfrm>
            <a:off x="-197770" y="1915589"/>
            <a:ext cx="7171412" cy="3450135"/>
            <a:chOff x="-197770" y="1833218"/>
            <a:chExt cx="6160603" cy="2963839"/>
          </a:xfrm>
          <a:solidFill>
            <a:schemeClr val="accent4"/>
          </a:solidFill>
        </p:grpSpPr>
        <p:sp>
          <p:nvSpPr>
            <p:cNvPr id="195" name="Freeform 11">
              <a:extLst>
                <a:ext uri="{FF2B5EF4-FFF2-40B4-BE49-F238E27FC236}">
                  <a16:creationId xmlns:a16="http://schemas.microsoft.com/office/drawing/2014/main" id="{B99F9D49-897D-2D40-B50F-553EB63AAF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2495" y="3267602"/>
              <a:ext cx="259069" cy="251938"/>
            </a:xfrm>
            <a:custGeom>
              <a:avLst/>
              <a:gdLst>
                <a:gd name="T0" fmla="*/ 201 w 218"/>
                <a:gd name="T1" fmla="*/ 60 h 212"/>
                <a:gd name="T2" fmla="*/ 203 w 218"/>
                <a:gd name="T3" fmla="*/ 55 h 212"/>
                <a:gd name="T4" fmla="*/ 132 w 218"/>
                <a:gd name="T5" fmla="*/ 23 h 212"/>
                <a:gd name="T6" fmla="*/ 152 w 218"/>
                <a:gd name="T7" fmla="*/ 25 h 212"/>
                <a:gd name="T8" fmla="*/ 150 w 218"/>
                <a:gd name="T9" fmla="*/ 20 h 212"/>
                <a:gd name="T10" fmla="*/ 212 w 218"/>
                <a:gd name="T11" fmla="*/ 66 h 212"/>
                <a:gd name="T12" fmla="*/ 191 w 218"/>
                <a:gd name="T13" fmla="*/ 68 h 212"/>
                <a:gd name="T14" fmla="*/ 199 w 218"/>
                <a:gd name="T15" fmla="*/ 57 h 212"/>
                <a:gd name="T16" fmla="*/ 191 w 218"/>
                <a:gd name="T17" fmla="*/ 43 h 212"/>
                <a:gd name="T18" fmla="*/ 187 w 218"/>
                <a:gd name="T19" fmla="*/ 45 h 212"/>
                <a:gd name="T20" fmla="*/ 181 w 218"/>
                <a:gd name="T21" fmla="*/ 43 h 212"/>
                <a:gd name="T22" fmla="*/ 177 w 218"/>
                <a:gd name="T23" fmla="*/ 37 h 212"/>
                <a:gd name="T24" fmla="*/ 173 w 218"/>
                <a:gd name="T25" fmla="*/ 35 h 212"/>
                <a:gd name="T26" fmla="*/ 181 w 218"/>
                <a:gd name="T27" fmla="*/ 29 h 212"/>
                <a:gd name="T28" fmla="*/ 160 w 218"/>
                <a:gd name="T29" fmla="*/ 29 h 212"/>
                <a:gd name="T30" fmla="*/ 154 w 218"/>
                <a:gd name="T31" fmla="*/ 33 h 212"/>
                <a:gd name="T32" fmla="*/ 121 w 218"/>
                <a:gd name="T33" fmla="*/ 35 h 212"/>
                <a:gd name="T34" fmla="*/ 86 w 218"/>
                <a:gd name="T35" fmla="*/ 31 h 212"/>
                <a:gd name="T36" fmla="*/ 76 w 218"/>
                <a:gd name="T37" fmla="*/ 14 h 212"/>
                <a:gd name="T38" fmla="*/ 60 w 218"/>
                <a:gd name="T39" fmla="*/ 4 h 212"/>
                <a:gd name="T40" fmla="*/ 54 w 218"/>
                <a:gd name="T41" fmla="*/ 10 h 212"/>
                <a:gd name="T42" fmla="*/ 54 w 218"/>
                <a:gd name="T43" fmla="*/ 14 h 212"/>
                <a:gd name="T44" fmla="*/ 31 w 218"/>
                <a:gd name="T45" fmla="*/ 31 h 212"/>
                <a:gd name="T46" fmla="*/ 35 w 218"/>
                <a:gd name="T47" fmla="*/ 55 h 212"/>
                <a:gd name="T48" fmla="*/ 25 w 218"/>
                <a:gd name="T49" fmla="*/ 51 h 212"/>
                <a:gd name="T50" fmla="*/ 31 w 218"/>
                <a:gd name="T51" fmla="*/ 29 h 212"/>
                <a:gd name="T52" fmla="*/ 25 w 218"/>
                <a:gd name="T53" fmla="*/ 14 h 212"/>
                <a:gd name="T54" fmla="*/ 35 w 218"/>
                <a:gd name="T55" fmla="*/ 6 h 212"/>
                <a:gd name="T56" fmla="*/ 12 w 218"/>
                <a:gd name="T57" fmla="*/ 25 h 212"/>
                <a:gd name="T58" fmla="*/ 0 w 218"/>
                <a:gd name="T59" fmla="*/ 53 h 212"/>
                <a:gd name="T60" fmla="*/ 6 w 218"/>
                <a:gd name="T61" fmla="*/ 57 h 212"/>
                <a:gd name="T62" fmla="*/ 14 w 218"/>
                <a:gd name="T63" fmla="*/ 76 h 212"/>
                <a:gd name="T64" fmla="*/ 14 w 218"/>
                <a:gd name="T65" fmla="*/ 88 h 212"/>
                <a:gd name="T66" fmla="*/ 33 w 218"/>
                <a:gd name="T67" fmla="*/ 97 h 212"/>
                <a:gd name="T68" fmla="*/ 47 w 218"/>
                <a:gd name="T69" fmla="*/ 97 h 212"/>
                <a:gd name="T70" fmla="*/ 62 w 218"/>
                <a:gd name="T71" fmla="*/ 111 h 212"/>
                <a:gd name="T72" fmla="*/ 84 w 218"/>
                <a:gd name="T73" fmla="*/ 109 h 212"/>
                <a:gd name="T74" fmla="*/ 88 w 218"/>
                <a:gd name="T75" fmla="*/ 119 h 212"/>
                <a:gd name="T76" fmla="*/ 86 w 218"/>
                <a:gd name="T77" fmla="*/ 142 h 212"/>
                <a:gd name="T78" fmla="*/ 93 w 218"/>
                <a:gd name="T79" fmla="*/ 160 h 212"/>
                <a:gd name="T80" fmla="*/ 86 w 218"/>
                <a:gd name="T81" fmla="*/ 173 h 212"/>
                <a:gd name="T82" fmla="*/ 95 w 218"/>
                <a:gd name="T83" fmla="*/ 179 h 212"/>
                <a:gd name="T84" fmla="*/ 97 w 218"/>
                <a:gd name="T85" fmla="*/ 191 h 212"/>
                <a:gd name="T86" fmla="*/ 107 w 218"/>
                <a:gd name="T87" fmla="*/ 210 h 212"/>
                <a:gd name="T88" fmla="*/ 119 w 218"/>
                <a:gd name="T89" fmla="*/ 206 h 212"/>
                <a:gd name="T90" fmla="*/ 125 w 218"/>
                <a:gd name="T91" fmla="*/ 208 h 212"/>
                <a:gd name="T92" fmla="*/ 138 w 218"/>
                <a:gd name="T93" fmla="*/ 197 h 212"/>
                <a:gd name="T94" fmla="*/ 146 w 218"/>
                <a:gd name="T95" fmla="*/ 189 h 212"/>
                <a:gd name="T96" fmla="*/ 156 w 218"/>
                <a:gd name="T97" fmla="*/ 179 h 212"/>
                <a:gd name="T98" fmla="*/ 146 w 218"/>
                <a:gd name="T99" fmla="*/ 173 h 212"/>
                <a:gd name="T100" fmla="*/ 136 w 218"/>
                <a:gd name="T101" fmla="*/ 150 h 212"/>
                <a:gd name="T102" fmla="*/ 144 w 218"/>
                <a:gd name="T103" fmla="*/ 148 h 212"/>
                <a:gd name="T104" fmla="*/ 154 w 218"/>
                <a:gd name="T105" fmla="*/ 152 h 212"/>
                <a:gd name="T106" fmla="*/ 168 w 218"/>
                <a:gd name="T107" fmla="*/ 152 h 212"/>
                <a:gd name="T108" fmla="*/ 183 w 218"/>
                <a:gd name="T109" fmla="*/ 148 h 212"/>
                <a:gd name="T110" fmla="*/ 197 w 218"/>
                <a:gd name="T111" fmla="*/ 140 h 212"/>
                <a:gd name="T112" fmla="*/ 201 w 218"/>
                <a:gd name="T113" fmla="*/ 129 h 212"/>
                <a:gd name="T114" fmla="*/ 195 w 218"/>
                <a:gd name="T115" fmla="*/ 111 h 212"/>
                <a:gd name="T116" fmla="*/ 197 w 218"/>
                <a:gd name="T117" fmla="*/ 101 h 212"/>
                <a:gd name="T118" fmla="*/ 207 w 218"/>
                <a:gd name="T119" fmla="*/ 97 h 212"/>
                <a:gd name="T120" fmla="*/ 203 w 218"/>
                <a:gd name="T121" fmla="*/ 90 h 212"/>
                <a:gd name="T122" fmla="*/ 207 w 218"/>
                <a:gd name="T123" fmla="*/ 80 h 212"/>
                <a:gd name="T124" fmla="*/ 218 w 218"/>
                <a:gd name="T125" fmla="*/ 7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8" h="212">
                  <a:moveTo>
                    <a:pt x="201" y="57"/>
                  </a:moveTo>
                  <a:lnTo>
                    <a:pt x="199" y="57"/>
                  </a:lnTo>
                  <a:lnTo>
                    <a:pt x="197" y="60"/>
                  </a:lnTo>
                  <a:lnTo>
                    <a:pt x="197" y="60"/>
                  </a:lnTo>
                  <a:lnTo>
                    <a:pt x="197" y="62"/>
                  </a:lnTo>
                  <a:lnTo>
                    <a:pt x="199" y="62"/>
                  </a:lnTo>
                  <a:lnTo>
                    <a:pt x="199" y="62"/>
                  </a:lnTo>
                  <a:lnTo>
                    <a:pt x="201" y="60"/>
                  </a:lnTo>
                  <a:lnTo>
                    <a:pt x="201" y="60"/>
                  </a:lnTo>
                  <a:lnTo>
                    <a:pt x="201" y="57"/>
                  </a:lnTo>
                  <a:lnTo>
                    <a:pt x="201" y="57"/>
                  </a:lnTo>
                  <a:lnTo>
                    <a:pt x="201" y="57"/>
                  </a:lnTo>
                  <a:close/>
                  <a:moveTo>
                    <a:pt x="201" y="55"/>
                  </a:moveTo>
                  <a:lnTo>
                    <a:pt x="201" y="55"/>
                  </a:lnTo>
                  <a:lnTo>
                    <a:pt x="199" y="55"/>
                  </a:lnTo>
                  <a:lnTo>
                    <a:pt x="199" y="57"/>
                  </a:lnTo>
                  <a:lnTo>
                    <a:pt x="201" y="55"/>
                  </a:lnTo>
                  <a:lnTo>
                    <a:pt x="203" y="55"/>
                  </a:lnTo>
                  <a:lnTo>
                    <a:pt x="203" y="55"/>
                  </a:lnTo>
                  <a:lnTo>
                    <a:pt x="203" y="55"/>
                  </a:lnTo>
                  <a:lnTo>
                    <a:pt x="203" y="55"/>
                  </a:lnTo>
                  <a:lnTo>
                    <a:pt x="201" y="55"/>
                  </a:lnTo>
                  <a:lnTo>
                    <a:pt x="201" y="55"/>
                  </a:lnTo>
                  <a:close/>
                  <a:moveTo>
                    <a:pt x="132" y="25"/>
                  </a:moveTo>
                  <a:lnTo>
                    <a:pt x="134" y="25"/>
                  </a:lnTo>
                  <a:lnTo>
                    <a:pt x="134" y="23"/>
                  </a:lnTo>
                  <a:lnTo>
                    <a:pt x="132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32" y="25"/>
                  </a:lnTo>
                  <a:lnTo>
                    <a:pt x="132" y="25"/>
                  </a:lnTo>
                  <a:close/>
                  <a:moveTo>
                    <a:pt x="150" y="23"/>
                  </a:moveTo>
                  <a:lnTo>
                    <a:pt x="150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4" y="25"/>
                  </a:lnTo>
                  <a:lnTo>
                    <a:pt x="156" y="23"/>
                  </a:lnTo>
                  <a:lnTo>
                    <a:pt x="156" y="23"/>
                  </a:lnTo>
                  <a:lnTo>
                    <a:pt x="156" y="20"/>
                  </a:lnTo>
                  <a:lnTo>
                    <a:pt x="154" y="18"/>
                  </a:lnTo>
                  <a:lnTo>
                    <a:pt x="152" y="20"/>
                  </a:lnTo>
                  <a:lnTo>
                    <a:pt x="152" y="23"/>
                  </a:lnTo>
                  <a:lnTo>
                    <a:pt x="150" y="23"/>
                  </a:lnTo>
                  <a:lnTo>
                    <a:pt x="150" y="20"/>
                  </a:lnTo>
                  <a:lnTo>
                    <a:pt x="150" y="20"/>
                  </a:lnTo>
                  <a:lnTo>
                    <a:pt x="148" y="20"/>
                  </a:lnTo>
                  <a:lnTo>
                    <a:pt x="148" y="20"/>
                  </a:lnTo>
                  <a:lnTo>
                    <a:pt x="146" y="23"/>
                  </a:lnTo>
                  <a:lnTo>
                    <a:pt x="146" y="23"/>
                  </a:lnTo>
                  <a:lnTo>
                    <a:pt x="150" y="23"/>
                  </a:lnTo>
                  <a:close/>
                  <a:moveTo>
                    <a:pt x="218" y="72"/>
                  </a:moveTo>
                  <a:lnTo>
                    <a:pt x="214" y="68"/>
                  </a:lnTo>
                  <a:lnTo>
                    <a:pt x="212" y="66"/>
                  </a:lnTo>
                  <a:lnTo>
                    <a:pt x="210" y="66"/>
                  </a:lnTo>
                  <a:lnTo>
                    <a:pt x="207" y="66"/>
                  </a:lnTo>
                  <a:lnTo>
                    <a:pt x="207" y="68"/>
                  </a:lnTo>
                  <a:lnTo>
                    <a:pt x="201" y="66"/>
                  </a:lnTo>
                  <a:lnTo>
                    <a:pt x="201" y="66"/>
                  </a:lnTo>
                  <a:lnTo>
                    <a:pt x="197" y="68"/>
                  </a:lnTo>
                  <a:lnTo>
                    <a:pt x="195" y="68"/>
                  </a:lnTo>
                  <a:lnTo>
                    <a:pt x="193" y="70"/>
                  </a:lnTo>
                  <a:lnTo>
                    <a:pt x="191" y="68"/>
                  </a:lnTo>
                  <a:lnTo>
                    <a:pt x="191" y="68"/>
                  </a:lnTo>
                  <a:lnTo>
                    <a:pt x="189" y="66"/>
                  </a:lnTo>
                  <a:lnTo>
                    <a:pt x="195" y="66"/>
                  </a:lnTo>
                  <a:lnTo>
                    <a:pt x="195" y="64"/>
                  </a:lnTo>
                  <a:lnTo>
                    <a:pt x="197" y="62"/>
                  </a:lnTo>
                  <a:lnTo>
                    <a:pt x="197" y="60"/>
                  </a:lnTo>
                  <a:lnTo>
                    <a:pt x="197" y="60"/>
                  </a:lnTo>
                  <a:lnTo>
                    <a:pt x="197" y="57"/>
                  </a:lnTo>
                  <a:lnTo>
                    <a:pt x="199" y="57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201" y="53"/>
                  </a:lnTo>
                  <a:lnTo>
                    <a:pt x="203" y="51"/>
                  </a:lnTo>
                  <a:lnTo>
                    <a:pt x="201" y="51"/>
                  </a:lnTo>
                  <a:lnTo>
                    <a:pt x="199" y="49"/>
                  </a:lnTo>
                  <a:lnTo>
                    <a:pt x="195" y="47"/>
                  </a:lnTo>
                  <a:lnTo>
                    <a:pt x="195" y="47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89" y="43"/>
                  </a:lnTo>
                  <a:lnTo>
                    <a:pt x="187" y="43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5" y="43"/>
                  </a:lnTo>
                  <a:lnTo>
                    <a:pt x="183" y="41"/>
                  </a:lnTo>
                  <a:lnTo>
                    <a:pt x="183" y="41"/>
                  </a:lnTo>
                  <a:lnTo>
                    <a:pt x="183" y="41"/>
                  </a:lnTo>
                  <a:lnTo>
                    <a:pt x="181" y="41"/>
                  </a:lnTo>
                  <a:lnTo>
                    <a:pt x="181" y="41"/>
                  </a:lnTo>
                  <a:lnTo>
                    <a:pt x="181" y="43"/>
                  </a:lnTo>
                  <a:lnTo>
                    <a:pt x="181" y="43"/>
                  </a:lnTo>
                  <a:lnTo>
                    <a:pt x="181" y="43"/>
                  </a:lnTo>
                  <a:lnTo>
                    <a:pt x="181" y="43"/>
                  </a:lnTo>
                  <a:lnTo>
                    <a:pt x="181" y="43"/>
                  </a:lnTo>
                  <a:lnTo>
                    <a:pt x="179" y="43"/>
                  </a:lnTo>
                  <a:lnTo>
                    <a:pt x="179" y="45"/>
                  </a:lnTo>
                  <a:lnTo>
                    <a:pt x="179" y="45"/>
                  </a:lnTo>
                  <a:lnTo>
                    <a:pt x="179" y="45"/>
                  </a:lnTo>
                  <a:lnTo>
                    <a:pt x="177" y="41"/>
                  </a:lnTo>
                  <a:lnTo>
                    <a:pt x="177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9"/>
                  </a:lnTo>
                  <a:lnTo>
                    <a:pt x="173" y="39"/>
                  </a:lnTo>
                  <a:lnTo>
                    <a:pt x="173" y="39"/>
                  </a:lnTo>
                  <a:lnTo>
                    <a:pt x="173" y="39"/>
                  </a:lnTo>
                  <a:lnTo>
                    <a:pt x="173" y="37"/>
                  </a:lnTo>
                  <a:lnTo>
                    <a:pt x="173" y="35"/>
                  </a:lnTo>
                  <a:lnTo>
                    <a:pt x="173" y="35"/>
                  </a:lnTo>
                  <a:lnTo>
                    <a:pt x="173" y="33"/>
                  </a:lnTo>
                  <a:lnTo>
                    <a:pt x="171" y="33"/>
                  </a:lnTo>
                  <a:lnTo>
                    <a:pt x="171" y="33"/>
                  </a:lnTo>
                  <a:lnTo>
                    <a:pt x="171" y="31"/>
                  </a:lnTo>
                  <a:lnTo>
                    <a:pt x="171" y="31"/>
                  </a:lnTo>
                  <a:lnTo>
                    <a:pt x="173" y="31"/>
                  </a:lnTo>
                  <a:lnTo>
                    <a:pt x="179" y="31"/>
                  </a:lnTo>
                  <a:lnTo>
                    <a:pt x="181" y="29"/>
                  </a:lnTo>
                  <a:lnTo>
                    <a:pt x="183" y="29"/>
                  </a:lnTo>
                  <a:lnTo>
                    <a:pt x="185" y="29"/>
                  </a:lnTo>
                  <a:lnTo>
                    <a:pt x="187" y="27"/>
                  </a:lnTo>
                  <a:lnTo>
                    <a:pt x="181" y="29"/>
                  </a:lnTo>
                  <a:lnTo>
                    <a:pt x="173" y="27"/>
                  </a:lnTo>
                  <a:lnTo>
                    <a:pt x="168" y="27"/>
                  </a:lnTo>
                  <a:lnTo>
                    <a:pt x="168" y="27"/>
                  </a:lnTo>
                  <a:lnTo>
                    <a:pt x="164" y="27"/>
                  </a:lnTo>
                  <a:lnTo>
                    <a:pt x="160" y="29"/>
                  </a:lnTo>
                  <a:lnTo>
                    <a:pt x="154" y="29"/>
                  </a:lnTo>
                  <a:lnTo>
                    <a:pt x="150" y="29"/>
                  </a:lnTo>
                  <a:lnTo>
                    <a:pt x="148" y="29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6" y="31"/>
                  </a:lnTo>
                  <a:lnTo>
                    <a:pt x="156" y="33"/>
                  </a:lnTo>
                  <a:lnTo>
                    <a:pt x="154" y="33"/>
                  </a:lnTo>
                  <a:lnTo>
                    <a:pt x="150" y="33"/>
                  </a:lnTo>
                  <a:lnTo>
                    <a:pt x="138" y="39"/>
                  </a:lnTo>
                  <a:lnTo>
                    <a:pt x="136" y="39"/>
                  </a:lnTo>
                  <a:lnTo>
                    <a:pt x="136" y="39"/>
                  </a:lnTo>
                  <a:lnTo>
                    <a:pt x="134" y="39"/>
                  </a:lnTo>
                  <a:lnTo>
                    <a:pt x="129" y="39"/>
                  </a:lnTo>
                  <a:lnTo>
                    <a:pt x="127" y="37"/>
                  </a:lnTo>
                  <a:lnTo>
                    <a:pt x="125" y="37"/>
                  </a:lnTo>
                  <a:lnTo>
                    <a:pt x="121" y="35"/>
                  </a:lnTo>
                  <a:lnTo>
                    <a:pt x="119" y="33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15" y="29"/>
                  </a:lnTo>
                  <a:lnTo>
                    <a:pt x="105" y="29"/>
                  </a:lnTo>
                  <a:lnTo>
                    <a:pt x="101" y="31"/>
                  </a:lnTo>
                  <a:lnTo>
                    <a:pt x="95" y="31"/>
                  </a:lnTo>
                  <a:lnTo>
                    <a:pt x="90" y="33"/>
                  </a:lnTo>
                  <a:lnTo>
                    <a:pt x="86" y="31"/>
                  </a:lnTo>
                  <a:lnTo>
                    <a:pt x="84" y="31"/>
                  </a:lnTo>
                  <a:lnTo>
                    <a:pt x="82" y="29"/>
                  </a:lnTo>
                  <a:lnTo>
                    <a:pt x="82" y="27"/>
                  </a:lnTo>
                  <a:lnTo>
                    <a:pt x="84" y="25"/>
                  </a:lnTo>
                  <a:lnTo>
                    <a:pt x="82" y="23"/>
                  </a:lnTo>
                  <a:lnTo>
                    <a:pt x="82" y="20"/>
                  </a:lnTo>
                  <a:lnTo>
                    <a:pt x="82" y="18"/>
                  </a:lnTo>
                  <a:lnTo>
                    <a:pt x="78" y="16"/>
                  </a:lnTo>
                  <a:lnTo>
                    <a:pt x="76" y="14"/>
                  </a:lnTo>
                  <a:lnTo>
                    <a:pt x="72" y="14"/>
                  </a:lnTo>
                  <a:lnTo>
                    <a:pt x="7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2" y="14"/>
                  </a:lnTo>
                  <a:lnTo>
                    <a:pt x="62" y="12"/>
                  </a:lnTo>
                  <a:lnTo>
                    <a:pt x="60" y="10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8" y="0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0" y="12"/>
                  </a:lnTo>
                  <a:lnTo>
                    <a:pt x="60" y="14"/>
                  </a:lnTo>
                  <a:lnTo>
                    <a:pt x="58" y="14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47" y="16"/>
                  </a:lnTo>
                  <a:lnTo>
                    <a:pt x="43" y="18"/>
                  </a:lnTo>
                  <a:lnTo>
                    <a:pt x="35" y="23"/>
                  </a:lnTo>
                  <a:lnTo>
                    <a:pt x="33" y="23"/>
                  </a:lnTo>
                  <a:lnTo>
                    <a:pt x="33" y="25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31" y="31"/>
                  </a:lnTo>
                  <a:lnTo>
                    <a:pt x="31" y="33"/>
                  </a:lnTo>
                  <a:lnTo>
                    <a:pt x="33" y="35"/>
                  </a:lnTo>
                  <a:lnTo>
                    <a:pt x="35" y="37"/>
                  </a:lnTo>
                  <a:lnTo>
                    <a:pt x="35" y="41"/>
                  </a:lnTo>
                  <a:lnTo>
                    <a:pt x="37" y="43"/>
                  </a:lnTo>
                  <a:lnTo>
                    <a:pt x="37" y="45"/>
                  </a:lnTo>
                  <a:lnTo>
                    <a:pt x="37" y="49"/>
                  </a:lnTo>
                  <a:lnTo>
                    <a:pt x="37" y="53"/>
                  </a:lnTo>
                  <a:lnTo>
                    <a:pt x="35" y="55"/>
                  </a:lnTo>
                  <a:lnTo>
                    <a:pt x="33" y="55"/>
                  </a:lnTo>
                  <a:lnTo>
                    <a:pt x="33" y="57"/>
                  </a:lnTo>
                  <a:lnTo>
                    <a:pt x="29" y="57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7" y="55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3" y="49"/>
                  </a:lnTo>
                  <a:lnTo>
                    <a:pt x="23" y="47"/>
                  </a:lnTo>
                  <a:lnTo>
                    <a:pt x="21" y="43"/>
                  </a:lnTo>
                  <a:lnTo>
                    <a:pt x="23" y="39"/>
                  </a:lnTo>
                  <a:lnTo>
                    <a:pt x="25" y="37"/>
                  </a:lnTo>
                  <a:lnTo>
                    <a:pt x="27" y="35"/>
                  </a:lnTo>
                  <a:lnTo>
                    <a:pt x="29" y="33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7" y="20"/>
                  </a:lnTo>
                  <a:lnTo>
                    <a:pt x="27" y="18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33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3" y="8"/>
                  </a:lnTo>
                  <a:lnTo>
                    <a:pt x="29" y="8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1" y="18"/>
                  </a:lnTo>
                  <a:lnTo>
                    <a:pt x="17" y="20"/>
                  </a:lnTo>
                  <a:lnTo>
                    <a:pt x="14" y="20"/>
                  </a:lnTo>
                  <a:lnTo>
                    <a:pt x="14" y="23"/>
                  </a:lnTo>
                  <a:lnTo>
                    <a:pt x="12" y="25"/>
                  </a:lnTo>
                  <a:lnTo>
                    <a:pt x="12" y="27"/>
                  </a:lnTo>
                  <a:lnTo>
                    <a:pt x="8" y="31"/>
                  </a:lnTo>
                  <a:lnTo>
                    <a:pt x="8" y="37"/>
                  </a:lnTo>
                  <a:lnTo>
                    <a:pt x="6" y="39"/>
                  </a:lnTo>
                  <a:lnTo>
                    <a:pt x="6" y="45"/>
                  </a:lnTo>
                  <a:lnTo>
                    <a:pt x="4" y="47"/>
                  </a:lnTo>
                  <a:lnTo>
                    <a:pt x="4" y="49"/>
                  </a:lnTo>
                  <a:lnTo>
                    <a:pt x="2" y="51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4" y="55"/>
                  </a:lnTo>
                  <a:lnTo>
                    <a:pt x="4" y="53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7"/>
                  </a:lnTo>
                  <a:lnTo>
                    <a:pt x="8" y="55"/>
                  </a:lnTo>
                  <a:lnTo>
                    <a:pt x="8" y="57"/>
                  </a:lnTo>
                  <a:lnTo>
                    <a:pt x="10" y="62"/>
                  </a:lnTo>
                  <a:lnTo>
                    <a:pt x="10" y="66"/>
                  </a:lnTo>
                  <a:lnTo>
                    <a:pt x="12" y="68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4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2" y="82"/>
                  </a:lnTo>
                  <a:lnTo>
                    <a:pt x="12" y="8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7" y="88"/>
                  </a:lnTo>
                  <a:lnTo>
                    <a:pt x="17" y="90"/>
                  </a:lnTo>
                  <a:lnTo>
                    <a:pt x="19" y="95"/>
                  </a:lnTo>
                  <a:lnTo>
                    <a:pt x="21" y="95"/>
                  </a:lnTo>
                  <a:lnTo>
                    <a:pt x="21" y="97"/>
                  </a:lnTo>
                  <a:lnTo>
                    <a:pt x="23" y="95"/>
                  </a:lnTo>
                  <a:lnTo>
                    <a:pt x="27" y="95"/>
                  </a:lnTo>
                  <a:lnTo>
                    <a:pt x="29" y="95"/>
                  </a:lnTo>
                  <a:lnTo>
                    <a:pt x="33" y="97"/>
                  </a:lnTo>
                  <a:lnTo>
                    <a:pt x="33" y="97"/>
                  </a:lnTo>
                  <a:lnTo>
                    <a:pt x="35" y="97"/>
                  </a:lnTo>
                  <a:lnTo>
                    <a:pt x="39" y="95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43" y="95"/>
                  </a:lnTo>
                  <a:lnTo>
                    <a:pt x="45" y="95"/>
                  </a:lnTo>
                  <a:lnTo>
                    <a:pt x="45" y="97"/>
                  </a:lnTo>
                  <a:lnTo>
                    <a:pt x="47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51" y="97"/>
                  </a:lnTo>
                  <a:lnTo>
                    <a:pt x="54" y="101"/>
                  </a:lnTo>
                  <a:lnTo>
                    <a:pt x="56" y="105"/>
                  </a:lnTo>
                  <a:lnTo>
                    <a:pt x="58" y="109"/>
                  </a:lnTo>
                  <a:lnTo>
                    <a:pt x="60" y="111"/>
                  </a:lnTo>
                  <a:lnTo>
                    <a:pt x="60" y="111"/>
                  </a:lnTo>
                  <a:lnTo>
                    <a:pt x="62" y="111"/>
                  </a:lnTo>
                  <a:lnTo>
                    <a:pt x="62" y="111"/>
                  </a:lnTo>
                  <a:lnTo>
                    <a:pt x="64" y="113"/>
                  </a:lnTo>
                  <a:lnTo>
                    <a:pt x="64" y="111"/>
                  </a:lnTo>
                  <a:lnTo>
                    <a:pt x="66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6" y="111"/>
                  </a:lnTo>
                  <a:lnTo>
                    <a:pt x="82" y="111"/>
                  </a:lnTo>
                  <a:lnTo>
                    <a:pt x="84" y="109"/>
                  </a:lnTo>
                  <a:lnTo>
                    <a:pt x="86" y="109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93" y="111"/>
                  </a:lnTo>
                  <a:lnTo>
                    <a:pt x="93" y="111"/>
                  </a:lnTo>
                  <a:lnTo>
                    <a:pt x="93" y="113"/>
                  </a:lnTo>
                  <a:lnTo>
                    <a:pt x="93" y="115"/>
                  </a:lnTo>
                  <a:lnTo>
                    <a:pt x="90" y="117"/>
                  </a:lnTo>
                  <a:lnTo>
                    <a:pt x="88" y="119"/>
                  </a:lnTo>
                  <a:lnTo>
                    <a:pt x="88" y="121"/>
                  </a:lnTo>
                  <a:lnTo>
                    <a:pt x="88" y="123"/>
                  </a:lnTo>
                  <a:lnTo>
                    <a:pt x="86" y="125"/>
                  </a:lnTo>
                  <a:lnTo>
                    <a:pt x="86" y="127"/>
                  </a:lnTo>
                  <a:lnTo>
                    <a:pt x="86" y="129"/>
                  </a:lnTo>
                  <a:lnTo>
                    <a:pt x="86" y="134"/>
                  </a:lnTo>
                  <a:lnTo>
                    <a:pt x="84" y="138"/>
                  </a:lnTo>
                  <a:lnTo>
                    <a:pt x="84" y="142"/>
                  </a:lnTo>
                  <a:lnTo>
                    <a:pt x="86" y="142"/>
                  </a:lnTo>
                  <a:lnTo>
                    <a:pt x="86" y="144"/>
                  </a:lnTo>
                  <a:lnTo>
                    <a:pt x="86" y="146"/>
                  </a:lnTo>
                  <a:lnTo>
                    <a:pt x="86" y="148"/>
                  </a:lnTo>
                  <a:lnTo>
                    <a:pt x="86" y="150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3" y="160"/>
                  </a:lnTo>
                  <a:lnTo>
                    <a:pt x="93" y="162"/>
                  </a:lnTo>
                  <a:lnTo>
                    <a:pt x="93" y="162"/>
                  </a:lnTo>
                  <a:lnTo>
                    <a:pt x="93" y="162"/>
                  </a:lnTo>
                  <a:lnTo>
                    <a:pt x="93" y="162"/>
                  </a:lnTo>
                  <a:lnTo>
                    <a:pt x="90" y="166"/>
                  </a:lnTo>
                  <a:lnTo>
                    <a:pt x="84" y="171"/>
                  </a:lnTo>
                  <a:lnTo>
                    <a:pt x="84" y="173"/>
                  </a:lnTo>
                  <a:lnTo>
                    <a:pt x="84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8" y="173"/>
                  </a:lnTo>
                  <a:lnTo>
                    <a:pt x="88" y="173"/>
                  </a:lnTo>
                  <a:lnTo>
                    <a:pt x="88" y="175"/>
                  </a:lnTo>
                  <a:lnTo>
                    <a:pt x="88" y="175"/>
                  </a:lnTo>
                  <a:lnTo>
                    <a:pt x="90" y="175"/>
                  </a:lnTo>
                  <a:lnTo>
                    <a:pt x="93" y="177"/>
                  </a:lnTo>
                  <a:lnTo>
                    <a:pt x="93" y="179"/>
                  </a:lnTo>
                  <a:lnTo>
                    <a:pt x="95" y="179"/>
                  </a:lnTo>
                  <a:lnTo>
                    <a:pt x="95" y="181"/>
                  </a:lnTo>
                  <a:lnTo>
                    <a:pt x="95" y="181"/>
                  </a:lnTo>
                  <a:lnTo>
                    <a:pt x="95" y="183"/>
                  </a:lnTo>
                  <a:lnTo>
                    <a:pt x="95" y="185"/>
                  </a:lnTo>
                  <a:lnTo>
                    <a:pt x="97" y="185"/>
                  </a:lnTo>
                  <a:lnTo>
                    <a:pt x="97" y="187"/>
                  </a:lnTo>
                  <a:lnTo>
                    <a:pt x="97" y="187"/>
                  </a:lnTo>
                  <a:lnTo>
                    <a:pt x="97" y="189"/>
                  </a:lnTo>
                  <a:lnTo>
                    <a:pt x="97" y="191"/>
                  </a:lnTo>
                  <a:lnTo>
                    <a:pt x="99" y="193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9" y="197"/>
                  </a:lnTo>
                  <a:lnTo>
                    <a:pt x="99" y="199"/>
                  </a:lnTo>
                  <a:lnTo>
                    <a:pt x="99" y="201"/>
                  </a:lnTo>
                  <a:lnTo>
                    <a:pt x="99" y="201"/>
                  </a:lnTo>
                  <a:lnTo>
                    <a:pt x="103" y="206"/>
                  </a:lnTo>
                  <a:lnTo>
                    <a:pt x="107" y="210"/>
                  </a:lnTo>
                  <a:lnTo>
                    <a:pt x="109" y="210"/>
                  </a:lnTo>
                  <a:lnTo>
                    <a:pt x="109" y="210"/>
                  </a:lnTo>
                  <a:lnTo>
                    <a:pt x="111" y="210"/>
                  </a:lnTo>
                  <a:lnTo>
                    <a:pt x="113" y="210"/>
                  </a:lnTo>
                  <a:lnTo>
                    <a:pt x="113" y="210"/>
                  </a:lnTo>
                  <a:lnTo>
                    <a:pt x="115" y="208"/>
                  </a:lnTo>
                  <a:lnTo>
                    <a:pt x="117" y="208"/>
                  </a:lnTo>
                  <a:lnTo>
                    <a:pt x="119" y="206"/>
                  </a:lnTo>
                  <a:lnTo>
                    <a:pt x="119" y="206"/>
                  </a:lnTo>
                  <a:lnTo>
                    <a:pt x="119" y="206"/>
                  </a:lnTo>
                  <a:lnTo>
                    <a:pt x="121" y="208"/>
                  </a:lnTo>
                  <a:lnTo>
                    <a:pt x="121" y="210"/>
                  </a:lnTo>
                  <a:lnTo>
                    <a:pt x="121" y="210"/>
                  </a:lnTo>
                  <a:lnTo>
                    <a:pt x="121" y="212"/>
                  </a:lnTo>
                  <a:lnTo>
                    <a:pt x="121" y="212"/>
                  </a:lnTo>
                  <a:lnTo>
                    <a:pt x="123" y="210"/>
                  </a:lnTo>
                  <a:lnTo>
                    <a:pt x="123" y="208"/>
                  </a:lnTo>
                  <a:lnTo>
                    <a:pt x="125" y="208"/>
                  </a:lnTo>
                  <a:lnTo>
                    <a:pt x="127" y="206"/>
                  </a:lnTo>
                  <a:lnTo>
                    <a:pt x="127" y="203"/>
                  </a:lnTo>
                  <a:lnTo>
                    <a:pt x="129" y="203"/>
                  </a:lnTo>
                  <a:lnTo>
                    <a:pt x="132" y="201"/>
                  </a:lnTo>
                  <a:lnTo>
                    <a:pt x="134" y="201"/>
                  </a:lnTo>
                  <a:lnTo>
                    <a:pt x="134" y="201"/>
                  </a:lnTo>
                  <a:lnTo>
                    <a:pt x="136" y="199"/>
                  </a:lnTo>
                  <a:lnTo>
                    <a:pt x="138" y="199"/>
                  </a:lnTo>
                  <a:lnTo>
                    <a:pt x="138" y="197"/>
                  </a:lnTo>
                  <a:lnTo>
                    <a:pt x="138" y="197"/>
                  </a:lnTo>
                  <a:lnTo>
                    <a:pt x="140" y="197"/>
                  </a:lnTo>
                  <a:lnTo>
                    <a:pt x="142" y="197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6" y="191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52" y="187"/>
                  </a:lnTo>
                  <a:lnTo>
                    <a:pt x="154" y="185"/>
                  </a:lnTo>
                  <a:lnTo>
                    <a:pt x="154" y="185"/>
                  </a:lnTo>
                  <a:lnTo>
                    <a:pt x="156" y="185"/>
                  </a:lnTo>
                  <a:lnTo>
                    <a:pt x="156" y="183"/>
                  </a:lnTo>
                  <a:lnTo>
                    <a:pt x="156" y="181"/>
                  </a:lnTo>
                  <a:lnTo>
                    <a:pt x="156" y="179"/>
                  </a:lnTo>
                  <a:lnTo>
                    <a:pt x="154" y="179"/>
                  </a:lnTo>
                  <a:lnTo>
                    <a:pt x="152" y="179"/>
                  </a:lnTo>
                  <a:lnTo>
                    <a:pt x="148" y="179"/>
                  </a:lnTo>
                  <a:lnTo>
                    <a:pt x="146" y="179"/>
                  </a:lnTo>
                  <a:lnTo>
                    <a:pt x="146" y="179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4" y="169"/>
                  </a:lnTo>
                  <a:lnTo>
                    <a:pt x="144" y="164"/>
                  </a:lnTo>
                  <a:lnTo>
                    <a:pt x="144" y="162"/>
                  </a:lnTo>
                  <a:lnTo>
                    <a:pt x="144" y="160"/>
                  </a:lnTo>
                  <a:lnTo>
                    <a:pt x="144" y="158"/>
                  </a:lnTo>
                  <a:lnTo>
                    <a:pt x="142" y="156"/>
                  </a:lnTo>
                  <a:lnTo>
                    <a:pt x="138" y="152"/>
                  </a:lnTo>
                  <a:lnTo>
                    <a:pt x="136" y="150"/>
                  </a:lnTo>
                  <a:lnTo>
                    <a:pt x="136" y="150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6" y="146"/>
                  </a:lnTo>
                  <a:lnTo>
                    <a:pt x="136" y="146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46" y="152"/>
                  </a:lnTo>
                  <a:lnTo>
                    <a:pt x="148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4" y="152"/>
                  </a:lnTo>
                  <a:lnTo>
                    <a:pt x="154" y="152"/>
                  </a:lnTo>
                  <a:lnTo>
                    <a:pt x="156" y="152"/>
                  </a:lnTo>
                  <a:lnTo>
                    <a:pt x="158" y="152"/>
                  </a:lnTo>
                  <a:lnTo>
                    <a:pt x="158" y="152"/>
                  </a:lnTo>
                  <a:lnTo>
                    <a:pt x="160" y="154"/>
                  </a:lnTo>
                  <a:lnTo>
                    <a:pt x="162" y="156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6" y="156"/>
                  </a:lnTo>
                  <a:lnTo>
                    <a:pt x="168" y="152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71" y="150"/>
                  </a:lnTo>
                  <a:lnTo>
                    <a:pt x="171" y="150"/>
                  </a:lnTo>
                  <a:lnTo>
                    <a:pt x="173" y="148"/>
                  </a:lnTo>
                  <a:lnTo>
                    <a:pt x="173" y="148"/>
                  </a:lnTo>
                  <a:lnTo>
                    <a:pt x="177" y="148"/>
                  </a:lnTo>
                  <a:lnTo>
                    <a:pt x="179" y="148"/>
                  </a:lnTo>
                  <a:lnTo>
                    <a:pt x="183" y="148"/>
                  </a:lnTo>
                  <a:lnTo>
                    <a:pt x="187" y="146"/>
                  </a:lnTo>
                  <a:lnTo>
                    <a:pt x="189" y="144"/>
                  </a:lnTo>
                  <a:lnTo>
                    <a:pt x="189" y="142"/>
                  </a:lnTo>
                  <a:lnTo>
                    <a:pt x="191" y="142"/>
                  </a:lnTo>
                  <a:lnTo>
                    <a:pt x="193" y="142"/>
                  </a:lnTo>
                  <a:lnTo>
                    <a:pt x="195" y="142"/>
                  </a:lnTo>
                  <a:lnTo>
                    <a:pt x="195" y="142"/>
                  </a:lnTo>
                  <a:lnTo>
                    <a:pt x="195" y="142"/>
                  </a:lnTo>
                  <a:lnTo>
                    <a:pt x="197" y="140"/>
                  </a:lnTo>
                  <a:lnTo>
                    <a:pt x="197" y="138"/>
                  </a:lnTo>
                  <a:lnTo>
                    <a:pt x="199" y="138"/>
                  </a:lnTo>
                  <a:lnTo>
                    <a:pt x="199" y="136"/>
                  </a:lnTo>
                  <a:lnTo>
                    <a:pt x="201" y="136"/>
                  </a:lnTo>
                  <a:lnTo>
                    <a:pt x="201" y="134"/>
                  </a:lnTo>
                  <a:lnTo>
                    <a:pt x="203" y="134"/>
                  </a:lnTo>
                  <a:lnTo>
                    <a:pt x="203" y="132"/>
                  </a:lnTo>
                  <a:lnTo>
                    <a:pt x="201" y="132"/>
                  </a:lnTo>
                  <a:lnTo>
                    <a:pt x="201" y="129"/>
                  </a:lnTo>
                  <a:lnTo>
                    <a:pt x="201" y="129"/>
                  </a:lnTo>
                  <a:lnTo>
                    <a:pt x="201" y="129"/>
                  </a:lnTo>
                  <a:lnTo>
                    <a:pt x="197" y="123"/>
                  </a:lnTo>
                  <a:lnTo>
                    <a:pt x="193" y="119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3"/>
                  </a:lnTo>
                  <a:lnTo>
                    <a:pt x="193" y="111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5" y="107"/>
                  </a:lnTo>
                  <a:lnTo>
                    <a:pt x="195" y="105"/>
                  </a:lnTo>
                  <a:lnTo>
                    <a:pt x="195" y="105"/>
                  </a:lnTo>
                  <a:lnTo>
                    <a:pt x="193" y="103"/>
                  </a:lnTo>
                  <a:lnTo>
                    <a:pt x="195" y="103"/>
                  </a:lnTo>
                  <a:lnTo>
                    <a:pt x="195" y="101"/>
                  </a:lnTo>
                  <a:lnTo>
                    <a:pt x="195" y="101"/>
                  </a:lnTo>
                  <a:lnTo>
                    <a:pt x="197" y="101"/>
                  </a:lnTo>
                  <a:lnTo>
                    <a:pt x="199" y="101"/>
                  </a:lnTo>
                  <a:lnTo>
                    <a:pt x="199" y="101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101"/>
                  </a:lnTo>
                  <a:lnTo>
                    <a:pt x="203" y="99"/>
                  </a:lnTo>
                  <a:lnTo>
                    <a:pt x="203" y="99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07" y="95"/>
                  </a:lnTo>
                  <a:lnTo>
                    <a:pt x="207" y="92"/>
                  </a:lnTo>
                  <a:lnTo>
                    <a:pt x="207" y="92"/>
                  </a:lnTo>
                  <a:lnTo>
                    <a:pt x="207" y="92"/>
                  </a:lnTo>
                  <a:lnTo>
                    <a:pt x="205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3" y="92"/>
                  </a:lnTo>
                  <a:lnTo>
                    <a:pt x="203" y="90"/>
                  </a:lnTo>
                  <a:lnTo>
                    <a:pt x="203" y="90"/>
                  </a:lnTo>
                  <a:lnTo>
                    <a:pt x="203" y="88"/>
                  </a:lnTo>
                  <a:lnTo>
                    <a:pt x="203" y="86"/>
                  </a:lnTo>
                  <a:lnTo>
                    <a:pt x="203" y="86"/>
                  </a:lnTo>
                  <a:lnTo>
                    <a:pt x="203" y="84"/>
                  </a:lnTo>
                  <a:lnTo>
                    <a:pt x="203" y="84"/>
                  </a:lnTo>
                  <a:lnTo>
                    <a:pt x="205" y="82"/>
                  </a:lnTo>
                  <a:lnTo>
                    <a:pt x="205" y="80"/>
                  </a:lnTo>
                  <a:lnTo>
                    <a:pt x="207" y="80"/>
                  </a:lnTo>
                  <a:lnTo>
                    <a:pt x="210" y="80"/>
                  </a:lnTo>
                  <a:lnTo>
                    <a:pt x="210" y="78"/>
                  </a:lnTo>
                  <a:lnTo>
                    <a:pt x="212" y="78"/>
                  </a:lnTo>
                  <a:lnTo>
                    <a:pt x="214" y="76"/>
                  </a:lnTo>
                  <a:lnTo>
                    <a:pt x="214" y="74"/>
                  </a:lnTo>
                  <a:lnTo>
                    <a:pt x="216" y="74"/>
                  </a:lnTo>
                  <a:lnTo>
                    <a:pt x="218" y="72"/>
                  </a:lnTo>
                  <a:lnTo>
                    <a:pt x="218" y="72"/>
                  </a:lnTo>
                  <a:lnTo>
                    <a:pt x="218" y="7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6" name="Freeform 15">
              <a:extLst>
                <a:ext uri="{FF2B5EF4-FFF2-40B4-BE49-F238E27FC236}">
                  <a16:creationId xmlns:a16="http://schemas.microsoft.com/office/drawing/2014/main" id="{51A2C7DF-454E-964D-BB9F-75C83B5C2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505" y="4190979"/>
              <a:ext cx="97448" cy="105767"/>
            </a:xfrm>
            <a:custGeom>
              <a:avLst/>
              <a:gdLst>
                <a:gd name="T0" fmla="*/ 78 w 82"/>
                <a:gd name="T1" fmla="*/ 64 h 89"/>
                <a:gd name="T2" fmla="*/ 76 w 82"/>
                <a:gd name="T3" fmla="*/ 56 h 89"/>
                <a:gd name="T4" fmla="*/ 78 w 82"/>
                <a:gd name="T5" fmla="*/ 54 h 89"/>
                <a:gd name="T6" fmla="*/ 82 w 82"/>
                <a:gd name="T7" fmla="*/ 47 h 89"/>
                <a:gd name="T8" fmla="*/ 78 w 82"/>
                <a:gd name="T9" fmla="*/ 45 h 89"/>
                <a:gd name="T10" fmla="*/ 72 w 82"/>
                <a:gd name="T11" fmla="*/ 39 h 89"/>
                <a:gd name="T12" fmla="*/ 69 w 82"/>
                <a:gd name="T13" fmla="*/ 35 h 89"/>
                <a:gd name="T14" fmla="*/ 65 w 82"/>
                <a:gd name="T15" fmla="*/ 33 h 89"/>
                <a:gd name="T16" fmla="*/ 61 w 82"/>
                <a:gd name="T17" fmla="*/ 31 h 89"/>
                <a:gd name="T18" fmla="*/ 55 w 82"/>
                <a:gd name="T19" fmla="*/ 27 h 89"/>
                <a:gd name="T20" fmla="*/ 47 w 82"/>
                <a:gd name="T21" fmla="*/ 21 h 89"/>
                <a:gd name="T22" fmla="*/ 43 w 82"/>
                <a:gd name="T23" fmla="*/ 21 h 89"/>
                <a:gd name="T24" fmla="*/ 41 w 82"/>
                <a:gd name="T25" fmla="*/ 19 h 89"/>
                <a:gd name="T26" fmla="*/ 37 w 82"/>
                <a:gd name="T27" fmla="*/ 15 h 89"/>
                <a:gd name="T28" fmla="*/ 35 w 82"/>
                <a:gd name="T29" fmla="*/ 15 h 89"/>
                <a:gd name="T30" fmla="*/ 35 w 82"/>
                <a:gd name="T31" fmla="*/ 17 h 89"/>
                <a:gd name="T32" fmla="*/ 30 w 82"/>
                <a:gd name="T33" fmla="*/ 17 h 89"/>
                <a:gd name="T34" fmla="*/ 30 w 82"/>
                <a:gd name="T35" fmla="*/ 17 h 89"/>
                <a:gd name="T36" fmla="*/ 28 w 82"/>
                <a:gd name="T37" fmla="*/ 10 h 89"/>
                <a:gd name="T38" fmla="*/ 16 w 82"/>
                <a:gd name="T39" fmla="*/ 2 h 89"/>
                <a:gd name="T40" fmla="*/ 12 w 82"/>
                <a:gd name="T41" fmla="*/ 0 h 89"/>
                <a:gd name="T42" fmla="*/ 10 w 82"/>
                <a:gd name="T43" fmla="*/ 2 h 89"/>
                <a:gd name="T44" fmla="*/ 2 w 82"/>
                <a:gd name="T45" fmla="*/ 2 h 89"/>
                <a:gd name="T46" fmla="*/ 2 w 82"/>
                <a:gd name="T47" fmla="*/ 4 h 89"/>
                <a:gd name="T48" fmla="*/ 2 w 82"/>
                <a:gd name="T49" fmla="*/ 10 h 89"/>
                <a:gd name="T50" fmla="*/ 2 w 82"/>
                <a:gd name="T51" fmla="*/ 15 h 89"/>
                <a:gd name="T52" fmla="*/ 2 w 82"/>
                <a:gd name="T53" fmla="*/ 19 h 89"/>
                <a:gd name="T54" fmla="*/ 0 w 82"/>
                <a:gd name="T55" fmla="*/ 23 h 89"/>
                <a:gd name="T56" fmla="*/ 2 w 82"/>
                <a:gd name="T57" fmla="*/ 27 h 89"/>
                <a:gd name="T58" fmla="*/ 2 w 82"/>
                <a:gd name="T59" fmla="*/ 31 h 89"/>
                <a:gd name="T60" fmla="*/ 0 w 82"/>
                <a:gd name="T61" fmla="*/ 33 h 89"/>
                <a:gd name="T62" fmla="*/ 2 w 82"/>
                <a:gd name="T63" fmla="*/ 37 h 89"/>
                <a:gd name="T64" fmla="*/ 2 w 82"/>
                <a:gd name="T65" fmla="*/ 41 h 89"/>
                <a:gd name="T66" fmla="*/ 4 w 82"/>
                <a:gd name="T67" fmla="*/ 47 h 89"/>
                <a:gd name="T68" fmla="*/ 6 w 82"/>
                <a:gd name="T69" fmla="*/ 54 h 89"/>
                <a:gd name="T70" fmla="*/ 2 w 82"/>
                <a:gd name="T71" fmla="*/ 56 h 89"/>
                <a:gd name="T72" fmla="*/ 4 w 82"/>
                <a:gd name="T73" fmla="*/ 66 h 89"/>
                <a:gd name="T74" fmla="*/ 12 w 82"/>
                <a:gd name="T75" fmla="*/ 76 h 89"/>
                <a:gd name="T76" fmla="*/ 16 w 82"/>
                <a:gd name="T77" fmla="*/ 80 h 89"/>
                <a:gd name="T78" fmla="*/ 30 w 82"/>
                <a:gd name="T79" fmla="*/ 84 h 89"/>
                <a:gd name="T80" fmla="*/ 41 w 82"/>
                <a:gd name="T81" fmla="*/ 89 h 89"/>
                <a:gd name="T82" fmla="*/ 47 w 82"/>
                <a:gd name="T83" fmla="*/ 86 h 89"/>
                <a:gd name="T84" fmla="*/ 57 w 82"/>
                <a:gd name="T85" fmla="*/ 89 h 89"/>
                <a:gd name="T86" fmla="*/ 69 w 82"/>
                <a:gd name="T87" fmla="*/ 84 h 89"/>
                <a:gd name="T88" fmla="*/ 74 w 82"/>
                <a:gd name="T89" fmla="*/ 80 h 89"/>
                <a:gd name="T90" fmla="*/ 80 w 82"/>
                <a:gd name="T91" fmla="*/ 72 h 89"/>
                <a:gd name="T92" fmla="*/ 82 w 82"/>
                <a:gd name="T93" fmla="*/ 6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2" h="89">
                  <a:moveTo>
                    <a:pt x="80" y="66"/>
                  </a:moveTo>
                  <a:lnTo>
                    <a:pt x="78" y="66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8" y="62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0" y="52"/>
                  </a:lnTo>
                  <a:lnTo>
                    <a:pt x="80" y="49"/>
                  </a:lnTo>
                  <a:lnTo>
                    <a:pt x="82" y="47"/>
                  </a:lnTo>
                  <a:lnTo>
                    <a:pt x="80" y="47"/>
                  </a:lnTo>
                  <a:lnTo>
                    <a:pt x="80" y="45"/>
                  </a:lnTo>
                  <a:lnTo>
                    <a:pt x="78" y="45"/>
                  </a:lnTo>
                  <a:lnTo>
                    <a:pt x="74" y="43"/>
                  </a:lnTo>
                  <a:lnTo>
                    <a:pt x="72" y="41"/>
                  </a:lnTo>
                  <a:lnTo>
                    <a:pt x="72" y="39"/>
                  </a:lnTo>
                  <a:lnTo>
                    <a:pt x="69" y="37"/>
                  </a:lnTo>
                  <a:lnTo>
                    <a:pt x="69" y="37"/>
                  </a:lnTo>
                  <a:lnTo>
                    <a:pt x="69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5" y="33"/>
                  </a:lnTo>
                  <a:lnTo>
                    <a:pt x="65" y="33"/>
                  </a:lnTo>
                  <a:lnTo>
                    <a:pt x="63" y="33"/>
                  </a:lnTo>
                  <a:lnTo>
                    <a:pt x="61" y="31"/>
                  </a:lnTo>
                  <a:lnTo>
                    <a:pt x="59" y="29"/>
                  </a:lnTo>
                  <a:lnTo>
                    <a:pt x="57" y="27"/>
                  </a:lnTo>
                  <a:lnTo>
                    <a:pt x="55" y="27"/>
                  </a:lnTo>
                  <a:lnTo>
                    <a:pt x="53" y="25"/>
                  </a:lnTo>
                  <a:lnTo>
                    <a:pt x="49" y="23"/>
                  </a:lnTo>
                  <a:lnTo>
                    <a:pt x="47" y="21"/>
                  </a:lnTo>
                  <a:lnTo>
                    <a:pt x="45" y="23"/>
                  </a:lnTo>
                  <a:lnTo>
                    <a:pt x="45" y="21"/>
                  </a:lnTo>
                  <a:lnTo>
                    <a:pt x="43" y="21"/>
                  </a:lnTo>
                  <a:lnTo>
                    <a:pt x="43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7"/>
                  </a:lnTo>
                  <a:lnTo>
                    <a:pt x="39" y="15"/>
                  </a:lnTo>
                  <a:lnTo>
                    <a:pt x="37" y="15"/>
                  </a:lnTo>
                  <a:lnTo>
                    <a:pt x="37" y="12"/>
                  </a:lnTo>
                  <a:lnTo>
                    <a:pt x="37" y="15"/>
                  </a:lnTo>
                  <a:lnTo>
                    <a:pt x="35" y="15"/>
                  </a:lnTo>
                  <a:lnTo>
                    <a:pt x="35" y="15"/>
                  </a:lnTo>
                  <a:lnTo>
                    <a:pt x="35" y="15"/>
                  </a:lnTo>
                  <a:lnTo>
                    <a:pt x="35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2"/>
                  </a:lnTo>
                  <a:lnTo>
                    <a:pt x="28" y="12"/>
                  </a:lnTo>
                  <a:lnTo>
                    <a:pt x="28" y="10"/>
                  </a:lnTo>
                  <a:lnTo>
                    <a:pt x="26" y="8"/>
                  </a:lnTo>
                  <a:lnTo>
                    <a:pt x="22" y="6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10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9"/>
                  </a:lnTo>
                  <a:lnTo>
                    <a:pt x="2" y="41"/>
                  </a:lnTo>
                  <a:lnTo>
                    <a:pt x="2" y="43"/>
                  </a:lnTo>
                  <a:lnTo>
                    <a:pt x="4" y="45"/>
                  </a:lnTo>
                  <a:lnTo>
                    <a:pt x="4" y="47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4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2" y="62"/>
                  </a:lnTo>
                  <a:lnTo>
                    <a:pt x="4" y="66"/>
                  </a:lnTo>
                  <a:lnTo>
                    <a:pt x="4" y="70"/>
                  </a:lnTo>
                  <a:lnTo>
                    <a:pt x="8" y="72"/>
                  </a:lnTo>
                  <a:lnTo>
                    <a:pt x="12" y="76"/>
                  </a:lnTo>
                  <a:lnTo>
                    <a:pt x="14" y="78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0" y="84"/>
                  </a:lnTo>
                  <a:lnTo>
                    <a:pt x="39" y="84"/>
                  </a:lnTo>
                  <a:lnTo>
                    <a:pt x="39" y="86"/>
                  </a:lnTo>
                  <a:lnTo>
                    <a:pt x="41" y="89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7" y="86"/>
                  </a:lnTo>
                  <a:lnTo>
                    <a:pt x="49" y="84"/>
                  </a:lnTo>
                  <a:lnTo>
                    <a:pt x="55" y="86"/>
                  </a:lnTo>
                  <a:lnTo>
                    <a:pt x="57" y="89"/>
                  </a:lnTo>
                  <a:lnTo>
                    <a:pt x="59" y="89"/>
                  </a:lnTo>
                  <a:lnTo>
                    <a:pt x="61" y="89"/>
                  </a:lnTo>
                  <a:lnTo>
                    <a:pt x="69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4" y="80"/>
                  </a:lnTo>
                  <a:lnTo>
                    <a:pt x="78" y="78"/>
                  </a:lnTo>
                  <a:lnTo>
                    <a:pt x="78" y="76"/>
                  </a:lnTo>
                  <a:lnTo>
                    <a:pt x="80" y="72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2" y="66"/>
                  </a:lnTo>
                  <a:lnTo>
                    <a:pt x="80" y="66"/>
                  </a:lnTo>
                  <a:lnTo>
                    <a:pt x="80" y="6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83A79035-64B7-9740-A1C3-DC92D7FC39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7770" y="2023360"/>
              <a:ext cx="6160603" cy="1098070"/>
            </a:xfrm>
            <a:custGeom>
              <a:avLst/>
              <a:gdLst>
                <a:gd name="T0" fmla="*/ 747 w 5184"/>
                <a:gd name="T1" fmla="*/ 181 h 924"/>
                <a:gd name="T2" fmla="*/ 788 w 5184"/>
                <a:gd name="T3" fmla="*/ 202 h 924"/>
                <a:gd name="T4" fmla="*/ 801 w 5184"/>
                <a:gd name="T5" fmla="*/ 229 h 924"/>
                <a:gd name="T6" fmla="*/ 811 w 5184"/>
                <a:gd name="T7" fmla="*/ 241 h 924"/>
                <a:gd name="T8" fmla="*/ 805 w 5184"/>
                <a:gd name="T9" fmla="*/ 134 h 924"/>
                <a:gd name="T10" fmla="*/ 807 w 5184"/>
                <a:gd name="T11" fmla="*/ 7 h 924"/>
                <a:gd name="T12" fmla="*/ 608 w 5184"/>
                <a:gd name="T13" fmla="*/ 48 h 924"/>
                <a:gd name="T14" fmla="*/ 556 w 5184"/>
                <a:gd name="T15" fmla="*/ 83 h 924"/>
                <a:gd name="T16" fmla="*/ 532 w 5184"/>
                <a:gd name="T17" fmla="*/ 132 h 924"/>
                <a:gd name="T18" fmla="*/ 476 w 5184"/>
                <a:gd name="T19" fmla="*/ 171 h 924"/>
                <a:gd name="T20" fmla="*/ 497 w 5184"/>
                <a:gd name="T21" fmla="*/ 202 h 924"/>
                <a:gd name="T22" fmla="*/ 407 w 5184"/>
                <a:gd name="T23" fmla="*/ 253 h 924"/>
                <a:gd name="T24" fmla="*/ 421 w 5184"/>
                <a:gd name="T25" fmla="*/ 255 h 924"/>
                <a:gd name="T26" fmla="*/ 544 w 5184"/>
                <a:gd name="T27" fmla="*/ 212 h 924"/>
                <a:gd name="T28" fmla="*/ 657 w 5184"/>
                <a:gd name="T29" fmla="*/ 163 h 924"/>
                <a:gd name="T30" fmla="*/ 645 w 5184"/>
                <a:gd name="T31" fmla="*/ 183 h 924"/>
                <a:gd name="T32" fmla="*/ 696 w 5184"/>
                <a:gd name="T33" fmla="*/ 171 h 924"/>
                <a:gd name="T34" fmla="*/ 669 w 5184"/>
                <a:gd name="T35" fmla="*/ 181 h 924"/>
                <a:gd name="T36" fmla="*/ 671 w 5184"/>
                <a:gd name="T37" fmla="*/ 177 h 924"/>
                <a:gd name="T38" fmla="*/ 772 w 5184"/>
                <a:gd name="T39" fmla="*/ 249 h 924"/>
                <a:gd name="T40" fmla="*/ 772 w 5184"/>
                <a:gd name="T41" fmla="*/ 243 h 924"/>
                <a:gd name="T42" fmla="*/ 786 w 5184"/>
                <a:gd name="T43" fmla="*/ 249 h 924"/>
                <a:gd name="T44" fmla="*/ 770 w 5184"/>
                <a:gd name="T45" fmla="*/ 259 h 924"/>
                <a:gd name="T46" fmla="*/ 793 w 5184"/>
                <a:gd name="T47" fmla="*/ 216 h 924"/>
                <a:gd name="T48" fmla="*/ 47 w 5184"/>
                <a:gd name="T49" fmla="*/ 887 h 924"/>
                <a:gd name="T50" fmla="*/ 5086 w 5184"/>
                <a:gd name="T51" fmla="*/ 231 h 924"/>
                <a:gd name="T52" fmla="*/ 522 w 5184"/>
                <a:gd name="T53" fmla="*/ 235 h 924"/>
                <a:gd name="T54" fmla="*/ 413 w 5184"/>
                <a:gd name="T55" fmla="*/ 179 h 924"/>
                <a:gd name="T56" fmla="*/ 505 w 5184"/>
                <a:gd name="T57" fmla="*/ 243 h 924"/>
                <a:gd name="T58" fmla="*/ 312 w 5184"/>
                <a:gd name="T59" fmla="*/ 284 h 924"/>
                <a:gd name="T60" fmla="*/ 368 w 5184"/>
                <a:gd name="T61" fmla="*/ 272 h 924"/>
                <a:gd name="T62" fmla="*/ 1480 w 5184"/>
                <a:gd name="T63" fmla="*/ 516 h 924"/>
                <a:gd name="T64" fmla="*/ 1571 w 5184"/>
                <a:gd name="T65" fmla="*/ 405 h 924"/>
                <a:gd name="T66" fmla="*/ 1439 w 5184"/>
                <a:gd name="T67" fmla="*/ 473 h 924"/>
                <a:gd name="T68" fmla="*/ 1326 w 5184"/>
                <a:gd name="T69" fmla="*/ 498 h 924"/>
                <a:gd name="T70" fmla="*/ 1341 w 5184"/>
                <a:gd name="T71" fmla="*/ 436 h 924"/>
                <a:gd name="T72" fmla="*/ 1281 w 5184"/>
                <a:gd name="T73" fmla="*/ 494 h 924"/>
                <a:gd name="T74" fmla="*/ 1300 w 5184"/>
                <a:gd name="T75" fmla="*/ 432 h 924"/>
                <a:gd name="T76" fmla="*/ 1337 w 5184"/>
                <a:gd name="T77" fmla="*/ 420 h 924"/>
                <a:gd name="T78" fmla="*/ 1255 w 5184"/>
                <a:gd name="T79" fmla="*/ 412 h 924"/>
                <a:gd name="T80" fmla="*/ 819 w 5184"/>
                <a:gd name="T81" fmla="*/ 383 h 924"/>
                <a:gd name="T82" fmla="*/ 807 w 5184"/>
                <a:gd name="T83" fmla="*/ 397 h 924"/>
                <a:gd name="T84" fmla="*/ 717 w 5184"/>
                <a:gd name="T85" fmla="*/ 508 h 924"/>
                <a:gd name="T86" fmla="*/ 700 w 5184"/>
                <a:gd name="T87" fmla="*/ 613 h 924"/>
                <a:gd name="T88" fmla="*/ 916 w 5184"/>
                <a:gd name="T89" fmla="*/ 708 h 924"/>
                <a:gd name="T90" fmla="*/ 1012 w 5184"/>
                <a:gd name="T91" fmla="*/ 786 h 924"/>
                <a:gd name="T92" fmla="*/ 1086 w 5184"/>
                <a:gd name="T93" fmla="*/ 724 h 924"/>
                <a:gd name="T94" fmla="*/ 1150 w 5184"/>
                <a:gd name="T95" fmla="*/ 718 h 924"/>
                <a:gd name="T96" fmla="*/ 1222 w 5184"/>
                <a:gd name="T97" fmla="*/ 726 h 924"/>
                <a:gd name="T98" fmla="*/ 1287 w 5184"/>
                <a:gd name="T99" fmla="*/ 776 h 924"/>
                <a:gd name="T100" fmla="*/ 1306 w 5184"/>
                <a:gd name="T101" fmla="*/ 675 h 924"/>
                <a:gd name="T102" fmla="*/ 1390 w 5184"/>
                <a:gd name="T103" fmla="*/ 613 h 924"/>
                <a:gd name="T104" fmla="*/ 1392 w 5184"/>
                <a:gd name="T105" fmla="*/ 574 h 924"/>
                <a:gd name="T106" fmla="*/ 1415 w 5184"/>
                <a:gd name="T107" fmla="*/ 547 h 924"/>
                <a:gd name="T108" fmla="*/ 1429 w 5184"/>
                <a:gd name="T109" fmla="*/ 537 h 924"/>
                <a:gd name="T110" fmla="*/ 1507 w 5184"/>
                <a:gd name="T111" fmla="*/ 508 h 924"/>
                <a:gd name="T112" fmla="*/ 1552 w 5184"/>
                <a:gd name="T113" fmla="*/ 459 h 924"/>
                <a:gd name="T114" fmla="*/ 1499 w 5184"/>
                <a:gd name="T115" fmla="*/ 508 h 924"/>
                <a:gd name="T116" fmla="*/ 5174 w 5184"/>
                <a:gd name="T117" fmla="*/ 309 h 924"/>
                <a:gd name="T118" fmla="*/ 5100 w 5184"/>
                <a:gd name="T119" fmla="*/ 323 h 924"/>
                <a:gd name="T120" fmla="*/ 1115 w 5184"/>
                <a:gd name="T121" fmla="*/ 728 h 924"/>
                <a:gd name="T122" fmla="*/ 1027 w 5184"/>
                <a:gd name="T123" fmla="*/ 759 h 924"/>
                <a:gd name="T124" fmla="*/ 1255 w 5184"/>
                <a:gd name="T125" fmla="*/ 784 h 9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84" h="924">
                  <a:moveTo>
                    <a:pt x="462" y="208"/>
                  </a:moveTo>
                  <a:lnTo>
                    <a:pt x="470" y="204"/>
                  </a:lnTo>
                  <a:lnTo>
                    <a:pt x="468" y="204"/>
                  </a:lnTo>
                  <a:lnTo>
                    <a:pt x="464" y="204"/>
                  </a:lnTo>
                  <a:lnTo>
                    <a:pt x="462" y="206"/>
                  </a:lnTo>
                  <a:lnTo>
                    <a:pt x="462" y="206"/>
                  </a:lnTo>
                  <a:lnTo>
                    <a:pt x="460" y="208"/>
                  </a:lnTo>
                  <a:lnTo>
                    <a:pt x="462" y="208"/>
                  </a:lnTo>
                  <a:lnTo>
                    <a:pt x="462" y="208"/>
                  </a:lnTo>
                  <a:close/>
                  <a:moveTo>
                    <a:pt x="817" y="387"/>
                  </a:moveTo>
                  <a:lnTo>
                    <a:pt x="817" y="387"/>
                  </a:lnTo>
                  <a:lnTo>
                    <a:pt x="817" y="387"/>
                  </a:lnTo>
                  <a:lnTo>
                    <a:pt x="817" y="385"/>
                  </a:lnTo>
                  <a:lnTo>
                    <a:pt x="817" y="385"/>
                  </a:lnTo>
                  <a:lnTo>
                    <a:pt x="815" y="387"/>
                  </a:lnTo>
                  <a:lnTo>
                    <a:pt x="813" y="387"/>
                  </a:lnTo>
                  <a:lnTo>
                    <a:pt x="813" y="389"/>
                  </a:lnTo>
                  <a:lnTo>
                    <a:pt x="813" y="389"/>
                  </a:lnTo>
                  <a:lnTo>
                    <a:pt x="813" y="389"/>
                  </a:lnTo>
                  <a:lnTo>
                    <a:pt x="813" y="389"/>
                  </a:lnTo>
                  <a:lnTo>
                    <a:pt x="813" y="389"/>
                  </a:lnTo>
                  <a:lnTo>
                    <a:pt x="813" y="391"/>
                  </a:lnTo>
                  <a:lnTo>
                    <a:pt x="813" y="391"/>
                  </a:lnTo>
                  <a:lnTo>
                    <a:pt x="813" y="391"/>
                  </a:lnTo>
                  <a:lnTo>
                    <a:pt x="813" y="393"/>
                  </a:lnTo>
                  <a:lnTo>
                    <a:pt x="813" y="393"/>
                  </a:lnTo>
                  <a:lnTo>
                    <a:pt x="813" y="393"/>
                  </a:lnTo>
                  <a:lnTo>
                    <a:pt x="813" y="393"/>
                  </a:lnTo>
                  <a:lnTo>
                    <a:pt x="813" y="393"/>
                  </a:lnTo>
                  <a:lnTo>
                    <a:pt x="815" y="393"/>
                  </a:lnTo>
                  <a:lnTo>
                    <a:pt x="815" y="393"/>
                  </a:lnTo>
                  <a:lnTo>
                    <a:pt x="815" y="393"/>
                  </a:lnTo>
                  <a:lnTo>
                    <a:pt x="815" y="391"/>
                  </a:lnTo>
                  <a:lnTo>
                    <a:pt x="813" y="393"/>
                  </a:lnTo>
                  <a:lnTo>
                    <a:pt x="815" y="389"/>
                  </a:lnTo>
                  <a:lnTo>
                    <a:pt x="815" y="389"/>
                  </a:lnTo>
                  <a:lnTo>
                    <a:pt x="815" y="389"/>
                  </a:lnTo>
                  <a:lnTo>
                    <a:pt x="813" y="389"/>
                  </a:lnTo>
                  <a:lnTo>
                    <a:pt x="813" y="389"/>
                  </a:lnTo>
                  <a:lnTo>
                    <a:pt x="817" y="387"/>
                  </a:lnTo>
                  <a:close/>
                  <a:moveTo>
                    <a:pt x="616" y="177"/>
                  </a:moveTo>
                  <a:lnTo>
                    <a:pt x="618" y="175"/>
                  </a:lnTo>
                  <a:lnTo>
                    <a:pt x="618" y="175"/>
                  </a:lnTo>
                  <a:lnTo>
                    <a:pt x="618" y="175"/>
                  </a:lnTo>
                  <a:lnTo>
                    <a:pt x="616" y="177"/>
                  </a:lnTo>
                  <a:lnTo>
                    <a:pt x="614" y="177"/>
                  </a:lnTo>
                  <a:lnTo>
                    <a:pt x="614" y="177"/>
                  </a:lnTo>
                  <a:lnTo>
                    <a:pt x="616" y="177"/>
                  </a:lnTo>
                  <a:close/>
                  <a:moveTo>
                    <a:pt x="696" y="171"/>
                  </a:moveTo>
                  <a:lnTo>
                    <a:pt x="696" y="171"/>
                  </a:lnTo>
                  <a:lnTo>
                    <a:pt x="696" y="171"/>
                  </a:lnTo>
                  <a:lnTo>
                    <a:pt x="696" y="171"/>
                  </a:lnTo>
                  <a:lnTo>
                    <a:pt x="696" y="173"/>
                  </a:lnTo>
                  <a:lnTo>
                    <a:pt x="702" y="173"/>
                  </a:lnTo>
                  <a:lnTo>
                    <a:pt x="700" y="173"/>
                  </a:lnTo>
                  <a:lnTo>
                    <a:pt x="698" y="175"/>
                  </a:lnTo>
                  <a:lnTo>
                    <a:pt x="698" y="175"/>
                  </a:lnTo>
                  <a:lnTo>
                    <a:pt x="696" y="175"/>
                  </a:lnTo>
                  <a:lnTo>
                    <a:pt x="696" y="175"/>
                  </a:lnTo>
                  <a:lnTo>
                    <a:pt x="698" y="175"/>
                  </a:lnTo>
                  <a:lnTo>
                    <a:pt x="698" y="177"/>
                  </a:lnTo>
                  <a:lnTo>
                    <a:pt x="700" y="177"/>
                  </a:lnTo>
                  <a:lnTo>
                    <a:pt x="702" y="177"/>
                  </a:lnTo>
                  <a:lnTo>
                    <a:pt x="704" y="177"/>
                  </a:lnTo>
                  <a:lnTo>
                    <a:pt x="706" y="175"/>
                  </a:lnTo>
                  <a:lnTo>
                    <a:pt x="708" y="175"/>
                  </a:lnTo>
                  <a:lnTo>
                    <a:pt x="710" y="173"/>
                  </a:lnTo>
                  <a:lnTo>
                    <a:pt x="715" y="173"/>
                  </a:lnTo>
                  <a:lnTo>
                    <a:pt x="715" y="173"/>
                  </a:lnTo>
                  <a:lnTo>
                    <a:pt x="712" y="173"/>
                  </a:lnTo>
                  <a:lnTo>
                    <a:pt x="710" y="175"/>
                  </a:lnTo>
                  <a:lnTo>
                    <a:pt x="708" y="175"/>
                  </a:lnTo>
                  <a:lnTo>
                    <a:pt x="706" y="177"/>
                  </a:lnTo>
                  <a:lnTo>
                    <a:pt x="706" y="179"/>
                  </a:lnTo>
                  <a:lnTo>
                    <a:pt x="706" y="179"/>
                  </a:lnTo>
                  <a:lnTo>
                    <a:pt x="706" y="179"/>
                  </a:lnTo>
                  <a:lnTo>
                    <a:pt x="706" y="179"/>
                  </a:lnTo>
                  <a:lnTo>
                    <a:pt x="708" y="179"/>
                  </a:lnTo>
                  <a:lnTo>
                    <a:pt x="710" y="181"/>
                  </a:lnTo>
                  <a:lnTo>
                    <a:pt x="710" y="181"/>
                  </a:lnTo>
                  <a:lnTo>
                    <a:pt x="710" y="181"/>
                  </a:lnTo>
                  <a:lnTo>
                    <a:pt x="710" y="183"/>
                  </a:lnTo>
                  <a:lnTo>
                    <a:pt x="710" y="183"/>
                  </a:lnTo>
                  <a:lnTo>
                    <a:pt x="708" y="183"/>
                  </a:lnTo>
                  <a:lnTo>
                    <a:pt x="710" y="183"/>
                  </a:lnTo>
                  <a:lnTo>
                    <a:pt x="715" y="183"/>
                  </a:lnTo>
                  <a:lnTo>
                    <a:pt x="719" y="183"/>
                  </a:lnTo>
                  <a:lnTo>
                    <a:pt x="727" y="181"/>
                  </a:lnTo>
                  <a:lnTo>
                    <a:pt x="731" y="181"/>
                  </a:lnTo>
                  <a:lnTo>
                    <a:pt x="735" y="183"/>
                  </a:lnTo>
                  <a:lnTo>
                    <a:pt x="741" y="183"/>
                  </a:lnTo>
                  <a:lnTo>
                    <a:pt x="743" y="183"/>
                  </a:lnTo>
                  <a:lnTo>
                    <a:pt x="743" y="183"/>
                  </a:lnTo>
                  <a:lnTo>
                    <a:pt x="745" y="183"/>
                  </a:lnTo>
                  <a:lnTo>
                    <a:pt x="745" y="181"/>
                  </a:lnTo>
                  <a:lnTo>
                    <a:pt x="745" y="181"/>
                  </a:lnTo>
                  <a:lnTo>
                    <a:pt x="747" y="181"/>
                  </a:lnTo>
                  <a:lnTo>
                    <a:pt x="747" y="181"/>
                  </a:lnTo>
                  <a:lnTo>
                    <a:pt x="747" y="181"/>
                  </a:lnTo>
                  <a:lnTo>
                    <a:pt x="745" y="183"/>
                  </a:lnTo>
                  <a:lnTo>
                    <a:pt x="745" y="183"/>
                  </a:lnTo>
                  <a:lnTo>
                    <a:pt x="743" y="185"/>
                  </a:lnTo>
                  <a:lnTo>
                    <a:pt x="743" y="185"/>
                  </a:lnTo>
                  <a:lnTo>
                    <a:pt x="747" y="187"/>
                  </a:lnTo>
                  <a:lnTo>
                    <a:pt x="749" y="187"/>
                  </a:lnTo>
                  <a:lnTo>
                    <a:pt x="752" y="187"/>
                  </a:lnTo>
                  <a:lnTo>
                    <a:pt x="756" y="187"/>
                  </a:lnTo>
                  <a:lnTo>
                    <a:pt x="760" y="187"/>
                  </a:lnTo>
                  <a:lnTo>
                    <a:pt x="762" y="185"/>
                  </a:lnTo>
                  <a:lnTo>
                    <a:pt x="768" y="183"/>
                  </a:lnTo>
                  <a:lnTo>
                    <a:pt x="770" y="183"/>
                  </a:lnTo>
                  <a:lnTo>
                    <a:pt x="770" y="183"/>
                  </a:lnTo>
                  <a:lnTo>
                    <a:pt x="770" y="183"/>
                  </a:lnTo>
                  <a:lnTo>
                    <a:pt x="770" y="185"/>
                  </a:lnTo>
                  <a:lnTo>
                    <a:pt x="772" y="185"/>
                  </a:lnTo>
                  <a:lnTo>
                    <a:pt x="772" y="187"/>
                  </a:lnTo>
                  <a:lnTo>
                    <a:pt x="770" y="185"/>
                  </a:lnTo>
                  <a:lnTo>
                    <a:pt x="770" y="187"/>
                  </a:lnTo>
                  <a:lnTo>
                    <a:pt x="768" y="187"/>
                  </a:lnTo>
                  <a:lnTo>
                    <a:pt x="768" y="187"/>
                  </a:lnTo>
                  <a:lnTo>
                    <a:pt x="766" y="190"/>
                  </a:lnTo>
                  <a:lnTo>
                    <a:pt x="766" y="190"/>
                  </a:lnTo>
                  <a:lnTo>
                    <a:pt x="764" y="190"/>
                  </a:lnTo>
                  <a:lnTo>
                    <a:pt x="766" y="187"/>
                  </a:lnTo>
                  <a:lnTo>
                    <a:pt x="768" y="185"/>
                  </a:lnTo>
                  <a:lnTo>
                    <a:pt x="770" y="185"/>
                  </a:lnTo>
                  <a:lnTo>
                    <a:pt x="768" y="183"/>
                  </a:lnTo>
                  <a:lnTo>
                    <a:pt x="768" y="183"/>
                  </a:lnTo>
                  <a:lnTo>
                    <a:pt x="768" y="183"/>
                  </a:lnTo>
                  <a:lnTo>
                    <a:pt x="768" y="185"/>
                  </a:lnTo>
                  <a:lnTo>
                    <a:pt x="766" y="185"/>
                  </a:lnTo>
                  <a:lnTo>
                    <a:pt x="766" y="185"/>
                  </a:lnTo>
                  <a:lnTo>
                    <a:pt x="766" y="185"/>
                  </a:lnTo>
                  <a:lnTo>
                    <a:pt x="764" y="187"/>
                  </a:lnTo>
                  <a:lnTo>
                    <a:pt x="764" y="187"/>
                  </a:lnTo>
                  <a:lnTo>
                    <a:pt x="764" y="190"/>
                  </a:lnTo>
                  <a:lnTo>
                    <a:pt x="760" y="190"/>
                  </a:lnTo>
                  <a:lnTo>
                    <a:pt x="760" y="190"/>
                  </a:lnTo>
                  <a:lnTo>
                    <a:pt x="758" y="192"/>
                  </a:lnTo>
                  <a:lnTo>
                    <a:pt x="758" y="192"/>
                  </a:lnTo>
                  <a:lnTo>
                    <a:pt x="758" y="192"/>
                  </a:lnTo>
                  <a:lnTo>
                    <a:pt x="758" y="192"/>
                  </a:lnTo>
                  <a:lnTo>
                    <a:pt x="758" y="194"/>
                  </a:lnTo>
                  <a:lnTo>
                    <a:pt x="760" y="194"/>
                  </a:lnTo>
                  <a:lnTo>
                    <a:pt x="764" y="196"/>
                  </a:lnTo>
                  <a:lnTo>
                    <a:pt x="764" y="198"/>
                  </a:lnTo>
                  <a:lnTo>
                    <a:pt x="766" y="198"/>
                  </a:lnTo>
                  <a:lnTo>
                    <a:pt x="766" y="198"/>
                  </a:lnTo>
                  <a:lnTo>
                    <a:pt x="766" y="198"/>
                  </a:lnTo>
                  <a:lnTo>
                    <a:pt x="766" y="198"/>
                  </a:lnTo>
                  <a:lnTo>
                    <a:pt x="766" y="198"/>
                  </a:lnTo>
                  <a:lnTo>
                    <a:pt x="768" y="200"/>
                  </a:lnTo>
                  <a:lnTo>
                    <a:pt x="768" y="200"/>
                  </a:lnTo>
                  <a:lnTo>
                    <a:pt x="768" y="202"/>
                  </a:lnTo>
                  <a:lnTo>
                    <a:pt x="768" y="202"/>
                  </a:lnTo>
                  <a:lnTo>
                    <a:pt x="768" y="204"/>
                  </a:lnTo>
                  <a:lnTo>
                    <a:pt x="768" y="204"/>
                  </a:lnTo>
                  <a:lnTo>
                    <a:pt x="768" y="206"/>
                  </a:lnTo>
                  <a:lnTo>
                    <a:pt x="768" y="206"/>
                  </a:lnTo>
                  <a:lnTo>
                    <a:pt x="770" y="206"/>
                  </a:lnTo>
                  <a:lnTo>
                    <a:pt x="770" y="206"/>
                  </a:lnTo>
                  <a:lnTo>
                    <a:pt x="768" y="208"/>
                  </a:lnTo>
                  <a:lnTo>
                    <a:pt x="768" y="208"/>
                  </a:lnTo>
                  <a:lnTo>
                    <a:pt x="772" y="210"/>
                  </a:lnTo>
                  <a:lnTo>
                    <a:pt x="774" y="212"/>
                  </a:lnTo>
                  <a:lnTo>
                    <a:pt x="774" y="212"/>
                  </a:lnTo>
                  <a:lnTo>
                    <a:pt x="776" y="214"/>
                  </a:lnTo>
                  <a:lnTo>
                    <a:pt x="776" y="214"/>
                  </a:lnTo>
                  <a:lnTo>
                    <a:pt x="778" y="212"/>
                  </a:lnTo>
                  <a:lnTo>
                    <a:pt x="782" y="212"/>
                  </a:lnTo>
                  <a:lnTo>
                    <a:pt x="784" y="212"/>
                  </a:lnTo>
                  <a:lnTo>
                    <a:pt x="784" y="210"/>
                  </a:lnTo>
                  <a:lnTo>
                    <a:pt x="786" y="210"/>
                  </a:lnTo>
                  <a:lnTo>
                    <a:pt x="786" y="208"/>
                  </a:lnTo>
                  <a:lnTo>
                    <a:pt x="786" y="208"/>
                  </a:lnTo>
                  <a:lnTo>
                    <a:pt x="786" y="206"/>
                  </a:lnTo>
                  <a:lnTo>
                    <a:pt x="784" y="206"/>
                  </a:lnTo>
                  <a:lnTo>
                    <a:pt x="786" y="206"/>
                  </a:lnTo>
                  <a:lnTo>
                    <a:pt x="786" y="206"/>
                  </a:lnTo>
                  <a:lnTo>
                    <a:pt x="784" y="204"/>
                  </a:lnTo>
                  <a:lnTo>
                    <a:pt x="784" y="204"/>
                  </a:lnTo>
                  <a:lnTo>
                    <a:pt x="784" y="204"/>
                  </a:lnTo>
                  <a:lnTo>
                    <a:pt x="784" y="204"/>
                  </a:lnTo>
                  <a:lnTo>
                    <a:pt x="784" y="204"/>
                  </a:lnTo>
                  <a:lnTo>
                    <a:pt x="782" y="202"/>
                  </a:lnTo>
                  <a:lnTo>
                    <a:pt x="782" y="202"/>
                  </a:lnTo>
                  <a:lnTo>
                    <a:pt x="780" y="202"/>
                  </a:lnTo>
                  <a:lnTo>
                    <a:pt x="780" y="202"/>
                  </a:lnTo>
                  <a:lnTo>
                    <a:pt x="782" y="202"/>
                  </a:lnTo>
                  <a:lnTo>
                    <a:pt x="782" y="202"/>
                  </a:lnTo>
                  <a:lnTo>
                    <a:pt x="784" y="202"/>
                  </a:lnTo>
                  <a:lnTo>
                    <a:pt x="784" y="200"/>
                  </a:lnTo>
                  <a:lnTo>
                    <a:pt x="784" y="200"/>
                  </a:lnTo>
                  <a:lnTo>
                    <a:pt x="784" y="200"/>
                  </a:lnTo>
                  <a:lnTo>
                    <a:pt x="788" y="202"/>
                  </a:lnTo>
                  <a:lnTo>
                    <a:pt x="788" y="202"/>
                  </a:lnTo>
                  <a:lnTo>
                    <a:pt x="788" y="202"/>
                  </a:lnTo>
                  <a:lnTo>
                    <a:pt x="788" y="204"/>
                  </a:lnTo>
                  <a:lnTo>
                    <a:pt x="788" y="204"/>
                  </a:lnTo>
                  <a:lnTo>
                    <a:pt x="788" y="204"/>
                  </a:lnTo>
                  <a:lnTo>
                    <a:pt x="788" y="204"/>
                  </a:lnTo>
                  <a:lnTo>
                    <a:pt x="791" y="204"/>
                  </a:lnTo>
                  <a:lnTo>
                    <a:pt x="791" y="204"/>
                  </a:lnTo>
                  <a:lnTo>
                    <a:pt x="793" y="204"/>
                  </a:lnTo>
                  <a:lnTo>
                    <a:pt x="793" y="202"/>
                  </a:lnTo>
                  <a:lnTo>
                    <a:pt x="793" y="202"/>
                  </a:lnTo>
                  <a:lnTo>
                    <a:pt x="793" y="202"/>
                  </a:lnTo>
                  <a:lnTo>
                    <a:pt x="795" y="200"/>
                  </a:lnTo>
                  <a:lnTo>
                    <a:pt x="795" y="200"/>
                  </a:lnTo>
                  <a:lnTo>
                    <a:pt x="795" y="200"/>
                  </a:lnTo>
                  <a:lnTo>
                    <a:pt x="795" y="202"/>
                  </a:lnTo>
                  <a:lnTo>
                    <a:pt x="795" y="202"/>
                  </a:lnTo>
                  <a:lnTo>
                    <a:pt x="797" y="202"/>
                  </a:lnTo>
                  <a:lnTo>
                    <a:pt x="797" y="202"/>
                  </a:lnTo>
                  <a:lnTo>
                    <a:pt x="793" y="204"/>
                  </a:lnTo>
                  <a:lnTo>
                    <a:pt x="793" y="204"/>
                  </a:lnTo>
                  <a:lnTo>
                    <a:pt x="791" y="206"/>
                  </a:lnTo>
                  <a:lnTo>
                    <a:pt x="791" y="208"/>
                  </a:lnTo>
                  <a:lnTo>
                    <a:pt x="788" y="210"/>
                  </a:lnTo>
                  <a:lnTo>
                    <a:pt x="786" y="210"/>
                  </a:lnTo>
                  <a:lnTo>
                    <a:pt x="786" y="210"/>
                  </a:lnTo>
                  <a:lnTo>
                    <a:pt x="793" y="210"/>
                  </a:lnTo>
                  <a:lnTo>
                    <a:pt x="793" y="210"/>
                  </a:lnTo>
                  <a:lnTo>
                    <a:pt x="793" y="212"/>
                  </a:lnTo>
                  <a:lnTo>
                    <a:pt x="793" y="212"/>
                  </a:lnTo>
                  <a:lnTo>
                    <a:pt x="795" y="214"/>
                  </a:lnTo>
                  <a:lnTo>
                    <a:pt x="795" y="214"/>
                  </a:lnTo>
                  <a:lnTo>
                    <a:pt x="797" y="212"/>
                  </a:lnTo>
                  <a:lnTo>
                    <a:pt x="797" y="212"/>
                  </a:lnTo>
                  <a:lnTo>
                    <a:pt x="797" y="212"/>
                  </a:lnTo>
                  <a:lnTo>
                    <a:pt x="799" y="208"/>
                  </a:lnTo>
                  <a:lnTo>
                    <a:pt x="801" y="208"/>
                  </a:lnTo>
                  <a:lnTo>
                    <a:pt x="801" y="206"/>
                  </a:lnTo>
                  <a:lnTo>
                    <a:pt x="803" y="204"/>
                  </a:lnTo>
                  <a:lnTo>
                    <a:pt x="803" y="202"/>
                  </a:lnTo>
                  <a:lnTo>
                    <a:pt x="807" y="200"/>
                  </a:lnTo>
                  <a:lnTo>
                    <a:pt x="807" y="198"/>
                  </a:lnTo>
                  <a:lnTo>
                    <a:pt x="807" y="198"/>
                  </a:lnTo>
                  <a:lnTo>
                    <a:pt x="809" y="198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11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1" y="196"/>
                  </a:lnTo>
                  <a:lnTo>
                    <a:pt x="809" y="196"/>
                  </a:lnTo>
                  <a:lnTo>
                    <a:pt x="809" y="200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5" y="206"/>
                  </a:lnTo>
                  <a:lnTo>
                    <a:pt x="803" y="210"/>
                  </a:lnTo>
                  <a:lnTo>
                    <a:pt x="803" y="210"/>
                  </a:lnTo>
                  <a:lnTo>
                    <a:pt x="805" y="212"/>
                  </a:lnTo>
                  <a:lnTo>
                    <a:pt x="807" y="212"/>
                  </a:lnTo>
                  <a:lnTo>
                    <a:pt x="807" y="214"/>
                  </a:lnTo>
                  <a:lnTo>
                    <a:pt x="807" y="214"/>
                  </a:lnTo>
                  <a:lnTo>
                    <a:pt x="809" y="212"/>
                  </a:lnTo>
                  <a:lnTo>
                    <a:pt x="811" y="210"/>
                  </a:lnTo>
                  <a:lnTo>
                    <a:pt x="815" y="208"/>
                  </a:lnTo>
                  <a:lnTo>
                    <a:pt x="815" y="208"/>
                  </a:lnTo>
                  <a:lnTo>
                    <a:pt x="815" y="208"/>
                  </a:lnTo>
                  <a:lnTo>
                    <a:pt x="815" y="208"/>
                  </a:lnTo>
                  <a:lnTo>
                    <a:pt x="815" y="210"/>
                  </a:lnTo>
                  <a:lnTo>
                    <a:pt x="809" y="212"/>
                  </a:lnTo>
                  <a:lnTo>
                    <a:pt x="809" y="214"/>
                  </a:lnTo>
                  <a:lnTo>
                    <a:pt x="807" y="216"/>
                  </a:lnTo>
                  <a:lnTo>
                    <a:pt x="807" y="216"/>
                  </a:lnTo>
                  <a:lnTo>
                    <a:pt x="807" y="218"/>
                  </a:lnTo>
                  <a:lnTo>
                    <a:pt x="807" y="218"/>
                  </a:lnTo>
                  <a:lnTo>
                    <a:pt x="807" y="220"/>
                  </a:lnTo>
                  <a:lnTo>
                    <a:pt x="807" y="220"/>
                  </a:lnTo>
                  <a:lnTo>
                    <a:pt x="807" y="220"/>
                  </a:lnTo>
                  <a:lnTo>
                    <a:pt x="807" y="220"/>
                  </a:lnTo>
                  <a:lnTo>
                    <a:pt x="809" y="218"/>
                  </a:lnTo>
                  <a:lnTo>
                    <a:pt x="811" y="218"/>
                  </a:lnTo>
                  <a:lnTo>
                    <a:pt x="813" y="220"/>
                  </a:lnTo>
                  <a:lnTo>
                    <a:pt x="813" y="220"/>
                  </a:lnTo>
                  <a:lnTo>
                    <a:pt x="809" y="220"/>
                  </a:lnTo>
                  <a:lnTo>
                    <a:pt x="809" y="220"/>
                  </a:lnTo>
                  <a:lnTo>
                    <a:pt x="809" y="220"/>
                  </a:lnTo>
                  <a:lnTo>
                    <a:pt x="807" y="220"/>
                  </a:lnTo>
                  <a:lnTo>
                    <a:pt x="807" y="222"/>
                  </a:lnTo>
                  <a:lnTo>
                    <a:pt x="809" y="224"/>
                  </a:lnTo>
                  <a:lnTo>
                    <a:pt x="809" y="224"/>
                  </a:lnTo>
                  <a:lnTo>
                    <a:pt x="807" y="224"/>
                  </a:lnTo>
                  <a:lnTo>
                    <a:pt x="805" y="222"/>
                  </a:lnTo>
                  <a:lnTo>
                    <a:pt x="805" y="222"/>
                  </a:lnTo>
                  <a:lnTo>
                    <a:pt x="805" y="222"/>
                  </a:lnTo>
                  <a:lnTo>
                    <a:pt x="803" y="224"/>
                  </a:lnTo>
                  <a:lnTo>
                    <a:pt x="803" y="224"/>
                  </a:lnTo>
                  <a:lnTo>
                    <a:pt x="801" y="229"/>
                  </a:lnTo>
                  <a:lnTo>
                    <a:pt x="799" y="231"/>
                  </a:lnTo>
                  <a:lnTo>
                    <a:pt x="803" y="233"/>
                  </a:lnTo>
                  <a:lnTo>
                    <a:pt x="805" y="233"/>
                  </a:lnTo>
                  <a:lnTo>
                    <a:pt x="805" y="235"/>
                  </a:lnTo>
                  <a:lnTo>
                    <a:pt x="803" y="235"/>
                  </a:lnTo>
                  <a:lnTo>
                    <a:pt x="803" y="235"/>
                  </a:lnTo>
                  <a:lnTo>
                    <a:pt x="803" y="237"/>
                  </a:lnTo>
                  <a:lnTo>
                    <a:pt x="803" y="237"/>
                  </a:lnTo>
                  <a:lnTo>
                    <a:pt x="803" y="239"/>
                  </a:lnTo>
                  <a:lnTo>
                    <a:pt x="805" y="239"/>
                  </a:lnTo>
                  <a:lnTo>
                    <a:pt x="803" y="241"/>
                  </a:lnTo>
                  <a:lnTo>
                    <a:pt x="803" y="241"/>
                  </a:lnTo>
                  <a:lnTo>
                    <a:pt x="803" y="241"/>
                  </a:lnTo>
                  <a:lnTo>
                    <a:pt x="803" y="241"/>
                  </a:lnTo>
                  <a:lnTo>
                    <a:pt x="803" y="243"/>
                  </a:lnTo>
                  <a:lnTo>
                    <a:pt x="803" y="243"/>
                  </a:lnTo>
                  <a:lnTo>
                    <a:pt x="803" y="243"/>
                  </a:lnTo>
                  <a:lnTo>
                    <a:pt x="803" y="245"/>
                  </a:lnTo>
                  <a:lnTo>
                    <a:pt x="803" y="245"/>
                  </a:lnTo>
                  <a:lnTo>
                    <a:pt x="805" y="245"/>
                  </a:lnTo>
                  <a:lnTo>
                    <a:pt x="805" y="247"/>
                  </a:lnTo>
                  <a:lnTo>
                    <a:pt x="803" y="247"/>
                  </a:lnTo>
                  <a:lnTo>
                    <a:pt x="803" y="247"/>
                  </a:lnTo>
                  <a:lnTo>
                    <a:pt x="805" y="247"/>
                  </a:lnTo>
                  <a:lnTo>
                    <a:pt x="807" y="249"/>
                  </a:lnTo>
                  <a:lnTo>
                    <a:pt x="805" y="249"/>
                  </a:lnTo>
                  <a:lnTo>
                    <a:pt x="803" y="249"/>
                  </a:lnTo>
                  <a:lnTo>
                    <a:pt x="797" y="253"/>
                  </a:lnTo>
                  <a:lnTo>
                    <a:pt x="795" y="255"/>
                  </a:lnTo>
                  <a:lnTo>
                    <a:pt x="793" y="255"/>
                  </a:lnTo>
                  <a:lnTo>
                    <a:pt x="791" y="255"/>
                  </a:lnTo>
                  <a:lnTo>
                    <a:pt x="791" y="257"/>
                  </a:lnTo>
                  <a:lnTo>
                    <a:pt x="788" y="259"/>
                  </a:lnTo>
                  <a:lnTo>
                    <a:pt x="788" y="259"/>
                  </a:lnTo>
                  <a:lnTo>
                    <a:pt x="791" y="259"/>
                  </a:lnTo>
                  <a:lnTo>
                    <a:pt x="791" y="259"/>
                  </a:lnTo>
                  <a:lnTo>
                    <a:pt x="795" y="257"/>
                  </a:lnTo>
                  <a:lnTo>
                    <a:pt x="797" y="255"/>
                  </a:lnTo>
                  <a:lnTo>
                    <a:pt x="797" y="255"/>
                  </a:lnTo>
                  <a:lnTo>
                    <a:pt x="797" y="255"/>
                  </a:lnTo>
                  <a:lnTo>
                    <a:pt x="799" y="255"/>
                  </a:lnTo>
                  <a:lnTo>
                    <a:pt x="799" y="253"/>
                  </a:lnTo>
                  <a:lnTo>
                    <a:pt x="799" y="253"/>
                  </a:lnTo>
                  <a:lnTo>
                    <a:pt x="803" y="253"/>
                  </a:lnTo>
                  <a:lnTo>
                    <a:pt x="807" y="251"/>
                  </a:lnTo>
                  <a:lnTo>
                    <a:pt x="813" y="251"/>
                  </a:lnTo>
                  <a:lnTo>
                    <a:pt x="811" y="251"/>
                  </a:lnTo>
                  <a:lnTo>
                    <a:pt x="809" y="251"/>
                  </a:lnTo>
                  <a:lnTo>
                    <a:pt x="809" y="253"/>
                  </a:lnTo>
                  <a:lnTo>
                    <a:pt x="809" y="255"/>
                  </a:lnTo>
                  <a:lnTo>
                    <a:pt x="809" y="255"/>
                  </a:lnTo>
                  <a:lnTo>
                    <a:pt x="807" y="257"/>
                  </a:lnTo>
                  <a:lnTo>
                    <a:pt x="805" y="259"/>
                  </a:lnTo>
                  <a:lnTo>
                    <a:pt x="805" y="261"/>
                  </a:lnTo>
                  <a:lnTo>
                    <a:pt x="803" y="264"/>
                  </a:lnTo>
                  <a:lnTo>
                    <a:pt x="803" y="264"/>
                  </a:lnTo>
                  <a:lnTo>
                    <a:pt x="803" y="264"/>
                  </a:lnTo>
                  <a:lnTo>
                    <a:pt x="803" y="264"/>
                  </a:lnTo>
                  <a:lnTo>
                    <a:pt x="799" y="266"/>
                  </a:lnTo>
                  <a:lnTo>
                    <a:pt x="797" y="266"/>
                  </a:lnTo>
                  <a:lnTo>
                    <a:pt x="797" y="266"/>
                  </a:lnTo>
                  <a:lnTo>
                    <a:pt x="797" y="268"/>
                  </a:lnTo>
                  <a:lnTo>
                    <a:pt x="795" y="270"/>
                  </a:lnTo>
                  <a:lnTo>
                    <a:pt x="795" y="272"/>
                  </a:lnTo>
                  <a:lnTo>
                    <a:pt x="797" y="272"/>
                  </a:lnTo>
                  <a:lnTo>
                    <a:pt x="797" y="274"/>
                  </a:lnTo>
                  <a:lnTo>
                    <a:pt x="799" y="272"/>
                  </a:lnTo>
                  <a:lnTo>
                    <a:pt x="803" y="270"/>
                  </a:lnTo>
                  <a:lnTo>
                    <a:pt x="807" y="268"/>
                  </a:lnTo>
                  <a:lnTo>
                    <a:pt x="807" y="268"/>
                  </a:lnTo>
                  <a:lnTo>
                    <a:pt x="809" y="266"/>
                  </a:lnTo>
                  <a:lnTo>
                    <a:pt x="813" y="264"/>
                  </a:lnTo>
                  <a:lnTo>
                    <a:pt x="813" y="264"/>
                  </a:lnTo>
                  <a:lnTo>
                    <a:pt x="815" y="261"/>
                  </a:lnTo>
                  <a:lnTo>
                    <a:pt x="815" y="259"/>
                  </a:lnTo>
                  <a:lnTo>
                    <a:pt x="817" y="259"/>
                  </a:lnTo>
                  <a:lnTo>
                    <a:pt x="817" y="257"/>
                  </a:lnTo>
                  <a:lnTo>
                    <a:pt x="819" y="257"/>
                  </a:lnTo>
                  <a:lnTo>
                    <a:pt x="819" y="255"/>
                  </a:lnTo>
                  <a:lnTo>
                    <a:pt x="821" y="255"/>
                  </a:lnTo>
                  <a:lnTo>
                    <a:pt x="823" y="253"/>
                  </a:lnTo>
                  <a:lnTo>
                    <a:pt x="823" y="253"/>
                  </a:lnTo>
                  <a:lnTo>
                    <a:pt x="825" y="251"/>
                  </a:lnTo>
                  <a:lnTo>
                    <a:pt x="825" y="251"/>
                  </a:lnTo>
                  <a:lnTo>
                    <a:pt x="825" y="249"/>
                  </a:lnTo>
                  <a:lnTo>
                    <a:pt x="823" y="251"/>
                  </a:lnTo>
                  <a:lnTo>
                    <a:pt x="821" y="249"/>
                  </a:lnTo>
                  <a:lnTo>
                    <a:pt x="821" y="247"/>
                  </a:lnTo>
                  <a:lnTo>
                    <a:pt x="821" y="247"/>
                  </a:lnTo>
                  <a:lnTo>
                    <a:pt x="821" y="245"/>
                  </a:lnTo>
                  <a:lnTo>
                    <a:pt x="819" y="245"/>
                  </a:lnTo>
                  <a:lnTo>
                    <a:pt x="817" y="245"/>
                  </a:lnTo>
                  <a:lnTo>
                    <a:pt x="817" y="243"/>
                  </a:lnTo>
                  <a:lnTo>
                    <a:pt x="815" y="243"/>
                  </a:lnTo>
                  <a:lnTo>
                    <a:pt x="815" y="243"/>
                  </a:lnTo>
                  <a:lnTo>
                    <a:pt x="813" y="241"/>
                  </a:lnTo>
                  <a:lnTo>
                    <a:pt x="813" y="241"/>
                  </a:lnTo>
                  <a:lnTo>
                    <a:pt x="811" y="241"/>
                  </a:lnTo>
                  <a:lnTo>
                    <a:pt x="811" y="241"/>
                  </a:lnTo>
                  <a:lnTo>
                    <a:pt x="811" y="239"/>
                  </a:lnTo>
                  <a:lnTo>
                    <a:pt x="813" y="239"/>
                  </a:lnTo>
                  <a:lnTo>
                    <a:pt x="813" y="237"/>
                  </a:lnTo>
                  <a:lnTo>
                    <a:pt x="811" y="237"/>
                  </a:lnTo>
                  <a:lnTo>
                    <a:pt x="813" y="235"/>
                  </a:lnTo>
                  <a:lnTo>
                    <a:pt x="815" y="235"/>
                  </a:lnTo>
                  <a:lnTo>
                    <a:pt x="813" y="233"/>
                  </a:lnTo>
                  <a:lnTo>
                    <a:pt x="811" y="233"/>
                  </a:lnTo>
                  <a:lnTo>
                    <a:pt x="813" y="233"/>
                  </a:lnTo>
                  <a:lnTo>
                    <a:pt x="815" y="231"/>
                  </a:lnTo>
                  <a:lnTo>
                    <a:pt x="815" y="231"/>
                  </a:lnTo>
                  <a:lnTo>
                    <a:pt x="815" y="227"/>
                  </a:lnTo>
                  <a:lnTo>
                    <a:pt x="815" y="227"/>
                  </a:lnTo>
                  <a:lnTo>
                    <a:pt x="817" y="224"/>
                  </a:lnTo>
                  <a:lnTo>
                    <a:pt x="817" y="220"/>
                  </a:lnTo>
                  <a:lnTo>
                    <a:pt x="817" y="220"/>
                  </a:lnTo>
                  <a:lnTo>
                    <a:pt x="817" y="218"/>
                  </a:lnTo>
                  <a:lnTo>
                    <a:pt x="817" y="216"/>
                  </a:lnTo>
                  <a:lnTo>
                    <a:pt x="819" y="214"/>
                  </a:lnTo>
                  <a:lnTo>
                    <a:pt x="819" y="212"/>
                  </a:lnTo>
                  <a:lnTo>
                    <a:pt x="819" y="210"/>
                  </a:lnTo>
                  <a:lnTo>
                    <a:pt x="819" y="208"/>
                  </a:lnTo>
                  <a:lnTo>
                    <a:pt x="819" y="208"/>
                  </a:lnTo>
                  <a:lnTo>
                    <a:pt x="819" y="206"/>
                  </a:lnTo>
                  <a:lnTo>
                    <a:pt x="819" y="204"/>
                  </a:lnTo>
                  <a:lnTo>
                    <a:pt x="817" y="204"/>
                  </a:lnTo>
                  <a:lnTo>
                    <a:pt x="817" y="204"/>
                  </a:lnTo>
                  <a:lnTo>
                    <a:pt x="817" y="202"/>
                  </a:lnTo>
                  <a:lnTo>
                    <a:pt x="817" y="202"/>
                  </a:lnTo>
                  <a:lnTo>
                    <a:pt x="817" y="202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9" y="200"/>
                  </a:lnTo>
                  <a:lnTo>
                    <a:pt x="817" y="198"/>
                  </a:lnTo>
                  <a:lnTo>
                    <a:pt x="817" y="198"/>
                  </a:lnTo>
                  <a:lnTo>
                    <a:pt x="817" y="196"/>
                  </a:lnTo>
                  <a:lnTo>
                    <a:pt x="815" y="196"/>
                  </a:lnTo>
                  <a:lnTo>
                    <a:pt x="815" y="196"/>
                  </a:lnTo>
                  <a:lnTo>
                    <a:pt x="817" y="194"/>
                  </a:lnTo>
                  <a:lnTo>
                    <a:pt x="817" y="192"/>
                  </a:lnTo>
                  <a:lnTo>
                    <a:pt x="819" y="192"/>
                  </a:lnTo>
                  <a:lnTo>
                    <a:pt x="819" y="192"/>
                  </a:lnTo>
                  <a:lnTo>
                    <a:pt x="819" y="190"/>
                  </a:lnTo>
                  <a:lnTo>
                    <a:pt x="817" y="187"/>
                  </a:lnTo>
                  <a:lnTo>
                    <a:pt x="817" y="187"/>
                  </a:lnTo>
                  <a:lnTo>
                    <a:pt x="813" y="187"/>
                  </a:lnTo>
                  <a:lnTo>
                    <a:pt x="809" y="190"/>
                  </a:lnTo>
                  <a:lnTo>
                    <a:pt x="807" y="190"/>
                  </a:lnTo>
                  <a:lnTo>
                    <a:pt x="803" y="190"/>
                  </a:lnTo>
                  <a:lnTo>
                    <a:pt x="803" y="192"/>
                  </a:lnTo>
                  <a:lnTo>
                    <a:pt x="801" y="192"/>
                  </a:lnTo>
                  <a:lnTo>
                    <a:pt x="801" y="194"/>
                  </a:lnTo>
                  <a:lnTo>
                    <a:pt x="799" y="194"/>
                  </a:lnTo>
                  <a:lnTo>
                    <a:pt x="795" y="196"/>
                  </a:lnTo>
                  <a:lnTo>
                    <a:pt x="793" y="198"/>
                  </a:lnTo>
                  <a:lnTo>
                    <a:pt x="788" y="198"/>
                  </a:lnTo>
                  <a:lnTo>
                    <a:pt x="786" y="198"/>
                  </a:lnTo>
                  <a:lnTo>
                    <a:pt x="782" y="200"/>
                  </a:lnTo>
                  <a:lnTo>
                    <a:pt x="780" y="200"/>
                  </a:lnTo>
                  <a:lnTo>
                    <a:pt x="776" y="202"/>
                  </a:lnTo>
                  <a:lnTo>
                    <a:pt x="774" y="202"/>
                  </a:lnTo>
                  <a:lnTo>
                    <a:pt x="776" y="200"/>
                  </a:lnTo>
                  <a:lnTo>
                    <a:pt x="778" y="198"/>
                  </a:lnTo>
                  <a:lnTo>
                    <a:pt x="780" y="196"/>
                  </a:lnTo>
                  <a:lnTo>
                    <a:pt x="780" y="196"/>
                  </a:lnTo>
                  <a:lnTo>
                    <a:pt x="778" y="194"/>
                  </a:lnTo>
                  <a:lnTo>
                    <a:pt x="778" y="194"/>
                  </a:lnTo>
                  <a:lnTo>
                    <a:pt x="778" y="192"/>
                  </a:lnTo>
                  <a:lnTo>
                    <a:pt x="778" y="190"/>
                  </a:lnTo>
                  <a:lnTo>
                    <a:pt x="776" y="190"/>
                  </a:lnTo>
                  <a:lnTo>
                    <a:pt x="776" y="187"/>
                  </a:lnTo>
                  <a:lnTo>
                    <a:pt x="778" y="185"/>
                  </a:lnTo>
                  <a:lnTo>
                    <a:pt x="776" y="185"/>
                  </a:lnTo>
                  <a:lnTo>
                    <a:pt x="774" y="183"/>
                  </a:lnTo>
                  <a:lnTo>
                    <a:pt x="774" y="181"/>
                  </a:lnTo>
                  <a:lnTo>
                    <a:pt x="776" y="181"/>
                  </a:lnTo>
                  <a:lnTo>
                    <a:pt x="780" y="179"/>
                  </a:lnTo>
                  <a:lnTo>
                    <a:pt x="780" y="177"/>
                  </a:lnTo>
                  <a:lnTo>
                    <a:pt x="778" y="177"/>
                  </a:lnTo>
                  <a:lnTo>
                    <a:pt x="776" y="177"/>
                  </a:lnTo>
                  <a:lnTo>
                    <a:pt x="772" y="177"/>
                  </a:lnTo>
                  <a:lnTo>
                    <a:pt x="770" y="179"/>
                  </a:lnTo>
                  <a:lnTo>
                    <a:pt x="766" y="181"/>
                  </a:lnTo>
                  <a:lnTo>
                    <a:pt x="764" y="179"/>
                  </a:lnTo>
                  <a:lnTo>
                    <a:pt x="762" y="179"/>
                  </a:lnTo>
                  <a:lnTo>
                    <a:pt x="760" y="179"/>
                  </a:lnTo>
                  <a:lnTo>
                    <a:pt x="758" y="179"/>
                  </a:lnTo>
                  <a:lnTo>
                    <a:pt x="756" y="179"/>
                  </a:lnTo>
                  <a:lnTo>
                    <a:pt x="760" y="173"/>
                  </a:lnTo>
                  <a:lnTo>
                    <a:pt x="766" y="169"/>
                  </a:lnTo>
                  <a:lnTo>
                    <a:pt x="772" y="165"/>
                  </a:lnTo>
                  <a:lnTo>
                    <a:pt x="778" y="159"/>
                  </a:lnTo>
                  <a:lnTo>
                    <a:pt x="782" y="155"/>
                  </a:lnTo>
                  <a:lnTo>
                    <a:pt x="788" y="148"/>
                  </a:lnTo>
                  <a:lnTo>
                    <a:pt x="795" y="144"/>
                  </a:lnTo>
                  <a:lnTo>
                    <a:pt x="799" y="140"/>
                  </a:lnTo>
                  <a:lnTo>
                    <a:pt x="805" y="134"/>
                  </a:lnTo>
                  <a:lnTo>
                    <a:pt x="811" y="130"/>
                  </a:lnTo>
                  <a:lnTo>
                    <a:pt x="817" y="126"/>
                  </a:lnTo>
                  <a:lnTo>
                    <a:pt x="821" y="120"/>
                  </a:lnTo>
                  <a:lnTo>
                    <a:pt x="827" y="116"/>
                  </a:lnTo>
                  <a:lnTo>
                    <a:pt x="834" y="111"/>
                  </a:lnTo>
                  <a:lnTo>
                    <a:pt x="840" y="105"/>
                  </a:lnTo>
                  <a:lnTo>
                    <a:pt x="844" y="101"/>
                  </a:lnTo>
                  <a:lnTo>
                    <a:pt x="850" y="97"/>
                  </a:lnTo>
                  <a:lnTo>
                    <a:pt x="856" y="93"/>
                  </a:lnTo>
                  <a:lnTo>
                    <a:pt x="862" y="87"/>
                  </a:lnTo>
                  <a:lnTo>
                    <a:pt x="869" y="83"/>
                  </a:lnTo>
                  <a:lnTo>
                    <a:pt x="875" y="78"/>
                  </a:lnTo>
                  <a:lnTo>
                    <a:pt x="879" y="74"/>
                  </a:lnTo>
                  <a:lnTo>
                    <a:pt x="885" y="68"/>
                  </a:lnTo>
                  <a:lnTo>
                    <a:pt x="891" y="64"/>
                  </a:lnTo>
                  <a:lnTo>
                    <a:pt x="897" y="60"/>
                  </a:lnTo>
                  <a:lnTo>
                    <a:pt x="903" y="56"/>
                  </a:lnTo>
                  <a:lnTo>
                    <a:pt x="910" y="50"/>
                  </a:lnTo>
                  <a:lnTo>
                    <a:pt x="916" y="46"/>
                  </a:lnTo>
                  <a:lnTo>
                    <a:pt x="922" y="41"/>
                  </a:lnTo>
                  <a:lnTo>
                    <a:pt x="928" y="37"/>
                  </a:lnTo>
                  <a:lnTo>
                    <a:pt x="934" y="31"/>
                  </a:lnTo>
                  <a:lnTo>
                    <a:pt x="938" y="27"/>
                  </a:lnTo>
                  <a:lnTo>
                    <a:pt x="938" y="27"/>
                  </a:lnTo>
                  <a:lnTo>
                    <a:pt x="936" y="27"/>
                  </a:lnTo>
                  <a:lnTo>
                    <a:pt x="936" y="27"/>
                  </a:lnTo>
                  <a:lnTo>
                    <a:pt x="934" y="27"/>
                  </a:lnTo>
                  <a:lnTo>
                    <a:pt x="934" y="27"/>
                  </a:lnTo>
                  <a:lnTo>
                    <a:pt x="934" y="25"/>
                  </a:lnTo>
                  <a:lnTo>
                    <a:pt x="928" y="25"/>
                  </a:lnTo>
                  <a:lnTo>
                    <a:pt x="928" y="23"/>
                  </a:lnTo>
                  <a:lnTo>
                    <a:pt x="928" y="21"/>
                  </a:lnTo>
                  <a:lnTo>
                    <a:pt x="924" y="21"/>
                  </a:lnTo>
                  <a:lnTo>
                    <a:pt x="922" y="21"/>
                  </a:lnTo>
                  <a:lnTo>
                    <a:pt x="922" y="21"/>
                  </a:lnTo>
                  <a:lnTo>
                    <a:pt x="920" y="21"/>
                  </a:lnTo>
                  <a:lnTo>
                    <a:pt x="918" y="21"/>
                  </a:lnTo>
                  <a:lnTo>
                    <a:pt x="912" y="21"/>
                  </a:lnTo>
                  <a:lnTo>
                    <a:pt x="908" y="21"/>
                  </a:lnTo>
                  <a:lnTo>
                    <a:pt x="903" y="23"/>
                  </a:lnTo>
                  <a:lnTo>
                    <a:pt x="897" y="23"/>
                  </a:lnTo>
                  <a:lnTo>
                    <a:pt x="897" y="21"/>
                  </a:lnTo>
                  <a:lnTo>
                    <a:pt x="895" y="21"/>
                  </a:lnTo>
                  <a:lnTo>
                    <a:pt x="893" y="19"/>
                  </a:lnTo>
                  <a:lnTo>
                    <a:pt x="891" y="21"/>
                  </a:lnTo>
                  <a:lnTo>
                    <a:pt x="889" y="19"/>
                  </a:lnTo>
                  <a:lnTo>
                    <a:pt x="883" y="19"/>
                  </a:lnTo>
                  <a:lnTo>
                    <a:pt x="879" y="19"/>
                  </a:lnTo>
                  <a:lnTo>
                    <a:pt x="873" y="19"/>
                  </a:lnTo>
                  <a:lnTo>
                    <a:pt x="873" y="19"/>
                  </a:lnTo>
                  <a:lnTo>
                    <a:pt x="873" y="17"/>
                  </a:lnTo>
                  <a:lnTo>
                    <a:pt x="873" y="17"/>
                  </a:lnTo>
                  <a:lnTo>
                    <a:pt x="871" y="17"/>
                  </a:lnTo>
                  <a:lnTo>
                    <a:pt x="871" y="17"/>
                  </a:lnTo>
                  <a:lnTo>
                    <a:pt x="869" y="17"/>
                  </a:lnTo>
                  <a:lnTo>
                    <a:pt x="866" y="17"/>
                  </a:lnTo>
                  <a:lnTo>
                    <a:pt x="866" y="17"/>
                  </a:lnTo>
                  <a:lnTo>
                    <a:pt x="864" y="17"/>
                  </a:lnTo>
                  <a:lnTo>
                    <a:pt x="862" y="15"/>
                  </a:lnTo>
                  <a:lnTo>
                    <a:pt x="860" y="15"/>
                  </a:lnTo>
                  <a:lnTo>
                    <a:pt x="858" y="15"/>
                  </a:lnTo>
                  <a:lnTo>
                    <a:pt x="854" y="15"/>
                  </a:lnTo>
                  <a:lnTo>
                    <a:pt x="850" y="15"/>
                  </a:lnTo>
                  <a:lnTo>
                    <a:pt x="848" y="15"/>
                  </a:lnTo>
                  <a:lnTo>
                    <a:pt x="848" y="15"/>
                  </a:lnTo>
                  <a:lnTo>
                    <a:pt x="846" y="15"/>
                  </a:lnTo>
                  <a:lnTo>
                    <a:pt x="846" y="15"/>
                  </a:lnTo>
                  <a:lnTo>
                    <a:pt x="842" y="15"/>
                  </a:lnTo>
                  <a:lnTo>
                    <a:pt x="840" y="15"/>
                  </a:lnTo>
                  <a:lnTo>
                    <a:pt x="838" y="17"/>
                  </a:lnTo>
                  <a:lnTo>
                    <a:pt x="830" y="15"/>
                  </a:lnTo>
                  <a:lnTo>
                    <a:pt x="832" y="15"/>
                  </a:lnTo>
                  <a:lnTo>
                    <a:pt x="834" y="15"/>
                  </a:lnTo>
                  <a:lnTo>
                    <a:pt x="834" y="15"/>
                  </a:lnTo>
                  <a:lnTo>
                    <a:pt x="830" y="15"/>
                  </a:lnTo>
                  <a:lnTo>
                    <a:pt x="827" y="13"/>
                  </a:lnTo>
                  <a:lnTo>
                    <a:pt x="830" y="13"/>
                  </a:lnTo>
                  <a:lnTo>
                    <a:pt x="827" y="13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4" y="11"/>
                  </a:lnTo>
                  <a:lnTo>
                    <a:pt x="834" y="9"/>
                  </a:lnTo>
                  <a:lnTo>
                    <a:pt x="834" y="9"/>
                  </a:lnTo>
                  <a:lnTo>
                    <a:pt x="832" y="9"/>
                  </a:lnTo>
                  <a:lnTo>
                    <a:pt x="830" y="9"/>
                  </a:lnTo>
                  <a:lnTo>
                    <a:pt x="825" y="9"/>
                  </a:lnTo>
                  <a:lnTo>
                    <a:pt x="821" y="9"/>
                  </a:lnTo>
                  <a:lnTo>
                    <a:pt x="819" y="9"/>
                  </a:lnTo>
                  <a:lnTo>
                    <a:pt x="817" y="9"/>
                  </a:lnTo>
                  <a:lnTo>
                    <a:pt x="811" y="11"/>
                  </a:lnTo>
                  <a:lnTo>
                    <a:pt x="809" y="9"/>
                  </a:lnTo>
                  <a:lnTo>
                    <a:pt x="807" y="9"/>
                  </a:lnTo>
                  <a:lnTo>
                    <a:pt x="807" y="9"/>
                  </a:lnTo>
                  <a:lnTo>
                    <a:pt x="809" y="9"/>
                  </a:lnTo>
                  <a:lnTo>
                    <a:pt x="811" y="7"/>
                  </a:lnTo>
                  <a:lnTo>
                    <a:pt x="809" y="7"/>
                  </a:lnTo>
                  <a:lnTo>
                    <a:pt x="809" y="7"/>
                  </a:lnTo>
                  <a:lnTo>
                    <a:pt x="807" y="7"/>
                  </a:lnTo>
                  <a:lnTo>
                    <a:pt x="807" y="7"/>
                  </a:lnTo>
                  <a:lnTo>
                    <a:pt x="803" y="7"/>
                  </a:lnTo>
                  <a:lnTo>
                    <a:pt x="797" y="9"/>
                  </a:lnTo>
                  <a:lnTo>
                    <a:pt x="795" y="9"/>
                  </a:lnTo>
                  <a:lnTo>
                    <a:pt x="793" y="11"/>
                  </a:lnTo>
                  <a:lnTo>
                    <a:pt x="793" y="9"/>
                  </a:lnTo>
                  <a:lnTo>
                    <a:pt x="793" y="9"/>
                  </a:lnTo>
                  <a:lnTo>
                    <a:pt x="793" y="9"/>
                  </a:lnTo>
                  <a:lnTo>
                    <a:pt x="797" y="7"/>
                  </a:lnTo>
                  <a:lnTo>
                    <a:pt x="801" y="7"/>
                  </a:lnTo>
                  <a:lnTo>
                    <a:pt x="803" y="4"/>
                  </a:lnTo>
                  <a:lnTo>
                    <a:pt x="803" y="4"/>
                  </a:lnTo>
                  <a:lnTo>
                    <a:pt x="803" y="4"/>
                  </a:lnTo>
                  <a:lnTo>
                    <a:pt x="797" y="2"/>
                  </a:lnTo>
                  <a:lnTo>
                    <a:pt x="797" y="2"/>
                  </a:lnTo>
                  <a:lnTo>
                    <a:pt x="799" y="2"/>
                  </a:lnTo>
                  <a:lnTo>
                    <a:pt x="801" y="0"/>
                  </a:lnTo>
                  <a:lnTo>
                    <a:pt x="799" y="0"/>
                  </a:lnTo>
                  <a:lnTo>
                    <a:pt x="795" y="2"/>
                  </a:lnTo>
                  <a:lnTo>
                    <a:pt x="791" y="4"/>
                  </a:lnTo>
                  <a:lnTo>
                    <a:pt x="784" y="7"/>
                  </a:lnTo>
                  <a:lnTo>
                    <a:pt x="780" y="7"/>
                  </a:lnTo>
                  <a:lnTo>
                    <a:pt x="776" y="9"/>
                  </a:lnTo>
                  <a:lnTo>
                    <a:pt x="770" y="9"/>
                  </a:lnTo>
                  <a:lnTo>
                    <a:pt x="768" y="9"/>
                  </a:lnTo>
                  <a:lnTo>
                    <a:pt x="764" y="9"/>
                  </a:lnTo>
                  <a:lnTo>
                    <a:pt x="762" y="11"/>
                  </a:lnTo>
                  <a:lnTo>
                    <a:pt x="760" y="11"/>
                  </a:lnTo>
                  <a:lnTo>
                    <a:pt x="756" y="11"/>
                  </a:lnTo>
                  <a:lnTo>
                    <a:pt x="754" y="11"/>
                  </a:lnTo>
                  <a:lnTo>
                    <a:pt x="752" y="11"/>
                  </a:lnTo>
                  <a:lnTo>
                    <a:pt x="752" y="11"/>
                  </a:lnTo>
                  <a:lnTo>
                    <a:pt x="752" y="11"/>
                  </a:lnTo>
                  <a:lnTo>
                    <a:pt x="754" y="11"/>
                  </a:lnTo>
                  <a:lnTo>
                    <a:pt x="756" y="11"/>
                  </a:lnTo>
                  <a:lnTo>
                    <a:pt x="756" y="9"/>
                  </a:lnTo>
                  <a:lnTo>
                    <a:pt x="756" y="9"/>
                  </a:lnTo>
                  <a:lnTo>
                    <a:pt x="754" y="9"/>
                  </a:lnTo>
                  <a:lnTo>
                    <a:pt x="747" y="11"/>
                  </a:lnTo>
                  <a:lnTo>
                    <a:pt x="739" y="13"/>
                  </a:lnTo>
                  <a:lnTo>
                    <a:pt x="741" y="13"/>
                  </a:lnTo>
                  <a:lnTo>
                    <a:pt x="741" y="15"/>
                  </a:lnTo>
                  <a:lnTo>
                    <a:pt x="745" y="15"/>
                  </a:lnTo>
                  <a:lnTo>
                    <a:pt x="741" y="15"/>
                  </a:lnTo>
                  <a:lnTo>
                    <a:pt x="739" y="15"/>
                  </a:lnTo>
                  <a:lnTo>
                    <a:pt x="737" y="15"/>
                  </a:lnTo>
                  <a:lnTo>
                    <a:pt x="737" y="17"/>
                  </a:lnTo>
                  <a:lnTo>
                    <a:pt x="735" y="17"/>
                  </a:lnTo>
                  <a:lnTo>
                    <a:pt x="733" y="19"/>
                  </a:lnTo>
                  <a:lnTo>
                    <a:pt x="735" y="17"/>
                  </a:lnTo>
                  <a:lnTo>
                    <a:pt x="733" y="17"/>
                  </a:lnTo>
                  <a:lnTo>
                    <a:pt x="735" y="15"/>
                  </a:lnTo>
                  <a:lnTo>
                    <a:pt x="735" y="15"/>
                  </a:lnTo>
                  <a:lnTo>
                    <a:pt x="739" y="13"/>
                  </a:lnTo>
                  <a:lnTo>
                    <a:pt x="739" y="13"/>
                  </a:lnTo>
                  <a:lnTo>
                    <a:pt x="737" y="13"/>
                  </a:lnTo>
                  <a:lnTo>
                    <a:pt x="729" y="15"/>
                  </a:lnTo>
                  <a:lnTo>
                    <a:pt x="729" y="17"/>
                  </a:lnTo>
                  <a:lnTo>
                    <a:pt x="721" y="17"/>
                  </a:lnTo>
                  <a:lnTo>
                    <a:pt x="712" y="19"/>
                  </a:lnTo>
                  <a:lnTo>
                    <a:pt x="710" y="19"/>
                  </a:lnTo>
                  <a:lnTo>
                    <a:pt x="706" y="19"/>
                  </a:lnTo>
                  <a:lnTo>
                    <a:pt x="704" y="19"/>
                  </a:lnTo>
                  <a:lnTo>
                    <a:pt x="706" y="19"/>
                  </a:lnTo>
                  <a:lnTo>
                    <a:pt x="708" y="19"/>
                  </a:lnTo>
                  <a:lnTo>
                    <a:pt x="710" y="19"/>
                  </a:lnTo>
                  <a:lnTo>
                    <a:pt x="710" y="19"/>
                  </a:lnTo>
                  <a:lnTo>
                    <a:pt x="710" y="19"/>
                  </a:lnTo>
                  <a:lnTo>
                    <a:pt x="710" y="19"/>
                  </a:lnTo>
                  <a:lnTo>
                    <a:pt x="712" y="17"/>
                  </a:lnTo>
                  <a:lnTo>
                    <a:pt x="708" y="19"/>
                  </a:lnTo>
                  <a:lnTo>
                    <a:pt x="706" y="19"/>
                  </a:lnTo>
                  <a:lnTo>
                    <a:pt x="700" y="21"/>
                  </a:lnTo>
                  <a:lnTo>
                    <a:pt x="686" y="25"/>
                  </a:lnTo>
                  <a:lnTo>
                    <a:pt x="680" y="29"/>
                  </a:lnTo>
                  <a:lnTo>
                    <a:pt x="676" y="31"/>
                  </a:lnTo>
                  <a:lnTo>
                    <a:pt x="673" y="31"/>
                  </a:lnTo>
                  <a:lnTo>
                    <a:pt x="673" y="31"/>
                  </a:lnTo>
                  <a:lnTo>
                    <a:pt x="673" y="31"/>
                  </a:lnTo>
                  <a:lnTo>
                    <a:pt x="671" y="33"/>
                  </a:lnTo>
                  <a:lnTo>
                    <a:pt x="665" y="35"/>
                  </a:lnTo>
                  <a:lnTo>
                    <a:pt x="657" y="37"/>
                  </a:lnTo>
                  <a:lnTo>
                    <a:pt x="653" y="37"/>
                  </a:lnTo>
                  <a:lnTo>
                    <a:pt x="651" y="39"/>
                  </a:lnTo>
                  <a:lnTo>
                    <a:pt x="643" y="39"/>
                  </a:lnTo>
                  <a:lnTo>
                    <a:pt x="641" y="39"/>
                  </a:lnTo>
                  <a:lnTo>
                    <a:pt x="634" y="39"/>
                  </a:lnTo>
                  <a:lnTo>
                    <a:pt x="626" y="39"/>
                  </a:lnTo>
                  <a:lnTo>
                    <a:pt x="624" y="41"/>
                  </a:lnTo>
                  <a:lnTo>
                    <a:pt x="618" y="44"/>
                  </a:lnTo>
                  <a:lnTo>
                    <a:pt x="614" y="48"/>
                  </a:lnTo>
                  <a:lnTo>
                    <a:pt x="612" y="48"/>
                  </a:lnTo>
                  <a:lnTo>
                    <a:pt x="610" y="48"/>
                  </a:lnTo>
                  <a:lnTo>
                    <a:pt x="608" y="48"/>
                  </a:lnTo>
                  <a:lnTo>
                    <a:pt x="612" y="48"/>
                  </a:lnTo>
                  <a:lnTo>
                    <a:pt x="610" y="48"/>
                  </a:lnTo>
                  <a:lnTo>
                    <a:pt x="608" y="48"/>
                  </a:lnTo>
                  <a:lnTo>
                    <a:pt x="608" y="48"/>
                  </a:lnTo>
                  <a:lnTo>
                    <a:pt x="610" y="48"/>
                  </a:lnTo>
                  <a:lnTo>
                    <a:pt x="612" y="50"/>
                  </a:lnTo>
                  <a:lnTo>
                    <a:pt x="612" y="52"/>
                  </a:lnTo>
                  <a:lnTo>
                    <a:pt x="616" y="52"/>
                  </a:lnTo>
                  <a:lnTo>
                    <a:pt x="620" y="60"/>
                  </a:lnTo>
                  <a:lnTo>
                    <a:pt x="620" y="62"/>
                  </a:lnTo>
                  <a:lnTo>
                    <a:pt x="616" y="64"/>
                  </a:lnTo>
                  <a:lnTo>
                    <a:pt x="616" y="66"/>
                  </a:lnTo>
                  <a:lnTo>
                    <a:pt x="616" y="68"/>
                  </a:lnTo>
                  <a:lnTo>
                    <a:pt x="620" y="68"/>
                  </a:lnTo>
                  <a:lnTo>
                    <a:pt x="624" y="68"/>
                  </a:lnTo>
                  <a:lnTo>
                    <a:pt x="626" y="68"/>
                  </a:lnTo>
                  <a:lnTo>
                    <a:pt x="630" y="68"/>
                  </a:lnTo>
                  <a:lnTo>
                    <a:pt x="628" y="68"/>
                  </a:lnTo>
                  <a:lnTo>
                    <a:pt x="628" y="68"/>
                  </a:lnTo>
                  <a:lnTo>
                    <a:pt x="634" y="68"/>
                  </a:lnTo>
                  <a:lnTo>
                    <a:pt x="637" y="68"/>
                  </a:lnTo>
                  <a:lnTo>
                    <a:pt x="637" y="70"/>
                  </a:lnTo>
                  <a:lnTo>
                    <a:pt x="634" y="70"/>
                  </a:lnTo>
                  <a:lnTo>
                    <a:pt x="628" y="72"/>
                  </a:lnTo>
                  <a:lnTo>
                    <a:pt x="626" y="74"/>
                  </a:lnTo>
                  <a:lnTo>
                    <a:pt x="628" y="74"/>
                  </a:lnTo>
                  <a:lnTo>
                    <a:pt x="628" y="76"/>
                  </a:lnTo>
                  <a:lnTo>
                    <a:pt x="628" y="76"/>
                  </a:lnTo>
                  <a:lnTo>
                    <a:pt x="637" y="74"/>
                  </a:lnTo>
                  <a:lnTo>
                    <a:pt x="639" y="74"/>
                  </a:lnTo>
                  <a:lnTo>
                    <a:pt x="641" y="74"/>
                  </a:lnTo>
                  <a:lnTo>
                    <a:pt x="643" y="74"/>
                  </a:lnTo>
                  <a:lnTo>
                    <a:pt x="643" y="76"/>
                  </a:lnTo>
                  <a:lnTo>
                    <a:pt x="643" y="76"/>
                  </a:lnTo>
                  <a:lnTo>
                    <a:pt x="641" y="78"/>
                  </a:lnTo>
                  <a:lnTo>
                    <a:pt x="634" y="78"/>
                  </a:lnTo>
                  <a:lnTo>
                    <a:pt x="632" y="78"/>
                  </a:lnTo>
                  <a:lnTo>
                    <a:pt x="632" y="76"/>
                  </a:lnTo>
                  <a:lnTo>
                    <a:pt x="630" y="76"/>
                  </a:lnTo>
                  <a:lnTo>
                    <a:pt x="628" y="76"/>
                  </a:lnTo>
                  <a:lnTo>
                    <a:pt x="624" y="78"/>
                  </a:lnTo>
                  <a:lnTo>
                    <a:pt x="624" y="76"/>
                  </a:lnTo>
                  <a:lnTo>
                    <a:pt x="624" y="74"/>
                  </a:lnTo>
                  <a:lnTo>
                    <a:pt x="626" y="72"/>
                  </a:lnTo>
                  <a:lnTo>
                    <a:pt x="626" y="72"/>
                  </a:lnTo>
                  <a:lnTo>
                    <a:pt x="628" y="70"/>
                  </a:lnTo>
                  <a:lnTo>
                    <a:pt x="626" y="70"/>
                  </a:lnTo>
                  <a:lnTo>
                    <a:pt x="624" y="70"/>
                  </a:lnTo>
                  <a:lnTo>
                    <a:pt x="622" y="70"/>
                  </a:lnTo>
                  <a:lnTo>
                    <a:pt x="622" y="72"/>
                  </a:lnTo>
                  <a:lnTo>
                    <a:pt x="620" y="72"/>
                  </a:lnTo>
                  <a:lnTo>
                    <a:pt x="622" y="72"/>
                  </a:lnTo>
                  <a:lnTo>
                    <a:pt x="622" y="74"/>
                  </a:lnTo>
                  <a:lnTo>
                    <a:pt x="622" y="76"/>
                  </a:lnTo>
                  <a:lnTo>
                    <a:pt x="620" y="78"/>
                  </a:lnTo>
                  <a:lnTo>
                    <a:pt x="620" y="78"/>
                  </a:lnTo>
                  <a:lnTo>
                    <a:pt x="624" y="78"/>
                  </a:lnTo>
                  <a:lnTo>
                    <a:pt x="628" y="81"/>
                  </a:lnTo>
                  <a:lnTo>
                    <a:pt x="628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4" y="81"/>
                  </a:lnTo>
                  <a:lnTo>
                    <a:pt x="622" y="81"/>
                  </a:lnTo>
                  <a:lnTo>
                    <a:pt x="622" y="81"/>
                  </a:lnTo>
                  <a:lnTo>
                    <a:pt x="620" y="81"/>
                  </a:lnTo>
                  <a:lnTo>
                    <a:pt x="614" y="85"/>
                  </a:lnTo>
                  <a:lnTo>
                    <a:pt x="612" y="85"/>
                  </a:lnTo>
                  <a:lnTo>
                    <a:pt x="608" y="85"/>
                  </a:lnTo>
                  <a:lnTo>
                    <a:pt x="604" y="85"/>
                  </a:lnTo>
                  <a:lnTo>
                    <a:pt x="602" y="85"/>
                  </a:lnTo>
                  <a:lnTo>
                    <a:pt x="602" y="83"/>
                  </a:lnTo>
                  <a:lnTo>
                    <a:pt x="598" y="85"/>
                  </a:lnTo>
                  <a:lnTo>
                    <a:pt x="591" y="85"/>
                  </a:lnTo>
                  <a:lnTo>
                    <a:pt x="589" y="81"/>
                  </a:lnTo>
                  <a:lnTo>
                    <a:pt x="591" y="81"/>
                  </a:lnTo>
                  <a:lnTo>
                    <a:pt x="593" y="81"/>
                  </a:lnTo>
                  <a:lnTo>
                    <a:pt x="595" y="78"/>
                  </a:lnTo>
                  <a:lnTo>
                    <a:pt x="600" y="76"/>
                  </a:lnTo>
                  <a:lnTo>
                    <a:pt x="600" y="76"/>
                  </a:lnTo>
                  <a:lnTo>
                    <a:pt x="600" y="76"/>
                  </a:lnTo>
                  <a:lnTo>
                    <a:pt x="600" y="76"/>
                  </a:lnTo>
                  <a:lnTo>
                    <a:pt x="602" y="76"/>
                  </a:lnTo>
                  <a:lnTo>
                    <a:pt x="604" y="76"/>
                  </a:lnTo>
                  <a:lnTo>
                    <a:pt x="602" y="74"/>
                  </a:lnTo>
                  <a:lnTo>
                    <a:pt x="598" y="74"/>
                  </a:lnTo>
                  <a:lnTo>
                    <a:pt x="593" y="76"/>
                  </a:lnTo>
                  <a:lnTo>
                    <a:pt x="589" y="76"/>
                  </a:lnTo>
                  <a:lnTo>
                    <a:pt x="583" y="78"/>
                  </a:lnTo>
                  <a:lnTo>
                    <a:pt x="581" y="78"/>
                  </a:lnTo>
                  <a:lnTo>
                    <a:pt x="577" y="78"/>
                  </a:lnTo>
                  <a:lnTo>
                    <a:pt x="571" y="81"/>
                  </a:lnTo>
                  <a:lnTo>
                    <a:pt x="569" y="81"/>
                  </a:lnTo>
                  <a:lnTo>
                    <a:pt x="569" y="81"/>
                  </a:lnTo>
                  <a:lnTo>
                    <a:pt x="571" y="83"/>
                  </a:lnTo>
                  <a:lnTo>
                    <a:pt x="569" y="83"/>
                  </a:lnTo>
                  <a:lnTo>
                    <a:pt x="569" y="83"/>
                  </a:lnTo>
                  <a:lnTo>
                    <a:pt x="567" y="83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59" y="83"/>
                  </a:lnTo>
                  <a:lnTo>
                    <a:pt x="556" y="83"/>
                  </a:lnTo>
                  <a:lnTo>
                    <a:pt x="552" y="85"/>
                  </a:lnTo>
                  <a:lnTo>
                    <a:pt x="548" y="85"/>
                  </a:lnTo>
                  <a:lnTo>
                    <a:pt x="546" y="87"/>
                  </a:lnTo>
                  <a:lnTo>
                    <a:pt x="544" y="87"/>
                  </a:lnTo>
                  <a:lnTo>
                    <a:pt x="540" y="87"/>
                  </a:lnTo>
                  <a:lnTo>
                    <a:pt x="536" y="89"/>
                  </a:lnTo>
                  <a:lnTo>
                    <a:pt x="530" y="91"/>
                  </a:lnTo>
                  <a:lnTo>
                    <a:pt x="530" y="89"/>
                  </a:lnTo>
                  <a:lnTo>
                    <a:pt x="532" y="89"/>
                  </a:lnTo>
                  <a:lnTo>
                    <a:pt x="530" y="89"/>
                  </a:lnTo>
                  <a:lnTo>
                    <a:pt x="528" y="91"/>
                  </a:lnTo>
                  <a:lnTo>
                    <a:pt x="526" y="91"/>
                  </a:lnTo>
                  <a:lnTo>
                    <a:pt x="526" y="93"/>
                  </a:lnTo>
                  <a:lnTo>
                    <a:pt x="530" y="95"/>
                  </a:lnTo>
                  <a:lnTo>
                    <a:pt x="538" y="95"/>
                  </a:lnTo>
                  <a:lnTo>
                    <a:pt x="538" y="95"/>
                  </a:lnTo>
                  <a:lnTo>
                    <a:pt x="542" y="97"/>
                  </a:lnTo>
                  <a:lnTo>
                    <a:pt x="542" y="97"/>
                  </a:lnTo>
                  <a:lnTo>
                    <a:pt x="542" y="97"/>
                  </a:lnTo>
                  <a:lnTo>
                    <a:pt x="540" y="97"/>
                  </a:lnTo>
                  <a:lnTo>
                    <a:pt x="538" y="97"/>
                  </a:lnTo>
                  <a:lnTo>
                    <a:pt x="534" y="99"/>
                  </a:lnTo>
                  <a:lnTo>
                    <a:pt x="532" y="99"/>
                  </a:lnTo>
                  <a:lnTo>
                    <a:pt x="530" y="99"/>
                  </a:lnTo>
                  <a:lnTo>
                    <a:pt x="530" y="99"/>
                  </a:lnTo>
                  <a:lnTo>
                    <a:pt x="530" y="99"/>
                  </a:lnTo>
                  <a:lnTo>
                    <a:pt x="530" y="99"/>
                  </a:lnTo>
                  <a:lnTo>
                    <a:pt x="530" y="101"/>
                  </a:lnTo>
                  <a:lnTo>
                    <a:pt x="532" y="103"/>
                  </a:lnTo>
                  <a:lnTo>
                    <a:pt x="530" y="103"/>
                  </a:lnTo>
                  <a:lnTo>
                    <a:pt x="528" y="105"/>
                  </a:lnTo>
                  <a:lnTo>
                    <a:pt x="526" y="105"/>
                  </a:lnTo>
                  <a:lnTo>
                    <a:pt x="526" y="107"/>
                  </a:lnTo>
                  <a:lnTo>
                    <a:pt x="526" y="107"/>
                  </a:lnTo>
                  <a:lnTo>
                    <a:pt x="534" y="109"/>
                  </a:lnTo>
                  <a:lnTo>
                    <a:pt x="536" y="109"/>
                  </a:lnTo>
                  <a:lnTo>
                    <a:pt x="538" y="109"/>
                  </a:lnTo>
                  <a:lnTo>
                    <a:pt x="540" y="109"/>
                  </a:lnTo>
                  <a:lnTo>
                    <a:pt x="540" y="109"/>
                  </a:lnTo>
                  <a:lnTo>
                    <a:pt x="542" y="109"/>
                  </a:lnTo>
                  <a:lnTo>
                    <a:pt x="542" y="109"/>
                  </a:lnTo>
                  <a:lnTo>
                    <a:pt x="542" y="109"/>
                  </a:lnTo>
                  <a:lnTo>
                    <a:pt x="542" y="109"/>
                  </a:lnTo>
                  <a:lnTo>
                    <a:pt x="548" y="107"/>
                  </a:lnTo>
                  <a:lnTo>
                    <a:pt x="556" y="107"/>
                  </a:lnTo>
                  <a:lnTo>
                    <a:pt x="559" y="109"/>
                  </a:lnTo>
                  <a:lnTo>
                    <a:pt x="561" y="109"/>
                  </a:lnTo>
                  <a:lnTo>
                    <a:pt x="561" y="111"/>
                  </a:lnTo>
                  <a:lnTo>
                    <a:pt x="563" y="109"/>
                  </a:lnTo>
                  <a:lnTo>
                    <a:pt x="563" y="109"/>
                  </a:lnTo>
                  <a:lnTo>
                    <a:pt x="563" y="109"/>
                  </a:lnTo>
                  <a:lnTo>
                    <a:pt x="563" y="107"/>
                  </a:lnTo>
                  <a:lnTo>
                    <a:pt x="563" y="107"/>
                  </a:lnTo>
                  <a:lnTo>
                    <a:pt x="565" y="107"/>
                  </a:lnTo>
                  <a:lnTo>
                    <a:pt x="565" y="109"/>
                  </a:lnTo>
                  <a:lnTo>
                    <a:pt x="563" y="111"/>
                  </a:lnTo>
                  <a:lnTo>
                    <a:pt x="565" y="111"/>
                  </a:lnTo>
                  <a:lnTo>
                    <a:pt x="567" y="109"/>
                  </a:lnTo>
                  <a:lnTo>
                    <a:pt x="575" y="107"/>
                  </a:lnTo>
                  <a:lnTo>
                    <a:pt x="577" y="107"/>
                  </a:lnTo>
                  <a:lnTo>
                    <a:pt x="583" y="105"/>
                  </a:lnTo>
                  <a:lnTo>
                    <a:pt x="585" y="103"/>
                  </a:lnTo>
                  <a:lnTo>
                    <a:pt x="587" y="105"/>
                  </a:lnTo>
                  <a:lnTo>
                    <a:pt x="589" y="105"/>
                  </a:lnTo>
                  <a:lnTo>
                    <a:pt x="595" y="103"/>
                  </a:lnTo>
                  <a:lnTo>
                    <a:pt x="595" y="103"/>
                  </a:lnTo>
                  <a:lnTo>
                    <a:pt x="595" y="103"/>
                  </a:lnTo>
                  <a:lnTo>
                    <a:pt x="595" y="103"/>
                  </a:lnTo>
                  <a:lnTo>
                    <a:pt x="595" y="105"/>
                  </a:lnTo>
                  <a:lnTo>
                    <a:pt x="595" y="105"/>
                  </a:lnTo>
                  <a:lnTo>
                    <a:pt x="593" y="105"/>
                  </a:lnTo>
                  <a:lnTo>
                    <a:pt x="591" y="107"/>
                  </a:lnTo>
                  <a:lnTo>
                    <a:pt x="591" y="107"/>
                  </a:lnTo>
                  <a:lnTo>
                    <a:pt x="589" y="109"/>
                  </a:lnTo>
                  <a:lnTo>
                    <a:pt x="585" y="109"/>
                  </a:lnTo>
                  <a:lnTo>
                    <a:pt x="583" y="109"/>
                  </a:lnTo>
                  <a:lnTo>
                    <a:pt x="581" y="109"/>
                  </a:lnTo>
                  <a:lnTo>
                    <a:pt x="583" y="109"/>
                  </a:lnTo>
                  <a:lnTo>
                    <a:pt x="583" y="111"/>
                  </a:lnTo>
                  <a:lnTo>
                    <a:pt x="583" y="113"/>
                  </a:lnTo>
                  <a:lnTo>
                    <a:pt x="579" y="118"/>
                  </a:lnTo>
                  <a:lnTo>
                    <a:pt x="577" y="118"/>
                  </a:lnTo>
                  <a:lnTo>
                    <a:pt x="577" y="120"/>
                  </a:lnTo>
                  <a:lnTo>
                    <a:pt x="573" y="122"/>
                  </a:lnTo>
                  <a:lnTo>
                    <a:pt x="571" y="124"/>
                  </a:lnTo>
                  <a:lnTo>
                    <a:pt x="567" y="124"/>
                  </a:lnTo>
                  <a:lnTo>
                    <a:pt x="563" y="126"/>
                  </a:lnTo>
                  <a:lnTo>
                    <a:pt x="559" y="126"/>
                  </a:lnTo>
                  <a:lnTo>
                    <a:pt x="552" y="126"/>
                  </a:lnTo>
                  <a:lnTo>
                    <a:pt x="552" y="126"/>
                  </a:lnTo>
                  <a:lnTo>
                    <a:pt x="552" y="126"/>
                  </a:lnTo>
                  <a:lnTo>
                    <a:pt x="552" y="126"/>
                  </a:lnTo>
                  <a:lnTo>
                    <a:pt x="550" y="126"/>
                  </a:lnTo>
                  <a:lnTo>
                    <a:pt x="548" y="126"/>
                  </a:lnTo>
                  <a:lnTo>
                    <a:pt x="540" y="130"/>
                  </a:lnTo>
                  <a:lnTo>
                    <a:pt x="538" y="130"/>
                  </a:lnTo>
                  <a:lnTo>
                    <a:pt x="534" y="132"/>
                  </a:lnTo>
                  <a:lnTo>
                    <a:pt x="532" y="132"/>
                  </a:lnTo>
                  <a:lnTo>
                    <a:pt x="528" y="132"/>
                  </a:lnTo>
                  <a:lnTo>
                    <a:pt x="526" y="132"/>
                  </a:lnTo>
                  <a:lnTo>
                    <a:pt x="528" y="132"/>
                  </a:lnTo>
                  <a:lnTo>
                    <a:pt x="526" y="132"/>
                  </a:lnTo>
                  <a:lnTo>
                    <a:pt x="524" y="132"/>
                  </a:lnTo>
                  <a:lnTo>
                    <a:pt x="522" y="134"/>
                  </a:lnTo>
                  <a:lnTo>
                    <a:pt x="522" y="134"/>
                  </a:lnTo>
                  <a:lnTo>
                    <a:pt x="522" y="132"/>
                  </a:lnTo>
                  <a:lnTo>
                    <a:pt x="524" y="132"/>
                  </a:lnTo>
                  <a:lnTo>
                    <a:pt x="524" y="132"/>
                  </a:lnTo>
                  <a:lnTo>
                    <a:pt x="526" y="132"/>
                  </a:lnTo>
                  <a:lnTo>
                    <a:pt x="526" y="130"/>
                  </a:lnTo>
                  <a:lnTo>
                    <a:pt x="524" y="130"/>
                  </a:lnTo>
                  <a:lnTo>
                    <a:pt x="522" y="130"/>
                  </a:lnTo>
                  <a:lnTo>
                    <a:pt x="517" y="130"/>
                  </a:lnTo>
                  <a:lnTo>
                    <a:pt x="515" y="130"/>
                  </a:lnTo>
                  <a:lnTo>
                    <a:pt x="513" y="132"/>
                  </a:lnTo>
                  <a:lnTo>
                    <a:pt x="513" y="132"/>
                  </a:lnTo>
                  <a:lnTo>
                    <a:pt x="513" y="134"/>
                  </a:lnTo>
                  <a:lnTo>
                    <a:pt x="513" y="134"/>
                  </a:lnTo>
                  <a:lnTo>
                    <a:pt x="509" y="134"/>
                  </a:lnTo>
                  <a:lnTo>
                    <a:pt x="507" y="134"/>
                  </a:lnTo>
                  <a:lnTo>
                    <a:pt x="505" y="134"/>
                  </a:lnTo>
                  <a:lnTo>
                    <a:pt x="503" y="136"/>
                  </a:lnTo>
                  <a:lnTo>
                    <a:pt x="501" y="138"/>
                  </a:lnTo>
                  <a:lnTo>
                    <a:pt x="499" y="140"/>
                  </a:lnTo>
                  <a:lnTo>
                    <a:pt x="501" y="138"/>
                  </a:lnTo>
                  <a:lnTo>
                    <a:pt x="503" y="138"/>
                  </a:lnTo>
                  <a:lnTo>
                    <a:pt x="503" y="138"/>
                  </a:lnTo>
                  <a:lnTo>
                    <a:pt x="501" y="140"/>
                  </a:lnTo>
                  <a:lnTo>
                    <a:pt x="497" y="140"/>
                  </a:lnTo>
                  <a:lnTo>
                    <a:pt x="497" y="142"/>
                  </a:lnTo>
                  <a:lnTo>
                    <a:pt x="497" y="142"/>
                  </a:lnTo>
                  <a:lnTo>
                    <a:pt x="497" y="142"/>
                  </a:lnTo>
                  <a:lnTo>
                    <a:pt x="495" y="142"/>
                  </a:lnTo>
                  <a:lnTo>
                    <a:pt x="495" y="142"/>
                  </a:lnTo>
                  <a:lnTo>
                    <a:pt x="493" y="142"/>
                  </a:lnTo>
                  <a:lnTo>
                    <a:pt x="491" y="142"/>
                  </a:lnTo>
                  <a:lnTo>
                    <a:pt x="485" y="144"/>
                  </a:lnTo>
                  <a:lnTo>
                    <a:pt x="476" y="148"/>
                  </a:lnTo>
                  <a:lnTo>
                    <a:pt x="474" y="150"/>
                  </a:lnTo>
                  <a:lnTo>
                    <a:pt x="472" y="150"/>
                  </a:lnTo>
                  <a:lnTo>
                    <a:pt x="472" y="150"/>
                  </a:lnTo>
                  <a:lnTo>
                    <a:pt x="472" y="153"/>
                  </a:lnTo>
                  <a:lnTo>
                    <a:pt x="468" y="153"/>
                  </a:lnTo>
                  <a:lnTo>
                    <a:pt x="466" y="153"/>
                  </a:lnTo>
                  <a:lnTo>
                    <a:pt x="464" y="153"/>
                  </a:lnTo>
                  <a:lnTo>
                    <a:pt x="464" y="155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62" y="157"/>
                  </a:lnTo>
                  <a:lnTo>
                    <a:pt x="460" y="157"/>
                  </a:lnTo>
                  <a:lnTo>
                    <a:pt x="460" y="157"/>
                  </a:lnTo>
                  <a:lnTo>
                    <a:pt x="460" y="157"/>
                  </a:lnTo>
                  <a:lnTo>
                    <a:pt x="458" y="159"/>
                  </a:lnTo>
                  <a:lnTo>
                    <a:pt x="458" y="159"/>
                  </a:lnTo>
                  <a:lnTo>
                    <a:pt x="460" y="157"/>
                  </a:lnTo>
                  <a:lnTo>
                    <a:pt x="462" y="159"/>
                  </a:lnTo>
                  <a:lnTo>
                    <a:pt x="462" y="159"/>
                  </a:lnTo>
                  <a:lnTo>
                    <a:pt x="458" y="161"/>
                  </a:lnTo>
                  <a:lnTo>
                    <a:pt x="458" y="161"/>
                  </a:lnTo>
                  <a:lnTo>
                    <a:pt x="458" y="163"/>
                  </a:lnTo>
                  <a:lnTo>
                    <a:pt x="456" y="165"/>
                  </a:lnTo>
                  <a:lnTo>
                    <a:pt x="456" y="165"/>
                  </a:lnTo>
                  <a:lnTo>
                    <a:pt x="456" y="165"/>
                  </a:lnTo>
                  <a:lnTo>
                    <a:pt x="458" y="165"/>
                  </a:lnTo>
                  <a:lnTo>
                    <a:pt x="460" y="165"/>
                  </a:lnTo>
                  <a:lnTo>
                    <a:pt x="460" y="163"/>
                  </a:lnTo>
                  <a:lnTo>
                    <a:pt x="462" y="163"/>
                  </a:lnTo>
                  <a:lnTo>
                    <a:pt x="464" y="163"/>
                  </a:lnTo>
                  <a:lnTo>
                    <a:pt x="464" y="163"/>
                  </a:lnTo>
                  <a:lnTo>
                    <a:pt x="462" y="163"/>
                  </a:lnTo>
                  <a:lnTo>
                    <a:pt x="460" y="163"/>
                  </a:lnTo>
                  <a:lnTo>
                    <a:pt x="462" y="165"/>
                  </a:lnTo>
                  <a:lnTo>
                    <a:pt x="462" y="165"/>
                  </a:lnTo>
                  <a:lnTo>
                    <a:pt x="464" y="163"/>
                  </a:lnTo>
                  <a:lnTo>
                    <a:pt x="464" y="163"/>
                  </a:lnTo>
                  <a:lnTo>
                    <a:pt x="462" y="165"/>
                  </a:lnTo>
                  <a:lnTo>
                    <a:pt x="462" y="165"/>
                  </a:lnTo>
                  <a:lnTo>
                    <a:pt x="464" y="165"/>
                  </a:lnTo>
                  <a:lnTo>
                    <a:pt x="464" y="165"/>
                  </a:lnTo>
                  <a:lnTo>
                    <a:pt x="464" y="165"/>
                  </a:lnTo>
                  <a:lnTo>
                    <a:pt x="462" y="167"/>
                  </a:lnTo>
                  <a:lnTo>
                    <a:pt x="458" y="167"/>
                  </a:lnTo>
                  <a:lnTo>
                    <a:pt x="458" y="167"/>
                  </a:lnTo>
                  <a:lnTo>
                    <a:pt x="458" y="169"/>
                  </a:lnTo>
                  <a:lnTo>
                    <a:pt x="462" y="169"/>
                  </a:lnTo>
                  <a:lnTo>
                    <a:pt x="466" y="169"/>
                  </a:lnTo>
                  <a:lnTo>
                    <a:pt x="470" y="169"/>
                  </a:lnTo>
                  <a:lnTo>
                    <a:pt x="476" y="167"/>
                  </a:lnTo>
                  <a:lnTo>
                    <a:pt x="476" y="167"/>
                  </a:lnTo>
                  <a:lnTo>
                    <a:pt x="476" y="169"/>
                  </a:lnTo>
                  <a:lnTo>
                    <a:pt x="476" y="169"/>
                  </a:lnTo>
                  <a:lnTo>
                    <a:pt x="472" y="169"/>
                  </a:lnTo>
                  <a:lnTo>
                    <a:pt x="472" y="169"/>
                  </a:lnTo>
                  <a:lnTo>
                    <a:pt x="474" y="169"/>
                  </a:lnTo>
                  <a:lnTo>
                    <a:pt x="476" y="171"/>
                  </a:lnTo>
                  <a:lnTo>
                    <a:pt x="476" y="171"/>
                  </a:lnTo>
                  <a:lnTo>
                    <a:pt x="472" y="173"/>
                  </a:lnTo>
                  <a:lnTo>
                    <a:pt x="468" y="173"/>
                  </a:lnTo>
                  <a:lnTo>
                    <a:pt x="468" y="173"/>
                  </a:lnTo>
                  <a:lnTo>
                    <a:pt x="470" y="171"/>
                  </a:lnTo>
                  <a:lnTo>
                    <a:pt x="470" y="171"/>
                  </a:lnTo>
                  <a:lnTo>
                    <a:pt x="468" y="171"/>
                  </a:lnTo>
                  <a:lnTo>
                    <a:pt x="466" y="171"/>
                  </a:lnTo>
                  <a:lnTo>
                    <a:pt x="462" y="173"/>
                  </a:lnTo>
                  <a:lnTo>
                    <a:pt x="460" y="173"/>
                  </a:lnTo>
                  <a:lnTo>
                    <a:pt x="462" y="173"/>
                  </a:lnTo>
                  <a:lnTo>
                    <a:pt x="464" y="171"/>
                  </a:lnTo>
                  <a:lnTo>
                    <a:pt x="464" y="171"/>
                  </a:lnTo>
                  <a:lnTo>
                    <a:pt x="464" y="171"/>
                  </a:lnTo>
                  <a:lnTo>
                    <a:pt x="464" y="169"/>
                  </a:lnTo>
                  <a:lnTo>
                    <a:pt x="462" y="169"/>
                  </a:lnTo>
                  <a:lnTo>
                    <a:pt x="462" y="169"/>
                  </a:lnTo>
                  <a:lnTo>
                    <a:pt x="460" y="169"/>
                  </a:lnTo>
                  <a:lnTo>
                    <a:pt x="456" y="171"/>
                  </a:lnTo>
                  <a:lnTo>
                    <a:pt x="446" y="175"/>
                  </a:lnTo>
                  <a:lnTo>
                    <a:pt x="448" y="175"/>
                  </a:lnTo>
                  <a:lnTo>
                    <a:pt x="450" y="175"/>
                  </a:lnTo>
                  <a:lnTo>
                    <a:pt x="450" y="175"/>
                  </a:lnTo>
                  <a:lnTo>
                    <a:pt x="448" y="175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9"/>
                  </a:lnTo>
                  <a:lnTo>
                    <a:pt x="450" y="179"/>
                  </a:lnTo>
                  <a:lnTo>
                    <a:pt x="450" y="181"/>
                  </a:lnTo>
                  <a:lnTo>
                    <a:pt x="450" y="183"/>
                  </a:lnTo>
                  <a:lnTo>
                    <a:pt x="450" y="185"/>
                  </a:lnTo>
                  <a:lnTo>
                    <a:pt x="448" y="185"/>
                  </a:lnTo>
                  <a:lnTo>
                    <a:pt x="450" y="187"/>
                  </a:lnTo>
                  <a:lnTo>
                    <a:pt x="452" y="187"/>
                  </a:lnTo>
                  <a:lnTo>
                    <a:pt x="460" y="185"/>
                  </a:lnTo>
                  <a:lnTo>
                    <a:pt x="464" y="185"/>
                  </a:lnTo>
                  <a:lnTo>
                    <a:pt x="468" y="183"/>
                  </a:lnTo>
                  <a:lnTo>
                    <a:pt x="470" y="183"/>
                  </a:lnTo>
                  <a:lnTo>
                    <a:pt x="472" y="183"/>
                  </a:lnTo>
                  <a:lnTo>
                    <a:pt x="474" y="181"/>
                  </a:lnTo>
                  <a:lnTo>
                    <a:pt x="476" y="179"/>
                  </a:lnTo>
                  <a:lnTo>
                    <a:pt x="476" y="179"/>
                  </a:lnTo>
                  <a:lnTo>
                    <a:pt x="474" y="179"/>
                  </a:lnTo>
                  <a:lnTo>
                    <a:pt x="476" y="179"/>
                  </a:lnTo>
                  <a:lnTo>
                    <a:pt x="480" y="177"/>
                  </a:lnTo>
                  <a:lnTo>
                    <a:pt x="487" y="173"/>
                  </a:lnTo>
                  <a:lnTo>
                    <a:pt x="489" y="173"/>
                  </a:lnTo>
                  <a:lnTo>
                    <a:pt x="491" y="173"/>
                  </a:lnTo>
                  <a:lnTo>
                    <a:pt x="493" y="171"/>
                  </a:lnTo>
                  <a:lnTo>
                    <a:pt x="493" y="171"/>
                  </a:lnTo>
                  <a:lnTo>
                    <a:pt x="493" y="173"/>
                  </a:lnTo>
                  <a:lnTo>
                    <a:pt x="489" y="173"/>
                  </a:lnTo>
                  <a:lnTo>
                    <a:pt x="485" y="175"/>
                  </a:lnTo>
                  <a:lnTo>
                    <a:pt x="478" y="179"/>
                  </a:lnTo>
                  <a:lnTo>
                    <a:pt x="478" y="181"/>
                  </a:lnTo>
                  <a:lnTo>
                    <a:pt x="476" y="183"/>
                  </a:lnTo>
                  <a:lnTo>
                    <a:pt x="472" y="187"/>
                  </a:lnTo>
                  <a:lnTo>
                    <a:pt x="472" y="190"/>
                  </a:lnTo>
                  <a:lnTo>
                    <a:pt x="470" y="192"/>
                  </a:lnTo>
                  <a:lnTo>
                    <a:pt x="468" y="194"/>
                  </a:lnTo>
                  <a:lnTo>
                    <a:pt x="466" y="194"/>
                  </a:lnTo>
                  <a:lnTo>
                    <a:pt x="462" y="196"/>
                  </a:lnTo>
                  <a:lnTo>
                    <a:pt x="460" y="198"/>
                  </a:lnTo>
                  <a:lnTo>
                    <a:pt x="460" y="200"/>
                  </a:lnTo>
                  <a:lnTo>
                    <a:pt x="462" y="198"/>
                  </a:lnTo>
                  <a:lnTo>
                    <a:pt x="464" y="198"/>
                  </a:lnTo>
                  <a:lnTo>
                    <a:pt x="460" y="200"/>
                  </a:lnTo>
                  <a:lnTo>
                    <a:pt x="458" y="202"/>
                  </a:lnTo>
                  <a:lnTo>
                    <a:pt x="458" y="202"/>
                  </a:lnTo>
                  <a:lnTo>
                    <a:pt x="456" y="204"/>
                  </a:lnTo>
                  <a:lnTo>
                    <a:pt x="454" y="206"/>
                  </a:lnTo>
                  <a:lnTo>
                    <a:pt x="450" y="206"/>
                  </a:lnTo>
                  <a:lnTo>
                    <a:pt x="448" y="206"/>
                  </a:lnTo>
                  <a:lnTo>
                    <a:pt x="452" y="208"/>
                  </a:lnTo>
                  <a:lnTo>
                    <a:pt x="458" y="206"/>
                  </a:lnTo>
                  <a:lnTo>
                    <a:pt x="460" y="204"/>
                  </a:lnTo>
                  <a:lnTo>
                    <a:pt x="462" y="204"/>
                  </a:lnTo>
                  <a:lnTo>
                    <a:pt x="462" y="204"/>
                  </a:lnTo>
                  <a:lnTo>
                    <a:pt x="464" y="204"/>
                  </a:lnTo>
                  <a:lnTo>
                    <a:pt x="468" y="202"/>
                  </a:lnTo>
                  <a:lnTo>
                    <a:pt x="470" y="202"/>
                  </a:lnTo>
                  <a:lnTo>
                    <a:pt x="474" y="202"/>
                  </a:lnTo>
                  <a:lnTo>
                    <a:pt x="476" y="200"/>
                  </a:lnTo>
                  <a:lnTo>
                    <a:pt x="478" y="200"/>
                  </a:lnTo>
                  <a:lnTo>
                    <a:pt x="478" y="202"/>
                  </a:lnTo>
                  <a:lnTo>
                    <a:pt x="478" y="202"/>
                  </a:lnTo>
                  <a:lnTo>
                    <a:pt x="480" y="204"/>
                  </a:lnTo>
                  <a:lnTo>
                    <a:pt x="483" y="204"/>
                  </a:lnTo>
                  <a:lnTo>
                    <a:pt x="485" y="202"/>
                  </a:lnTo>
                  <a:lnTo>
                    <a:pt x="485" y="202"/>
                  </a:lnTo>
                  <a:lnTo>
                    <a:pt x="487" y="204"/>
                  </a:lnTo>
                  <a:lnTo>
                    <a:pt x="487" y="206"/>
                  </a:lnTo>
                  <a:lnTo>
                    <a:pt x="485" y="210"/>
                  </a:lnTo>
                  <a:lnTo>
                    <a:pt x="485" y="210"/>
                  </a:lnTo>
                  <a:lnTo>
                    <a:pt x="487" y="210"/>
                  </a:lnTo>
                  <a:lnTo>
                    <a:pt x="489" y="208"/>
                  </a:lnTo>
                  <a:lnTo>
                    <a:pt x="493" y="206"/>
                  </a:lnTo>
                  <a:lnTo>
                    <a:pt x="495" y="204"/>
                  </a:lnTo>
                  <a:lnTo>
                    <a:pt x="497" y="202"/>
                  </a:lnTo>
                  <a:lnTo>
                    <a:pt x="499" y="202"/>
                  </a:lnTo>
                  <a:lnTo>
                    <a:pt x="499" y="202"/>
                  </a:lnTo>
                  <a:lnTo>
                    <a:pt x="499" y="202"/>
                  </a:lnTo>
                  <a:lnTo>
                    <a:pt x="501" y="200"/>
                  </a:lnTo>
                  <a:lnTo>
                    <a:pt x="503" y="200"/>
                  </a:lnTo>
                  <a:lnTo>
                    <a:pt x="505" y="200"/>
                  </a:lnTo>
                  <a:lnTo>
                    <a:pt x="507" y="200"/>
                  </a:lnTo>
                  <a:lnTo>
                    <a:pt x="507" y="200"/>
                  </a:lnTo>
                  <a:lnTo>
                    <a:pt x="507" y="200"/>
                  </a:lnTo>
                  <a:lnTo>
                    <a:pt x="505" y="200"/>
                  </a:lnTo>
                  <a:lnTo>
                    <a:pt x="503" y="200"/>
                  </a:lnTo>
                  <a:lnTo>
                    <a:pt x="501" y="202"/>
                  </a:lnTo>
                  <a:lnTo>
                    <a:pt x="499" y="204"/>
                  </a:lnTo>
                  <a:lnTo>
                    <a:pt x="499" y="204"/>
                  </a:lnTo>
                  <a:lnTo>
                    <a:pt x="499" y="204"/>
                  </a:lnTo>
                  <a:lnTo>
                    <a:pt x="499" y="206"/>
                  </a:lnTo>
                  <a:lnTo>
                    <a:pt x="499" y="206"/>
                  </a:lnTo>
                  <a:lnTo>
                    <a:pt x="501" y="206"/>
                  </a:lnTo>
                  <a:lnTo>
                    <a:pt x="509" y="204"/>
                  </a:lnTo>
                  <a:lnTo>
                    <a:pt x="517" y="202"/>
                  </a:lnTo>
                  <a:lnTo>
                    <a:pt x="522" y="200"/>
                  </a:lnTo>
                  <a:lnTo>
                    <a:pt x="528" y="198"/>
                  </a:lnTo>
                  <a:lnTo>
                    <a:pt x="522" y="202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1" y="206"/>
                  </a:lnTo>
                  <a:lnTo>
                    <a:pt x="507" y="208"/>
                  </a:lnTo>
                  <a:lnTo>
                    <a:pt x="503" y="210"/>
                  </a:lnTo>
                  <a:lnTo>
                    <a:pt x="503" y="212"/>
                  </a:lnTo>
                  <a:lnTo>
                    <a:pt x="501" y="212"/>
                  </a:lnTo>
                  <a:lnTo>
                    <a:pt x="501" y="214"/>
                  </a:lnTo>
                  <a:lnTo>
                    <a:pt x="503" y="214"/>
                  </a:lnTo>
                  <a:lnTo>
                    <a:pt x="503" y="214"/>
                  </a:lnTo>
                  <a:lnTo>
                    <a:pt x="499" y="214"/>
                  </a:lnTo>
                  <a:lnTo>
                    <a:pt x="497" y="214"/>
                  </a:lnTo>
                  <a:lnTo>
                    <a:pt x="495" y="216"/>
                  </a:lnTo>
                  <a:lnTo>
                    <a:pt x="493" y="218"/>
                  </a:lnTo>
                  <a:lnTo>
                    <a:pt x="489" y="222"/>
                  </a:lnTo>
                  <a:lnTo>
                    <a:pt x="487" y="222"/>
                  </a:lnTo>
                  <a:lnTo>
                    <a:pt x="487" y="224"/>
                  </a:lnTo>
                  <a:lnTo>
                    <a:pt x="487" y="224"/>
                  </a:lnTo>
                  <a:lnTo>
                    <a:pt x="485" y="224"/>
                  </a:lnTo>
                  <a:lnTo>
                    <a:pt x="487" y="227"/>
                  </a:lnTo>
                  <a:lnTo>
                    <a:pt x="487" y="227"/>
                  </a:lnTo>
                  <a:lnTo>
                    <a:pt x="487" y="227"/>
                  </a:lnTo>
                  <a:lnTo>
                    <a:pt x="485" y="227"/>
                  </a:lnTo>
                  <a:lnTo>
                    <a:pt x="485" y="227"/>
                  </a:lnTo>
                  <a:lnTo>
                    <a:pt x="483" y="227"/>
                  </a:lnTo>
                  <a:lnTo>
                    <a:pt x="485" y="224"/>
                  </a:lnTo>
                  <a:lnTo>
                    <a:pt x="483" y="224"/>
                  </a:lnTo>
                  <a:lnTo>
                    <a:pt x="483" y="224"/>
                  </a:lnTo>
                  <a:lnTo>
                    <a:pt x="480" y="227"/>
                  </a:lnTo>
                  <a:lnTo>
                    <a:pt x="476" y="227"/>
                  </a:lnTo>
                  <a:lnTo>
                    <a:pt x="474" y="229"/>
                  </a:lnTo>
                  <a:lnTo>
                    <a:pt x="472" y="229"/>
                  </a:lnTo>
                  <a:lnTo>
                    <a:pt x="470" y="229"/>
                  </a:lnTo>
                  <a:lnTo>
                    <a:pt x="466" y="231"/>
                  </a:lnTo>
                  <a:lnTo>
                    <a:pt x="464" y="233"/>
                  </a:lnTo>
                  <a:lnTo>
                    <a:pt x="462" y="235"/>
                  </a:lnTo>
                  <a:lnTo>
                    <a:pt x="460" y="235"/>
                  </a:lnTo>
                  <a:lnTo>
                    <a:pt x="458" y="235"/>
                  </a:lnTo>
                  <a:lnTo>
                    <a:pt x="458" y="237"/>
                  </a:lnTo>
                  <a:lnTo>
                    <a:pt x="456" y="237"/>
                  </a:lnTo>
                  <a:lnTo>
                    <a:pt x="456" y="239"/>
                  </a:lnTo>
                  <a:lnTo>
                    <a:pt x="456" y="239"/>
                  </a:lnTo>
                  <a:lnTo>
                    <a:pt x="454" y="239"/>
                  </a:lnTo>
                  <a:lnTo>
                    <a:pt x="454" y="237"/>
                  </a:lnTo>
                  <a:lnTo>
                    <a:pt x="454" y="237"/>
                  </a:lnTo>
                  <a:lnTo>
                    <a:pt x="454" y="237"/>
                  </a:lnTo>
                  <a:lnTo>
                    <a:pt x="454" y="237"/>
                  </a:lnTo>
                  <a:lnTo>
                    <a:pt x="450" y="239"/>
                  </a:lnTo>
                  <a:lnTo>
                    <a:pt x="446" y="239"/>
                  </a:lnTo>
                  <a:lnTo>
                    <a:pt x="437" y="243"/>
                  </a:lnTo>
                  <a:lnTo>
                    <a:pt x="431" y="245"/>
                  </a:lnTo>
                  <a:lnTo>
                    <a:pt x="429" y="245"/>
                  </a:lnTo>
                  <a:lnTo>
                    <a:pt x="425" y="247"/>
                  </a:lnTo>
                  <a:lnTo>
                    <a:pt x="423" y="247"/>
                  </a:lnTo>
                  <a:lnTo>
                    <a:pt x="419" y="249"/>
                  </a:lnTo>
                  <a:lnTo>
                    <a:pt x="417" y="251"/>
                  </a:lnTo>
                  <a:lnTo>
                    <a:pt x="415" y="251"/>
                  </a:lnTo>
                  <a:lnTo>
                    <a:pt x="415" y="253"/>
                  </a:lnTo>
                  <a:lnTo>
                    <a:pt x="415" y="253"/>
                  </a:lnTo>
                  <a:lnTo>
                    <a:pt x="415" y="253"/>
                  </a:lnTo>
                  <a:lnTo>
                    <a:pt x="415" y="255"/>
                  </a:lnTo>
                  <a:lnTo>
                    <a:pt x="415" y="255"/>
                  </a:lnTo>
                  <a:lnTo>
                    <a:pt x="415" y="255"/>
                  </a:lnTo>
                  <a:lnTo>
                    <a:pt x="413" y="255"/>
                  </a:lnTo>
                  <a:lnTo>
                    <a:pt x="413" y="255"/>
                  </a:lnTo>
                  <a:lnTo>
                    <a:pt x="413" y="253"/>
                  </a:lnTo>
                  <a:lnTo>
                    <a:pt x="413" y="253"/>
                  </a:lnTo>
                  <a:lnTo>
                    <a:pt x="411" y="253"/>
                  </a:lnTo>
                  <a:lnTo>
                    <a:pt x="409" y="253"/>
                  </a:lnTo>
                  <a:lnTo>
                    <a:pt x="409" y="255"/>
                  </a:lnTo>
                  <a:lnTo>
                    <a:pt x="407" y="255"/>
                  </a:lnTo>
                  <a:lnTo>
                    <a:pt x="407" y="255"/>
                  </a:lnTo>
                  <a:lnTo>
                    <a:pt x="407" y="255"/>
                  </a:lnTo>
                  <a:lnTo>
                    <a:pt x="407" y="253"/>
                  </a:lnTo>
                  <a:lnTo>
                    <a:pt x="407" y="253"/>
                  </a:lnTo>
                  <a:lnTo>
                    <a:pt x="409" y="253"/>
                  </a:lnTo>
                  <a:lnTo>
                    <a:pt x="411" y="251"/>
                  </a:lnTo>
                  <a:lnTo>
                    <a:pt x="411" y="251"/>
                  </a:lnTo>
                  <a:lnTo>
                    <a:pt x="409" y="251"/>
                  </a:lnTo>
                  <a:lnTo>
                    <a:pt x="407" y="253"/>
                  </a:lnTo>
                  <a:lnTo>
                    <a:pt x="407" y="253"/>
                  </a:lnTo>
                  <a:lnTo>
                    <a:pt x="407" y="251"/>
                  </a:lnTo>
                  <a:lnTo>
                    <a:pt x="407" y="251"/>
                  </a:lnTo>
                  <a:lnTo>
                    <a:pt x="407" y="251"/>
                  </a:lnTo>
                  <a:lnTo>
                    <a:pt x="398" y="253"/>
                  </a:lnTo>
                  <a:lnTo>
                    <a:pt x="392" y="255"/>
                  </a:lnTo>
                  <a:lnTo>
                    <a:pt x="388" y="257"/>
                  </a:lnTo>
                  <a:lnTo>
                    <a:pt x="384" y="259"/>
                  </a:lnTo>
                  <a:lnTo>
                    <a:pt x="378" y="261"/>
                  </a:lnTo>
                  <a:lnTo>
                    <a:pt x="374" y="264"/>
                  </a:lnTo>
                  <a:lnTo>
                    <a:pt x="372" y="264"/>
                  </a:lnTo>
                  <a:lnTo>
                    <a:pt x="370" y="266"/>
                  </a:lnTo>
                  <a:lnTo>
                    <a:pt x="368" y="266"/>
                  </a:lnTo>
                  <a:lnTo>
                    <a:pt x="368" y="266"/>
                  </a:lnTo>
                  <a:lnTo>
                    <a:pt x="368" y="266"/>
                  </a:lnTo>
                  <a:lnTo>
                    <a:pt x="366" y="266"/>
                  </a:lnTo>
                  <a:lnTo>
                    <a:pt x="366" y="266"/>
                  </a:lnTo>
                  <a:lnTo>
                    <a:pt x="366" y="266"/>
                  </a:lnTo>
                  <a:lnTo>
                    <a:pt x="361" y="268"/>
                  </a:lnTo>
                  <a:lnTo>
                    <a:pt x="359" y="268"/>
                  </a:lnTo>
                  <a:lnTo>
                    <a:pt x="359" y="268"/>
                  </a:lnTo>
                  <a:lnTo>
                    <a:pt x="359" y="270"/>
                  </a:lnTo>
                  <a:lnTo>
                    <a:pt x="357" y="270"/>
                  </a:lnTo>
                  <a:lnTo>
                    <a:pt x="355" y="272"/>
                  </a:lnTo>
                  <a:lnTo>
                    <a:pt x="355" y="272"/>
                  </a:lnTo>
                  <a:lnTo>
                    <a:pt x="355" y="272"/>
                  </a:lnTo>
                  <a:lnTo>
                    <a:pt x="357" y="272"/>
                  </a:lnTo>
                  <a:lnTo>
                    <a:pt x="359" y="270"/>
                  </a:lnTo>
                  <a:lnTo>
                    <a:pt x="361" y="270"/>
                  </a:lnTo>
                  <a:lnTo>
                    <a:pt x="361" y="268"/>
                  </a:lnTo>
                  <a:lnTo>
                    <a:pt x="361" y="268"/>
                  </a:lnTo>
                  <a:lnTo>
                    <a:pt x="363" y="268"/>
                  </a:lnTo>
                  <a:lnTo>
                    <a:pt x="363" y="270"/>
                  </a:lnTo>
                  <a:lnTo>
                    <a:pt x="363" y="270"/>
                  </a:lnTo>
                  <a:lnTo>
                    <a:pt x="368" y="270"/>
                  </a:lnTo>
                  <a:lnTo>
                    <a:pt x="368" y="268"/>
                  </a:lnTo>
                  <a:lnTo>
                    <a:pt x="370" y="268"/>
                  </a:lnTo>
                  <a:lnTo>
                    <a:pt x="372" y="266"/>
                  </a:lnTo>
                  <a:lnTo>
                    <a:pt x="372" y="266"/>
                  </a:lnTo>
                  <a:lnTo>
                    <a:pt x="374" y="266"/>
                  </a:lnTo>
                  <a:lnTo>
                    <a:pt x="374" y="266"/>
                  </a:lnTo>
                  <a:lnTo>
                    <a:pt x="374" y="266"/>
                  </a:lnTo>
                  <a:lnTo>
                    <a:pt x="372" y="268"/>
                  </a:lnTo>
                  <a:lnTo>
                    <a:pt x="372" y="268"/>
                  </a:lnTo>
                  <a:lnTo>
                    <a:pt x="372" y="268"/>
                  </a:lnTo>
                  <a:lnTo>
                    <a:pt x="372" y="268"/>
                  </a:lnTo>
                  <a:lnTo>
                    <a:pt x="372" y="268"/>
                  </a:lnTo>
                  <a:lnTo>
                    <a:pt x="372" y="268"/>
                  </a:lnTo>
                  <a:lnTo>
                    <a:pt x="374" y="268"/>
                  </a:lnTo>
                  <a:lnTo>
                    <a:pt x="376" y="268"/>
                  </a:lnTo>
                  <a:lnTo>
                    <a:pt x="376" y="266"/>
                  </a:lnTo>
                  <a:lnTo>
                    <a:pt x="378" y="266"/>
                  </a:lnTo>
                  <a:lnTo>
                    <a:pt x="380" y="266"/>
                  </a:lnTo>
                  <a:lnTo>
                    <a:pt x="388" y="261"/>
                  </a:lnTo>
                  <a:lnTo>
                    <a:pt x="388" y="261"/>
                  </a:lnTo>
                  <a:lnTo>
                    <a:pt x="390" y="259"/>
                  </a:lnTo>
                  <a:lnTo>
                    <a:pt x="392" y="259"/>
                  </a:lnTo>
                  <a:lnTo>
                    <a:pt x="392" y="259"/>
                  </a:lnTo>
                  <a:lnTo>
                    <a:pt x="394" y="257"/>
                  </a:lnTo>
                  <a:lnTo>
                    <a:pt x="396" y="257"/>
                  </a:lnTo>
                  <a:lnTo>
                    <a:pt x="396" y="257"/>
                  </a:lnTo>
                  <a:lnTo>
                    <a:pt x="398" y="259"/>
                  </a:lnTo>
                  <a:lnTo>
                    <a:pt x="398" y="259"/>
                  </a:lnTo>
                  <a:lnTo>
                    <a:pt x="398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4" y="259"/>
                  </a:lnTo>
                  <a:lnTo>
                    <a:pt x="394" y="259"/>
                  </a:lnTo>
                  <a:lnTo>
                    <a:pt x="392" y="261"/>
                  </a:lnTo>
                  <a:lnTo>
                    <a:pt x="390" y="261"/>
                  </a:lnTo>
                  <a:lnTo>
                    <a:pt x="390" y="261"/>
                  </a:lnTo>
                  <a:lnTo>
                    <a:pt x="392" y="264"/>
                  </a:lnTo>
                  <a:lnTo>
                    <a:pt x="394" y="261"/>
                  </a:lnTo>
                  <a:lnTo>
                    <a:pt x="396" y="261"/>
                  </a:lnTo>
                  <a:lnTo>
                    <a:pt x="398" y="261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2" y="261"/>
                  </a:lnTo>
                  <a:lnTo>
                    <a:pt x="402" y="259"/>
                  </a:lnTo>
                  <a:lnTo>
                    <a:pt x="405" y="259"/>
                  </a:lnTo>
                  <a:lnTo>
                    <a:pt x="405" y="259"/>
                  </a:lnTo>
                  <a:lnTo>
                    <a:pt x="407" y="259"/>
                  </a:lnTo>
                  <a:lnTo>
                    <a:pt x="407" y="259"/>
                  </a:lnTo>
                  <a:lnTo>
                    <a:pt x="409" y="259"/>
                  </a:lnTo>
                  <a:lnTo>
                    <a:pt x="409" y="257"/>
                  </a:lnTo>
                  <a:lnTo>
                    <a:pt x="411" y="257"/>
                  </a:lnTo>
                  <a:lnTo>
                    <a:pt x="413" y="257"/>
                  </a:lnTo>
                  <a:lnTo>
                    <a:pt x="417" y="255"/>
                  </a:lnTo>
                  <a:lnTo>
                    <a:pt x="419" y="255"/>
                  </a:lnTo>
                  <a:lnTo>
                    <a:pt x="419" y="255"/>
                  </a:lnTo>
                  <a:lnTo>
                    <a:pt x="421" y="255"/>
                  </a:lnTo>
                  <a:lnTo>
                    <a:pt x="421" y="255"/>
                  </a:lnTo>
                  <a:lnTo>
                    <a:pt x="423" y="255"/>
                  </a:lnTo>
                  <a:lnTo>
                    <a:pt x="423" y="255"/>
                  </a:lnTo>
                  <a:lnTo>
                    <a:pt x="423" y="255"/>
                  </a:lnTo>
                  <a:lnTo>
                    <a:pt x="423" y="255"/>
                  </a:lnTo>
                  <a:lnTo>
                    <a:pt x="421" y="257"/>
                  </a:lnTo>
                  <a:lnTo>
                    <a:pt x="419" y="257"/>
                  </a:lnTo>
                  <a:lnTo>
                    <a:pt x="421" y="257"/>
                  </a:lnTo>
                  <a:lnTo>
                    <a:pt x="423" y="257"/>
                  </a:lnTo>
                  <a:lnTo>
                    <a:pt x="423" y="255"/>
                  </a:lnTo>
                  <a:lnTo>
                    <a:pt x="425" y="255"/>
                  </a:lnTo>
                  <a:lnTo>
                    <a:pt x="427" y="255"/>
                  </a:lnTo>
                  <a:lnTo>
                    <a:pt x="439" y="251"/>
                  </a:lnTo>
                  <a:lnTo>
                    <a:pt x="441" y="251"/>
                  </a:lnTo>
                  <a:lnTo>
                    <a:pt x="444" y="249"/>
                  </a:lnTo>
                  <a:lnTo>
                    <a:pt x="446" y="249"/>
                  </a:lnTo>
                  <a:lnTo>
                    <a:pt x="446" y="249"/>
                  </a:lnTo>
                  <a:lnTo>
                    <a:pt x="446" y="249"/>
                  </a:lnTo>
                  <a:lnTo>
                    <a:pt x="444" y="251"/>
                  </a:lnTo>
                  <a:lnTo>
                    <a:pt x="444" y="251"/>
                  </a:lnTo>
                  <a:lnTo>
                    <a:pt x="444" y="251"/>
                  </a:lnTo>
                  <a:lnTo>
                    <a:pt x="446" y="249"/>
                  </a:lnTo>
                  <a:lnTo>
                    <a:pt x="450" y="249"/>
                  </a:lnTo>
                  <a:lnTo>
                    <a:pt x="450" y="249"/>
                  </a:lnTo>
                  <a:lnTo>
                    <a:pt x="450" y="247"/>
                  </a:lnTo>
                  <a:lnTo>
                    <a:pt x="450" y="247"/>
                  </a:lnTo>
                  <a:lnTo>
                    <a:pt x="450" y="247"/>
                  </a:lnTo>
                  <a:lnTo>
                    <a:pt x="450" y="247"/>
                  </a:lnTo>
                  <a:lnTo>
                    <a:pt x="448" y="247"/>
                  </a:lnTo>
                  <a:lnTo>
                    <a:pt x="448" y="247"/>
                  </a:lnTo>
                  <a:lnTo>
                    <a:pt x="450" y="245"/>
                  </a:lnTo>
                  <a:lnTo>
                    <a:pt x="452" y="245"/>
                  </a:lnTo>
                  <a:lnTo>
                    <a:pt x="454" y="243"/>
                  </a:lnTo>
                  <a:lnTo>
                    <a:pt x="456" y="243"/>
                  </a:lnTo>
                  <a:lnTo>
                    <a:pt x="458" y="243"/>
                  </a:lnTo>
                  <a:lnTo>
                    <a:pt x="458" y="243"/>
                  </a:lnTo>
                  <a:lnTo>
                    <a:pt x="460" y="243"/>
                  </a:lnTo>
                  <a:lnTo>
                    <a:pt x="460" y="243"/>
                  </a:lnTo>
                  <a:lnTo>
                    <a:pt x="460" y="243"/>
                  </a:lnTo>
                  <a:lnTo>
                    <a:pt x="460" y="243"/>
                  </a:lnTo>
                  <a:lnTo>
                    <a:pt x="460" y="243"/>
                  </a:lnTo>
                  <a:lnTo>
                    <a:pt x="460" y="241"/>
                  </a:lnTo>
                  <a:lnTo>
                    <a:pt x="464" y="241"/>
                  </a:lnTo>
                  <a:lnTo>
                    <a:pt x="466" y="241"/>
                  </a:lnTo>
                  <a:lnTo>
                    <a:pt x="466" y="241"/>
                  </a:lnTo>
                  <a:lnTo>
                    <a:pt x="466" y="241"/>
                  </a:lnTo>
                  <a:lnTo>
                    <a:pt x="468" y="241"/>
                  </a:lnTo>
                  <a:lnTo>
                    <a:pt x="468" y="241"/>
                  </a:lnTo>
                  <a:lnTo>
                    <a:pt x="470" y="239"/>
                  </a:lnTo>
                  <a:lnTo>
                    <a:pt x="472" y="239"/>
                  </a:lnTo>
                  <a:lnTo>
                    <a:pt x="474" y="237"/>
                  </a:lnTo>
                  <a:lnTo>
                    <a:pt x="474" y="237"/>
                  </a:lnTo>
                  <a:lnTo>
                    <a:pt x="474" y="237"/>
                  </a:lnTo>
                  <a:lnTo>
                    <a:pt x="476" y="237"/>
                  </a:lnTo>
                  <a:lnTo>
                    <a:pt x="476" y="237"/>
                  </a:lnTo>
                  <a:lnTo>
                    <a:pt x="478" y="237"/>
                  </a:lnTo>
                  <a:lnTo>
                    <a:pt x="480" y="237"/>
                  </a:lnTo>
                  <a:lnTo>
                    <a:pt x="483" y="235"/>
                  </a:lnTo>
                  <a:lnTo>
                    <a:pt x="483" y="235"/>
                  </a:lnTo>
                  <a:lnTo>
                    <a:pt x="485" y="235"/>
                  </a:lnTo>
                  <a:lnTo>
                    <a:pt x="485" y="235"/>
                  </a:lnTo>
                  <a:lnTo>
                    <a:pt x="487" y="235"/>
                  </a:lnTo>
                  <a:lnTo>
                    <a:pt x="487" y="235"/>
                  </a:lnTo>
                  <a:lnTo>
                    <a:pt x="489" y="233"/>
                  </a:lnTo>
                  <a:lnTo>
                    <a:pt x="491" y="233"/>
                  </a:lnTo>
                  <a:lnTo>
                    <a:pt x="491" y="233"/>
                  </a:lnTo>
                  <a:lnTo>
                    <a:pt x="495" y="231"/>
                  </a:lnTo>
                  <a:lnTo>
                    <a:pt x="495" y="231"/>
                  </a:lnTo>
                  <a:lnTo>
                    <a:pt x="495" y="229"/>
                  </a:lnTo>
                  <a:lnTo>
                    <a:pt x="495" y="229"/>
                  </a:lnTo>
                  <a:lnTo>
                    <a:pt x="495" y="229"/>
                  </a:lnTo>
                  <a:lnTo>
                    <a:pt x="497" y="229"/>
                  </a:lnTo>
                  <a:lnTo>
                    <a:pt x="501" y="227"/>
                  </a:lnTo>
                  <a:lnTo>
                    <a:pt x="503" y="227"/>
                  </a:lnTo>
                  <a:lnTo>
                    <a:pt x="503" y="227"/>
                  </a:lnTo>
                  <a:lnTo>
                    <a:pt x="503" y="227"/>
                  </a:lnTo>
                  <a:lnTo>
                    <a:pt x="505" y="224"/>
                  </a:lnTo>
                  <a:lnTo>
                    <a:pt x="507" y="224"/>
                  </a:lnTo>
                  <a:lnTo>
                    <a:pt x="509" y="224"/>
                  </a:lnTo>
                  <a:lnTo>
                    <a:pt x="509" y="224"/>
                  </a:lnTo>
                  <a:lnTo>
                    <a:pt x="511" y="224"/>
                  </a:lnTo>
                  <a:lnTo>
                    <a:pt x="513" y="222"/>
                  </a:lnTo>
                  <a:lnTo>
                    <a:pt x="515" y="222"/>
                  </a:lnTo>
                  <a:lnTo>
                    <a:pt x="515" y="222"/>
                  </a:lnTo>
                  <a:lnTo>
                    <a:pt x="517" y="222"/>
                  </a:lnTo>
                  <a:lnTo>
                    <a:pt x="520" y="220"/>
                  </a:lnTo>
                  <a:lnTo>
                    <a:pt x="522" y="220"/>
                  </a:lnTo>
                  <a:lnTo>
                    <a:pt x="524" y="220"/>
                  </a:lnTo>
                  <a:lnTo>
                    <a:pt x="526" y="218"/>
                  </a:lnTo>
                  <a:lnTo>
                    <a:pt x="528" y="216"/>
                  </a:lnTo>
                  <a:lnTo>
                    <a:pt x="536" y="216"/>
                  </a:lnTo>
                  <a:lnTo>
                    <a:pt x="536" y="216"/>
                  </a:lnTo>
                  <a:lnTo>
                    <a:pt x="536" y="216"/>
                  </a:lnTo>
                  <a:lnTo>
                    <a:pt x="540" y="214"/>
                  </a:lnTo>
                  <a:lnTo>
                    <a:pt x="540" y="214"/>
                  </a:lnTo>
                  <a:lnTo>
                    <a:pt x="542" y="214"/>
                  </a:lnTo>
                  <a:lnTo>
                    <a:pt x="544" y="214"/>
                  </a:lnTo>
                  <a:lnTo>
                    <a:pt x="544" y="212"/>
                  </a:lnTo>
                  <a:lnTo>
                    <a:pt x="544" y="212"/>
                  </a:lnTo>
                  <a:lnTo>
                    <a:pt x="544" y="212"/>
                  </a:lnTo>
                  <a:lnTo>
                    <a:pt x="548" y="212"/>
                  </a:lnTo>
                  <a:lnTo>
                    <a:pt x="548" y="210"/>
                  </a:lnTo>
                  <a:lnTo>
                    <a:pt x="550" y="210"/>
                  </a:lnTo>
                  <a:lnTo>
                    <a:pt x="550" y="208"/>
                  </a:lnTo>
                  <a:lnTo>
                    <a:pt x="554" y="208"/>
                  </a:lnTo>
                  <a:lnTo>
                    <a:pt x="556" y="208"/>
                  </a:lnTo>
                  <a:lnTo>
                    <a:pt x="559" y="206"/>
                  </a:lnTo>
                  <a:lnTo>
                    <a:pt x="561" y="206"/>
                  </a:lnTo>
                  <a:lnTo>
                    <a:pt x="565" y="204"/>
                  </a:lnTo>
                  <a:lnTo>
                    <a:pt x="567" y="204"/>
                  </a:lnTo>
                  <a:lnTo>
                    <a:pt x="567" y="202"/>
                  </a:lnTo>
                  <a:lnTo>
                    <a:pt x="569" y="202"/>
                  </a:lnTo>
                  <a:lnTo>
                    <a:pt x="569" y="202"/>
                  </a:lnTo>
                  <a:lnTo>
                    <a:pt x="569" y="202"/>
                  </a:lnTo>
                  <a:lnTo>
                    <a:pt x="567" y="200"/>
                  </a:lnTo>
                  <a:lnTo>
                    <a:pt x="565" y="200"/>
                  </a:lnTo>
                  <a:lnTo>
                    <a:pt x="565" y="200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5" y="196"/>
                  </a:lnTo>
                  <a:lnTo>
                    <a:pt x="567" y="196"/>
                  </a:lnTo>
                  <a:lnTo>
                    <a:pt x="567" y="194"/>
                  </a:lnTo>
                  <a:lnTo>
                    <a:pt x="573" y="192"/>
                  </a:lnTo>
                  <a:lnTo>
                    <a:pt x="575" y="192"/>
                  </a:lnTo>
                  <a:lnTo>
                    <a:pt x="577" y="192"/>
                  </a:lnTo>
                  <a:lnTo>
                    <a:pt x="579" y="190"/>
                  </a:lnTo>
                  <a:lnTo>
                    <a:pt x="579" y="190"/>
                  </a:lnTo>
                  <a:lnTo>
                    <a:pt x="579" y="190"/>
                  </a:lnTo>
                  <a:lnTo>
                    <a:pt x="579" y="190"/>
                  </a:lnTo>
                  <a:lnTo>
                    <a:pt x="583" y="187"/>
                  </a:lnTo>
                  <a:lnTo>
                    <a:pt x="583" y="187"/>
                  </a:lnTo>
                  <a:lnTo>
                    <a:pt x="585" y="187"/>
                  </a:lnTo>
                  <a:lnTo>
                    <a:pt x="583" y="187"/>
                  </a:lnTo>
                  <a:lnTo>
                    <a:pt x="583" y="190"/>
                  </a:lnTo>
                  <a:lnTo>
                    <a:pt x="583" y="190"/>
                  </a:lnTo>
                  <a:lnTo>
                    <a:pt x="585" y="190"/>
                  </a:lnTo>
                  <a:lnTo>
                    <a:pt x="587" y="187"/>
                  </a:lnTo>
                  <a:lnTo>
                    <a:pt x="589" y="187"/>
                  </a:lnTo>
                  <a:lnTo>
                    <a:pt x="589" y="187"/>
                  </a:lnTo>
                  <a:lnTo>
                    <a:pt x="589" y="187"/>
                  </a:lnTo>
                  <a:lnTo>
                    <a:pt x="589" y="185"/>
                  </a:lnTo>
                  <a:lnTo>
                    <a:pt x="589" y="185"/>
                  </a:lnTo>
                  <a:lnTo>
                    <a:pt x="591" y="185"/>
                  </a:lnTo>
                  <a:lnTo>
                    <a:pt x="593" y="185"/>
                  </a:lnTo>
                  <a:lnTo>
                    <a:pt x="595" y="185"/>
                  </a:lnTo>
                  <a:lnTo>
                    <a:pt x="600" y="183"/>
                  </a:lnTo>
                  <a:lnTo>
                    <a:pt x="600" y="183"/>
                  </a:lnTo>
                  <a:lnTo>
                    <a:pt x="602" y="181"/>
                  </a:lnTo>
                  <a:lnTo>
                    <a:pt x="602" y="181"/>
                  </a:lnTo>
                  <a:lnTo>
                    <a:pt x="602" y="181"/>
                  </a:lnTo>
                  <a:lnTo>
                    <a:pt x="602" y="179"/>
                  </a:lnTo>
                  <a:lnTo>
                    <a:pt x="600" y="179"/>
                  </a:lnTo>
                  <a:lnTo>
                    <a:pt x="600" y="179"/>
                  </a:lnTo>
                  <a:lnTo>
                    <a:pt x="602" y="179"/>
                  </a:lnTo>
                  <a:lnTo>
                    <a:pt x="602" y="179"/>
                  </a:lnTo>
                  <a:lnTo>
                    <a:pt x="604" y="179"/>
                  </a:lnTo>
                  <a:lnTo>
                    <a:pt x="604" y="179"/>
                  </a:lnTo>
                  <a:lnTo>
                    <a:pt x="606" y="179"/>
                  </a:lnTo>
                  <a:lnTo>
                    <a:pt x="610" y="177"/>
                  </a:lnTo>
                  <a:lnTo>
                    <a:pt x="612" y="177"/>
                  </a:lnTo>
                  <a:lnTo>
                    <a:pt x="612" y="177"/>
                  </a:lnTo>
                  <a:lnTo>
                    <a:pt x="612" y="175"/>
                  </a:lnTo>
                  <a:lnTo>
                    <a:pt x="612" y="175"/>
                  </a:lnTo>
                  <a:lnTo>
                    <a:pt x="614" y="175"/>
                  </a:lnTo>
                  <a:lnTo>
                    <a:pt x="620" y="173"/>
                  </a:lnTo>
                  <a:lnTo>
                    <a:pt x="624" y="171"/>
                  </a:lnTo>
                  <a:lnTo>
                    <a:pt x="624" y="171"/>
                  </a:lnTo>
                  <a:lnTo>
                    <a:pt x="626" y="171"/>
                  </a:lnTo>
                  <a:lnTo>
                    <a:pt x="626" y="169"/>
                  </a:lnTo>
                  <a:lnTo>
                    <a:pt x="628" y="169"/>
                  </a:lnTo>
                  <a:lnTo>
                    <a:pt x="628" y="169"/>
                  </a:lnTo>
                  <a:lnTo>
                    <a:pt x="632" y="167"/>
                  </a:lnTo>
                  <a:lnTo>
                    <a:pt x="634" y="167"/>
                  </a:lnTo>
                  <a:lnTo>
                    <a:pt x="637" y="167"/>
                  </a:lnTo>
                  <a:lnTo>
                    <a:pt x="641" y="165"/>
                  </a:lnTo>
                  <a:lnTo>
                    <a:pt x="643" y="165"/>
                  </a:lnTo>
                  <a:lnTo>
                    <a:pt x="645" y="163"/>
                  </a:lnTo>
                  <a:lnTo>
                    <a:pt x="651" y="163"/>
                  </a:lnTo>
                  <a:lnTo>
                    <a:pt x="653" y="161"/>
                  </a:lnTo>
                  <a:lnTo>
                    <a:pt x="653" y="163"/>
                  </a:lnTo>
                  <a:lnTo>
                    <a:pt x="653" y="163"/>
                  </a:lnTo>
                  <a:lnTo>
                    <a:pt x="657" y="163"/>
                  </a:lnTo>
                  <a:lnTo>
                    <a:pt x="659" y="163"/>
                  </a:lnTo>
                  <a:lnTo>
                    <a:pt x="659" y="163"/>
                  </a:lnTo>
                  <a:lnTo>
                    <a:pt x="661" y="161"/>
                  </a:lnTo>
                  <a:lnTo>
                    <a:pt x="663" y="161"/>
                  </a:lnTo>
                  <a:lnTo>
                    <a:pt x="667" y="159"/>
                  </a:lnTo>
                  <a:lnTo>
                    <a:pt x="667" y="159"/>
                  </a:lnTo>
                  <a:lnTo>
                    <a:pt x="669" y="159"/>
                  </a:lnTo>
                  <a:lnTo>
                    <a:pt x="671" y="159"/>
                  </a:lnTo>
                  <a:lnTo>
                    <a:pt x="667" y="161"/>
                  </a:lnTo>
                  <a:lnTo>
                    <a:pt x="663" y="161"/>
                  </a:lnTo>
                  <a:lnTo>
                    <a:pt x="661" y="161"/>
                  </a:lnTo>
                  <a:lnTo>
                    <a:pt x="659" y="163"/>
                  </a:lnTo>
                  <a:lnTo>
                    <a:pt x="659" y="163"/>
                  </a:lnTo>
                  <a:lnTo>
                    <a:pt x="659" y="163"/>
                  </a:lnTo>
                  <a:lnTo>
                    <a:pt x="657" y="163"/>
                  </a:lnTo>
                  <a:lnTo>
                    <a:pt x="655" y="165"/>
                  </a:lnTo>
                  <a:lnTo>
                    <a:pt x="655" y="165"/>
                  </a:lnTo>
                  <a:lnTo>
                    <a:pt x="659" y="167"/>
                  </a:lnTo>
                  <a:lnTo>
                    <a:pt x="659" y="167"/>
                  </a:lnTo>
                  <a:lnTo>
                    <a:pt x="663" y="167"/>
                  </a:lnTo>
                  <a:lnTo>
                    <a:pt x="663" y="169"/>
                  </a:lnTo>
                  <a:lnTo>
                    <a:pt x="663" y="169"/>
                  </a:lnTo>
                  <a:lnTo>
                    <a:pt x="661" y="169"/>
                  </a:lnTo>
                  <a:lnTo>
                    <a:pt x="657" y="167"/>
                  </a:lnTo>
                  <a:lnTo>
                    <a:pt x="655" y="167"/>
                  </a:lnTo>
                  <a:lnTo>
                    <a:pt x="651" y="167"/>
                  </a:lnTo>
                  <a:lnTo>
                    <a:pt x="651" y="167"/>
                  </a:lnTo>
                  <a:lnTo>
                    <a:pt x="649" y="167"/>
                  </a:lnTo>
                  <a:lnTo>
                    <a:pt x="649" y="167"/>
                  </a:lnTo>
                  <a:lnTo>
                    <a:pt x="649" y="167"/>
                  </a:lnTo>
                  <a:lnTo>
                    <a:pt x="649" y="167"/>
                  </a:lnTo>
                  <a:lnTo>
                    <a:pt x="641" y="169"/>
                  </a:lnTo>
                  <a:lnTo>
                    <a:pt x="639" y="169"/>
                  </a:lnTo>
                  <a:lnTo>
                    <a:pt x="630" y="171"/>
                  </a:lnTo>
                  <a:lnTo>
                    <a:pt x="630" y="171"/>
                  </a:lnTo>
                  <a:lnTo>
                    <a:pt x="628" y="173"/>
                  </a:lnTo>
                  <a:lnTo>
                    <a:pt x="626" y="175"/>
                  </a:lnTo>
                  <a:lnTo>
                    <a:pt x="626" y="175"/>
                  </a:lnTo>
                  <a:lnTo>
                    <a:pt x="620" y="179"/>
                  </a:lnTo>
                  <a:lnTo>
                    <a:pt x="618" y="179"/>
                  </a:lnTo>
                  <a:lnTo>
                    <a:pt x="614" y="181"/>
                  </a:lnTo>
                  <a:lnTo>
                    <a:pt x="610" y="183"/>
                  </a:lnTo>
                  <a:lnTo>
                    <a:pt x="608" y="185"/>
                  </a:lnTo>
                  <a:lnTo>
                    <a:pt x="606" y="187"/>
                  </a:lnTo>
                  <a:lnTo>
                    <a:pt x="604" y="187"/>
                  </a:lnTo>
                  <a:lnTo>
                    <a:pt x="604" y="190"/>
                  </a:lnTo>
                  <a:lnTo>
                    <a:pt x="606" y="190"/>
                  </a:lnTo>
                  <a:lnTo>
                    <a:pt x="608" y="190"/>
                  </a:lnTo>
                  <a:lnTo>
                    <a:pt x="608" y="190"/>
                  </a:lnTo>
                  <a:lnTo>
                    <a:pt x="616" y="187"/>
                  </a:lnTo>
                  <a:lnTo>
                    <a:pt x="616" y="187"/>
                  </a:lnTo>
                  <a:lnTo>
                    <a:pt x="616" y="187"/>
                  </a:lnTo>
                  <a:lnTo>
                    <a:pt x="610" y="190"/>
                  </a:lnTo>
                  <a:lnTo>
                    <a:pt x="608" y="190"/>
                  </a:lnTo>
                  <a:lnTo>
                    <a:pt x="606" y="192"/>
                  </a:lnTo>
                  <a:lnTo>
                    <a:pt x="604" y="192"/>
                  </a:lnTo>
                  <a:lnTo>
                    <a:pt x="602" y="194"/>
                  </a:lnTo>
                  <a:lnTo>
                    <a:pt x="598" y="194"/>
                  </a:lnTo>
                  <a:lnTo>
                    <a:pt x="598" y="194"/>
                  </a:lnTo>
                  <a:lnTo>
                    <a:pt x="595" y="194"/>
                  </a:lnTo>
                  <a:lnTo>
                    <a:pt x="593" y="196"/>
                  </a:lnTo>
                  <a:lnTo>
                    <a:pt x="593" y="196"/>
                  </a:lnTo>
                  <a:lnTo>
                    <a:pt x="593" y="196"/>
                  </a:lnTo>
                  <a:lnTo>
                    <a:pt x="595" y="198"/>
                  </a:lnTo>
                  <a:lnTo>
                    <a:pt x="595" y="198"/>
                  </a:lnTo>
                  <a:lnTo>
                    <a:pt x="600" y="196"/>
                  </a:lnTo>
                  <a:lnTo>
                    <a:pt x="602" y="196"/>
                  </a:lnTo>
                  <a:lnTo>
                    <a:pt x="602" y="196"/>
                  </a:lnTo>
                  <a:lnTo>
                    <a:pt x="602" y="196"/>
                  </a:lnTo>
                  <a:lnTo>
                    <a:pt x="604" y="196"/>
                  </a:lnTo>
                  <a:lnTo>
                    <a:pt x="604" y="196"/>
                  </a:lnTo>
                  <a:lnTo>
                    <a:pt x="604" y="196"/>
                  </a:lnTo>
                  <a:lnTo>
                    <a:pt x="604" y="196"/>
                  </a:lnTo>
                  <a:lnTo>
                    <a:pt x="606" y="196"/>
                  </a:lnTo>
                  <a:lnTo>
                    <a:pt x="606" y="196"/>
                  </a:lnTo>
                  <a:lnTo>
                    <a:pt x="606" y="196"/>
                  </a:lnTo>
                  <a:lnTo>
                    <a:pt x="608" y="196"/>
                  </a:lnTo>
                  <a:lnTo>
                    <a:pt x="610" y="194"/>
                  </a:lnTo>
                  <a:lnTo>
                    <a:pt x="614" y="194"/>
                  </a:lnTo>
                  <a:lnTo>
                    <a:pt x="614" y="192"/>
                  </a:lnTo>
                  <a:lnTo>
                    <a:pt x="616" y="192"/>
                  </a:lnTo>
                  <a:lnTo>
                    <a:pt x="616" y="192"/>
                  </a:lnTo>
                  <a:lnTo>
                    <a:pt x="618" y="192"/>
                  </a:lnTo>
                  <a:lnTo>
                    <a:pt x="618" y="192"/>
                  </a:lnTo>
                  <a:lnTo>
                    <a:pt x="618" y="192"/>
                  </a:lnTo>
                  <a:lnTo>
                    <a:pt x="620" y="192"/>
                  </a:lnTo>
                  <a:lnTo>
                    <a:pt x="622" y="192"/>
                  </a:lnTo>
                  <a:lnTo>
                    <a:pt x="622" y="192"/>
                  </a:lnTo>
                  <a:lnTo>
                    <a:pt x="622" y="192"/>
                  </a:lnTo>
                  <a:lnTo>
                    <a:pt x="628" y="190"/>
                  </a:lnTo>
                  <a:lnTo>
                    <a:pt x="628" y="187"/>
                  </a:lnTo>
                  <a:lnTo>
                    <a:pt x="628" y="187"/>
                  </a:lnTo>
                  <a:lnTo>
                    <a:pt x="628" y="187"/>
                  </a:lnTo>
                  <a:lnTo>
                    <a:pt x="630" y="187"/>
                  </a:lnTo>
                  <a:lnTo>
                    <a:pt x="630" y="187"/>
                  </a:lnTo>
                  <a:lnTo>
                    <a:pt x="630" y="187"/>
                  </a:lnTo>
                  <a:lnTo>
                    <a:pt x="632" y="185"/>
                  </a:lnTo>
                  <a:lnTo>
                    <a:pt x="632" y="185"/>
                  </a:lnTo>
                  <a:lnTo>
                    <a:pt x="634" y="185"/>
                  </a:lnTo>
                  <a:lnTo>
                    <a:pt x="634" y="185"/>
                  </a:lnTo>
                  <a:lnTo>
                    <a:pt x="634" y="187"/>
                  </a:lnTo>
                  <a:lnTo>
                    <a:pt x="634" y="187"/>
                  </a:lnTo>
                  <a:lnTo>
                    <a:pt x="634" y="187"/>
                  </a:lnTo>
                  <a:lnTo>
                    <a:pt x="637" y="185"/>
                  </a:lnTo>
                  <a:lnTo>
                    <a:pt x="639" y="183"/>
                  </a:lnTo>
                  <a:lnTo>
                    <a:pt x="641" y="183"/>
                  </a:lnTo>
                  <a:lnTo>
                    <a:pt x="643" y="181"/>
                  </a:lnTo>
                  <a:lnTo>
                    <a:pt x="643" y="181"/>
                  </a:lnTo>
                  <a:lnTo>
                    <a:pt x="643" y="183"/>
                  </a:lnTo>
                  <a:lnTo>
                    <a:pt x="643" y="183"/>
                  </a:lnTo>
                  <a:lnTo>
                    <a:pt x="645" y="183"/>
                  </a:lnTo>
                  <a:lnTo>
                    <a:pt x="645" y="183"/>
                  </a:lnTo>
                  <a:lnTo>
                    <a:pt x="645" y="183"/>
                  </a:lnTo>
                  <a:lnTo>
                    <a:pt x="647" y="183"/>
                  </a:lnTo>
                  <a:lnTo>
                    <a:pt x="649" y="185"/>
                  </a:lnTo>
                  <a:lnTo>
                    <a:pt x="651" y="183"/>
                  </a:lnTo>
                  <a:lnTo>
                    <a:pt x="651" y="183"/>
                  </a:lnTo>
                  <a:lnTo>
                    <a:pt x="651" y="183"/>
                  </a:lnTo>
                  <a:lnTo>
                    <a:pt x="653" y="183"/>
                  </a:lnTo>
                  <a:lnTo>
                    <a:pt x="653" y="183"/>
                  </a:lnTo>
                  <a:lnTo>
                    <a:pt x="653" y="183"/>
                  </a:lnTo>
                  <a:lnTo>
                    <a:pt x="657" y="181"/>
                  </a:lnTo>
                  <a:lnTo>
                    <a:pt x="659" y="181"/>
                  </a:lnTo>
                  <a:lnTo>
                    <a:pt x="659" y="181"/>
                  </a:lnTo>
                  <a:lnTo>
                    <a:pt x="659" y="181"/>
                  </a:lnTo>
                  <a:lnTo>
                    <a:pt x="659" y="181"/>
                  </a:lnTo>
                  <a:lnTo>
                    <a:pt x="661" y="179"/>
                  </a:lnTo>
                  <a:lnTo>
                    <a:pt x="663" y="177"/>
                  </a:lnTo>
                  <a:lnTo>
                    <a:pt x="663" y="177"/>
                  </a:lnTo>
                  <a:lnTo>
                    <a:pt x="665" y="177"/>
                  </a:lnTo>
                  <a:lnTo>
                    <a:pt x="665" y="177"/>
                  </a:lnTo>
                  <a:lnTo>
                    <a:pt x="667" y="177"/>
                  </a:lnTo>
                  <a:lnTo>
                    <a:pt x="667" y="175"/>
                  </a:lnTo>
                  <a:lnTo>
                    <a:pt x="669" y="175"/>
                  </a:lnTo>
                  <a:lnTo>
                    <a:pt x="669" y="175"/>
                  </a:lnTo>
                  <a:lnTo>
                    <a:pt x="669" y="173"/>
                  </a:lnTo>
                  <a:lnTo>
                    <a:pt x="669" y="173"/>
                  </a:lnTo>
                  <a:lnTo>
                    <a:pt x="667" y="175"/>
                  </a:lnTo>
                  <a:lnTo>
                    <a:pt x="665" y="175"/>
                  </a:lnTo>
                  <a:lnTo>
                    <a:pt x="663" y="175"/>
                  </a:lnTo>
                  <a:lnTo>
                    <a:pt x="661" y="175"/>
                  </a:lnTo>
                  <a:lnTo>
                    <a:pt x="661" y="175"/>
                  </a:lnTo>
                  <a:lnTo>
                    <a:pt x="661" y="175"/>
                  </a:lnTo>
                  <a:lnTo>
                    <a:pt x="661" y="175"/>
                  </a:lnTo>
                  <a:lnTo>
                    <a:pt x="663" y="173"/>
                  </a:lnTo>
                  <a:lnTo>
                    <a:pt x="665" y="173"/>
                  </a:lnTo>
                  <a:lnTo>
                    <a:pt x="665" y="173"/>
                  </a:lnTo>
                  <a:lnTo>
                    <a:pt x="667" y="173"/>
                  </a:lnTo>
                  <a:lnTo>
                    <a:pt x="667" y="173"/>
                  </a:lnTo>
                  <a:lnTo>
                    <a:pt x="669" y="173"/>
                  </a:lnTo>
                  <a:lnTo>
                    <a:pt x="669" y="171"/>
                  </a:lnTo>
                  <a:lnTo>
                    <a:pt x="669" y="171"/>
                  </a:lnTo>
                  <a:lnTo>
                    <a:pt x="667" y="171"/>
                  </a:lnTo>
                  <a:lnTo>
                    <a:pt x="667" y="171"/>
                  </a:lnTo>
                  <a:lnTo>
                    <a:pt x="667" y="169"/>
                  </a:lnTo>
                  <a:lnTo>
                    <a:pt x="669" y="169"/>
                  </a:lnTo>
                  <a:lnTo>
                    <a:pt x="669" y="169"/>
                  </a:lnTo>
                  <a:lnTo>
                    <a:pt x="671" y="169"/>
                  </a:lnTo>
                  <a:lnTo>
                    <a:pt x="673" y="167"/>
                  </a:lnTo>
                  <a:lnTo>
                    <a:pt x="678" y="167"/>
                  </a:lnTo>
                  <a:lnTo>
                    <a:pt x="678" y="167"/>
                  </a:lnTo>
                  <a:lnTo>
                    <a:pt x="676" y="167"/>
                  </a:lnTo>
                  <a:lnTo>
                    <a:pt x="673" y="167"/>
                  </a:lnTo>
                  <a:lnTo>
                    <a:pt x="673" y="167"/>
                  </a:lnTo>
                  <a:lnTo>
                    <a:pt x="673" y="167"/>
                  </a:lnTo>
                  <a:lnTo>
                    <a:pt x="676" y="165"/>
                  </a:lnTo>
                  <a:lnTo>
                    <a:pt x="678" y="165"/>
                  </a:lnTo>
                  <a:lnTo>
                    <a:pt x="678" y="165"/>
                  </a:lnTo>
                  <a:lnTo>
                    <a:pt x="678" y="165"/>
                  </a:lnTo>
                  <a:lnTo>
                    <a:pt x="680" y="165"/>
                  </a:lnTo>
                  <a:lnTo>
                    <a:pt x="682" y="165"/>
                  </a:lnTo>
                  <a:lnTo>
                    <a:pt x="684" y="163"/>
                  </a:lnTo>
                  <a:lnTo>
                    <a:pt x="686" y="163"/>
                  </a:lnTo>
                  <a:lnTo>
                    <a:pt x="686" y="163"/>
                  </a:lnTo>
                  <a:lnTo>
                    <a:pt x="680" y="167"/>
                  </a:lnTo>
                  <a:lnTo>
                    <a:pt x="678" y="167"/>
                  </a:lnTo>
                  <a:lnTo>
                    <a:pt x="678" y="167"/>
                  </a:lnTo>
                  <a:lnTo>
                    <a:pt x="678" y="169"/>
                  </a:lnTo>
                  <a:lnTo>
                    <a:pt x="680" y="169"/>
                  </a:lnTo>
                  <a:lnTo>
                    <a:pt x="682" y="169"/>
                  </a:lnTo>
                  <a:lnTo>
                    <a:pt x="682" y="167"/>
                  </a:lnTo>
                  <a:lnTo>
                    <a:pt x="684" y="167"/>
                  </a:lnTo>
                  <a:lnTo>
                    <a:pt x="684" y="167"/>
                  </a:lnTo>
                  <a:lnTo>
                    <a:pt x="684" y="167"/>
                  </a:lnTo>
                  <a:lnTo>
                    <a:pt x="686" y="167"/>
                  </a:lnTo>
                  <a:lnTo>
                    <a:pt x="686" y="169"/>
                  </a:lnTo>
                  <a:lnTo>
                    <a:pt x="686" y="169"/>
                  </a:lnTo>
                  <a:lnTo>
                    <a:pt x="686" y="169"/>
                  </a:lnTo>
                  <a:lnTo>
                    <a:pt x="686" y="167"/>
                  </a:lnTo>
                  <a:lnTo>
                    <a:pt x="688" y="167"/>
                  </a:lnTo>
                  <a:lnTo>
                    <a:pt x="690" y="167"/>
                  </a:lnTo>
                  <a:lnTo>
                    <a:pt x="690" y="167"/>
                  </a:lnTo>
                  <a:lnTo>
                    <a:pt x="692" y="167"/>
                  </a:lnTo>
                  <a:lnTo>
                    <a:pt x="692" y="167"/>
                  </a:lnTo>
                  <a:lnTo>
                    <a:pt x="694" y="167"/>
                  </a:lnTo>
                  <a:lnTo>
                    <a:pt x="696" y="165"/>
                  </a:lnTo>
                  <a:lnTo>
                    <a:pt x="700" y="165"/>
                  </a:lnTo>
                  <a:lnTo>
                    <a:pt x="702" y="165"/>
                  </a:lnTo>
                  <a:lnTo>
                    <a:pt x="702" y="165"/>
                  </a:lnTo>
                  <a:lnTo>
                    <a:pt x="698" y="167"/>
                  </a:lnTo>
                  <a:lnTo>
                    <a:pt x="696" y="167"/>
                  </a:lnTo>
                  <a:lnTo>
                    <a:pt x="694" y="169"/>
                  </a:lnTo>
                  <a:lnTo>
                    <a:pt x="694" y="169"/>
                  </a:lnTo>
                  <a:lnTo>
                    <a:pt x="694" y="169"/>
                  </a:lnTo>
                  <a:lnTo>
                    <a:pt x="696" y="169"/>
                  </a:lnTo>
                  <a:lnTo>
                    <a:pt x="694" y="171"/>
                  </a:lnTo>
                  <a:lnTo>
                    <a:pt x="692" y="171"/>
                  </a:lnTo>
                  <a:lnTo>
                    <a:pt x="692" y="171"/>
                  </a:lnTo>
                  <a:lnTo>
                    <a:pt x="692" y="171"/>
                  </a:lnTo>
                  <a:lnTo>
                    <a:pt x="694" y="171"/>
                  </a:lnTo>
                  <a:lnTo>
                    <a:pt x="696" y="171"/>
                  </a:lnTo>
                  <a:close/>
                  <a:moveTo>
                    <a:pt x="817" y="381"/>
                  </a:moveTo>
                  <a:lnTo>
                    <a:pt x="817" y="381"/>
                  </a:lnTo>
                  <a:lnTo>
                    <a:pt x="817" y="381"/>
                  </a:lnTo>
                  <a:lnTo>
                    <a:pt x="817" y="381"/>
                  </a:lnTo>
                  <a:lnTo>
                    <a:pt x="815" y="381"/>
                  </a:lnTo>
                  <a:lnTo>
                    <a:pt x="815" y="381"/>
                  </a:lnTo>
                  <a:lnTo>
                    <a:pt x="815" y="381"/>
                  </a:lnTo>
                  <a:lnTo>
                    <a:pt x="815" y="383"/>
                  </a:lnTo>
                  <a:lnTo>
                    <a:pt x="815" y="381"/>
                  </a:lnTo>
                  <a:lnTo>
                    <a:pt x="817" y="381"/>
                  </a:lnTo>
                  <a:lnTo>
                    <a:pt x="817" y="381"/>
                  </a:lnTo>
                  <a:lnTo>
                    <a:pt x="817" y="381"/>
                  </a:lnTo>
                  <a:lnTo>
                    <a:pt x="817" y="381"/>
                  </a:lnTo>
                  <a:lnTo>
                    <a:pt x="817" y="381"/>
                  </a:lnTo>
                  <a:close/>
                  <a:moveTo>
                    <a:pt x="813" y="381"/>
                  </a:moveTo>
                  <a:lnTo>
                    <a:pt x="811" y="381"/>
                  </a:lnTo>
                  <a:lnTo>
                    <a:pt x="811" y="383"/>
                  </a:lnTo>
                  <a:lnTo>
                    <a:pt x="811" y="383"/>
                  </a:lnTo>
                  <a:lnTo>
                    <a:pt x="811" y="383"/>
                  </a:lnTo>
                  <a:lnTo>
                    <a:pt x="811" y="383"/>
                  </a:lnTo>
                  <a:lnTo>
                    <a:pt x="813" y="385"/>
                  </a:lnTo>
                  <a:lnTo>
                    <a:pt x="813" y="383"/>
                  </a:lnTo>
                  <a:lnTo>
                    <a:pt x="813" y="383"/>
                  </a:lnTo>
                  <a:lnTo>
                    <a:pt x="813" y="381"/>
                  </a:lnTo>
                  <a:close/>
                  <a:moveTo>
                    <a:pt x="795" y="264"/>
                  </a:moveTo>
                  <a:lnTo>
                    <a:pt x="795" y="264"/>
                  </a:lnTo>
                  <a:lnTo>
                    <a:pt x="795" y="264"/>
                  </a:lnTo>
                  <a:lnTo>
                    <a:pt x="795" y="264"/>
                  </a:lnTo>
                  <a:lnTo>
                    <a:pt x="795" y="266"/>
                  </a:lnTo>
                  <a:lnTo>
                    <a:pt x="797" y="266"/>
                  </a:lnTo>
                  <a:lnTo>
                    <a:pt x="799" y="264"/>
                  </a:lnTo>
                  <a:lnTo>
                    <a:pt x="801" y="261"/>
                  </a:lnTo>
                  <a:lnTo>
                    <a:pt x="803" y="261"/>
                  </a:lnTo>
                  <a:lnTo>
                    <a:pt x="805" y="259"/>
                  </a:lnTo>
                  <a:lnTo>
                    <a:pt x="807" y="257"/>
                  </a:lnTo>
                  <a:lnTo>
                    <a:pt x="807" y="257"/>
                  </a:lnTo>
                  <a:lnTo>
                    <a:pt x="807" y="253"/>
                  </a:lnTo>
                  <a:lnTo>
                    <a:pt x="807" y="253"/>
                  </a:lnTo>
                  <a:lnTo>
                    <a:pt x="807" y="253"/>
                  </a:lnTo>
                  <a:lnTo>
                    <a:pt x="801" y="255"/>
                  </a:lnTo>
                  <a:lnTo>
                    <a:pt x="797" y="259"/>
                  </a:lnTo>
                  <a:lnTo>
                    <a:pt x="793" y="259"/>
                  </a:lnTo>
                  <a:lnTo>
                    <a:pt x="791" y="261"/>
                  </a:lnTo>
                  <a:lnTo>
                    <a:pt x="791" y="264"/>
                  </a:lnTo>
                  <a:lnTo>
                    <a:pt x="788" y="266"/>
                  </a:lnTo>
                  <a:lnTo>
                    <a:pt x="788" y="266"/>
                  </a:lnTo>
                  <a:lnTo>
                    <a:pt x="788" y="266"/>
                  </a:lnTo>
                  <a:lnTo>
                    <a:pt x="791" y="264"/>
                  </a:lnTo>
                  <a:lnTo>
                    <a:pt x="795" y="264"/>
                  </a:lnTo>
                  <a:lnTo>
                    <a:pt x="795" y="264"/>
                  </a:lnTo>
                  <a:lnTo>
                    <a:pt x="797" y="261"/>
                  </a:lnTo>
                  <a:lnTo>
                    <a:pt x="795" y="264"/>
                  </a:lnTo>
                  <a:lnTo>
                    <a:pt x="795" y="264"/>
                  </a:lnTo>
                  <a:close/>
                  <a:moveTo>
                    <a:pt x="815" y="383"/>
                  </a:moveTo>
                  <a:lnTo>
                    <a:pt x="815" y="383"/>
                  </a:lnTo>
                  <a:lnTo>
                    <a:pt x="813" y="385"/>
                  </a:lnTo>
                  <a:lnTo>
                    <a:pt x="813" y="385"/>
                  </a:lnTo>
                  <a:lnTo>
                    <a:pt x="813" y="385"/>
                  </a:lnTo>
                  <a:lnTo>
                    <a:pt x="813" y="385"/>
                  </a:lnTo>
                  <a:lnTo>
                    <a:pt x="815" y="385"/>
                  </a:lnTo>
                  <a:lnTo>
                    <a:pt x="815" y="385"/>
                  </a:lnTo>
                  <a:lnTo>
                    <a:pt x="815" y="383"/>
                  </a:lnTo>
                  <a:lnTo>
                    <a:pt x="815" y="383"/>
                  </a:lnTo>
                  <a:lnTo>
                    <a:pt x="815" y="383"/>
                  </a:lnTo>
                  <a:close/>
                  <a:moveTo>
                    <a:pt x="575" y="206"/>
                  </a:moveTo>
                  <a:lnTo>
                    <a:pt x="571" y="208"/>
                  </a:lnTo>
                  <a:lnTo>
                    <a:pt x="571" y="208"/>
                  </a:lnTo>
                  <a:lnTo>
                    <a:pt x="571" y="208"/>
                  </a:lnTo>
                  <a:lnTo>
                    <a:pt x="571" y="210"/>
                  </a:lnTo>
                  <a:lnTo>
                    <a:pt x="571" y="210"/>
                  </a:lnTo>
                  <a:lnTo>
                    <a:pt x="573" y="208"/>
                  </a:lnTo>
                  <a:lnTo>
                    <a:pt x="575" y="208"/>
                  </a:lnTo>
                  <a:lnTo>
                    <a:pt x="575" y="208"/>
                  </a:lnTo>
                  <a:lnTo>
                    <a:pt x="575" y="208"/>
                  </a:lnTo>
                  <a:lnTo>
                    <a:pt x="575" y="206"/>
                  </a:lnTo>
                  <a:lnTo>
                    <a:pt x="575" y="206"/>
                  </a:lnTo>
                  <a:close/>
                  <a:moveTo>
                    <a:pt x="678" y="177"/>
                  </a:moveTo>
                  <a:lnTo>
                    <a:pt x="676" y="179"/>
                  </a:lnTo>
                  <a:lnTo>
                    <a:pt x="671" y="181"/>
                  </a:lnTo>
                  <a:lnTo>
                    <a:pt x="667" y="181"/>
                  </a:lnTo>
                  <a:lnTo>
                    <a:pt x="665" y="183"/>
                  </a:lnTo>
                  <a:lnTo>
                    <a:pt x="661" y="183"/>
                  </a:lnTo>
                  <a:lnTo>
                    <a:pt x="661" y="185"/>
                  </a:lnTo>
                  <a:lnTo>
                    <a:pt x="659" y="185"/>
                  </a:lnTo>
                  <a:lnTo>
                    <a:pt x="657" y="187"/>
                  </a:lnTo>
                  <a:lnTo>
                    <a:pt x="657" y="187"/>
                  </a:lnTo>
                  <a:lnTo>
                    <a:pt x="659" y="187"/>
                  </a:lnTo>
                  <a:lnTo>
                    <a:pt x="659" y="185"/>
                  </a:lnTo>
                  <a:lnTo>
                    <a:pt x="661" y="185"/>
                  </a:lnTo>
                  <a:lnTo>
                    <a:pt x="661" y="185"/>
                  </a:lnTo>
                  <a:lnTo>
                    <a:pt x="663" y="185"/>
                  </a:lnTo>
                  <a:lnTo>
                    <a:pt x="663" y="185"/>
                  </a:lnTo>
                  <a:lnTo>
                    <a:pt x="665" y="185"/>
                  </a:lnTo>
                  <a:lnTo>
                    <a:pt x="665" y="183"/>
                  </a:lnTo>
                  <a:lnTo>
                    <a:pt x="665" y="183"/>
                  </a:lnTo>
                  <a:lnTo>
                    <a:pt x="667" y="183"/>
                  </a:lnTo>
                  <a:lnTo>
                    <a:pt x="669" y="183"/>
                  </a:lnTo>
                  <a:lnTo>
                    <a:pt x="669" y="181"/>
                  </a:lnTo>
                  <a:lnTo>
                    <a:pt x="678" y="179"/>
                  </a:lnTo>
                  <a:lnTo>
                    <a:pt x="678" y="179"/>
                  </a:lnTo>
                  <a:lnTo>
                    <a:pt x="678" y="177"/>
                  </a:lnTo>
                  <a:lnTo>
                    <a:pt x="678" y="177"/>
                  </a:lnTo>
                  <a:lnTo>
                    <a:pt x="678" y="177"/>
                  </a:lnTo>
                  <a:close/>
                  <a:moveTo>
                    <a:pt x="573" y="212"/>
                  </a:moveTo>
                  <a:lnTo>
                    <a:pt x="573" y="212"/>
                  </a:lnTo>
                  <a:lnTo>
                    <a:pt x="573" y="210"/>
                  </a:lnTo>
                  <a:lnTo>
                    <a:pt x="573" y="212"/>
                  </a:lnTo>
                  <a:lnTo>
                    <a:pt x="573" y="210"/>
                  </a:lnTo>
                  <a:lnTo>
                    <a:pt x="571" y="210"/>
                  </a:lnTo>
                  <a:lnTo>
                    <a:pt x="571" y="212"/>
                  </a:lnTo>
                  <a:lnTo>
                    <a:pt x="569" y="212"/>
                  </a:lnTo>
                  <a:lnTo>
                    <a:pt x="569" y="210"/>
                  </a:lnTo>
                  <a:lnTo>
                    <a:pt x="569" y="210"/>
                  </a:lnTo>
                  <a:lnTo>
                    <a:pt x="569" y="210"/>
                  </a:lnTo>
                  <a:lnTo>
                    <a:pt x="569" y="210"/>
                  </a:lnTo>
                  <a:lnTo>
                    <a:pt x="565" y="210"/>
                  </a:lnTo>
                  <a:lnTo>
                    <a:pt x="565" y="210"/>
                  </a:lnTo>
                  <a:lnTo>
                    <a:pt x="565" y="212"/>
                  </a:lnTo>
                  <a:lnTo>
                    <a:pt x="563" y="212"/>
                  </a:lnTo>
                  <a:lnTo>
                    <a:pt x="563" y="212"/>
                  </a:lnTo>
                  <a:lnTo>
                    <a:pt x="563" y="212"/>
                  </a:lnTo>
                  <a:lnTo>
                    <a:pt x="561" y="212"/>
                  </a:lnTo>
                  <a:lnTo>
                    <a:pt x="559" y="214"/>
                  </a:lnTo>
                  <a:lnTo>
                    <a:pt x="552" y="216"/>
                  </a:lnTo>
                  <a:lnTo>
                    <a:pt x="552" y="216"/>
                  </a:lnTo>
                  <a:lnTo>
                    <a:pt x="554" y="218"/>
                  </a:lnTo>
                  <a:lnTo>
                    <a:pt x="556" y="218"/>
                  </a:lnTo>
                  <a:lnTo>
                    <a:pt x="556" y="216"/>
                  </a:lnTo>
                  <a:lnTo>
                    <a:pt x="559" y="216"/>
                  </a:lnTo>
                  <a:lnTo>
                    <a:pt x="559" y="216"/>
                  </a:lnTo>
                  <a:lnTo>
                    <a:pt x="561" y="216"/>
                  </a:lnTo>
                  <a:lnTo>
                    <a:pt x="563" y="216"/>
                  </a:lnTo>
                  <a:lnTo>
                    <a:pt x="563" y="214"/>
                  </a:lnTo>
                  <a:lnTo>
                    <a:pt x="565" y="214"/>
                  </a:lnTo>
                  <a:lnTo>
                    <a:pt x="563" y="216"/>
                  </a:lnTo>
                  <a:lnTo>
                    <a:pt x="563" y="216"/>
                  </a:lnTo>
                  <a:lnTo>
                    <a:pt x="565" y="214"/>
                  </a:lnTo>
                  <a:lnTo>
                    <a:pt x="565" y="216"/>
                  </a:lnTo>
                  <a:lnTo>
                    <a:pt x="567" y="214"/>
                  </a:lnTo>
                  <a:lnTo>
                    <a:pt x="567" y="214"/>
                  </a:lnTo>
                  <a:lnTo>
                    <a:pt x="567" y="214"/>
                  </a:lnTo>
                  <a:lnTo>
                    <a:pt x="567" y="214"/>
                  </a:lnTo>
                  <a:lnTo>
                    <a:pt x="569" y="212"/>
                  </a:lnTo>
                  <a:lnTo>
                    <a:pt x="569" y="212"/>
                  </a:lnTo>
                  <a:lnTo>
                    <a:pt x="569" y="214"/>
                  </a:lnTo>
                  <a:lnTo>
                    <a:pt x="569" y="214"/>
                  </a:lnTo>
                  <a:lnTo>
                    <a:pt x="569" y="214"/>
                  </a:lnTo>
                  <a:lnTo>
                    <a:pt x="569" y="214"/>
                  </a:lnTo>
                  <a:lnTo>
                    <a:pt x="571" y="214"/>
                  </a:lnTo>
                  <a:lnTo>
                    <a:pt x="573" y="214"/>
                  </a:lnTo>
                  <a:lnTo>
                    <a:pt x="575" y="212"/>
                  </a:lnTo>
                  <a:lnTo>
                    <a:pt x="575" y="212"/>
                  </a:lnTo>
                  <a:lnTo>
                    <a:pt x="573" y="212"/>
                  </a:lnTo>
                  <a:close/>
                  <a:moveTo>
                    <a:pt x="678" y="169"/>
                  </a:moveTo>
                  <a:lnTo>
                    <a:pt x="678" y="169"/>
                  </a:lnTo>
                  <a:lnTo>
                    <a:pt x="678" y="169"/>
                  </a:lnTo>
                  <a:lnTo>
                    <a:pt x="676" y="169"/>
                  </a:lnTo>
                  <a:lnTo>
                    <a:pt x="676" y="169"/>
                  </a:lnTo>
                  <a:lnTo>
                    <a:pt x="673" y="169"/>
                  </a:lnTo>
                  <a:lnTo>
                    <a:pt x="673" y="169"/>
                  </a:lnTo>
                  <a:lnTo>
                    <a:pt x="673" y="169"/>
                  </a:lnTo>
                  <a:lnTo>
                    <a:pt x="676" y="169"/>
                  </a:lnTo>
                  <a:lnTo>
                    <a:pt x="678" y="169"/>
                  </a:lnTo>
                  <a:close/>
                  <a:moveTo>
                    <a:pt x="659" y="183"/>
                  </a:moveTo>
                  <a:lnTo>
                    <a:pt x="661" y="181"/>
                  </a:lnTo>
                  <a:lnTo>
                    <a:pt x="661" y="181"/>
                  </a:lnTo>
                  <a:lnTo>
                    <a:pt x="659" y="181"/>
                  </a:lnTo>
                  <a:lnTo>
                    <a:pt x="657" y="183"/>
                  </a:lnTo>
                  <a:lnTo>
                    <a:pt x="659" y="183"/>
                  </a:lnTo>
                  <a:lnTo>
                    <a:pt x="659" y="183"/>
                  </a:lnTo>
                  <a:close/>
                  <a:moveTo>
                    <a:pt x="690" y="177"/>
                  </a:moveTo>
                  <a:lnTo>
                    <a:pt x="688" y="177"/>
                  </a:lnTo>
                  <a:lnTo>
                    <a:pt x="688" y="175"/>
                  </a:lnTo>
                  <a:lnTo>
                    <a:pt x="688" y="175"/>
                  </a:lnTo>
                  <a:lnTo>
                    <a:pt x="686" y="175"/>
                  </a:lnTo>
                  <a:lnTo>
                    <a:pt x="684" y="177"/>
                  </a:lnTo>
                  <a:lnTo>
                    <a:pt x="684" y="177"/>
                  </a:lnTo>
                  <a:lnTo>
                    <a:pt x="684" y="177"/>
                  </a:lnTo>
                  <a:lnTo>
                    <a:pt x="684" y="177"/>
                  </a:lnTo>
                  <a:lnTo>
                    <a:pt x="684" y="177"/>
                  </a:lnTo>
                  <a:lnTo>
                    <a:pt x="682" y="179"/>
                  </a:lnTo>
                  <a:lnTo>
                    <a:pt x="682" y="179"/>
                  </a:lnTo>
                  <a:lnTo>
                    <a:pt x="686" y="177"/>
                  </a:lnTo>
                  <a:lnTo>
                    <a:pt x="690" y="177"/>
                  </a:lnTo>
                  <a:lnTo>
                    <a:pt x="690" y="177"/>
                  </a:lnTo>
                  <a:lnTo>
                    <a:pt x="692" y="177"/>
                  </a:lnTo>
                  <a:lnTo>
                    <a:pt x="692" y="177"/>
                  </a:lnTo>
                  <a:lnTo>
                    <a:pt x="690" y="177"/>
                  </a:lnTo>
                  <a:close/>
                  <a:moveTo>
                    <a:pt x="665" y="181"/>
                  </a:moveTo>
                  <a:lnTo>
                    <a:pt x="665" y="181"/>
                  </a:lnTo>
                  <a:lnTo>
                    <a:pt x="665" y="181"/>
                  </a:lnTo>
                  <a:lnTo>
                    <a:pt x="667" y="179"/>
                  </a:lnTo>
                  <a:lnTo>
                    <a:pt x="667" y="179"/>
                  </a:lnTo>
                  <a:lnTo>
                    <a:pt x="669" y="177"/>
                  </a:lnTo>
                  <a:lnTo>
                    <a:pt x="671" y="177"/>
                  </a:lnTo>
                  <a:lnTo>
                    <a:pt x="671" y="177"/>
                  </a:lnTo>
                  <a:lnTo>
                    <a:pt x="671" y="175"/>
                  </a:lnTo>
                  <a:lnTo>
                    <a:pt x="673" y="175"/>
                  </a:lnTo>
                  <a:lnTo>
                    <a:pt x="671" y="175"/>
                  </a:lnTo>
                  <a:lnTo>
                    <a:pt x="671" y="175"/>
                  </a:lnTo>
                  <a:lnTo>
                    <a:pt x="671" y="177"/>
                  </a:lnTo>
                  <a:lnTo>
                    <a:pt x="671" y="175"/>
                  </a:lnTo>
                  <a:lnTo>
                    <a:pt x="671" y="175"/>
                  </a:lnTo>
                  <a:lnTo>
                    <a:pt x="671" y="175"/>
                  </a:lnTo>
                  <a:lnTo>
                    <a:pt x="669" y="177"/>
                  </a:lnTo>
                  <a:lnTo>
                    <a:pt x="667" y="177"/>
                  </a:lnTo>
                  <a:lnTo>
                    <a:pt x="667" y="177"/>
                  </a:lnTo>
                  <a:lnTo>
                    <a:pt x="667" y="179"/>
                  </a:lnTo>
                  <a:lnTo>
                    <a:pt x="665" y="179"/>
                  </a:lnTo>
                  <a:lnTo>
                    <a:pt x="665" y="179"/>
                  </a:lnTo>
                  <a:lnTo>
                    <a:pt x="665" y="179"/>
                  </a:lnTo>
                  <a:lnTo>
                    <a:pt x="665" y="181"/>
                  </a:lnTo>
                  <a:close/>
                  <a:moveTo>
                    <a:pt x="793" y="247"/>
                  </a:moveTo>
                  <a:lnTo>
                    <a:pt x="795" y="247"/>
                  </a:lnTo>
                  <a:lnTo>
                    <a:pt x="795" y="247"/>
                  </a:lnTo>
                  <a:lnTo>
                    <a:pt x="795" y="245"/>
                  </a:lnTo>
                  <a:lnTo>
                    <a:pt x="795" y="245"/>
                  </a:lnTo>
                  <a:lnTo>
                    <a:pt x="797" y="245"/>
                  </a:lnTo>
                  <a:lnTo>
                    <a:pt x="797" y="245"/>
                  </a:lnTo>
                  <a:lnTo>
                    <a:pt x="797" y="245"/>
                  </a:lnTo>
                  <a:lnTo>
                    <a:pt x="797" y="243"/>
                  </a:lnTo>
                  <a:lnTo>
                    <a:pt x="793" y="243"/>
                  </a:lnTo>
                  <a:lnTo>
                    <a:pt x="793" y="245"/>
                  </a:lnTo>
                  <a:lnTo>
                    <a:pt x="791" y="245"/>
                  </a:lnTo>
                  <a:lnTo>
                    <a:pt x="791" y="245"/>
                  </a:lnTo>
                  <a:lnTo>
                    <a:pt x="791" y="245"/>
                  </a:lnTo>
                  <a:lnTo>
                    <a:pt x="791" y="247"/>
                  </a:lnTo>
                  <a:lnTo>
                    <a:pt x="791" y="247"/>
                  </a:lnTo>
                  <a:lnTo>
                    <a:pt x="793" y="247"/>
                  </a:lnTo>
                  <a:close/>
                  <a:moveTo>
                    <a:pt x="799" y="235"/>
                  </a:moveTo>
                  <a:lnTo>
                    <a:pt x="799" y="235"/>
                  </a:lnTo>
                  <a:lnTo>
                    <a:pt x="797" y="235"/>
                  </a:lnTo>
                  <a:lnTo>
                    <a:pt x="797" y="235"/>
                  </a:lnTo>
                  <a:lnTo>
                    <a:pt x="793" y="233"/>
                  </a:lnTo>
                  <a:lnTo>
                    <a:pt x="791" y="233"/>
                  </a:lnTo>
                  <a:lnTo>
                    <a:pt x="788" y="235"/>
                  </a:lnTo>
                  <a:lnTo>
                    <a:pt x="788" y="235"/>
                  </a:lnTo>
                  <a:lnTo>
                    <a:pt x="788" y="235"/>
                  </a:lnTo>
                  <a:lnTo>
                    <a:pt x="788" y="237"/>
                  </a:lnTo>
                  <a:lnTo>
                    <a:pt x="788" y="237"/>
                  </a:lnTo>
                  <a:lnTo>
                    <a:pt x="788" y="239"/>
                  </a:lnTo>
                  <a:lnTo>
                    <a:pt x="786" y="239"/>
                  </a:lnTo>
                  <a:lnTo>
                    <a:pt x="786" y="241"/>
                  </a:lnTo>
                  <a:lnTo>
                    <a:pt x="784" y="243"/>
                  </a:lnTo>
                  <a:lnTo>
                    <a:pt x="784" y="243"/>
                  </a:lnTo>
                  <a:lnTo>
                    <a:pt x="784" y="243"/>
                  </a:lnTo>
                  <a:lnTo>
                    <a:pt x="786" y="243"/>
                  </a:lnTo>
                  <a:lnTo>
                    <a:pt x="788" y="243"/>
                  </a:lnTo>
                  <a:lnTo>
                    <a:pt x="791" y="243"/>
                  </a:lnTo>
                  <a:lnTo>
                    <a:pt x="791" y="243"/>
                  </a:lnTo>
                  <a:lnTo>
                    <a:pt x="791" y="243"/>
                  </a:lnTo>
                  <a:lnTo>
                    <a:pt x="791" y="243"/>
                  </a:lnTo>
                  <a:lnTo>
                    <a:pt x="793" y="241"/>
                  </a:lnTo>
                  <a:lnTo>
                    <a:pt x="793" y="241"/>
                  </a:lnTo>
                  <a:lnTo>
                    <a:pt x="793" y="241"/>
                  </a:lnTo>
                  <a:lnTo>
                    <a:pt x="793" y="239"/>
                  </a:lnTo>
                  <a:lnTo>
                    <a:pt x="793" y="239"/>
                  </a:lnTo>
                  <a:lnTo>
                    <a:pt x="795" y="239"/>
                  </a:lnTo>
                  <a:lnTo>
                    <a:pt x="795" y="237"/>
                  </a:lnTo>
                  <a:lnTo>
                    <a:pt x="795" y="237"/>
                  </a:lnTo>
                  <a:lnTo>
                    <a:pt x="795" y="239"/>
                  </a:lnTo>
                  <a:lnTo>
                    <a:pt x="795" y="241"/>
                  </a:lnTo>
                  <a:lnTo>
                    <a:pt x="795" y="241"/>
                  </a:lnTo>
                  <a:lnTo>
                    <a:pt x="795" y="241"/>
                  </a:lnTo>
                  <a:lnTo>
                    <a:pt x="797" y="241"/>
                  </a:lnTo>
                  <a:lnTo>
                    <a:pt x="797" y="241"/>
                  </a:lnTo>
                  <a:lnTo>
                    <a:pt x="797" y="239"/>
                  </a:lnTo>
                  <a:lnTo>
                    <a:pt x="799" y="239"/>
                  </a:lnTo>
                  <a:lnTo>
                    <a:pt x="799" y="237"/>
                  </a:lnTo>
                  <a:lnTo>
                    <a:pt x="801" y="237"/>
                  </a:lnTo>
                  <a:lnTo>
                    <a:pt x="801" y="235"/>
                  </a:lnTo>
                  <a:lnTo>
                    <a:pt x="801" y="235"/>
                  </a:lnTo>
                  <a:lnTo>
                    <a:pt x="799" y="235"/>
                  </a:lnTo>
                  <a:close/>
                  <a:moveTo>
                    <a:pt x="788" y="270"/>
                  </a:moveTo>
                  <a:lnTo>
                    <a:pt x="788" y="272"/>
                  </a:lnTo>
                  <a:lnTo>
                    <a:pt x="788" y="272"/>
                  </a:lnTo>
                  <a:lnTo>
                    <a:pt x="791" y="270"/>
                  </a:lnTo>
                  <a:lnTo>
                    <a:pt x="791" y="270"/>
                  </a:lnTo>
                  <a:lnTo>
                    <a:pt x="793" y="268"/>
                  </a:lnTo>
                  <a:lnTo>
                    <a:pt x="793" y="266"/>
                  </a:lnTo>
                  <a:lnTo>
                    <a:pt x="793" y="264"/>
                  </a:lnTo>
                  <a:lnTo>
                    <a:pt x="793" y="264"/>
                  </a:lnTo>
                  <a:lnTo>
                    <a:pt x="791" y="266"/>
                  </a:lnTo>
                  <a:lnTo>
                    <a:pt x="791" y="266"/>
                  </a:lnTo>
                  <a:lnTo>
                    <a:pt x="791" y="266"/>
                  </a:lnTo>
                  <a:lnTo>
                    <a:pt x="788" y="268"/>
                  </a:lnTo>
                  <a:lnTo>
                    <a:pt x="788" y="268"/>
                  </a:lnTo>
                  <a:lnTo>
                    <a:pt x="788" y="268"/>
                  </a:lnTo>
                  <a:lnTo>
                    <a:pt x="788" y="268"/>
                  </a:lnTo>
                  <a:lnTo>
                    <a:pt x="788" y="270"/>
                  </a:lnTo>
                  <a:lnTo>
                    <a:pt x="788" y="270"/>
                  </a:lnTo>
                  <a:lnTo>
                    <a:pt x="788" y="270"/>
                  </a:lnTo>
                  <a:close/>
                  <a:moveTo>
                    <a:pt x="776" y="245"/>
                  </a:moveTo>
                  <a:lnTo>
                    <a:pt x="772" y="249"/>
                  </a:lnTo>
                  <a:lnTo>
                    <a:pt x="770" y="251"/>
                  </a:lnTo>
                  <a:lnTo>
                    <a:pt x="770" y="251"/>
                  </a:lnTo>
                  <a:lnTo>
                    <a:pt x="772" y="249"/>
                  </a:lnTo>
                  <a:lnTo>
                    <a:pt x="772" y="249"/>
                  </a:lnTo>
                  <a:lnTo>
                    <a:pt x="772" y="249"/>
                  </a:lnTo>
                  <a:lnTo>
                    <a:pt x="774" y="249"/>
                  </a:lnTo>
                  <a:lnTo>
                    <a:pt x="774" y="249"/>
                  </a:lnTo>
                  <a:lnTo>
                    <a:pt x="776" y="249"/>
                  </a:lnTo>
                  <a:lnTo>
                    <a:pt x="778" y="247"/>
                  </a:lnTo>
                  <a:lnTo>
                    <a:pt x="780" y="245"/>
                  </a:lnTo>
                  <a:lnTo>
                    <a:pt x="780" y="243"/>
                  </a:lnTo>
                  <a:lnTo>
                    <a:pt x="782" y="241"/>
                  </a:lnTo>
                  <a:lnTo>
                    <a:pt x="784" y="241"/>
                  </a:lnTo>
                  <a:lnTo>
                    <a:pt x="784" y="241"/>
                  </a:lnTo>
                  <a:lnTo>
                    <a:pt x="786" y="241"/>
                  </a:lnTo>
                  <a:lnTo>
                    <a:pt x="786" y="239"/>
                  </a:lnTo>
                  <a:lnTo>
                    <a:pt x="786" y="239"/>
                  </a:lnTo>
                  <a:lnTo>
                    <a:pt x="784" y="239"/>
                  </a:lnTo>
                  <a:lnTo>
                    <a:pt x="786" y="237"/>
                  </a:lnTo>
                  <a:lnTo>
                    <a:pt x="786" y="237"/>
                  </a:lnTo>
                  <a:lnTo>
                    <a:pt x="786" y="237"/>
                  </a:lnTo>
                  <a:lnTo>
                    <a:pt x="784" y="235"/>
                  </a:lnTo>
                  <a:lnTo>
                    <a:pt x="782" y="237"/>
                  </a:lnTo>
                  <a:lnTo>
                    <a:pt x="780" y="237"/>
                  </a:lnTo>
                  <a:lnTo>
                    <a:pt x="778" y="239"/>
                  </a:lnTo>
                  <a:lnTo>
                    <a:pt x="778" y="239"/>
                  </a:lnTo>
                  <a:lnTo>
                    <a:pt x="778" y="241"/>
                  </a:lnTo>
                  <a:lnTo>
                    <a:pt x="776" y="241"/>
                  </a:lnTo>
                  <a:lnTo>
                    <a:pt x="778" y="243"/>
                  </a:lnTo>
                  <a:lnTo>
                    <a:pt x="778" y="243"/>
                  </a:lnTo>
                  <a:lnTo>
                    <a:pt x="776" y="245"/>
                  </a:lnTo>
                  <a:close/>
                  <a:moveTo>
                    <a:pt x="702" y="177"/>
                  </a:moveTo>
                  <a:lnTo>
                    <a:pt x="704" y="177"/>
                  </a:lnTo>
                  <a:lnTo>
                    <a:pt x="704" y="177"/>
                  </a:lnTo>
                  <a:lnTo>
                    <a:pt x="700" y="177"/>
                  </a:lnTo>
                  <a:lnTo>
                    <a:pt x="700" y="177"/>
                  </a:lnTo>
                  <a:lnTo>
                    <a:pt x="702" y="179"/>
                  </a:lnTo>
                  <a:lnTo>
                    <a:pt x="702" y="177"/>
                  </a:lnTo>
                  <a:close/>
                  <a:moveTo>
                    <a:pt x="548" y="220"/>
                  </a:moveTo>
                  <a:lnTo>
                    <a:pt x="548" y="220"/>
                  </a:lnTo>
                  <a:lnTo>
                    <a:pt x="548" y="220"/>
                  </a:lnTo>
                  <a:lnTo>
                    <a:pt x="548" y="218"/>
                  </a:lnTo>
                  <a:lnTo>
                    <a:pt x="548" y="218"/>
                  </a:lnTo>
                  <a:lnTo>
                    <a:pt x="548" y="218"/>
                  </a:lnTo>
                  <a:lnTo>
                    <a:pt x="546" y="218"/>
                  </a:lnTo>
                  <a:lnTo>
                    <a:pt x="546" y="218"/>
                  </a:lnTo>
                  <a:lnTo>
                    <a:pt x="546" y="218"/>
                  </a:lnTo>
                  <a:lnTo>
                    <a:pt x="548" y="220"/>
                  </a:lnTo>
                  <a:lnTo>
                    <a:pt x="548" y="220"/>
                  </a:lnTo>
                  <a:close/>
                  <a:moveTo>
                    <a:pt x="700" y="187"/>
                  </a:moveTo>
                  <a:lnTo>
                    <a:pt x="704" y="185"/>
                  </a:lnTo>
                  <a:lnTo>
                    <a:pt x="706" y="183"/>
                  </a:lnTo>
                  <a:lnTo>
                    <a:pt x="708" y="183"/>
                  </a:lnTo>
                  <a:lnTo>
                    <a:pt x="706" y="183"/>
                  </a:lnTo>
                  <a:lnTo>
                    <a:pt x="704" y="185"/>
                  </a:lnTo>
                  <a:lnTo>
                    <a:pt x="702" y="185"/>
                  </a:lnTo>
                  <a:lnTo>
                    <a:pt x="700" y="187"/>
                  </a:lnTo>
                  <a:lnTo>
                    <a:pt x="700" y="187"/>
                  </a:lnTo>
                  <a:close/>
                  <a:moveTo>
                    <a:pt x="768" y="231"/>
                  </a:moveTo>
                  <a:lnTo>
                    <a:pt x="768" y="231"/>
                  </a:lnTo>
                  <a:lnTo>
                    <a:pt x="766" y="233"/>
                  </a:lnTo>
                  <a:lnTo>
                    <a:pt x="766" y="233"/>
                  </a:lnTo>
                  <a:lnTo>
                    <a:pt x="764" y="235"/>
                  </a:lnTo>
                  <a:lnTo>
                    <a:pt x="766" y="235"/>
                  </a:lnTo>
                  <a:lnTo>
                    <a:pt x="768" y="233"/>
                  </a:lnTo>
                  <a:lnTo>
                    <a:pt x="772" y="231"/>
                  </a:lnTo>
                  <a:lnTo>
                    <a:pt x="772" y="231"/>
                  </a:lnTo>
                  <a:lnTo>
                    <a:pt x="772" y="231"/>
                  </a:lnTo>
                  <a:lnTo>
                    <a:pt x="772" y="233"/>
                  </a:lnTo>
                  <a:lnTo>
                    <a:pt x="772" y="233"/>
                  </a:lnTo>
                  <a:lnTo>
                    <a:pt x="772" y="235"/>
                  </a:lnTo>
                  <a:lnTo>
                    <a:pt x="772" y="235"/>
                  </a:lnTo>
                  <a:lnTo>
                    <a:pt x="770" y="235"/>
                  </a:lnTo>
                  <a:lnTo>
                    <a:pt x="768" y="237"/>
                  </a:lnTo>
                  <a:lnTo>
                    <a:pt x="768" y="237"/>
                  </a:lnTo>
                  <a:lnTo>
                    <a:pt x="768" y="237"/>
                  </a:lnTo>
                  <a:lnTo>
                    <a:pt x="768" y="239"/>
                  </a:lnTo>
                  <a:lnTo>
                    <a:pt x="770" y="237"/>
                  </a:lnTo>
                  <a:lnTo>
                    <a:pt x="770" y="239"/>
                  </a:lnTo>
                  <a:lnTo>
                    <a:pt x="768" y="239"/>
                  </a:lnTo>
                  <a:lnTo>
                    <a:pt x="768" y="239"/>
                  </a:lnTo>
                  <a:lnTo>
                    <a:pt x="768" y="241"/>
                  </a:lnTo>
                  <a:lnTo>
                    <a:pt x="770" y="241"/>
                  </a:lnTo>
                  <a:lnTo>
                    <a:pt x="770" y="241"/>
                  </a:lnTo>
                  <a:lnTo>
                    <a:pt x="770" y="241"/>
                  </a:lnTo>
                  <a:lnTo>
                    <a:pt x="770" y="241"/>
                  </a:lnTo>
                  <a:lnTo>
                    <a:pt x="768" y="241"/>
                  </a:lnTo>
                  <a:lnTo>
                    <a:pt x="768" y="243"/>
                  </a:lnTo>
                  <a:lnTo>
                    <a:pt x="766" y="243"/>
                  </a:lnTo>
                  <a:lnTo>
                    <a:pt x="766" y="243"/>
                  </a:lnTo>
                  <a:lnTo>
                    <a:pt x="766" y="247"/>
                  </a:lnTo>
                  <a:lnTo>
                    <a:pt x="766" y="247"/>
                  </a:lnTo>
                  <a:lnTo>
                    <a:pt x="766" y="247"/>
                  </a:lnTo>
                  <a:lnTo>
                    <a:pt x="766" y="247"/>
                  </a:lnTo>
                  <a:lnTo>
                    <a:pt x="766" y="247"/>
                  </a:lnTo>
                  <a:lnTo>
                    <a:pt x="768" y="247"/>
                  </a:lnTo>
                  <a:lnTo>
                    <a:pt x="770" y="245"/>
                  </a:lnTo>
                  <a:lnTo>
                    <a:pt x="772" y="243"/>
                  </a:lnTo>
                  <a:lnTo>
                    <a:pt x="772" y="243"/>
                  </a:lnTo>
                  <a:lnTo>
                    <a:pt x="772" y="241"/>
                  </a:lnTo>
                  <a:lnTo>
                    <a:pt x="774" y="241"/>
                  </a:lnTo>
                  <a:lnTo>
                    <a:pt x="774" y="239"/>
                  </a:lnTo>
                  <a:lnTo>
                    <a:pt x="776" y="239"/>
                  </a:lnTo>
                  <a:lnTo>
                    <a:pt x="776" y="237"/>
                  </a:lnTo>
                  <a:lnTo>
                    <a:pt x="778" y="233"/>
                  </a:lnTo>
                  <a:lnTo>
                    <a:pt x="780" y="233"/>
                  </a:lnTo>
                  <a:lnTo>
                    <a:pt x="780" y="231"/>
                  </a:lnTo>
                  <a:lnTo>
                    <a:pt x="780" y="229"/>
                  </a:lnTo>
                  <a:lnTo>
                    <a:pt x="780" y="227"/>
                  </a:lnTo>
                  <a:lnTo>
                    <a:pt x="780" y="227"/>
                  </a:lnTo>
                  <a:lnTo>
                    <a:pt x="780" y="224"/>
                  </a:lnTo>
                  <a:lnTo>
                    <a:pt x="778" y="224"/>
                  </a:lnTo>
                  <a:lnTo>
                    <a:pt x="778" y="227"/>
                  </a:lnTo>
                  <a:lnTo>
                    <a:pt x="774" y="227"/>
                  </a:lnTo>
                  <a:lnTo>
                    <a:pt x="774" y="229"/>
                  </a:lnTo>
                  <a:lnTo>
                    <a:pt x="772" y="229"/>
                  </a:lnTo>
                  <a:lnTo>
                    <a:pt x="772" y="229"/>
                  </a:lnTo>
                  <a:lnTo>
                    <a:pt x="770" y="229"/>
                  </a:lnTo>
                  <a:lnTo>
                    <a:pt x="768" y="231"/>
                  </a:lnTo>
                  <a:close/>
                  <a:moveTo>
                    <a:pt x="799" y="239"/>
                  </a:moveTo>
                  <a:lnTo>
                    <a:pt x="797" y="241"/>
                  </a:lnTo>
                  <a:lnTo>
                    <a:pt x="795" y="241"/>
                  </a:lnTo>
                  <a:lnTo>
                    <a:pt x="795" y="241"/>
                  </a:lnTo>
                  <a:lnTo>
                    <a:pt x="795" y="243"/>
                  </a:lnTo>
                  <a:lnTo>
                    <a:pt x="795" y="243"/>
                  </a:lnTo>
                  <a:lnTo>
                    <a:pt x="797" y="243"/>
                  </a:lnTo>
                  <a:lnTo>
                    <a:pt x="797" y="243"/>
                  </a:lnTo>
                  <a:lnTo>
                    <a:pt x="797" y="243"/>
                  </a:lnTo>
                  <a:lnTo>
                    <a:pt x="799" y="243"/>
                  </a:lnTo>
                  <a:lnTo>
                    <a:pt x="801" y="241"/>
                  </a:lnTo>
                  <a:lnTo>
                    <a:pt x="801" y="241"/>
                  </a:lnTo>
                  <a:lnTo>
                    <a:pt x="801" y="241"/>
                  </a:lnTo>
                  <a:lnTo>
                    <a:pt x="801" y="239"/>
                  </a:lnTo>
                  <a:lnTo>
                    <a:pt x="799" y="239"/>
                  </a:lnTo>
                  <a:close/>
                  <a:moveTo>
                    <a:pt x="766" y="272"/>
                  </a:moveTo>
                  <a:lnTo>
                    <a:pt x="766" y="274"/>
                  </a:lnTo>
                  <a:lnTo>
                    <a:pt x="766" y="274"/>
                  </a:lnTo>
                  <a:lnTo>
                    <a:pt x="768" y="274"/>
                  </a:lnTo>
                  <a:lnTo>
                    <a:pt x="768" y="274"/>
                  </a:lnTo>
                  <a:lnTo>
                    <a:pt x="770" y="274"/>
                  </a:lnTo>
                  <a:lnTo>
                    <a:pt x="770" y="272"/>
                  </a:lnTo>
                  <a:lnTo>
                    <a:pt x="772" y="272"/>
                  </a:lnTo>
                  <a:lnTo>
                    <a:pt x="772" y="270"/>
                  </a:lnTo>
                  <a:lnTo>
                    <a:pt x="770" y="270"/>
                  </a:lnTo>
                  <a:lnTo>
                    <a:pt x="770" y="270"/>
                  </a:lnTo>
                  <a:lnTo>
                    <a:pt x="770" y="272"/>
                  </a:lnTo>
                  <a:lnTo>
                    <a:pt x="768" y="272"/>
                  </a:lnTo>
                  <a:lnTo>
                    <a:pt x="768" y="272"/>
                  </a:lnTo>
                  <a:lnTo>
                    <a:pt x="770" y="270"/>
                  </a:lnTo>
                  <a:lnTo>
                    <a:pt x="770" y="268"/>
                  </a:lnTo>
                  <a:lnTo>
                    <a:pt x="770" y="268"/>
                  </a:lnTo>
                  <a:lnTo>
                    <a:pt x="770" y="266"/>
                  </a:lnTo>
                  <a:lnTo>
                    <a:pt x="770" y="266"/>
                  </a:lnTo>
                  <a:lnTo>
                    <a:pt x="770" y="264"/>
                  </a:lnTo>
                  <a:lnTo>
                    <a:pt x="768" y="264"/>
                  </a:lnTo>
                  <a:lnTo>
                    <a:pt x="766" y="264"/>
                  </a:lnTo>
                  <a:lnTo>
                    <a:pt x="766" y="266"/>
                  </a:lnTo>
                  <a:lnTo>
                    <a:pt x="766" y="266"/>
                  </a:lnTo>
                  <a:lnTo>
                    <a:pt x="768" y="266"/>
                  </a:lnTo>
                  <a:lnTo>
                    <a:pt x="766" y="268"/>
                  </a:lnTo>
                  <a:lnTo>
                    <a:pt x="766" y="270"/>
                  </a:lnTo>
                  <a:lnTo>
                    <a:pt x="766" y="270"/>
                  </a:lnTo>
                  <a:lnTo>
                    <a:pt x="766" y="270"/>
                  </a:lnTo>
                  <a:lnTo>
                    <a:pt x="766" y="272"/>
                  </a:lnTo>
                  <a:close/>
                  <a:moveTo>
                    <a:pt x="793" y="253"/>
                  </a:moveTo>
                  <a:lnTo>
                    <a:pt x="793" y="253"/>
                  </a:lnTo>
                  <a:lnTo>
                    <a:pt x="793" y="253"/>
                  </a:lnTo>
                  <a:lnTo>
                    <a:pt x="795" y="253"/>
                  </a:lnTo>
                  <a:lnTo>
                    <a:pt x="795" y="253"/>
                  </a:lnTo>
                  <a:lnTo>
                    <a:pt x="795" y="253"/>
                  </a:lnTo>
                  <a:lnTo>
                    <a:pt x="799" y="249"/>
                  </a:lnTo>
                  <a:lnTo>
                    <a:pt x="801" y="247"/>
                  </a:lnTo>
                  <a:lnTo>
                    <a:pt x="801" y="245"/>
                  </a:lnTo>
                  <a:lnTo>
                    <a:pt x="803" y="243"/>
                  </a:lnTo>
                  <a:lnTo>
                    <a:pt x="801" y="243"/>
                  </a:lnTo>
                  <a:lnTo>
                    <a:pt x="797" y="245"/>
                  </a:lnTo>
                  <a:lnTo>
                    <a:pt x="797" y="247"/>
                  </a:lnTo>
                  <a:lnTo>
                    <a:pt x="795" y="247"/>
                  </a:lnTo>
                  <a:lnTo>
                    <a:pt x="793" y="247"/>
                  </a:lnTo>
                  <a:lnTo>
                    <a:pt x="793" y="249"/>
                  </a:lnTo>
                  <a:lnTo>
                    <a:pt x="791" y="249"/>
                  </a:lnTo>
                  <a:lnTo>
                    <a:pt x="791" y="251"/>
                  </a:lnTo>
                  <a:lnTo>
                    <a:pt x="791" y="251"/>
                  </a:lnTo>
                  <a:lnTo>
                    <a:pt x="793" y="251"/>
                  </a:lnTo>
                  <a:lnTo>
                    <a:pt x="793" y="251"/>
                  </a:lnTo>
                  <a:lnTo>
                    <a:pt x="793" y="251"/>
                  </a:lnTo>
                  <a:lnTo>
                    <a:pt x="793" y="253"/>
                  </a:lnTo>
                  <a:close/>
                  <a:moveTo>
                    <a:pt x="788" y="255"/>
                  </a:moveTo>
                  <a:lnTo>
                    <a:pt x="788" y="255"/>
                  </a:lnTo>
                  <a:lnTo>
                    <a:pt x="788" y="253"/>
                  </a:lnTo>
                  <a:lnTo>
                    <a:pt x="788" y="251"/>
                  </a:lnTo>
                  <a:lnTo>
                    <a:pt x="784" y="249"/>
                  </a:lnTo>
                  <a:lnTo>
                    <a:pt x="784" y="249"/>
                  </a:lnTo>
                  <a:lnTo>
                    <a:pt x="786" y="249"/>
                  </a:lnTo>
                  <a:lnTo>
                    <a:pt x="786" y="249"/>
                  </a:lnTo>
                  <a:lnTo>
                    <a:pt x="786" y="249"/>
                  </a:lnTo>
                  <a:lnTo>
                    <a:pt x="786" y="247"/>
                  </a:lnTo>
                  <a:lnTo>
                    <a:pt x="786" y="247"/>
                  </a:lnTo>
                  <a:lnTo>
                    <a:pt x="786" y="247"/>
                  </a:lnTo>
                  <a:lnTo>
                    <a:pt x="784" y="247"/>
                  </a:lnTo>
                  <a:lnTo>
                    <a:pt x="782" y="245"/>
                  </a:lnTo>
                  <a:lnTo>
                    <a:pt x="782" y="247"/>
                  </a:lnTo>
                  <a:lnTo>
                    <a:pt x="780" y="247"/>
                  </a:lnTo>
                  <a:lnTo>
                    <a:pt x="780" y="249"/>
                  </a:lnTo>
                  <a:lnTo>
                    <a:pt x="780" y="249"/>
                  </a:lnTo>
                  <a:lnTo>
                    <a:pt x="778" y="249"/>
                  </a:lnTo>
                  <a:lnTo>
                    <a:pt x="774" y="251"/>
                  </a:lnTo>
                  <a:lnTo>
                    <a:pt x="774" y="253"/>
                  </a:lnTo>
                  <a:lnTo>
                    <a:pt x="774" y="253"/>
                  </a:lnTo>
                  <a:lnTo>
                    <a:pt x="778" y="251"/>
                  </a:lnTo>
                  <a:lnTo>
                    <a:pt x="780" y="251"/>
                  </a:lnTo>
                  <a:lnTo>
                    <a:pt x="780" y="251"/>
                  </a:lnTo>
                  <a:lnTo>
                    <a:pt x="780" y="253"/>
                  </a:lnTo>
                  <a:lnTo>
                    <a:pt x="780" y="253"/>
                  </a:lnTo>
                  <a:lnTo>
                    <a:pt x="778" y="253"/>
                  </a:lnTo>
                  <a:lnTo>
                    <a:pt x="778" y="255"/>
                  </a:lnTo>
                  <a:lnTo>
                    <a:pt x="776" y="255"/>
                  </a:lnTo>
                  <a:lnTo>
                    <a:pt x="776" y="255"/>
                  </a:lnTo>
                  <a:lnTo>
                    <a:pt x="774" y="255"/>
                  </a:lnTo>
                  <a:lnTo>
                    <a:pt x="774" y="255"/>
                  </a:lnTo>
                  <a:lnTo>
                    <a:pt x="772" y="255"/>
                  </a:lnTo>
                  <a:lnTo>
                    <a:pt x="772" y="255"/>
                  </a:lnTo>
                  <a:lnTo>
                    <a:pt x="772" y="255"/>
                  </a:lnTo>
                  <a:lnTo>
                    <a:pt x="772" y="257"/>
                  </a:lnTo>
                  <a:lnTo>
                    <a:pt x="772" y="257"/>
                  </a:lnTo>
                  <a:lnTo>
                    <a:pt x="774" y="257"/>
                  </a:lnTo>
                  <a:lnTo>
                    <a:pt x="774" y="257"/>
                  </a:lnTo>
                  <a:lnTo>
                    <a:pt x="774" y="259"/>
                  </a:lnTo>
                  <a:lnTo>
                    <a:pt x="774" y="259"/>
                  </a:lnTo>
                  <a:lnTo>
                    <a:pt x="776" y="257"/>
                  </a:lnTo>
                  <a:lnTo>
                    <a:pt x="778" y="259"/>
                  </a:lnTo>
                  <a:lnTo>
                    <a:pt x="776" y="259"/>
                  </a:lnTo>
                  <a:lnTo>
                    <a:pt x="776" y="259"/>
                  </a:lnTo>
                  <a:lnTo>
                    <a:pt x="776" y="261"/>
                  </a:lnTo>
                  <a:lnTo>
                    <a:pt x="774" y="261"/>
                  </a:lnTo>
                  <a:lnTo>
                    <a:pt x="774" y="261"/>
                  </a:lnTo>
                  <a:lnTo>
                    <a:pt x="772" y="264"/>
                  </a:lnTo>
                  <a:lnTo>
                    <a:pt x="772" y="264"/>
                  </a:lnTo>
                  <a:lnTo>
                    <a:pt x="772" y="264"/>
                  </a:lnTo>
                  <a:lnTo>
                    <a:pt x="772" y="266"/>
                  </a:lnTo>
                  <a:lnTo>
                    <a:pt x="772" y="268"/>
                  </a:lnTo>
                  <a:lnTo>
                    <a:pt x="772" y="268"/>
                  </a:lnTo>
                  <a:lnTo>
                    <a:pt x="774" y="268"/>
                  </a:lnTo>
                  <a:lnTo>
                    <a:pt x="774" y="268"/>
                  </a:lnTo>
                  <a:lnTo>
                    <a:pt x="776" y="266"/>
                  </a:lnTo>
                  <a:lnTo>
                    <a:pt x="776" y="266"/>
                  </a:lnTo>
                  <a:lnTo>
                    <a:pt x="774" y="268"/>
                  </a:lnTo>
                  <a:lnTo>
                    <a:pt x="774" y="268"/>
                  </a:lnTo>
                  <a:lnTo>
                    <a:pt x="774" y="270"/>
                  </a:lnTo>
                  <a:lnTo>
                    <a:pt x="774" y="270"/>
                  </a:lnTo>
                  <a:lnTo>
                    <a:pt x="774" y="270"/>
                  </a:lnTo>
                  <a:lnTo>
                    <a:pt x="774" y="270"/>
                  </a:lnTo>
                  <a:lnTo>
                    <a:pt x="776" y="270"/>
                  </a:lnTo>
                  <a:lnTo>
                    <a:pt x="776" y="270"/>
                  </a:lnTo>
                  <a:lnTo>
                    <a:pt x="774" y="272"/>
                  </a:lnTo>
                  <a:lnTo>
                    <a:pt x="774" y="274"/>
                  </a:lnTo>
                  <a:lnTo>
                    <a:pt x="776" y="274"/>
                  </a:lnTo>
                  <a:lnTo>
                    <a:pt x="776" y="274"/>
                  </a:lnTo>
                  <a:lnTo>
                    <a:pt x="776" y="274"/>
                  </a:lnTo>
                  <a:lnTo>
                    <a:pt x="778" y="272"/>
                  </a:lnTo>
                  <a:lnTo>
                    <a:pt x="780" y="272"/>
                  </a:lnTo>
                  <a:lnTo>
                    <a:pt x="780" y="272"/>
                  </a:lnTo>
                  <a:lnTo>
                    <a:pt x="780" y="270"/>
                  </a:lnTo>
                  <a:lnTo>
                    <a:pt x="780" y="270"/>
                  </a:lnTo>
                  <a:lnTo>
                    <a:pt x="782" y="270"/>
                  </a:lnTo>
                  <a:lnTo>
                    <a:pt x="782" y="268"/>
                  </a:lnTo>
                  <a:lnTo>
                    <a:pt x="786" y="266"/>
                  </a:lnTo>
                  <a:lnTo>
                    <a:pt x="786" y="266"/>
                  </a:lnTo>
                  <a:lnTo>
                    <a:pt x="782" y="266"/>
                  </a:lnTo>
                  <a:lnTo>
                    <a:pt x="782" y="266"/>
                  </a:lnTo>
                  <a:lnTo>
                    <a:pt x="782" y="266"/>
                  </a:lnTo>
                  <a:lnTo>
                    <a:pt x="782" y="264"/>
                  </a:lnTo>
                  <a:lnTo>
                    <a:pt x="784" y="264"/>
                  </a:lnTo>
                  <a:lnTo>
                    <a:pt x="784" y="264"/>
                  </a:lnTo>
                  <a:lnTo>
                    <a:pt x="784" y="261"/>
                  </a:lnTo>
                  <a:lnTo>
                    <a:pt x="784" y="261"/>
                  </a:lnTo>
                  <a:lnTo>
                    <a:pt x="784" y="261"/>
                  </a:lnTo>
                  <a:lnTo>
                    <a:pt x="782" y="261"/>
                  </a:lnTo>
                  <a:lnTo>
                    <a:pt x="780" y="261"/>
                  </a:lnTo>
                  <a:lnTo>
                    <a:pt x="782" y="259"/>
                  </a:lnTo>
                  <a:lnTo>
                    <a:pt x="782" y="259"/>
                  </a:lnTo>
                  <a:lnTo>
                    <a:pt x="784" y="259"/>
                  </a:lnTo>
                  <a:lnTo>
                    <a:pt x="784" y="259"/>
                  </a:lnTo>
                  <a:lnTo>
                    <a:pt x="786" y="259"/>
                  </a:lnTo>
                  <a:lnTo>
                    <a:pt x="786" y="261"/>
                  </a:lnTo>
                  <a:lnTo>
                    <a:pt x="786" y="261"/>
                  </a:lnTo>
                  <a:lnTo>
                    <a:pt x="786" y="259"/>
                  </a:lnTo>
                  <a:lnTo>
                    <a:pt x="786" y="259"/>
                  </a:lnTo>
                  <a:lnTo>
                    <a:pt x="786" y="257"/>
                  </a:lnTo>
                  <a:lnTo>
                    <a:pt x="788" y="255"/>
                  </a:lnTo>
                  <a:close/>
                  <a:moveTo>
                    <a:pt x="772" y="259"/>
                  </a:moveTo>
                  <a:lnTo>
                    <a:pt x="772" y="259"/>
                  </a:lnTo>
                  <a:lnTo>
                    <a:pt x="772" y="259"/>
                  </a:lnTo>
                  <a:lnTo>
                    <a:pt x="770" y="259"/>
                  </a:lnTo>
                  <a:lnTo>
                    <a:pt x="770" y="259"/>
                  </a:lnTo>
                  <a:lnTo>
                    <a:pt x="768" y="259"/>
                  </a:lnTo>
                  <a:lnTo>
                    <a:pt x="766" y="259"/>
                  </a:lnTo>
                  <a:lnTo>
                    <a:pt x="766" y="261"/>
                  </a:lnTo>
                  <a:lnTo>
                    <a:pt x="764" y="264"/>
                  </a:lnTo>
                  <a:lnTo>
                    <a:pt x="766" y="264"/>
                  </a:lnTo>
                  <a:lnTo>
                    <a:pt x="768" y="264"/>
                  </a:lnTo>
                  <a:lnTo>
                    <a:pt x="768" y="261"/>
                  </a:lnTo>
                  <a:lnTo>
                    <a:pt x="770" y="261"/>
                  </a:lnTo>
                  <a:lnTo>
                    <a:pt x="770" y="261"/>
                  </a:lnTo>
                  <a:lnTo>
                    <a:pt x="772" y="259"/>
                  </a:lnTo>
                  <a:lnTo>
                    <a:pt x="772" y="259"/>
                  </a:lnTo>
                  <a:close/>
                  <a:moveTo>
                    <a:pt x="805" y="214"/>
                  </a:moveTo>
                  <a:lnTo>
                    <a:pt x="805" y="214"/>
                  </a:lnTo>
                  <a:lnTo>
                    <a:pt x="805" y="212"/>
                  </a:lnTo>
                  <a:lnTo>
                    <a:pt x="805" y="212"/>
                  </a:lnTo>
                  <a:lnTo>
                    <a:pt x="803" y="212"/>
                  </a:lnTo>
                  <a:lnTo>
                    <a:pt x="801" y="212"/>
                  </a:lnTo>
                  <a:lnTo>
                    <a:pt x="801" y="214"/>
                  </a:lnTo>
                  <a:lnTo>
                    <a:pt x="803" y="214"/>
                  </a:lnTo>
                  <a:lnTo>
                    <a:pt x="805" y="214"/>
                  </a:lnTo>
                  <a:close/>
                  <a:moveTo>
                    <a:pt x="799" y="212"/>
                  </a:moveTo>
                  <a:lnTo>
                    <a:pt x="799" y="212"/>
                  </a:lnTo>
                  <a:lnTo>
                    <a:pt x="799" y="212"/>
                  </a:lnTo>
                  <a:lnTo>
                    <a:pt x="799" y="212"/>
                  </a:lnTo>
                  <a:lnTo>
                    <a:pt x="797" y="214"/>
                  </a:lnTo>
                  <a:lnTo>
                    <a:pt x="797" y="214"/>
                  </a:lnTo>
                  <a:lnTo>
                    <a:pt x="797" y="216"/>
                  </a:lnTo>
                  <a:lnTo>
                    <a:pt x="795" y="218"/>
                  </a:lnTo>
                  <a:lnTo>
                    <a:pt x="791" y="222"/>
                  </a:lnTo>
                  <a:lnTo>
                    <a:pt x="791" y="224"/>
                  </a:lnTo>
                  <a:lnTo>
                    <a:pt x="791" y="224"/>
                  </a:lnTo>
                  <a:lnTo>
                    <a:pt x="791" y="227"/>
                  </a:lnTo>
                  <a:lnTo>
                    <a:pt x="788" y="227"/>
                  </a:lnTo>
                  <a:lnTo>
                    <a:pt x="784" y="231"/>
                  </a:lnTo>
                  <a:lnTo>
                    <a:pt x="782" y="231"/>
                  </a:lnTo>
                  <a:lnTo>
                    <a:pt x="782" y="233"/>
                  </a:lnTo>
                  <a:lnTo>
                    <a:pt x="782" y="233"/>
                  </a:lnTo>
                  <a:lnTo>
                    <a:pt x="782" y="233"/>
                  </a:lnTo>
                  <a:lnTo>
                    <a:pt x="782" y="235"/>
                  </a:lnTo>
                  <a:lnTo>
                    <a:pt x="782" y="233"/>
                  </a:lnTo>
                  <a:lnTo>
                    <a:pt x="786" y="233"/>
                  </a:lnTo>
                  <a:lnTo>
                    <a:pt x="793" y="229"/>
                  </a:lnTo>
                  <a:lnTo>
                    <a:pt x="795" y="229"/>
                  </a:lnTo>
                  <a:lnTo>
                    <a:pt x="795" y="229"/>
                  </a:lnTo>
                  <a:lnTo>
                    <a:pt x="795" y="229"/>
                  </a:lnTo>
                  <a:lnTo>
                    <a:pt x="797" y="227"/>
                  </a:lnTo>
                  <a:lnTo>
                    <a:pt x="797" y="227"/>
                  </a:lnTo>
                  <a:lnTo>
                    <a:pt x="799" y="224"/>
                  </a:lnTo>
                  <a:lnTo>
                    <a:pt x="799" y="224"/>
                  </a:lnTo>
                  <a:lnTo>
                    <a:pt x="799" y="222"/>
                  </a:lnTo>
                  <a:lnTo>
                    <a:pt x="799" y="220"/>
                  </a:lnTo>
                  <a:lnTo>
                    <a:pt x="801" y="218"/>
                  </a:lnTo>
                  <a:lnTo>
                    <a:pt x="801" y="216"/>
                  </a:lnTo>
                  <a:lnTo>
                    <a:pt x="803" y="216"/>
                  </a:lnTo>
                  <a:lnTo>
                    <a:pt x="803" y="216"/>
                  </a:lnTo>
                  <a:lnTo>
                    <a:pt x="803" y="216"/>
                  </a:lnTo>
                  <a:lnTo>
                    <a:pt x="803" y="216"/>
                  </a:lnTo>
                  <a:lnTo>
                    <a:pt x="803" y="218"/>
                  </a:lnTo>
                  <a:lnTo>
                    <a:pt x="801" y="220"/>
                  </a:lnTo>
                  <a:lnTo>
                    <a:pt x="801" y="220"/>
                  </a:lnTo>
                  <a:lnTo>
                    <a:pt x="801" y="220"/>
                  </a:lnTo>
                  <a:lnTo>
                    <a:pt x="801" y="220"/>
                  </a:lnTo>
                  <a:lnTo>
                    <a:pt x="801" y="222"/>
                  </a:lnTo>
                  <a:lnTo>
                    <a:pt x="801" y="224"/>
                  </a:lnTo>
                  <a:lnTo>
                    <a:pt x="801" y="224"/>
                  </a:lnTo>
                  <a:lnTo>
                    <a:pt x="803" y="222"/>
                  </a:lnTo>
                  <a:lnTo>
                    <a:pt x="803" y="220"/>
                  </a:lnTo>
                  <a:lnTo>
                    <a:pt x="803" y="220"/>
                  </a:lnTo>
                  <a:lnTo>
                    <a:pt x="805" y="218"/>
                  </a:lnTo>
                  <a:lnTo>
                    <a:pt x="805" y="214"/>
                  </a:lnTo>
                  <a:lnTo>
                    <a:pt x="803" y="214"/>
                  </a:lnTo>
                  <a:lnTo>
                    <a:pt x="799" y="214"/>
                  </a:lnTo>
                  <a:lnTo>
                    <a:pt x="799" y="214"/>
                  </a:lnTo>
                  <a:lnTo>
                    <a:pt x="799" y="212"/>
                  </a:lnTo>
                  <a:close/>
                  <a:moveTo>
                    <a:pt x="770" y="227"/>
                  </a:moveTo>
                  <a:lnTo>
                    <a:pt x="772" y="227"/>
                  </a:lnTo>
                  <a:lnTo>
                    <a:pt x="774" y="227"/>
                  </a:lnTo>
                  <a:lnTo>
                    <a:pt x="776" y="224"/>
                  </a:lnTo>
                  <a:lnTo>
                    <a:pt x="778" y="222"/>
                  </a:lnTo>
                  <a:lnTo>
                    <a:pt x="778" y="222"/>
                  </a:lnTo>
                  <a:lnTo>
                    <a:pt x="780" y="222"/>
                  </a:lnTo>
                  <a:lnTo>
                    <a:pt x="782" y="224"/>
                  </a:lnTo>
                  <a:lnTo>
                    <a:pt x="782" y="227"/>
                  </a:lnTo>
                  <a:lnTo>
                    <a:pt x="784" y="227"/>
                  </a:lnTo>
                  <a:lnTo>
                    <a:pt x="786" y="224"/>
                  </a:lnTo>
                  <a:lnTo>
                    <a:pt x="786" y="222"/>
                  </a:lnTo>
                  <a:lnTo>
                    <a:pt x="788" y="222"/>
                  </a:lnTo>
                  <a:lnTo>
                    <a:pt x="784" y="222"/>
                  </a:lnTo>
                  <a:lnTo>
                    <a:pt x="784" y="220"/>
                  </a:lnTo>
                  <a:lnTo>
                    <a:pt x="786" y="220"/>
                  </a:lnTo>
                  <a:lnTo>
                    <a:pt x="786" y="220"/>
                  </a:lnTo>
                  <a:lnTo>
                    <a:pt x="786" y="220"/>
                  </a:lnTo>
                  <a:lnTo>
                    <a:pt x="788" y="220"/>
                  </a:lnTo>
                  <a:lnTo>
                    <a:pt x="793" y="218"/>
                  </a:lnTo>
                  <a:lnTo>
                    <a:pt x="793" y="216"/>
                  </a:lnTo>
                  <a:lnTo>
                    <a:pt x="793" y="216"/>
                  </a:lnTo>
                  <a:lnTo>
                    <a:pt x="793" y="216"/>
                  </a:lnTo>
                  <a:lnTo>
                    <a:pt x="791" y="216"/>
                  </a:lnTo>
                  <a:lnTo>
                    <a:pt x="788" y="216"/>
                  </a:lnTo>
                  <a:lnTo>
                    <a:pt x="788" y="216"/>
                  </a:lnTo>
                  <a:lnTo>
                    <a:pt x="784" y="216"/>
                  </a:lnTo>
                  <a:lnTo>
                    <a:pt x="784" y="218"/>
                  </a:lnTo>
                  <a:lnTo>
                    <a:pt x="784" y="216"/>
                  </a:lnTo>
                  <a:lnTo>
                    <a:pt x="784" y="216"/>
                  </a:lnTo>
                  <a:lnTo>
                    <a:pt x="784" y="216"/>
                  </a:lnTo>
                  <a:lnTo>
                    <a:pt x="786" y="216"/>
                  </a:lnTo>
                  <a:lnTo>
                    <a:pt x="786" y="214"/>
                  </a:lnTo>
                  <a:lnTo>
                    <a:pt x="786" y="214"/>
                  </a:lnTo>
                  <a:lnTo>
                    <a:pt x="786" y="212"/>
                  </a:lnTo>
                  <a:lnTo>
                    <a:pt x="784" y="214"/>
                  </a:lnTo>
                  <a:lnTo>
                    <a:pt x="782" y="214"/>
                  </a:lnTo>
                  <a:lnTo>
                    <a:pt x="782" y="214"/>
                  </a:lnTo>
                  <a:lnTo>
                    <a:pt x="780" y="214"/>
                  </a:lnTo>
                  <a:lnTo>
                    <a:pt x="780" y="214"/>
                  </a:lnTo>
                  <a:lnTo>
                    <a:pt x="778" y="216"/>
                  </a:lnTo>
                  <a:lnTo>
                    <a:pt x="778" y="214"/>
                  </a:lnTo>
                  <a:lnTo>
                    <a:pt x="778" y="214"/>
                  </a:lnTo>
                  <a:lnTo>
                    <a:pt x="776" y="214"/>
                  </a:lnTo>
                  <a:lnTo>
                    <a:pt x="774" y="216"/>
                  </a:lnTo>
                  <a:lnTo>
                    <a:pt x="774" y="216"/>
                  </a:lnTo>
                  <a:lnTo>
                    <a:pt x="772" y="216"/>
                  </a:lnTo>
                  <a:lnTo>
                    <a:pt x="770" y="218"/>
                  </a:lnTo>
                  <a:lnTo>
                    <a:pt x="770" y="220"/>
                  </a:lnTo>
                  <a:lnTo>
                    <a:pt x="772" y="220"/>
                  </a:lnTo>
                  <a:lnTo>
                    <a:pt x="772" y="222"/>
                  </a:lnTo>
                  <a:lnTo>
                    <a:pt x="770" y="224"/>
                  </a:lnTo>
                  <a:lnTo>
                    <a:pt x="770" y="227"/>
                  </a:lnTo>
                  <a:close/>
                  <a:moveTo>
                    <a:pt x="569" y="81"/>
                  </a:moveTo>
                  <a:lnTo>
                    <a:pt x="571" y="81"/>
                  </a:lnTo>
                  <a:lnTo>
                    <a:pt x="571" y="81"/>
                  </a:lnTo>
                  <a:lnTo>
                    <a:pt x="567" y="81"/>
                  </a:lnTo>
                  <a:lnTo>
                    <a:pt x="565" y="81"/>
                  </a:lnTo>
                  <a:lnTo>
                    <a:pt x="565" y="81"/>
                  </a:lnTo>
                  <a:lnTo>
                    <a:pt x="565" y="81"/>
                  </a:lnTo>
                  <a:lnTo>
                    <a:pt x="569" y="81"/>
                  </a:lnTo>
                  <a:close/>
                  <a:moveTo>
                    <a:pt x="12" y="864"/>
                  </a:moveTo>
                  <a:lnTo>
                    <a:pt x="10" y="864"/>
                  </a:lnTo>
                  <a:lnTo>
                    <a:pt x="8" y="866"/>
                  </a:lnTo>
                  <a:lnTo>
                    <a:pt x="8" y="868"/>
                  </a:lnTo>
                  <a:lnTo>
                    <a:pt x="10" y="868"/>
                  </a:lnTo>
                  <a:lnTo>
                    <a:pt x="10" y="868"/>
                  </a:lnTo>
                  <a:lnTo>
                    <a:pt x="12" y="870"/>
                  </a:lnTo>
                  <a:lnTo>
                    <a:pt x="12" y="870"/>
                  </a:lnTo>
                  <a:lnTo>
                    <a:pt x="14" y="868"/>
                  </a:lnTo>
                  <a:lnTo>
                    <a:pt x="14" y="868"/>
                  </a:lnTo>
                  <a:lnTo>
                    <a:pt x="16" y="866"/>
                  </a:lnTo>
                  <a:lnTo>
                    <a:pt x="16" y="866"/>
                  </a:lnTo>
                  <a:lnTo>
                    <a:pt x="16" y="864"/>
                  </a:lnTo>
                  <a:lnTo>
                    <a:pt x="16" y="864"/>
                  </a:lnTo>
                  <a:lnTo>
                    <a:pt x="12" y="864"/>
                  </a:lnTo>
                  <a:close/>
                  <a:moveTo>
                    <a:pt x="53" y="882"/>
                  </a:moveTo>
                  <a:lnTo>
                    <a:pt x="53" y="882"/>
                  </a:lnTo>
                  <a:lnTo>
                    <a:pt x="49" y="882"/>
                  </a:lnTo>
                  <a:lnTo>
                    <a:pt x="49" y="882"/>
                  </a:lnTo>
                  <a:lnTo>
                    <a:pt x="49" y="882"/>
                  </a:lnTo>
                  <a:lnTo>
                    <a:pt x="45" y="882"/>
                  </a:lnTo>
                  <a:lnTo>
                    <a:pt x="45" y="880"/>
                  </a:lnTo>
                  <a:lnTo>
                    <a:pt x="45" y="882"/>
                  </a:lnTo>
                  <a:lnTo>
                    <a:pt x="43" y="882"/>
                  </a:lnTo>
                  <a:lnTo>
                    <a:pt x="43" y="884"/>
                  </a:lnTo>
                  <a:lnTo>
                    <a:pt x="47" y="884"/>
                  </a:lnTo>
                  <a:lnTo>
                    <a:pt x="49" y="884"/>
                  </a:lnTo>
                  <a:lnTo>
                    <a:pt x="51" y="884"/>
                  </a:lnTo>
                  <a:lnTo>
                    <a:pt x="53" y="882"/>
                  </a:lnTo>
                  <a:close/>
                  <a:moveTo>
                    <a:pt x="39" y="878"/>
                  </a:moveTo>
                  <a:lnTo>
                    <a:pt x="39" y="876"/>
                  </a:lnTo>
                  <a:lnTo>
                    <a:pt x="37" y="878"/>
                  </a:lnTo>
                  <a:lnTo>
                    <a:pt x="37" y="876"/>
                  </a:lnTo>
                  <a:lnTo>
                    <a:pt x="37" y="876"/>
                  </a:lnTo>
                  <a:lnTo>
                    <a:pt x="37" y="876"/>
                  </a:lnTo>
                  <a:lnTo>
                    <a:pt x="37" y="876"/>
                  </a:lnTo>
                  <a:lnTo>
                    <a:pt x="35" y="872"/>
                  </a:lnTo>
                  <a:lnTo>
                    <a:pt x="35" y="872"/>
                  </a:lnTo>
                  <a:lnTo>
                    <a:pt x="33" y="874"/>
                  </a:lnTo>
                  <a:lnTo>
                    <a:pt x="31" y="874"/>
                  </a:lnTo>
                  <a:lnTo>
                    <a:pt x="31" y="876"/>
                  </a:lnTo>
                  <a:lnTo>
                    <a:pt x="31" y="876"/>
                  </a:lnTo>
                  <a:lnTo>
                    <a:pt x="31" y="878"/>
                  </a:lnTo>
                  <a:lnTo>
                    <a:pt x="31" y="880"/>
                  </a:lnTo>
                  <a:lnTo>
                    <a:pt x="33" y="880"/>
                  </a:lnTo>
                  <a:lnTo>
                    <a:pt x="33" y="880"/>
                  </a:lnTo>
                  <a:lnTo>
                    <a:pt x="33" y="878"/>
                  </a:lnTo>
                  <a:lnTo>
                    <a:pt x="33" y="878"/>
                  </a:lnTo>
                  <a:lnTo>
                    <a:pt x="35" y="878"/>
                  </a:lnTo>
                  <a:lnTo>
                    <a:pt x="35" y="880"/>
                  </a:lnTo>
                  <a:lnTo>
                    <a:pt x="35" y="878"/>
                  </a:lnTo>
                  <a:lnTo>
                    <a:pt x="35" y="880"/>
                  </a:lnTo>
                  <a:lnTo>
                    <a:pt x="37" y="880"/>
                  </a:lnTo>
                  <a:lnTo>
                    <a:pt x="37" y="880"/>
                  </a:lnTo>
                  <a:lnTo>
                    <a:pt x="39" y="880"/>
                  </a:lnTo>
                  <a:lnTo>
                    <a:pt x="39" y="880"/>
                  </a:lnTo>
                  <a:lnTo>
                    <a:pt x="39" y="878"/>
                  </a:lnTo>
                  <a:close/>
                  <a:moveTo>
                    <a:pt x="49" y="887"/>
                  </a:moveTo>
                  <a:lnTo>
                    <a:pt x="47" y="887"/>
                  </a:lnTo>
                  <a:lnTo>
                    <a:pt x="47" y="887"/>
                  </a:lnTo>
                  <a:lnTo>
                    <a:pt x="47" y="889"/>
                  </a:lnTo>
                  <a:lnTo>
                    <a:pt x="47" y="891"/>
                  </a:lnTo>
                  <a:lnTo>
                    <a:pt x="47" y="891"/>
                  </a:lnTo>
                  <a:lnTo>
                    <a:pt x="49" y="891"/>
                  </a:lnTo>
                  <a:lnTo>
                    <a:pt x="49" y="889"/>
                  </a:lnTo>
                  <a:lnTo>
                    <a:pt x="49" y="889"/>
                  </a:lnTo>
                  <a:lnTo>
                    <a:pt x="49" y="887"/>
                  </a:lnTo>
                  <a:close/>
                  <a:moveTo>
                    <a:pt x="265" y="296"/>
                  </a:moveTo>
                  <a:lnTo>
                    <a:pt x="267" y="294"/>
                  </a:lnTo>
                  <a:lnTo>
                    <a:pt x="267" y="294"/>
                  </a:lnTo>
                  <a:lnTo>
                    <a:pt x="267" y="294"/>
                  </a:lnTo>
                  <a:lnTo>
                    <a:pt x="265" y="294"/>
                  </a:lnTo>
                  <a:lnTo>
                    <a:pt x="263" y="294"/>
                  </a:lnTo>
                  <a:lnTo>
                    <a:pt x="261" y="294"/>
                  </a:lnTo>
                  <a:lnTo>
                    <a:pt x="259" y="296"/>
                  </a:lnTo>
                  <a:lnTo>
                    <a:pt x="259" y="296"/>
                  </a:lnTo>
                  <a:lnTo>
                    <a:pt x="257" y="298"/>
                  </a:lnTo>
                  <a:lnTo>
                    <a:pt x="257" y="298"/>
                  </a:lnTo>
                  <a:lnTo>
                    <a:pt x="257" y="298"/>
                  </a:lnTo>
                  <a:lnTo>
                    <a:pt x="255" y="298"/>
                  </a:lnTo>
                  <a:lnTo>
                    <a:pt x="255" y="298"/>
                  </a:lnTo>
                  <a:lnTo>
                    <a:pt x="253" y="298"/>
                  </a:lnTo>
                  <a:lnTo>
                    <a:pt x="251" y="298"/>
                  </a:lnTo>
                  <a:lnTo>
                    <a:pt x="251" y="301"/>
                  </a:lnTo>
                  <a:lnTo>
                    <a:pt x="248" y="301"/>
                  </a:lnTo>
                  <a:lnTo>
                    <a:pt x="246" y="301"/>
                  </a:lnTo>
                  <a:lnTo>
                    <a:pt x="246" y="303"/>
                  </a:lnTo>
                  <a:lnTo>
                    <a:pt x="244" y="303"/>
                  </a:lnTo>
                  <a:lnTo>
                    <a:pt x="244" y="303"/>
                  </a:lnTo>
                  <a:lnTo>
                    <a:pt x="242" y="305"/>
                  </a:lnTo>
                  <a:lnTo>
                    <a:pt x="240" y="305"/>
                  </a:lnTo>
                  <a:lnTo>
                    <a:pt x="244" y="305"/>
                  </a:lnTo>
                  <a:lnTo>
                    <a:pt x="244" y="305"/>
                  </a:lnTo>
                  <a:lnTo>
                    <a:pt x="246" y="303"/>
                  </a:lnTo>
                  <a:lnTo>
                    <a:pt x="248" y="303"/>
                  </a:lnTo>
                  <a:lnTo>
                    <a:pt x="248" y="303"/>
                  </a:lnTo>
                  <a:lnTo>
                    <a:pt x="251" y="303"/>
                  </a:lnTo>
                  <a:lnTo>
                    <a:pt x="253" y="301"/>
                  </a:lnTo>
                  <a:lnTo>
                    <a:pt x="257" y="301"/>
                  </a:lnTo>
                  <a:lnTo>
                    <a:pt x="263" y="298"/>
                  </a:lnTo>
                  <a:lnTo>
                    <a:pt x="265" y="296"/>
                  </a:lnTo>
                  <a:lnTo>
                    <a:pt x="265" y="296"/>
                  </a:lnTo>
                  <a:close/>
                  <a:moveTo>
                    <a:pt x="58" y="893"/>
                  </a:moveTo>
                  <a:lnTo>
                    <a:pt x="60" y="893"/>
                  </a:lnTo>
                  <a:lnTo>
                    <a:pt x="62" y="891"/>
                  </a:lnTo>
                  <a:lnTo>
                    <a:pt x="62" y="891"/>
                  </a:lnTo>
                  <a:lnTo>
                    <a:pt x="62" y="889"/>
                  </a:lnTo>
                  <a:lnTo>
                    <a:pt x="62" y="889"/>
                  </a:lnTo>
                  <a:lnTo>
                    <a:pt x="62" y="889"/>
                  </a:lnTo>
                  <a:lnTo>
                    <a:pt x="60" y="887"/>
                  </a:lnTo>
                  <a:lnTo>
                    <a:pt x="58" y="887"/>
                  </a:lnTo>
                  <a:lnTo>
                    <a:pt x="55" y="887"/>
                  </a:lnTo>
                  <a:lnTo>
                    <a:pt x="55" y="887"/>
                  </a:lnTo>
                  <a:lnTo>
                    <a:pt x="55" y="887"/>
                  </a:lnTo>
                  <a:lnTo>
                    <a:pt x="53" y="884"/>
                  </a:lnTo>
                  <a:lnTo>
                    <a:pt x="53" y="884"/>
                  </a:lnTo>
                  <a:lnTo>
                    <a:pt x="51" y="887"/>
                  </a:lnTo>
                  <a:lnTo>
                    <a:pt x="51" y="887"/>
                  </a:lnTo>
                  <a:lnTo>
                    <a:pt x="53" y="889"/>
                  </a:lnTo>
                  <a:lnTo>
                    <a:pt x="53" y="889"/>
                  </a:lnTo>
                  <a:lnTo>
                    <a:pt x="55" y="889"/>
                  </a:lnTo>
                  <a:lnTo>
                    <a:pt x="55" y="891"/>
                  </a:lnTo>
                  <a:lnTo>
                    <a:pt x="55" y="893"/>
                  </a:lnTo>
                  <a:lnTo>
                    <a:pt x="55" y="893"/>
                  </a:lnTo>
                  <a:lnTo>
                    <a:pt x="58" y="893"/>
                  </a:lnTo>
                  <a:lnTo>
                    <a:pt x="58" y="893"/>
                  </a:lnTo>
                  <a:close/>
                  <a:moveTo>
                    <a:pt x="74" y="911"/>
                  </a:moveTo>
                  <a:lnTo>
                    <a:pt x="74" y="909"/>
                  </a:lnTo>
                  <a:lnTo>
                    <a:pt x="72" y="909"/>
                  </a:lnTo>
                  <a:lnTo>
                    <a:pt x="74" y="907"/>
                  </a:lnTo>
                  <a:lnTo>
                    <a:pt x="72" y="905"/>
                  </a:lnTo>
                  <a:lnTo>
                    <a:pt x="66" y="901"/>
                  </a:lnTo>
                  <a:lnTo>
                    <a:pt x="64" y="899"/>
                  </a:lnTo>
                  <a:lnTo>
                    <a:pt x="62" y="899"/>
                  </a:lnTo>
                  <a:lnTo>
                    <a:pt x="62" y="901"/>
                  </a:lnTo>
                  <a:lnTo>
                    <a:pt x="62" y="903"/>
                  </a:lnTo>
                  <a:lnTo>
                    <a:pt x="60" y="905"/>
                  </a:lnTo>
                  <a:lnTo>
                    <a:pt x="58" y="907"/>
                  </a:lnTo>
                  <a:lnTo>
                    <a:pt x="58" y="909"/>
                  </a:lnTo>
                  <a:lnTo>
                    <a:pt x="58" y="911"/>
                  </a:lnTo>
                  <a:lnTo>
                    <a:pt x="58" y="915"/>
                  </a:lnTo>
                  <a:lnTo>
                    <a:pt x="58" y="919"/>
                  </a:lnTo>
                  <a:lnTo>
                    <a:pt x="58" y="921"/>
                  </a:lnTo>
                  <a:lnTo>
                    <a:pt x="60" y="924"/>
                  </a:lnTo>
                  <a:lnTo>
                    <a:pt x="60" y="924"/>
                  </a:lnTo>
                  <a:lnTo>
                    <a:pt x="62" y="921"/>
                  </a:lnTo>
                  <a:lnTo>
                    <a:pt x="62" y="919"/>
                  </a:lnTo>
                  <a:lnTo>
                    <a:pt x="66" y="917"/>
                  </a:lnTo>
                  <a:lnTo>
                    <a:pt x="72" y="917"/>
                  </a:lnTo>
                  <a:lnTo>
                    <a:pt x="74" y="913"/>
                  </a:lnTo>
                  <a:lnTo>
                    <a:pt x="76" y="913"/>
                  </a:lnTo>
                  <a:lnTo>
                    <a:pt x="76" y="911"/>
                  </a:lnTo>
                  <a:lnTo>
                    <a:pt x="74" y="911"/>
                  </a:lnTo>
                  <a:close/>
                  <a:moveTo>
                    <a:pt x="5088" y="233"/>
                  </a:moveTo>
                  <a:lnTo>
                    <a:pt x="5090" y="233"/>
                  </a:lnTo>
                  <a:lnTo>
                    <a:pt x="5090" y="231"/>
                  </a:lnTo>
                  <a:lnTo>
                    <a:pt x="5090" y="231"/>
                  </a:lnTo>
                  <a:lnTo>
                    <a:pt x="5086" y="231"/>
                  </a:lnTo>
                  <a:lnTo>
                    <a:pt x="5086" y="231"/>
                  </a:lnTo>
                  <a:lnTo>
                    <a:pt x="5088" y="233"/>
                  </a:lnTo>
                  <a:close/>
                  <a:moveTo>
                    <a:pt x="296" y="290"/>
                  </a:moveTo>
                  <a:lnTo>
                    <a:pt x="294" y="290"/>
                  </a:lnTo>
                  <a:lnTo>
                    <a:pt x="294" y="290"/>
                  </a:lnTo>
                  <a:lnTo>
                    <a:pt x="294" y="290"/>
                  </a:lnTo>
                  <a:lnTo>
                    <a:pt x="294" y="290"/>
                  </a:lnTo>
                  <a:lnTo>
                    <a:pt x="294" y="290"/>
                  </a:lnTo>
                  <a:lnTo>
                    <a:pt x="296" y="290"/>
                  </a:lnTo>
                  <a:lnTo>
                    <a:pt x="296" y="290"/>
                  </a:lnTo>
                  <a:lnTo>
                    <a:pt x="298" y="290"/>
                  </a:lnTo>
                  <a:lnTo>
                    <a:pt x="298" y="288"/>
                  </a:lnTo>
                  <a:lnTo>
                    <a:pt x="298" y="288"/>
                  </a:lnTo>
                  <a:lnTo>
                    <a:pt x="296" y="290"/>
                  </a:lnTo>
                  <a:close/>
                  <a:moveTo>
                    <a:pt x="5110" y="243"/>
                  </a:moveTo>
                  <a:lnTo>
                    <a:pt x="5110" y="243"/>
                  </a:lnTo>
                  <a:lnTo>
                    <a:pt x="5110" y="241"/>
                  </a:lnTo>
                  <a:lnTo>
                    <a:pt x="5110" y="241"/>
                  </a:lnTo>
                  <a:lnTo>
                    <a:pt x="5108" y="241"/>
                  </a:lnTo>
                  <a:lnTo>
                    <a:pt x="5108" y="241"/>
                  </a:lnTo>
                  <a:lnTo>
                    <a:pt x="5106" y="241"/>
                  </a:lnTo>
                  <a:lnTo>
                    <a:pt x="5106" y="241"/>
                  </a:lnTo>
                  <a:lnTo>
                    <a:pt x="5110" y="243"/>
                  </a:lnTo>
                  <a:close/>
                  <a:moveTo>
                    <a:pt x="556" y="220"/>
                  </a:moveTo>
                  <a:lnTo>
                    <a:pt x="556" y="220"/>
                  </a:lnTo>
                  <a:lnTo>
                    <a:pt x="552" y="220"/>
                  </a:lnTo>
                  <a:lnTo>
                    <a:pt x="552" y="220"/>
                  </a:lnTo>
                  <a:lnTo>
                    <a:pt x="552" y="220"/>
                  </a:lnTo>
                  <a:lnTo>
                    <a:pt x="554" y="218"/>
                  </a:lnTo>
                  <a:lnTo>
                    <a:pt x="554" y="218"/>
                  </a:lnTo>
                  <a:lnTo>
                    <a:pt x="552" y="218"/>
                  </a:lnTo>
                  <a:lnTo>
                    <a:pt x="550" y="218"/>
                  </a:lnTo>
                  <a:lnTo>
                    <a:pt x="550" y="218"/>
                  </a:lnTo>
                  <a:lnTo>
                    <a:pt x="550" y="220"/>
                  </a:lnTo>
                  <a:lnTo>
                    <a:pt x="550" y="220"/>
                  </a:lnTo>
                  <a:lnTo>
                    <a:pt x="548" y="220"/>
                  </a:lnTo>
                  <a:lnTo>
                    <a:pt x="548" y="220"/>
                  </a:lnTo>
                  <a:lnTo>
                    <a:pt x="548" y="220"/>
                  </a:lnTo>
                  <a:lnTo>
                    <a:pt x="546" y="220"/>
                  </a:lnTo>
                  <a:lnTo>
                    <a:pt x="546" y="220"/>
                  </a:lnTo>
                  <a:lnTo>
                    <a:pt x="544" y="220"/>
                  </a:lnTo>
                  <a:lnTo>
                    <a:pt x="544" y="222"/>
                  </a:lnTo>
                  <a:lnTo>
                    <a:pt x="544" y="222"/>
                  </a:lnTo>
                  <a:lnTo>
                    <a:pt x="542" y="222"/>
                  </a:lnTo>
                  <a:lnTo>
                    <a:pt x="542" y="222"/>
                  </a:lnTo>
                  <a:lnTo>
                    <a:pt x="544" y="220"/>
                  </a:lnTo>
                  <a:lnTo>
                    <a:pt x="544" y="220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0" y="220"/>
                  </a:lnTo>
                  <a:lnTo>
                    <a:pt x="538" y="220"/>
                  </a:lnTo>
                  <a:lnTo>
                    <a:pt x="538" y="222"/>
                  </a:lnTo>
                  <a:lnTo>
                    <a:pt x="538" y="222"/>
                  </a:lnTo>
                  <a:lnTo>
                    <a:pt x="540" y="222"/>
                  </a:lnTo>
                  <a:lnTo>
                    <a:pt x="538" y="224"/>
                  </a:lnTo>
                  <a:lnTo>
                    <a:pt x="538" y="222"/>
                  </a:lnTo>
                  <a:lnTo>
                    <a:pt x="536" y="224"/>
                  </a:lnTo>
                  <a:lnTo>
                    <a:pt x="536" y="224"/>
                  </a:lnTo>
                  <a:lnTo>
                    <a:pt x="534" y="227"/>
                  </a:lnTo>
                  <a:lnTo>
                    <a:pt x="532" y="229"/>
                  </a:lnTo>
                  <a:lnTo>
                    <a:pt x="532" y="229"/>
                  </a:lnTo>
                  <a:lnTo>
                    <a:pt x="532" y="229"/>
                  </a:lnTo>
                  <a:lnTo>
                    <a:pt x="532" y="229"/>
                  </a:lnTo>
                  <a:lnTo>
                    <a:pt x="532" y="227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2"/>
                  </a:lnTo>
                  <a:lnTo>
                    <a:pt x="532" y="222"/>
                  </a:lnTo>
                  <a:lnTo>
                    <a:pt x="532" y="224"/>
                  </a:lnTo>
                  <a:lnTo>
                    <a:pt x="528" y="224"/>
                  </a:lnTo>
                  <a:lnTo>
                    <a:pt x="526" y="224"/>
                  </a:lnTo>
                  <a:lnTo>
                    <a:pt x="522" y="227"/>
                  </a:lnTo>
                  <a:lnTo>
                    <a:pt x="520" y="229"/>
                  </a:lnTo>
                  <a:lnTo>
                    <a:pt x="520" y="229"/>
                  </a:lnTo>
                  <a:lnTo>
                    <a:pt x="520" y="231"/>
                  </a:lnTo>
                  <a:lnTo>
                    <a:pt x="515" y="235"/>
                  </a:lnTo>
                  <a:lnTo>
                    <a:pt x="515" y="237"/>
                  </a:lnTo>
                  <a:lnTo>
                    <a:pt x="517" y="237"/>
                  </a:lnTo>
                  <a:lnTo>
                    <a:pt x="520" y="235"/>
                  </a:lnTo>
                  <a:lnTo>
                    <a:pt x="520" y="235"/>
                  </a:lnTo>
                  <a:lnTo>
                    <a:pt x="520" y="235"/>
                  </a:lnTo>
                  <a:lnTo>
                    <a:pt x="522" y="233"/>
                  </a:lnTo>
                  <a:lnTo>
                    <a:pt x="522" y="233"/>
                  </a:lnTo>
                  <a:lnTo>
                    <a:pt x="522" y="233"/>
                  </a:lnTo>
                  <a:lnTo>
                    <a:pt x="520" y="233"/>
                  </a:lnTo>
                  <a:lnTo>
                    <a:pt x="520" y="233"/>
                  </a:lnTo>
                  <a:lnTo>
                    <a:pt x="520" y="233"/>
                  </a:lnTo>
                  <a:lnTo>
                    <a:pt x="522" y="233"/>
                  </a:lnTo>
                  <a:lnTo>
                    <a:pt x="524" y="233"/>
                  </a:lnTo>
                  <a:lnTo>
                    <a:pt x="524" y="233"/>
                  </a:lnTo>
                  <a:lnTo>
                    <a:pt x="524" y="233"/>
                  </a:lnTo>
                  <a:lnTo>
                    <a:pt x="524" y="233"/>
                  </a:lnTo>
                  <a:lnTo>
                    <a:pt x="522" y="233"/>
                  </a:lnTo>
                  <a:lnTo>
                    <a:pt x="522" y="235"/>
                  </a:lnTo>
                  <a:lnTo>
                    <a:pt x="522" y="235"/>
                  </a:lnTo>
                  <a:lnTo>
                    <a:pt x="524" y="233"/>
                  </a:lnTo>
                  <a:lnTo>
                    <a:pt x="524" y="235"/>
                  </a:lnTo>
                  <a:lnTo>
                    <a:pt x="526" y="235"/>
                  </a:lnTo>
                  <a:lnTo>
                    <a:pt x="526" y="235"/>
                  </a:lnTo>
                  <a:lnTo>
                    <a:pt x="517" y="237"/>
                  </a:lnTo>
                  <a:lnTo>
                    <a:pt x="517" y="239"/>
                  </a:lnTo>
                  <a:lnTo>
                    <a:pt x="517" y="239"/>
                  </a:lnTo>
                  <a:lnTo>
                    <a:pt x="517" y="239"/>
                  </a:lnTo>
                  <a:lnTo>
                    <a:pt x="517" y="239"/>
                  </a:lnTo>
                  <a:lnTo>
                    <a:pt x="524" y="237"/>
                  </a:lnTo>
                  <a:lnTo>
                    <a:pt x="526" y="235"/>
                  </a:lnTo>
                  <a:lnTo>
                    <a:pt x="528" y="235"/>
                  </a:lnTo>
                  <a:lnTo>
                    <a:pt x="528" y="235"/>
                  </a:lnTo>
                  <a:lnTo>
                    <a:pt x="528" y="235"/>
                  </a:lnTo>
                  <a:lnTo>
                    <a:pt x="528" y="233"/>
                  </a:lnTo>
                  <a:lnTo>
                    <a:pt x="530" y="233"/>
                  </a:lnTo>
                  <a:lnTo>
                    <a:pt x="530" y="233"/>
                  </a:lnTo>
                  <a:lnTo>
                    <a:pt x="532" y="233"/>
                  </a:lnTo>
                  <a:lnTo>
                    <a:pt x="532" y="231"/>
                  </a:lnTo>
                  <a:lnTo>
                    <a:pt x="536" y="231"/>
                  </a:lnTo>
                  <a:lnTo>
                    <a:pt x="540" y="231"/>
                  </a:lnTo>
                  <a:lnTo>
                    <a:pt x="542" y="231"/>
                  </a:lnTo>
                  <a:lnTo>
                    <a:pt x="544" y="229"/>
                  </a:lnTo>
                  <a:lnTo>
                    <a:pt x="544" y="229"/>
                  </a:lnTo>
                  <a:lnTo>
                    <a:pt x="546" y="229"/>
                  </a:lnTo>
                  <a:lnTo>
                    <a:pt x="546" y="229"/>
                  </a:lnTo>
                  <a:lnTo>
                    <a:pt x="546" y="229"/>
                  </a:lnTo>
                  <a:lnTo>
                    <a:pt x="546" y="227"/>
                  </a:lnTo>
                  <a:lnTo>
                    <a:pt x="546" y="227"/>
                  </a:lnTo>
                  <a:lnTo>
                    <a:pt x="544" y="227"/>
                  </a:lnTo>
                  <a:lnTo>
                    <a:pt x="544" y="227"/>
                  </a:lnTo>
                  <a:lnTo>
                    <a:pt x="546" y="227"/>
                  </a:lnTo>
                  <a:lnTo>
                    <a:pt x="546" y="227"/>
                  </a:lnTo>
                  <a:lnTo>
                    <a:pt x="548" y="227"/>
                  </a:lnTo>
                  <a:lnTo>
                    <a:pt x="550" y="227"/>
                  </a:lnTo>
                  <a:lnTo>
                    <a:pt x="552" y="227"/>
                  </a:lnTo>
                  <a:lnTo>
                    <a:pt x="552" y="227"/>
                  </a:lnTo>
                  <a:lnTo>
                    <a:pt x="554" y="227"/>
                  </a:lnTo>
                  <a:lnTo>
                    <a:pt x="556" y="224"/>
                  </a:lnTo>
                  <a:lnTo>
                    <a:pt x="556" y="224"/>
                  </a:lnTo>
                  <a:lnTo>
                    <a:pt x="556" y="224"/>
                  </a:lnTo>
                  <a:lnTo>
                    <a:pt x="556" y="224"/>
                  </a:lnTo>
                  <a:lnTo>
                    <a:pt x="556" y="222"/>
                  </a:lnTo>
                  <a:lnTo>
                    <a:pt x="556" y="222"/>
                  </a:lnTo>
                  <a:lnTo>
                    <a:pt x="559" y="220"/>
                  </a:lnTo>
                  <a:lnTo>
                    <a:pt x="559" y="220"/>
                  </a:lnTo>
                  <a:lnTo>
                    <a:pt x="559" y="220"/>
                  </a:lnTo>
                  <a:lnTo>
                    <a:pt x="559" y="220"/>
                  </a:lnTo>
                  <a:lnTo>
                    <a:pt x="556" y="220"/>
                  </a:lnTo>
                  <a:close/>
                  <a:moveTo>
                    <a:pt x="5110" y="319"/>
                  </a:moveTo>
                  <a:lnTo>
                    <a:pt x="5108" y="319"/>
                  </a:lnTo>
                  <a:lnTo>
                    <a:pt x="5108" y="321"/>
                  </a:lnTo>
                  <a:lnTo>
                    <a:pt x="5110" y="321"/>
                  </a:lnTo>
                  <a:lnTo>
                    <a:pt x="5110" y="321"/>
                  </a:lnTo>
                  <a:lnTo>
                    <a:pt x="5112" y="321"/>
                  </a:lnTo>
                  <a:lnTo>
                    <a:pt x="5112" y="321"/>
                  </a:lnTo>
                  <a:lnTo>
                    <a:pt x="5112" y="321"/>
                  </a:lnTo>
                  <a:lnTo>
                    <a:pt x="5112" y="321"/>
                  </a:lnTo>
                  <a:lnTo>
                    <a:pt x="5110" y="319"/>
                  </a:lnTo>
                  <a:lnTo>
                    <a:pt x="5110" y="319"/>
                  </a:lnTo>
                  <a:close/>
                  <a:moveTo>
                    <a:pt x="413" y="183"/>
                  </a:moveTo>
                  <a:lnTo>
                    <a:pt x="415" y="185"/>
                  </a:lnTo>
                  <a:lnTo>
                    <a:pt x="419" y="185"/>
                  </a:lnTo>
                  <a:lnTo>
                    <a:pt x="419" y="187"/>
                  </a:lnTo>
                  <a:lnTo>
                    <a:pt x="419" y="187"/>
                  </a:lnTo>
                  <a:lnTo>
                    <a:pt x="419" y="187"/>
                  </a:lnTo>
                  <a:lnTo>
                    <a:pt x="421" y="187"/>
                  </a:lnTo>
                  <a:lnTo>
                    <a:pt x="421" y="187"/>
                  </a:lnTo>
                  <a:lnTo>
                    <a:pt x="421" y="185"/>
                  </a:lnTo>
                  <a:lnTo>
                    <a:pt x="425" y="185"/>
                  </a:lnTo>
                  <a:lnTo>
                    <a:pt x="427" y="185"/>
                  </a:lnTo>
                  <a:lnTo>
                    <a:pt x="429" y="185"/>
                  </a:lnTo>
                  <a:lnTo>
                    <a:pt x="431" y="183"/>
                  </a:lnTo>
                  <a:lnTo>
                    <a:pt x="431" y="183"/>
                  </a:lnTo>
                  <a:lnTo>
                    <a:pt x="431" y="183"/>
                  </a:lnTo>
                  <a:lnTo>
                    <a:pt x="433" y="181"/>
                  </a:lnTo>
                  <a:lnTo>
                    <a:pt x="433" y="181"/>
                  </a:lnTo>
                  <a:lnTo>
                    <a:pt x="435" y="179"/>
                  </a:lnTo>
                  <a:lnTo>
                    <a:pt x="435" y="179"/>
                  </a:lnTo>
                  <a:lnTo>
                    <a:pt x="437" y="179"/>
                  </a:lnTo>
                  <a:lnTo>
                    <a:pt x="435" y="177"/>
                  </a:lnTo>
                  <a:lnTo>
                    <a:pt x="435" y="177"/>
                  </a:lnTo>
                  <a:lnTo>
                    <a:pt x="433" y="177"/>
                  </a:lnTo>
                  <a:lnTo>
                    <a:pt x="433" y="177"/>
                  </a:lnTo>
                  <a:lnTo>
                    <a:pt x="433" y="177"/>
                  </a:lnTo>
                  <a:lnTo>
                    <a:pt x="433" y="177"/>
                  </a:lnTo>
                  <a:lnTo>
                    <a:pt x="431" y="177"/>
                  </a:lnTo>
                  <a:lnTo>
                    <a:pt x="429" y="177"/>
                  </a:lnTo>
                  <a:lnTo>
                    <a:pt x="429" y="177"/>
                  </a:lnTo>
                  <a:lnTo>
                    <a:pt x="429" y="177"/>
                  </a:lnTo>
                  <a:lnTo>
                    <a:pt x="425" y="177"/>
                  </a:lnTo>
                  <a:lnTo>
                    <a:pt x="423" y="179"/>
                  </a:lnTo>
                  <a:lnTo>
                    <a:pt x="423" y="179"/>
                  </a:lnTo>
                  <a:lnTo>
                    <a:pt x="421" y="179"/>
                  </a:lnTo>
                  <a:lnTo>
                    <a:pt x="415" y="179"/>
                  </a:lnTo>
                  <a:lnTo>
                    <a:pt x="415" y="179"/>
                  </a:lnTo>
                  <a:lnTo>
                    <a:pt x="413" y="179"/>
                  </a:lnTo>
                  <a:lnTo>
                    <a:pt x="411" y="181"/>
                  </a:lnTo>
                  <a:lnTo>
                    <a:pt x="413" y="183"/>
                  </a:lnTo>
                  <a:lnTo>
                    <a:pt x="413" y="183"/>
                  </a:lnTo>
                  <a:close/>
                  <a:moveTo>
                    <a:pt x="5053" y="323"/>
                  </a:moveTo>
                  <a:lnTo>
                    <a:pt x="5055" y="323"/>
                  </a:lnTo>
                  <a:lnTo>
                    <a:pt x="5055" y="323"/>
                  </a:lnTo>
                  <a:lnTo>
                    <a:pt x="5055" y="321"/>
                  </a:lnTo>
                  <a:lnTo>
                    <a:pt x="5051" y="321"/>
                  </a:lnTo>
                  <a:lnTo>
                    <a:pt x="5051" y="321"/>
                  </a:lnTo>
                  <a:lnTo>
                    <a:pt x="5051" y="323"/>
                  </a:lnTo>
                  <a:lnTo>
                    <a:pt x="5053" y="323"/>
                  </a:lnTo>
                  <a:close/>
                  <a:moveTo>
                    <a:pt x="702" y="646"/>
                  </a:moveTo>
                  <a:lnTo>
                    <a:pt x="702" y="646"/>
                  </a:lnTo>
                  <a:lnTo>
                    <a:pt x="700" y="646"/>
                  </a:lnTo>
                  <a:lnTo>
                    <a:pt x="702" y="646"/>
                  </a:lnTo>
                  <a:lnTo>
                    <a:pt x="702" y="646"/>
                  </a:lnTo>
                  <a:lnTo>
                    <a:pt x="702" y="646"/>
                  </a:lnTo>
                  <a:lnTo>
                    <a:pt x="702" y="646"/>
                  </a:lnTo>
                  <a:close/>
                  <a:moveTo>
                    <a:pt x="2" y="868"/>
                  </a:moveTo>
                  <a:lnTo>
                    <a:pt x="0" y="870"/>
                  </a:lnTo>
                  <a:lnTo>
                    <a:pt x="0" y="870"/>
                  </a:lnTo>
                  <a:lnTo>
                    <a:pt x="0" y="870"/>
                  </a:lnTo>
                  <a:lnTo>
                    <a:pt x="0" y="870"/>
                  </a:lnTo>
                  <a:lnTo>
                    <a:pt x="2" y="870"/>
                  </a:lnTo>
                  <a:lnTo>
                    <a:pt x="2" y="870"/>
                  </a:lnTo>
                  <a:lnTo>
                    <a:pt x="2" y="868"/>
                  </a:lnTo>
                  <a:lnTo>
                    <a:pt x="4" y="868"/>
                  </a:lnTo>
                  <a:lnTo>
                    <a:pt x="4" y="868"/>
                  </a:lnTo>
                  <a:lnTo>
                    <a:pt x="4" y="866"/>
                  </a:lnTo>
                  <a:lnTo>
                    <a:pt x="2" y="868"/>
                  </a:lnTo>
                  <a:close/>
                  <a:moveTo>
                    <a:pt x="480" y="253"/>
                  </a:moveTo>
                  <a:lnTo>
                    <a:pt x="476" y="255"/>
                  </a:lnTo>
                  <a:lnTo>
                    <a:pt x="476" y="255"/>
                  </a:lnTo>
                  <a:lnTo>
                    <a:pt x="476" y="255"/>
                  </a:lnTo>
                  <a:lnTo>
                    <a:pt x="478" y="255"/>
                  </a:lnTo>
                  <a:lnTo>
                    <a:pt x="478" y="255"/>
                  </a:lnTo>
                  <a:lnTo>
                    <a:pt x="480" y="253"/>
                  </a:lnTo>
                  <a:lnTo>
                    <a:pt x="480" y="253"/>
                  </a:lnTo>
                  <a:lnTo>
                    <a:pt x="480" y="253"/>
                  </a:lnTo>
                  <a:lnTo>
                    <a:pt x="480" y="253"/>
                  </a:lnTo>
                  <a:close/>
                  <a:moveTo>
                    <a:pt x="413" y="266"/>
                  </a:moveTo>
                  <a:lnTo>
                    <a:pt x="413" y="266"/>
                  </a:lnTo>
                  <a:lnTo>
                    <a:pt x="411" y="268"/>
                  </a:lnTo>
                  <a:lnTo>
                    <a:pt x="411" y="268"/>
                  </a:lnTo>
                  <a:lnTo>
                    <a:pt x="411" y="268"/>
                  </a:lnTo>
                  <a:lnTo>
                    <a:pt x="409" y="268"/>
                  </a:lnTo>
                  <a:lnTo>
                    <a:pt x="409" y="268"/>
                  </a:lnTo>
                  <a:lnTo>
                    <a:pt x="411" y="268"/>
                  </a:lnTo>
                  <a:lnTo>
                    <a:pt x="411" y="268"/>
                  </a:lnTo>
                  <a:lnTo>
                    <a:pt x="411" y="268"/>
                  </a:lnTo>
                  <a:lnTo>
                    <a:pt x="413" y="266"/>
                  </a:lnTo>
                  <a:lnTo>
                    <a:pt x="413" y="266"/>
                  </a:lnTo>
                  <a:lnTo>
                    <a:pt x="413" y="266"/>
                  </a:lnTo>
                  <a:lnTo>
                    <a:pt x="413" y="266"/>
                  </a:lnTo>
                  <a:close/>
                  <a:moveTo>
                    <a:pt x="411" y="268"/>
                  </a:moveTo>
                  <a:lnTo>
                    <a:pt x="411" y="270"/>
                  </a:lnTo>
                  <a:lnTo>
                    <a:pt x="411" y="270"/>
                  </a:lnTo>
                  <a:lnTo>
                    <a:pt x="411" y="270"/>
                  </a:lnTo>
                  <a:lnTo>
                    <a:pt x="411" y="270"/>
                  </a:lnTo>
                  <a:lnTo>
                    <a:pt x="413" y="268"/>
                  </a:lnTo>
                  <a:lnTo>
                    <a:pt x="411" y="268"/>
                  </a:lnTo>
                  <a:lnTo>
                    <a:pt x="411" y="268"/>
                  </a:lnTo>
                  <a:close/>
                  <a:moveTo>
                    <a:pt x="536" y="231"/>
                  </a:moveTo>
                  <a:lnTo>
                    <a:pt x="534" y="233"/>
                  </a:lnTo>
                  <a:lnTo>
                    <a:pt x="532" y="233"/>
                  </a:lnTo>
                  <a:lnTo>
                    <a:pt x="532" y="235"/>
                  </a:lnTo>
                  <a:lnTo>
                    <a:pt x="534" y="235"/>
                  </a:lnTo>
                  <a:lnTo>
                    <a:pt x="536" y="233"/>
                  </a:lnTo>
                  <a:lnTo>
                    <a:pt x="536" y="233"/>
                  </a:lnTo>
                  <a:lnTo>
                    <a:pt x="538" y="233"/>
                  </a:lnTo>
                  <a:lnTo>
                    <a:pt x="538" y="233"/>
                  </a:lnTo>
                  <a:lnTo>
                    <a:pt x="540" y="233"/>
                  </a:lnTo>
                  <a:lnTo>
                    <a:pt x="540" y="233"/>
                  </a:lnTo>
                  <a:lnTo>
                    <a:pt x="540" y="231"/>
                  </a:lnTo>
                  <a:lnTo>
                    <a:pt x="536" y="231"/>
                  </a:lnTo>
                  <a:close/>
                  <a:moveTo>
                    <a:pt x="411" y="264"/>
                  </a:moveTo>
                  <a:lnTo>
                    <a:pt x="411" y="264"/>
                  </a:lnTo>
                  <a:lnTo>
                    <a:pt x="409" y="264"/>
                  </a:lnTo>
                  <a:lnTo>
                    <a:pt x="407" y="266"/>
                  </a:lnTo>
                  <a:lnTo>
                    <a:pt x="407" y="266"/>
                  </a:lnTo>
                  <a:lnTo>
                    <a:pt x="405" y="268"/>
                  </a:lnTo>
                  <a:lnTo>
                    <a:pt x="405" y="268"/>
                  </a:lnTo>
                  <a:lnTo>
                    <a:pt x="402" y="268"/>
                  </a:lnTo>
                  <a:lnTo>
                    <a:pt x="402" y="268"/>
                  </a:lnTo>
                  <a:lnTo>
                    <a:pt x="402" y="268"/>
                  </a:lnTo>
                  <a:lnTo>
                    <a:pt x="400" y="270"/>
                  </a:lnTo>
                  <a:lnTo>
                    <a:pt x="398" y="270"/>
                  </a:lnTo>
                  <a:lnTo>
                    <a:pt x="400" y="270"/>
                  </a:lnTo>
                  <a:lnTo>
                    <a:pt x="402" y="268"/>
                  </a:lnTo>
                  <a:lnTo>
                    <a:pt x="405" y="268"/>
                  </a:lnTo>
                  <a:lnTo>
                    <a:pt x="405" y="268"/>
                  </a:lnTo>
                  <a:lnTo>
                    <a:pt x="407" y="268"/>
                  </a:lnTo>
                  <a:lnTo>
                    <a:pt x="407" y="268"/>
                  </a:lnTo>
                  <a:lnTo>
                    <a:pt x="409" y="266"/>
                  </a:lnTo>
                  <a:lnTo>
                    <a:pt x="409" y="266"/>
                  </a:lnTo>
                  <a:lnTo>
                    <a:pt x="409" y="266"/>
                  </a:lnTo>
                  <a:lnTo>
                    <a:pt x="411" y="264"/>
                  </a:lnTo>
                  <a:close/>
                  <a:moveTo>
                    <a:pt x="505" y="243"/>
                  </a:moveTo>
                  <a:lnTo>
                    <a:pt x="503" y="243"/>
                  </a:lnTo>
                  <a:lnTo>
                    <a:pt x="501" y="243"/>
                  </a:lnTo>
                  <a:lnTo>
                    <a:pt x="501" y="245"/>
                  </a:lnTo>
                  <a:lnTo>
                    <a:pt x="501" y="245"/>
                  </a:lnTo>
                  <a:lnTo>
                    <a:pt x="501" y="245"/>
                  </a:lnTo>
                  <a:lnTo>
                    <a:pt x="503" y="245"/>
                  </a:lnTo>
                  <a:lnTo>
                    <a:pt x="507" y="243"/>
                  </a:lnTo>
                  <a:lnTo>
                    <a:pt x="507" y="241"/>
                  </a:lnTo>
                  <a:lnTo>
                    <a:pt x="509" y="241"/>
                  </a:lnTo>
                  <a:lnTo>
                    <a:pt x="507" y="241"/>
                  </a:lnTo>
                  <a:lnTo>
                    <a:pt x="505" y="243"/>
                  </a:lnTo>
                  <a:close/>
                  <a:moveTo>
                    <a:pt x="509" y="241"/>
                  </a:moveTo>
                  <a:lnTo>
                    <a:pt x="509" y="243"/>
                  </a:lnTo>
                  <a:lnTo>
                    <a:pt x="509" y="243"/>
                  </a:lnTo>
                  <a:lnTo>
                    <a:pt x="509" y="243"/>
                  </a:lnTo>
                  <a:lnTo>
                    <a:pt x="511" y="243"/>
                  </a:lnTo>
                  <a:lnTo>
                    <a:pt x="511" y="243"/>
                  </a:lnTo>
                  <a:lnTo>
                    <a:pt x="511" y="243"/>
                  </a:lnTo>
                  <a:lnTo>
                    <a:pt x="513" y="241"/>
                  </a:lnTo>
                  <a:lnTo>
                    <a:pt x="513" y="241"/>
                  </a:lnTo>
                  <a:lnTo>
                    <a:pt x="511" y="241"/>
                  </a:lnTo>
                  <a:lnTo>
                    <a:pt x="509" y="241"/>
                  </a:lnTo>
                  <a:close/>
                  <a:moveTo>
                    <a:pt x="298" y="286"/>
                  </a:moveTo>
                  <a:lnTo>
                    <a:pt x="296" y="286"/>
                  </a:lnTo>
                  <a:lnTo>
                    <a:pt x="294" y="288"/>
                  </a:lnTo>
                  <a:lnTo>
                    <a:pt x="294" y="288"/>
                  </a:lnTo>
                  <a:lnTo>
                    <a:pt x="292" y="288"/>
                  </a:lnTo>
                  <a:lnTo>
                    <a:pt x="292" y="288"/>
                  </a:lnTo>
                  <a:lnTo>
                    <a:pt x="294" y="286"/>
                  </a:lnTo>
                  <a:lnTo>
                    <a:pt x="294" y="286"/>
                  </a:lnTo>
                  <a:lnTo>
                    <a:pt x="292" y="286"/>
                  </a:lnTo>
                  <a:lnTo>
                    <a:pt x="290" y="286"/>
                  </a:lnTo>
                  <a:lnTo>
                    <a:pt x="287" y="286"/>
                  </a:lnTo>
                  <a:lnTo>
                    <a:pt x="287" y="288"/>
                  </a:lnTo>
                  <a:lnTo>
                    <a:pt x="285" y="288"/>
                  </a:lnTo>
                  <a:lnTo>
                    <a:pt x="283" y="288"/>
                  </a:lnTo>
                  <a:lnTo>
                    <a:pt x="283" y="288"/>
                  </a:lnTo>
                  <a:lnTo>
                    <a:pt x="283" y="290"/>
                  </a:lnTo>
                  <a:lnTo>
                    <a:pt x="283" y="290"/>
                  </a:lnTo>
                  <a:lnTo>
                    <a:pt x="283" y="290"/>
                  </a:lnTo>
                  <a:lnTo>
                    <a:pt x="283" y="290"/>
                  </a:lnTo>
                  <a:lnTo>
                    <a:pt x="285" y="290"/>
                  </a:lnTo>
                  <a:lnTo>
                    <a:pt x="285" y="290"/>
                  </a:lnTo>
                  <a:lnTo>
                    <a:pt x="285" y="292"/>
                  </a:lnTo>
                  <a:lnTo>
                    <a:pt x="285" y="292"/>
                  </a:lnTo>
                  <a:lnTo>
                    <a:pt x="283" y="292"/>
                  </a:lnTo>
                  <a:lnTo>
                    <a:pt x="283" y="292"/>
                  </a:lnTo>
                  <a:lnTo>
                    <a:pt x="283" y="292"/>
                  </a:lnTo>
                  <a:lnTo>
                    <a:pt x="283" y="292"/>
                  </a:lnTo>
                  <a:lnTo>
                    <a:pt x="281" y="292"/>
                  </a:lnTo>
                  <a:lnTo>
                    <a:pt x="281" y="292"/>
                  </a:lnTo>
                  <a:lnTo>
                    <a:pt x="279" y="292"/>
                  </a:lnTo>
                  <a:lnTo>
                    <a:pt x="277" y="294"/>
                  </a:lnTo>
                  <a:lnTo>
                    <a:pt x="275" y="294"/>
                  </a:lnTo>
                  <a:lnTo>
                    <a:pt x="271" y="296"/>
                  </a:lnTo>
                  <a:lnTo>
                    <a:pt x="269" y="296"/>
                  </a:lnTo>
                  <a:lnTo>
                    <a:pt x="267" y="296"/>
                  </a:lnTo>
                  <a:lnTo>
                    <a:pt x="267" y="296"/>
                  </a:lnTo>
                  <a:lnTo>
                    <a:pt x="265" y="298"/>
                  </a:lnTo>
                  <a:lnTo>
                    <a:pt x="265" y="298"/>
                  </a:lnTo>
                  <a:lnTo>
                    <a:pt x="265" y="298"/>
                  </a:lnTo>
                  <a:lnTo>
                    <a:pt x="265" y="298"/>
                  </a:lnTo>
                  <a:lnTo>
                    <a:pt x="267" y="298"/>
                  </a:lnTo>
                  <a:lnTo>
                    <a:pt x="267" y="298"/>
                  </a:lnTo>
                  <a:lnTo>
                    <a:pt x="269" y="298"/>
                  </a:lnTo>
                  <a:lnTo>
                    <a:pt x="269" y="298"/>
                  </a:lnTo>
                  <a:lnTo>
                    <a:pt x="271" y="298"/>
                  </a:lnTo>
                  <a:lnTo>
                    <a:pt x="271" y="298"/>
                  </a:lnTo>
                  <a:lnTo>
                    <a:pt x="271" y="298"/>
                  </a:lnTo>
                  <a:lnTo>
                    <a:pt x="273" y="296"/>
                  </a:lnTo>
                  <a:lnTo>
                    <a:pt x="275" y="296"/>
                  </a:lnTo>
                  <a:lnTo>
                    <a:pt x="277" y="296"/>
                  </a:lnTo>
                  <a:lnTo>
                    <a:pt x="279" y="296"/>
                  </a:lnTo>
                  <a:lnTo>
                    <a:pt x="281" y="296"/>
                  </a:lnTo>
                  <a:lnTo>
                    <a:pt x="283" y="294"/>
                  </a:lnTo>
                  <a:lnTo>
                    <a:pt x="287" y="292"/>
                  </a:lnTo>
                  <a:lnTo>
                    <a:pt x="290" y="292"/>
                  </a:lnTo>
                  <a:lnTo>
                    <a:pt x="292" y="292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90"/>
                  </a:lnTo>
                  <a:lnTo>
                    <a:pt x="290" y="292"/>
                  </a:lnTo>
                  <a:lnTo>
                    <a:pt x="290" y="290"/>
                  </a:lnTo>
                  <a:lnTo>
                    <a:pt x="292" y="290"/>
                  </a:lnTo>
                  <a:lnTo>
                    <a:pt x="296" y="288"/>
                  </a:lnTo>
                  <a:lnTo>
                    <a:pt x="298" y="288"/>
                  </a:lnTo>
                  <a:lnTo>
                    <a:pt x="298" y="286"/>
                  </a:lnTo>
                  <a:lnTo>
                    <a:pt x="298" y="286"/>
                  </a:lnTo>
                  <a:close/>
                  <a:moveTo>
                    <a:pt x="314" y="282"/>
                  </a:moveTo>
                  <a:lnTo>
                    <a:pt x="314" y="282"/>
                  </a:lnTo>
                  <a:lnTo>
                    <a:pt x="314" y="282"/>
                  </a:lnTo>
                  <a:lnTo>
                    <a:pt x="312" y="282"/>
                  </a:lnTo>
                  <a:lnTo>
                    <a:pt x="312" y="282"/>
                  </a:lnTo>
                  <a:lnTo>
                    <a:pt x="310" y="284"/>
                  </a:lnTo>
                  <a:lnTo>
                    <a:pt x="310" y="284"/>
                  </a:lnTo>
                  <a:lnTo>
                    <a:pt x="310" y="284"/>
                  </a:lnTo>
                  <a:lnTo>
                    <a:pt x="310" y="284"/>
                  </a:lnTo>
                  <a:lnTo>
                    <a:pt x="312" y="284"/>
                  </a:lnTo>
                  <a:lnTo>
                    <a:pt x="314" y="282"/>
                  </a:lnTo>
                  <a:lnTo>
                    <a:pt x="314" y="282"/>
                  </a:lnTo>
                  <a:lnTo>
                    <a:pt x="314" y="282"/>
                  </a:lnTo>
                  <a:close/>
                  <a:moveTo>
                    <a:pt x="402" y="264"/>
                  </a:moveTo>
                  <a:lnTo>
                    <a:pt x="402" y="264"/>
                  </a:lnTo>
                  <a:lnTo>
                    <a:pt x="405" y="264"/>
                  </a:lnTo>
                  <a:lnTo>
                    <a:pt x="405" y="264"/>
                  </a:lnTo>
                  <a:lnTo>
                    <a:pt x="402" y="264"/>
                  </a:lnTo>
                  <a:lnTo>
                    <a:pt x="402" y="264"/>
                  </a:lnTo>
                  <a:lnTo>
                    <a:pt x="402" y="264"/>
                  </a:lnTo>
                  <a:close/>
                  <a:moveTo>
                    <a:pt x="308" y="282"/>
                  </a:moveTo>
                  <a:lnTo>
                    <a:pt x="306" y="282"/>
                  </a:lnTo>
                  <a:lnTo>
                    <a:pt x="306" y="282"/>
                  </a:lnTo>
                  <a:lnTo>
                    <a:pt x="304" y="284"/>
                  </a:lnTo>
                  <a:lnTo>
                    <a:pt x="304" y="284"/>
                  </a:lnTo>
                  <a:lnTo>
                    <a:pt x="304" y="284"/>
                  </a:lnTo>
                  <a:lnTo>
                    <a:pt x="302" y="286"/>
                  </a:lnTo>
                  <a:lnTo>
                    <a:pt x="302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6" y="284"/>
                  </a:lnTo>
                  <a:lnTo>
                    <a:pt x="308" y="284"/>
                  </a:lnTo>
                  <a:lnTo>
                    <a:pt x="308" y="284"/>
                  </a:lnTo>
                  <a:lnTo>
                    <a:pt x="308" y="284"/>
                  </a:lnTo>
                  <a:lnTo>
                    <a:pt x="308" y="284"/>
                  </a:lnTo>
                  <a:lnTo>
                    <a:pt x="308" y="282"/>
                  </a:lnTo>
                  <a:close/>
                  <a:moveTo>
                    <a:pt x="355" y="274"/>
                  </a:moveTo>
                  <a:lnTo>
                    <a:pt x="355" y="274"/>
                  </a:lnTo>
                  <a:lnTo>
                    <a:pt x="355" y="274"/>
                  </a:lnTo>
                  <a:lnTo>
                    <a:pt x="353" y="274"/>
                  </a:lnTo>
                  <a:lnTo>
                    <a:pt x="353" y="272"/>
                  </a:lnTo>
                  <a:lnTo>
                    <a:pt x="353" y="272"/>
                  </a:lnTo>
                  <a:lnTo>
                    <a:pt x="355" y="270"/>
                  </a:lnTo>
                  <a:lnTo>
                    <a:pt x="355" y="270"/>
                  </a:lnTo>
                  <a:lnTo>
                    <a:pt x="355" y="268"/>
                  </a:lnTo>
                  <a:lnTo>
                    <a:pt x="355" y="268"/>
                  </a:lnTo>
                  <a:lnTo>
                    <a:pt x="353" y="268"/>
                  </a:lnTo>
                  <a:lnTo>
                    <a:pt x="351" y="268"/>
                  </a:lnTo>
                  <a:lnTo>
                    <a:pt x="347" y="270"/>
                  </a:lnTo>
                  <a:lnTo>
                    <a:pt x="343" y="270"/>
                  </a:lnTo>
                  <a:lnTo>
                    <a:pt x="341" y="270"/>
                  </a:lnTo>
                  <a:lnTo>
                    <a:pt x="341" y="270"/>
                  </a:lnTo>
                  <a:lnTo>
                    <a:pt x="339" y="272"/>
                  </a:lnTo>
                  <a:lnTo>
                    <a:pt x="333" y="274"/>
                  </a:lnTo>
                  <a:lnTo>
                    <a:pt x="333" y="274"/>
                  </a:lnTo>
                  <a:lnTo>
                    <a:pt x="329" y="276"/>
                  </a:lnTo>
                  <a:lnTo>
                    <a:pt x="329" y="276"/>
                  </a:lnTo>
                  <a:lnTo>
                    <a:pt x="329" y="276"/>
                  </a:lnTo>
                  <a:lnTo>
                    <a:pt x="327" y="278"/>
                  </a:lnTo>
                  <a:lnTo>
                    <a:pt x="327" y="280"/>
                  </a:lnTo>
                  <a:lnTo>
                    <a:pt x="327" y="280"/>
                  </a:lnTo>
                  <a:lnTo>
                    <a:pt x="329" y="280"/>
                  </a:lnTo>
                  <a:lnTo>
                    <a:pt x="331" y="278"/>
                  </a:lnTo>
                  <a:lnTo>
                    <a:pt x="333" y="278"/>
                  </a:lnTo>
                  <a:lnTo>
                    <a:pt x="335" y="278"/>
                  </a:lnTo>
                  <a:lnTo>
                    <a:pt x="337" y="276"/>
                  </a:lnTo>
                  <a:lnTo>
                    <a:pt x="339" y="276"/>
                  </a:lnTo>
                  <a:lnTo>
                    <a:pt x="341" y="276"/>
                  </a:lnTo>
                  <a:lnTo>
                    <a:pt x="347" y="276"/>
                  </a:lnTo>
                  <a:lnTo>
                    <a:pt x="349" y="276"/>
                  </a:lnTo>
                  <a:lnTo>
                    <a:pt x="353" y="274"/>
                  </a:lnTo>
                  <a:lnTo>
                    <a:pt x="355" y="274"/>
                  </a:lnTo>
                  <a:lnTo>
                    <a:pt x="355" y="274"/>
                  </a:lnTo>
                  <a:close/>
                  <a:moveTo>
                    <a:pt x="400" y="266"/>
                  </a:moveTo>
                  <a:lnTo>
                    <a:pt x="400" y="266"/>
                  </a:lnTo>
                  <a:lnTo>
                    <a:pt x="400" y="264"/>
                  </a:lnTo>
                  <a:lnTo>
                    <a:pt x="402" y="264"/>
                  </a:lnTo>
                  <a:lnTo>
                    <a:pt x="402" y="261"/>
                  </a:lnTo>
                  <a:lnTo>
                    <a:pt x="402" y="261"/>
                  </a:lnTo>
                  <a:lnTo>
                    <a:pt x="400" y="264"/>
                  </a:lnTo>
                  <a:lnTo>
                    <a:pt x="400" y="264"/>
                  </a:lnTo>
                  <a:lnTo>
                    <a:pt x="400" y="264"/>
                  </a:lnTo>
                  <a:lnTo>
                    <a:pt x="400" y="264"/>
                  </a:lnTo>
                  <a:lnTo>
                    <a:pt x="400" y="261"/>
                  </a:lnTo>
                  <a:lnTo>
                    <a:pt x="400" y="261"/>
                  </a:lnTo>
                  <a:lnTo>
                    <a:pt x="400" y="261"/>
                  </a:lnTo>
                  <a:lnTo>
                    <a:pt x="400" y="261"/>
                  </a:lnTo>
                  <a:lnTo>
                    <a:pt x="398" y="264"/>
                  </a:lnTo>
                  <a:lnTo>
                    <a:pt x="398" y="264"/>
                  </a:lnTo>
                  <a:lnTo>
                    <a:pt x="396" y="266"/>
                  </a:lnTo>
                  <a:lnTo>
                    <a:pt x="394" y="266"/>
                  </a:lnTo>
                  <a:lnTo>
                    <a:pt x="396" y="266"/>
                  </a:lnTo>
                  <a:lnTo>
                    <a:pt x="396" y="266"/>
                  </a:lnTo>
                  <a:lnTo>
                    <a:pt x="398" y="266"/>
                  </a:lnTo>
                  <a:lnTo>
                    <a:pt x="400" y="266"/>
                  </a:lnTo>
                  <a:lnTo>
                    <a:pt x="400" y="266"/>
                  </a:lnTo>
                  <a:close/>
                  <a:moveTo>
                    <a:pt x="355" y="278"/>
                  </a:moveTo>
                  <a:lnTo>
                    <a:pt x="353" y="278"/>
                  </a:lnTo>
                  <a:lnTo>
                    <a:pt x="355" y="280"/>
                  </a:lnTo>
                  <a:lnTo>
                    <a:pt x="355" y="280"/>
                  </a:lnTo>
                  <a:lnTo>
                    <a:pt x="357" y="280"/>
                  </a:lnTo>
                  <a:lnTo>
                    <a:pt x="357" y="278"/>
                  </a:lnTo>
                  <a:lnTo>
                    <a:pt x="357" y="278"/>
                  </a:lnTo>
                  <a:lnTo>
                    <a:pt x="355" y="278"/>
                  </a:lnTo>
                  <a:close/>
                  <a:moveTo>
                    <a:pt x="370" y="270"/>
                  </a:moveTo>
                  <a:lnTo>
                    <a:pt x="368" y="272"/>
                  </a:lnTo>
                  <a:lnTo>
                    <a:pt x="368" y="272"/>
                  </a:lnTo>
                  <a:lnTo>
                    <a:pt x="368" y="272"/>
                  </a:lnTo>
                  <a:lnTo>
                    <a:pt x="370" y="272"/>
                  </a:lnTo>
                  <a:lnTo>
                    <a:pt x="370" y="272"/>
                  </a:lnTo>
                  <a:lnTo>
                    <a:pt x="372" y="270"/>
                  </a:lnTo>
                  <a:lnTo>
                    <a:pt x="372" y="270"/>
                  </a:lnTo>
                  <a:lnTo>
                    <a:pt x="372" y="270"/>
                  </a:lnTo>
                  <a:lnTo>
                    <a:pt x="372" y="270"/>
                  </a:lnTo>
                  <a:lnTo>
                    <a:pt x="370" y="270"/>
                  </a:lnTo>
                  <a:close/>
                  <a:moveTo>
                    <a:pt x="1497" y="508"/>
                  </a:moveTo>
                  <a:lnTo>
                    <a:pt x="1497" y="508"/>
                  </a:lnTo>
                  <a:lnTo>
                    <a:pt x="1495" y="510"/>
                  </a:lnTo>
                  <a:lnTo>
                    <a:pt x="1495" y="510"/>
                  </a:lnTo>
                  <a:lnTo>
                    <a:pt x="1497" y="510"/>
                  </a:lnTo>
                  <a:lnTo>
                    <a:pt x="1497" y="510"/>
                  </a:lnTo>
                  <a:lnTo>
                    <a:pt x="1497" y="508"/>
                  </a:lnTo>
                  <a:close/>
                  <a:moveTo>
                    <a:pt x="809" y="397"/>
                  </a:moveTo>
                  <a:lnTo>
                    <a:pt x="809" y="399"/>
                  </a:lnTo>
                  <a:lnTo>
                    <a:pt x="807" y="399"/>
                  </a:lnTo>
                  <a:lnTo>
                    <a:pt x="807" y="399"/>
                  </a:lnTo>
                  <a:lnTo>
                    <a:pt x="809" y="399"/>
                  </a:lnTo>
                  <a:lnTo>
                    <a:pt x="809" y="399"/>
                  </a:lnTo>
                  <a:lnTo>
                    <a:pt x="809" y="399"/>
                  </a:lnTo>
                  <a:lnTo>
                    <a:pt x="809" y="397"/>
                  </a:lnTo>
                  <a:lnTo>
                    <a:pt x="809" y="397"/>
                  </a:lnTo>
                  <a:lnTo>
                    <a:pt x="809" y="397"/>
                  </a:lnTo>
                  <a:close/>
                  <a:moveTo>
                    <a:pt x="1285" y="761"/>
                  </a:moveTo>
                  <a:lnTo>
                    <a:pt x="1285" y="759"/>
                  </a:lnTo>
                  <a:lnTo>
                    <a:pt x="1285" y="763"/>
                  </a:lnTo>
                  <a:lnTo>
                    <a:pt x="1285" y="769"/>
                  </a:lnTo>
                  <a:lnTo>
                    <a:pt x="1287" y="771"/>
                  </a:lnTo>
                  <a:lnTo>
                    <a:pt x="1287" y="769"/>
                  </a:lnTo>
                  <a:lnTo>
                    <a:pt x="1285" y="763"/>
                  </a:lnTo>
                  <a:lnTo>
                    <a:pt x="1285" y="761"/>
                  </a:lnTo>
                  <a:close/>
                  <a:moveTo>
                    <a:pt x="706" y="646"/>
                  </a:moveTo>
                  <a:lnTo>
                    <a:pt x="704" y="646"/>
                  </a:lnTo>
                  <a:lnTo>
                    <a:pt x="704" y="648"/>
                  </a:lnTo>
                  <a:lnTo>
                    <a:pt x="704" y="648"/>
                  </a:lnTo>
                  <a:lnTo>
                    <a:pt x="706" y="648"/>
                  </a:lnTo>
                  <a:lnTo>
                    <a:pt x="708" y="648"/>
                  </a:lnTo>
                  <a:lnTo>
                    <a:pt x="708" y="648"/>
                  </a:lnTo>
                  <a:lnTo>
                    <a:pt x="706" y="646"/>
                  </a:lnTo>
                  <a:close/>
                  <a:moveTo>
                    <a:pt x="4944" y="305"/>
                  </a:moveTo>
                  <a:lnTo>
                    <a:pt x="4942" y="305"/>
                  </a:lnTo>
                  <a:lnTo>
                    <a:pt x="4940" y="303"/>
                  </a:lnTo>
                  <a:lnTo>
                    <a:pt x="4938" y="305"/>
                  </a:lnTo>
                  <a:lnTo>
                    <a:pt x="4936" y="305"/>
                  </a:lnTo>
                  <a:lnTo>
                    <a:pt x="4938" y="305"/>
                  </a:lnTo>
                  <a:lnTo>
                    <a:pt x="4940" y="307"/>
                  </a:lnTo>
                  <a:lnTo>
                    <a:pt x="4944" y="307"/>
                  </a:lnTo>
                  <a:lnTo>
                    <a:pt x="4946" y="309"/>
                  </a:lnTo>
                  <a:lnTo>
                    <a:pt x="4946" y="307"/>
                  </a:lnTo>
                  <a:lnTo>
                    <a:pt x="4948" y="307"/>
                  </a:lnTo>
                  <a:lnTo>
                    <a:pt x="4950" y="307"/>
                  </a:lnTo>
                  <a:lnTo>
                    <a:pt x="4950" y="307"/>
                  </a:lnTo>
                  <a:lnTo>
                    <a:pt x="4950" y="307"/>
                  </a:lnTo>
                  <a:lnTo>
                    <a:pt x="4952" y="307"/>
                  </a:lnTo>
                  <a:lnTo>
                    <a:pt x="4948" y="305"/>
                  </a:lnTo>
                  <a:lnTo>
                    <a:pt x="4944" y="305"/>
                  </a:lnTo>
                  <a:close/>
                  <a:moveTo>
                    <a:pt x="1448" y="527"/>
                  </a:moveTo>
                  <a:lnTo>
                    <a:pt x="1448" y="527"/>
                  </a:lnTo>
                  <a:lnTo>
                    <a:pt x="1448" y="527"/>
                  </a:lnTo>
                  <a:lnTo>
                    <a:pt x="1450" y="527"/>
                  </a:lnTo>
                  <a:lnTo>
                    <a:pt x="1450" y="527"/>
                  </a:lnTo>
                  <a:lnTo>
                    <a:pt x="1450" y="525"/>
                  </a:lnTo>
                  <a:lnTo>
                    <a:pt x="1450" y="525"/>
                  </a:lnTo>
                  <a:lnTo>
                    <a:pt x="1448" y="527"/>
                  </a:lnTo>
                  <a:lnTo>
                    <a:pt x="1448" y="527"/>
                  </a:lnTo>
                  <a:close/>
                  <a:moveTo>
                    <a:pt x="807" y="401"/>
                  </a:moveTo>
                  <a:lnTo>
                    <a:pt x="807" y="403"/>
                  </a:lnTo>
                  <a:lnTo>
                    <a:pt x="805" y="403"/>
                  </a:lnTo>
                  <a:lnTo>
                    <a:pt x="807" y="403"/>
                  </a:lnTo>
                  <a:lnTo>
                    <a:pt x="807" y="403"/>
                  </a:lnTo>
                  <a:lnTo>
                    <a:pt x="807" y="403"/>
                  </a:lnTo>
                  <a:lnTo>
                    <a:pt x="807" y="403"/>
                  </a:lnTo>
                  <a:lnTo>
                    <a:pt x="807" y="403"/>
                  </a:lnTo>
                  <a:lnTo>
                    <a:pt x="807" y="403"/>
                  </a:lnTo>
                  <a:lnTo>
                    <a:pt x="807" y="403"/>
                  </a:lnTo>
                  <a:lnTo>
                    <a:pt x="807" y="401"/>
                  </a:lnTo>
                  <a:lnTo>
                    <a:pt x="807" y="401"/>
                  </a:lnTo>
                  <a:close/>
                  <a:moveTo>
                    <a:pt x="799" y="407"/>
                  </a:moveTo>
                  <a:lnTo>
                    <a:pt x="799" y="407"/>
                  </a:lnTo>
                  <a:lnTo>
                    <a:pt x="799" y="407"/>
                  </a:lnTo>
                  <a:lnTo>
                    <a:pt x="799" y="407"/>
                  </a:lnTo>
                  <a:lnTo>
                    <a:pt x="799" y="407"/>
                  </a:lnTo>
                  <a:lnTo>
                    <a:pt x="799" y="405"/>
                  </a:lnTo>
                  <a:lnTo>
                    <a:pt x="799" y="405"/>
                  </a:lnTo>
                  <a:lnTo>
                    <a:pt x="799" y="407"/>
                  </a:lnTo>
                  <a:close/>
                  <a:moveTo>
                    <a:pt x="1482" y="519"/>
                  </a:moveTo>
                  <a:lnTo>
                    <a:pt x="1480" y="519"/>
                  </a:lnTo>
                  <a:lnTo>
                    <a:pt x="1480" y="519"/>
                  </a:lnTo>
                  <a:lnTo>
                    <a:pt x="1478" y="519"/>
                  </a:lnTo>
                  <a:lnTo>
                    <a:pt x="1476" y="519"/>
                  </a:lnTo>
                  <a:lnTo>
                    <a:pt x="1476" y="521"/>
                  </a:lnTo>
                  <a:lnTo>
                    <a:pt x="1474" y="521"/>
                  </a:lnTo>
                  <a:lnTo>
                    <a:pt x="1474" y="521"/>
                  </a:lnTo>
                  <a:lnTo>
                    <a:pt x="1476" y="519"/>
                  </a:lnTo>
                  <a:lnTo>
                    <a:pt x="1476" y="519"/>
                  </a:lnTo>
                  <a:lnTo>
                    <a:pt x="1480" y="516"/>
                  </a:lnTo>
                  <a:lnTo>
                    <a:pt x="1478" y="516"/>
                  </a:lnTo>
                  <a:lnTo>
                    <a:pt x="1476" y="519"/>
                  </a:lnTo>
                  <a:lnTo>
                    <a:pt x="1474" y="519"/>
                  </a:lnTo>
                  <a:lnTo>
                    <a:pt x="1470" y="519"/>
                  </a:lnTo>
                  <a:lnTo>
                    <a:pt x="1468" y="521"/>
                  </a:lnTo>
                  <a:lnTo>
                    <a:pt x="1466" y="521"/>
                  </a:lnTo>
                  <a:lnTo>
                    <a:pt x="1466" y="521"/>
                  </a:lnTo>
                  <a:lnTo>
                    <a:pt x="1464" y="521"/>
                  </a:lnTo>
                  <a:lnTo>
                    <a:pt x="1462" y="521"/>
                  </a:lnTo>
                  <a:lnTo>
                    <a:pt x="1462" y="521"/>
                  </a:lnTo>
                  <a:lnTo>
                    <a:pt x="1462" y="521"/>
                  </a:lnTo>
                  <a:lnTo>
                    <a:pt x="1460" y="521"/>
                  </a:lnTo>
                  <a:lnTo>
                    <a:pt x="1460" y="521"/>
                  </a:lnTo>
                  <a:lnTo>
                    <a:pt x="1458" y="521"/>
                  </a:lnTo>
                  <a:lnTo>
                    <a:pt x="1458" y="521"/>
                  </a:lnTo>
                  <a:lnTo>
                    <a:pt x="1458" y="523"/>
                  </a:lnTo>
                  <a:lnTo>
                    <a:pt x="1458" y="521"/>
                  </a:lnTo>
                  <a:lnTo>
                    <a:pt x="1456" y="523"/>
                  </a:lnTo>
                  <a:lnTo>
                    <a:pt x="1454" y="523"/>
                  </a:lnTo>
                  <a:lnTo>
                    <a:pt x="1452" y="525"/>
                  </a:lnTo>
                  <a:lnTo>
                    <a:pt x="1452" y="525"/>
                  </a:lnTo>
                  <a:lnTo>
                    <a:pt x="1452" y="525"/>
                  </a:lnTo>
                  <a:lnTo>
                    <a:pt x="1450" y="527"/>
                  </a:lnTo>
                  <a:lnTo>
                    <a:pt x="1452" y="527"/>
                  </a:lnTo>
                  <a:lnTo>
                    <a:pt x="1454" y="525"/>
                  </a:lnTo>
                  <a:lnTo>
                    <a:pt x="1454" y="525"/>
                  </a:lnTo>
                  <a:lnTo>
                    <a:pt x="1454" y="525"/>
                  </a:lnTo>
                  <a:lnTo>
                    <a:pt x="1454" y="527"/>
                  </a:lnTo>
                  <a:lnTo>
                    <a:pt x="1452" y="527"/>
                  </a:lnTo>
                  <a:lnTo>
                    <a:pt x="1454" y="527"/>
                  </a:lnTo>
                  <a:lnTo>
                    <a:pt x="1456" y="527"/>
                  </a:lnTo>
                  <a:lnTo>
                    <a:pt x="1462" y="525"/>
                  </a:lnTo>
                  <a:lnTo>
                    <a:pt x="1462" y="525"/>
                  </a:lnTo>
                  <a:lnTo>
                    <a:pt x="1464" y="525"/>
                  </a:lnTo>
                  <a:lnTo>
                    <a:pt x="1470" y="523"/>
                  </a:lnTo>
                  <a:lnTo>
                    <a:pt x="1472" y="523"/>
                  </a:lnTo>
                  <a:lnTo>
                    <a:pt x="1474" y="523"/>
                  </a:lnTo>
                  <a:lnTo>
                    <a:pt x="1476" y="521"/>
                  </a:lnTo>
                  <a:lnTo>
                    <a:pt x="1478" y="521"/>
                  </a:lnTo>
                  <a:lnTo>
                    <a:pt x="1484" y="519"/>
                  </a:lnTo>
                  <a:lnTo>
                    <a:pt x="1484" y="519"/>
                  </a:lnTo>
                  <a:lnTo>
                    <a:pt x="1482" y="519"/>
                  </a:lnTo>
                  <a:close/>
                  <a:moveTo>
                    <a:pt x="1505" y="510"/>
                  </a:moveTo>
                  <a:lnTo>
                    <a:pt x="1505" y="512"/>
                  </a:lnTo>
                  <a:lnTo>
                    <a:pt x="1503" y="512"/>
                  </a:lnTo>
                  <a:lnTo>
                    <a:pt x="1503" y="512"/>
                  </a:lnTo>
                  <a:lnTo>
                    <a:pt x="1507" y="512"/>
                  </a:lnTo>
                  <a:lnTo>
                    <a:pt x="1507" y="512"/>
                  </a:lnTo>
                  <a:lnTo>
                    <a:pt x="1507" y="510"/>
                  </a:lnTo>
                  <a:lnTo>
                    <a:pt x="1505" y="510"/>
                  </a:lnTo>
                  <a:close/>
                  <a:moveTo>
                    <a:pt x="1439" y="545"/>
                  </a:moveTo>
                  <a:lnTo>
                    <a:pt x="1443" y="541"/>
                  </a:lnTo>
                  <a:lnTo>
                    <a:pt x="1443" y="541"/>
                  </a:lnTo>
                  <a:lnTo>
                    <a:pt x="1441" y="543"/>
                  </a:lnTo>
                  <a:lnTo>
                    <a:pt x="1439" y="545"/>
                  </a:lnTo>
                  <a:close/>
                  <a:moveTo>
                    <a:pt x="4962" y="313"/>
                  </a:moveTo>
                  <a:lnTo>
                    <a:pt x="4960" y="313"/>
                  </a:lnTo>
                  <a:lnTo>
                    <a:pt x="4958" y="313"/>
                  </a:lnTo>
                  <a:lnTo>
                    <a:pt x="4958" y="313"/>
                  </a:lnTo>
                  <a:lnTo>
                    <a:pt x="4958" y="315"/>
                  </a:lnTo>
                  <a:lnTo>
                    <a:pt x="4962" y="315"/>
                  </a:lnTo>
                  <a:lnTo>
                    <a:pt x="4962" y="315"/>
                  </a:lnTo>
                  <a:lnTo>
                    <a:pt x="4965" y="315"/>
                  </a:lnTo>
                  <a:lnTo>
                    <a:pt x="4962" y="313"/>
                  </a:lnTo>
                  <a:lnTo>
                    <a:pt x="4962" y="313"/>
                  </a:lnTo>
                  <a:close/>
                  <a:moveTo>
                    <a:pt x="1515" y="512"/>
                  </a:moveTo>
                  <a:lnTo>
                    <a:pt x="1513" y="512"/>
                  </a:lnTo>
                  <a:lnTo>
                    <a:pt x="1513" y="512"/>
                  </a:lnTo>
                  <a:lnTo>
                    <a:pt x="1511" y="514"/>
                  </a:lnTo>
                  <a:lnTo>
                    <a:pt x="1513" y="514"/>
                  </a:lnTo>
                  <a:lnTo>
                    <a:pt x="1515" y="514"/>
                  </a:lnTo>
                  <a:lnTo>
                    <a:pt x="1515" y="514"/>
                  </a:lnTo>
                  <a:lnTo>
                    <a:pt x="1515" y="512"/>
                  </a:lnTo>
                  <a:lnTo>
                    <a:pt x="1515" y="512"/>
                  </a:lnTo>
                  <a:close/>
                  <a:moveTo>
                    <a:pt x="1560" y="457"/>
                  </a:moveTo>
                  <a:lnTo>
                    <a:pt x="1560" y="459"/>
                  </a:lnTo>
                  <a:lnTo>
                    <a:pt x="1558" y="459"/>
                  </a:lnTo>
                  <a:lnTo>
                    <a:pt x="1558" y="461"/>
                  </a:lnTo>
                  <a:lnTo>
                    <a:pt x="1558" y="461"/>
                  </a:lnTo>
                  <a:lnTo>
                    <a:pt x="1558" y="461"/>
                  </a:lnTo>
                  <a:lnTo>
                    <a:pt x="1560" y="461"/>
                  </a:lnTo>
                  <a:lnTo>
                    <a:pt x="1560" y="459"/>
                  </a:lnTo>
                  <a:lnTo>
                    <a:pt x="1560" y="461"/>
                  </a:lnTo>
                  <a:lnTo>
                    <a:pt x="1562" y="459"/>
                  </a:lnTo>
                  <a:lnTo>
                    <a:pt x="1562" y="459"/>
                  </a:lnTo>
                  <a:lnTo>
                    <a:pt x="1562" y="457"/>
                  </a:lnTo>
                  <a:lnTo>
                    <a:pt x="1560" y="457"/>
                  </a:lnTo>
                  <a:close/>
                  <a:moveTo>
                    <a:pt x="1583" y="405"/>
                  </a:moveTo>
                  <a:lnTo>
                    <a:pt x="1583" y="403"/>
                  </a:lnTo>
                  <a:lnTo>
                    <a:pt x="1581" y="403"/>
                  </a:lnTo>
                  <a:lnTo>
                    <a:pt x="1581" y="403"/>
                  </a:lnTo>
                  <a:lnTo>
                    <a:pt x="1579" y="405"/>
                  </a:lnTo>
                  <a:lnTo>
                    <a:pt x="1579" y="405"/>
                  </a:lnTo>
                  <a:lnTo>
                    <a:pt x="1575" y="405"/>
                  </a:lnTo>
                  <a:lnTo>
                    <a:pt x="1573" y="407"/>
                  </a:lnTo>
                  <a:lnTo>
                    <a:pt x="1571" y="407"/>
                  </a:lnTo>
                  <a:lnTo>
                    <a:pt x="1571" y="407"/>
                  </a:lnTo>
                  <a:lnTo>
                    <a:pt x="1571" y="405"/>
                  </a:lnTo>
                  <a:lnTo>
                    <a:pt x="1571" y="405"/>
                  </a:lnTo>
                  <a:lnTo>
                    <a:pt x="1571" y="405"/>
                  </a:lnTo>
                  <a:lnTo>
                    <a:pt x="1571" y="403"/>
                  </a:lnTo>
                  <a:lnTo>
                    <a:pt x="1571" y="403"/>
                  </a:lnTo>
                  <a:lnTo>
                    <a:pt x="1569" y="401"/>
                  </a:lnTo>
                  <a:lnTo>
                    <a:pt x="1567" y="403"/>
                  </a:lnTo>
                  <a:lnTo>
                    <a:pt x="1567" y="403"/>
                  </a:lnTo>
                  <a:lnTo>
                    <a:pt x="1565" y="405"/>
                  </a:lnTo>
                  <a:lnTo>
                    <a:pt x="1560" y="410"/>
                  </a:lnTo>
                  <a:lnTo>
                    <a:pt x="1558" y="412"/>
                  </a:lnTo>
                  <a:lnTo>
                    <a:pt x="1554" y="414"/>
                  </a:lnTo>
                  <a:lnTo>
                    <a:pt x="1552" y="416"/>
                  </a:lnTo>
                  <a:lnTo>
                    <a:pt x="1550" y="418"/>
                  </a:lnTo>
                  <a:lnTo>
                    <a:pt x="1550" y="420"/>
                  </a:lnTo>
                  <a:lnTo>
                    <a:pt x="1546" y="422"/>
                  </a:lnTo>
                  <a:lnTo>
                    <a:pt x="1546" y="424"/>
                  </a:lnTo>
                  <a:lnTo>
                    <a:pt x="1544" y="426"/>
                  </a:lnTo>
                  <a:lnTo>
                    <a:pt x="1544" y="428"/>
                  </a:lnTo>
                  <a:lnTo>
                    <a:pt x="1542" y="428"/>
                  </a:lnTo>
                  <a:lnTo>
                    <a:pt x="1542" y="430"/>
                  </a:lnTo>
                  <a:lnTo>
                    <a:pt x="1542" y="430"/>
                  </a:lnTo>
                  <a:lnTo>
                    <a:pt x="1542" y="430"/>
                  </a:lnTo>
                  <a:lnTo>
                    <a:pt x="1540" y="432"/>
                  </a:lnTo>
                  <a:lnTo>
                    <a:pt x="1540" y="432"/>
                  </a:lnTo>
                  <a:lnTo>
                    <a:pt x="1538" y="434"/>
                  </a:lnTo>
                  <a:lnTo>
                    <a:pt x="1536" y="434"/>
                  </a:lnTo>
                  <a:lnTo>
                    <a:pt x="1534" y="436"/>
                  </a:lnTo>
                  <a:lnTo>
                    <a:pt x="1534" y="438"/>
                  </a:lnTo>
                  <a:lnTo>
                    <a:pt x="1534" y="438"/>
                  </a:lnTo>
                  <a:lnTo>
                    <a:pt x="1534" y="438"/>
                  </a:lnTo>
                  <a:lnTo>
                    <a:pt x="1532" y="438"/>
                  </a:lnTo>
                  <a:lnTo>
                    <a:pt x="1532" y="438"/>
                  </a:lnTo>
                  <a:lnTo>
                    <a:pt x="1532" y="438"/>
                  </a:lnTo>
                  <a:lnTo>
                    <a:pt x="1530" y="440"/>
                  </a:lnTo>
                  <a:lnTo>
                    <a:pt x="1530" y="440"/>
                  </a:lnTo>
                  <a:lnTo>
                    <a:pt x="1530" y="442"/>
                  </a:lnTo>
                  <a:lnTo>
                    <a:pt x="1530" y="442"/>
                  </a:lnTo>
                  <a:lnTo>
                    <a:pt x="1530" y="440"/>
                  </a:lnTo>
                  <a:lnTo>
                    <a:pt x="1528" y="440"/>
                  </a:lnTo>
                  <a:lnTo>
                    <a:pt x="1528" y="440"/>
                  </a:lnTo>
                  <a:lnTo>
                    <a:pt x="1528" y="440"/>
                  </a:lnTo>
                  <a:lnTo>
                    <a:pt x="1526" y="442"/>
                  </a:lnTo>
                  <a:lnTo>
                    <a:pt x="1523" y="442"/>
                  </a:lnTo>
                  <a:lnTo>
                    <a:pt x="1523" y="440"/>
                  </a:lnTo>
                  <a:lnTo>
                    <a:pt x="1521" y="442"/>
                  </a:lnTo>
                  <a:lnTo>
                    <a:pt x="1517" y="447"/>
                  </a:lnTo>
                  <a:lnTo>
                    <a:pt x="1511" y="447"/>
                  </a:lnTo>
                  <a:lnTo>
                    <a:pt x="1505" y="447"/>
                  </a:lnTo>
                  <a:lnTo>
                    <a:pt x="1501" y="447"/>
                  </a:lnTo>
                  <a:lnTo>
                    <a:pt x="1495" y="447"/>
                  </a:lnTo>
                  <a:lnTo>
                    <a:pt x="1489" y="447"/>
                  </a:lnTo>
                  <a:lnTo>
                    <a:pt x="1476" y="447"/>
                  </a:lnTo>
                  <a:lnTo>
                    <a:pt x="1472" y="447"/>
                  </a:lnTo>
                  <a:lnTo>
                    <a:pt x="1472" y="447"/>
                  </a:lnTo>
                  <a:lnTo>
                    <a:pt x="1470" y="449"/>
                  </a:lnTo>
                  <a:lnTo>
                    <a:pt x="1470" y="447"/>
                  </a:lnTo>
                  <a:lnTo>
                    <a:pt x="1468" y="449"/>
                  </a:lnTo>
                  <a:lnTo>
                    <a:pt x="1464" y="449"/>
                  </a:lnTo>
                  <a:lnTo>
                    <a:pt x="1460" y="453"/>
                  </a:lnTo>
                  <a:lnTo>
                    <a:pt x="1452" y="457"/>
                  </a:lnTo>
                  <a:lnTo>
                    <a:pt x="1452" y="457"/>
                  </a:lnTo>
                  <a:lnTo>
                    <a:pt x="1452" y="457"/>
                  </a:lnTo>
                  <a:lnTo>
                    <a:pt x="1452" y="457"/>
                  </a:lnTo>
                  <a:lnTo>
                    <a:pt x="1452" y="459"/>
                  </a:lnTo>
                  <a:lnTo>
                    <a:pt x="1452" y="459"/>
                  </a:lnTo>
                  <a:lnTo>
                    <a:pt x="1443" y="463"/>
                  </a:lnTo>
                  <a:lnTo>
                    <a:pt x="1441" y="463"/>
                  </a:lnTo>
                  <a:lnTo>
                    <a:pt x="1441" y="465"/>
                  </a:lnTo>
                  <a:lnTo>
                    <a:pt x="1441" y="465"/>
                  </a:lnTo>
                  <a:lnTo>
                    <a:pt x="1441" y="465"/>
                  </a:lnTo>
                  <a:lnTo>
                    <a:pt x="1443" y="465"/>
                  </a:lnTo>
                  <a:lnTo>
                    <a:pt x="1443" y="465"/>
                  </a:lnTo>
                  <a:lnTo>
                    <a:pt x="1443" y="465"/>
                  </a:lnTo>
                  <a:lnTo>
                    <a:pt x="1443" y="465"/>
                  </a:lnTo>
                  <a:lnTo>
                    <a:pt x="1443" y="465"/>
                  </a:lnTo>
                  <a:lnTo>
                    <a:pt x="1443" y="465"/>
                  </a:lnTo>
                  <a:lnTo>
                    <a:pt x="1443" y="465"/>
                  </a:lnTo>
                  <a:lnTo>
                    <a:pt x="1443" y="465"/>
                  </a:lnTo>
                  <a:lnTo>
                    <a:pt x="1443" y="467"/>
                  </a:lnTo>
                  <a:lnTo>
                    <a:pt x="1443" y="467"/>
                  </a:lnTo>
                  <a:lnTo>
                    <a:pt x="1443" y="467"/>
                  </a:lnTo>
                  <a:lnTo>
                    <a:pt x="1441" y="467"/>
                  </a:lnTo>
                  <a:lnTo>
                    <a:pt x="1441" y="467"/>
                  </a:lnTo>
                  <a:lnTo>
                    <a:pt x="1441" y="467"/>
                  </a:lnTo>
                  <a:lnTo>
                    <a:pt x="1441" y="467"/>
                  </a:lnTo>
                  <a:lnTo>
                    <a:pt x="1439" y="467"/>
                  </a:lnTo>
                  <a:lnTo>
                    <a:pt x="1439" y="469"/>
                  </a:lnTo>
                  <a:lnTo>
                    <a:pt x="1441" y="469"/>
                  </a:lnTo>
                  <a:lnTo>
                    <a:pt x="1441" y="469"/>
                  </a:lnTo>
                  <a:lnTo>
                    <a:pt x="1441" y="469"/>
                  </a:lnTo>
                  <a:lnTo>
                    <a:pt x="1439" y="471"/>
                  </a:lnTo>
                  <a:lnTo>
                    <a:pt x="1439" y="471"/>
                  </a:lnTo>
                  <a:lnTo>
                    <a:pt x="1439" y="471"/>
                  </a:lnTo>
                  <a:lnTo>
                    <a:pt x="1439" y="471"/>
                  </a:lnTo>
                  <a:lnTo>
                    <a:pt x="1439" y="473"/>
                  </a:lnTo>
                  <a:lnTo>
                    <a:pt x="1439" y="473"/>
                  </a:lnTo>
                  <a:lnTo>
                    <a:pt x="1439" y="473"/>
                  </a:lnTo>
                  <a:lnTo>
                    <a:pt x="1439" y="473"/>
                  </a:lnTo>
                  <a:lnTo>
                    <a:pt x="1437" y="473"/>
                  </a:lnTo>
                  <a:lnTo>
                    <a:pt x="1437" y="473"/>
                  </a:lnTo>
                  <a:lnTo>
                    <a:pt x="1435" y="475"/>
                  </a:lnTo>
                  <a:lnTo>
                    <a:pt x="1433" y="475"/>
                  </a:lnTo>
                  <a:lnTo>
                    <a:pt x="1431" y="475"/>
                  </a:lnTo>
                  <a:lnTo>
                    <a:pt x="1431" y="477"/>
                  </a:lnTo>
                  <a:lnTo>
                    <a:pt x="1429" y="477"/>
                  </a:lnTo>
                  <a:lnTo>
                    <a:pt x="1429" y="477"/>
                  </a:lnTo>
                  <a:lnTo>
                    <a:pt x="1427" y="477"/>
                  </a:lnTo>
                  <a:lnTo>
                    <a:pt x="1427" y="477"/>
                  </a:lnTo>
                  <a:lnTo>
                    <a:pt x="1427" y="479"/>
                  </a:lnTo>
                  <a:lnTo>
                    <a:pt x="1425" y="479"/>
                  </a:lnTo>
                  <a:lnTo>
                    <a:pt x="1425" y="477"/>
                  </a:lnTo>
                  <a:lnTo>
                    <a:pt x="1425" y="477"/>
                  </a:lnTo>
                  <a:lnTo>
                    <a:pt x="1421" y="477"/>
                  </a:lnTo>
                  <a:lnTo>
                    <a:pt x="1419" y="477"/>
                  </a:lnTo>
                  <a:lnTo>
                    <a:pt x="1417" y="479"/>
                  </a:lnTo>
                  <a:lnTo>
                    <a:pt x="1417" y="477"/>
                  </a:lnTo>
                  <a:lnTo>
                    <a:pt x="1415" y="477"/>
                  </a:lnTo>
                  <a:lnTo>
                    <a:pt x="1415" y="477"/>
                  </a:lnTo>
                  <a:lnTo>
                    <a:pt x="1409" y="475"/>
                  </a:lnTo>
                  <a:lnTo>
                    <a:pt x="1404" y="477"/>
                  </a:lnTo>
                  <a:lnTo>
                    <a:pt x="1400" y="477"/>
                  </a:lnTo>
                  <a:lnTo>
                    <a:pt x="1396" y="477"/>
                  </a:lnTo>
                  <a:lnTo>
                    <a:pt x="1396" y="477"/>
                  </a:lnTo>
                  <a:lnTo>
                    <a:pt x="1396" y="477"/>
                  </a:lnTo>
                  <a:lnTo>
                    <a:pt x="1394" y="481"/>
                  </a:lnTo>
                  <a:lnTo>
                    <a:pt x="1396" y="481"/>
                  </a:lnTo>
                  <a:lnTo>
                    <a:pt x="1396" y="481"/>
                  </a:lnTo>
                  <a:lnTo>
                    <a:pt x="1396" y="484"/>
                  </a:lnTo>
                  <a:lnTo>
                    <a:pt x="1394" y="484"/>
                  </a:lnTo>
                  <a:lnTo>
                    <a:pt x="1394" y="484"/>
                  </a:lnTo>
                  <a:lnTo>
                    <a:pt x="1394" y="486"/>
                  </a:lnTo>
                  <a:lnTo>
                    <a:pt x="1394" y="486"/>
                  </a:lnTo>
                  <a:lnTo>
                    <a:pt x="1394" y="488"/>
                  </a:lnTo>
                  <a:lnTo>
                    <a:pt x="1394" y="488"/>
                  </a:lnTo>
                  <a:lnTo>
                    <a:pt x="1392" y="488"/>
                  </a:lnTo>
                  <a:lnTo>
                    <a:pt x="1390" y="490"/>
                  </a:lnTo>
                  <a:lnTo>
                    <a:pt x="1390" y="490"/>
                  </a:lnTo>
                  <a:lnTo>
                    <a:pt x="1388" y="492"/>
                  </a:lnTo>
                  <a:lnTo>
                    <a:pt x="1386" y="492"/>
                  </a:lnTo>
                  <a:lnTo>
                    <a:pt x="1384" y="494"/>
                  </a:lnTo>
                  <a:lnTo>
                    <a:pt x="1382" y="494"/>
                  </a:lnTo>
                  <a:lnTo>
                    <a:pt x="1378" y="496"/>
                  </a:lnTo>
                  <a:lnTo>
                    <a:pt x="1372" y="498"/>
                  </a:lnTo>
                  <a:lnTo>
                    <a:pt x="1372" y="498"/>
                  </a:lnTo>
                  <a:lnTo>
                    <a:pt x="1369" y="500"/>
                  </a:lnTo>
                  <a:lnTo>
                    <a:pt x="1369" y="500"/>
                  </a:lnTo>
                  <a:lnTo>
                    <a:pt x="1367" y="500"/>
                  </a:lnTo>
                  <a:lnTo>
                    <a:pt x="1357" y="502"/>
                  </a:lnTo>
                  <a:lnTo>
                    <a:pt x="1351" y="506"/>
                  </a:lnTo>
                  <a:lnTo>
                    <a:pt x="1347" y="506"/>
                  </a:lnTo>
                  <a:lnTo>
                    <a:pt x="1345" y="508"/>
                  </a:lnTo>
                  <a:lnTo>
                    <a:pt x="1343" y="510"/>
                  </a:lnTo>
                  <a:lnTo>
                    <a:pt x="1341" y="510"/>
                  </a:lnTo>
                  <a:lnTo>
                    <a:pt x="1339" y="510"/>
                  </a:lnTo>
                  <a:lnTo>
                    <a:pt x="1337" y="510"/>
                  </a:lnTo>
                  <a:lnTo>
                    <a:pt x="1335" y="510"/>
                  </a:lnTo>
                  <a:lnTo>
                    <a:pt x="1333" y="512"/>
                  </a:lnTo>
                  <a:lnTo>
                    <a:pt x="1330" y="512"/>
                  </a:lnTo>
                  <a:lnTo>
                    <a:pt x="1330" y="512"/>
                  </a:lnTo>
                  <a:lnTo>
                    <a:pt x="1330" y="512"/>
                  </a:lnTo>
                  <a:lnTo>
                    <a:pt x="1328" y="510"/>
                  </a:lnTo>
                  <a:lnTo>
                    <a:pt x="1328" y="510"/>
                  </a:lnTo>
                  <a:lnTo>
                    <a:pt x="1328" y="510"/>
                  </a:lnTo>
                  <a:lnTo>
                    <a:pt x="1326" y="510"/>
                  </a:lnTo>
                  <a:lnTo>
                    <a:pt x="1326" y="510"/>
                  </a:lnTo>
                  <a:lnTo>
                    <a:pt x="1324" y="510"/>
                  </a:lnTo>
                  <a:lnTo>
                    <a:pt x="1324" y="510"/>
                  </a:lnTo>
                  <a:lnTo>
                    <a:pt x="1322" y="510"/>
                  </a:lnTo>
                  <a:lnTo>
                    <a:pt x="1324" y="510"/>
                  </a:lnTo>
                  <a:lnTo>
                    <a:pt x="1328" y="510"/>
                  </a:lnTo>
                  <a:lnTo>
                    <a:pt x="1328" y="510"/>
                  </a:lnTo>
                  <a:lnTo>
                    <a:pt x="1326" y="508"/>
                  </a:lnTo>
                  <a:lnTo>
                    <a:pt x="1326" y="508"/>
                  </a:lnTo>
                  <a:lnTo>
                    <a:pt x="1326" y="508"/>
                  </a:lnTo>
                  <a:lnTo>
                    <a:pt x="1326" y="508"/>
                  </a:lnTo>
                  <a:lnTo>
                    <a:pt x="1324" y="510"/>
                  </a:lnTo>
                  <a:lnTo>
                    <a:pt x="1324" y="510"/>
                  </a:lnTo>
                  <a:lnTo>
                    <a:pt x="1324" y="508"/>
                  </a:lnTo>
                  <a:lnTo>
                    <a:pt x="1324" y="508"/>
                  </a:lnTo>
                  <a:lnTo>
                    <a:pt x="1322" y="506"/>
                  </a:lnTo>
                  <a:lnTo>
                    <a:pt x="1320" y="506"/>
                  </a:lnTo>
                  <a:lnTo>
                    <a:pt x="1320" y="506"/>
                  </a:lnTo>
                  <a:lnTo>
                    <a:pt x="1318" y="506"/>
                  </a:lnTo>
                  <a:lnTo>
                    <a:pt x="1318" y="506"/>
                  </a:lnTo>
                  <a:lnTo>
                    <a:pt x="1318" y="506"/>
                  </a:lnTo>
                  <a:lnTo>
                    <a:pt x="1320" y="504"/>
                  </a:lnTo>
                  <a:lnTo>
                    <a:pt x="1322" y="502"/>
                  </a:lnTo>
                  <a:lnTo>
                    <a:pt x="1322" y="502"/>
                  </a:lnTo>
                  <a:lnTo>
                    <a:pt x="1322" y="502"/>
                  </a:lnTo>
                  <a:lnTo>
                    <a:pt x="1322" y="502"/>
                  </a:lnTo>
                  <a:lnTo>
                    <a:pt x="1322" y="502"/>
                  </a:lnTo>
                  <a:lnTo>
                    <a:pt x="1324" y="502"/>
                  </a:lnTo>
                  <a:lnTo>
                    <a:pt x="1324" y="500"/>
                  </a:lnTo>
                  <a:lnTo>
                    <a:pt x="1324" y="500"/>
                  </a:lnTo>
                  <a:lnTo>
                    <a:pt x="1324" y="500"/>
                  </a:lnTo>
                  <a:lnTo>
                    <a:pt x="1326" y="498"/>
                  </a:lnTo>
                  <a:lnTo>
                    <a:pt x="1326" y="498"/>
                  </a:lnTo>
                  <a:lnTo>
                    <a:pt x="1328" y="496"/>
                  </a:lnTo>
                  <a:lnTo>
                    <a:pt x="1328" y="496"/>
                  </a:lnTo>
                  <a:lnTo>
                    <a:pt x="1330" y="496"/>
                  </a:lnTo>
                  <a:lnTo>
                    <a:pt x="1330" y="494"/>
                  </a:lnTo>
                  <a:lnTo>
                    <a:pt x="1333" y="494"/>
                  </a:lnTo>
                  <a:lnTo>
                    <a:pt x="1333" y="494"/>
                  </a:lnTo>
                  <a:lnTo>
                    <a:pt x="1333" y="492"/>
                  </a:lnTo>
                  <a:lnTo>
                    <a:pt x="1335" y="492"/>
                  </a:lnTo>
                  <a:lnTo>
                    <a:pt x="1335" y="490"/>
                  </a:lnTo>
                  <a:lnTo>
                    <a:pt x="1335" y="490"/>
                  </a:lnTo>
                  <a:lnTo>
                    <a:pt x="1335" y="490"/>
                  </a:lnTo>
                  <a:lnTo>
                    <a:pt x="1337" y="490"/>
                  </a:lnTo>
                  <a:lnTo>
                    <a:pt x="1337" y="490"/>
                  </a:lnTo>
                  <a:lnTo>
                    <a:pt x="1337" y="490"/>
                  </a:lnTo>
                  <a:lnTo>
                    <a:pt x="1339" y="490"/>
                  </a:lnTo>
                  <a:lnTo>
                    <a:pt x="1339" y="490"/>
                  </a:lnTo>
                  <a:lnTo>
                    <a:pt x="1337" y="490"/>
                  </a:lnTo>
                  <a:lnTo>
                    <a:pt x="1337" y="492"/>
                  </a:lnTo>
                  <a:lnTo>
                    <a:pt x="1337" y="492"/>
                  </a:lnTo>
                  <a:lnTo>
                    <a:pt x="1339" y="490"/>
                  </a:lnTo>
                  <a:lnTo>
                    <a:pt x="1341" y="488"/>
                  </a:lnTo>
                  <a:lnTo>
                    <a:pt x="1345" y="484"/>
                  </a:lnTo>
                  <a:lnTo>
                    <a:pt x="1345" y="484"/>
                  </a:lnTo>
                  <a:lnTo>
                    <a:pt x="1343" y="481"/>
                  </a:lnTo>
                  <a:lnTo>
                    <a:pt x="1345" y="477"/>
                  </a:lnTo>
                  <a:lnTo>
                    <a:pt x="1347" y="471"/>
                  </a:lnTo>
                  <a:lnTo>
                    <a:pt x="1347" y="469"/>
                  </a:lnTo>
                  <a:lnTo>
                    <a:pt x="1347" y="467"/>
                  </a:lnTo>
                  <a:lnTo>
                    <a:pt x="1347" y="465"/>
                  </a:lnTo>
                  <a:lnTo>
                    <a:pt x="1345" y="465"/>
                  </a:lnTo>
                  <a:lnTo>
                    <a:pt x="1345" y="465"/>
                  </a:lnTo>
                  <a:lnTo>
                    <a:pt x="1343" y="465"/>
                  </a:lnTo>
                  <a:lnTo>
                    <a:pt x="1343" y="465"/>
                  </a:lnTo>
                  <a:lnTo>
                    <a:pt x="1341" y="465"/>
                  </a:lnTo>
                  <a:lnTo>
                    <a:pt x="1339" y="465"/>
                  </a:lnTo>
                  <a:lnTo>
                    <a:pt x="1339" y="467"/>
                  </a:lnTo>
                  <a:lnTo>
                    <a:pt x="1337" y="467"/>
                  </a:lnTo>
                  <a:lnTo>
                    <a:pt x="1337" y="467"/>
                  </a:lnTo>
                  <a:lnTo>
                    <a:pt x="1337" y="467"/>
                  </a:lnTo>
                  <a:lnTo>
                    <a:pt x="1337" y="467"/>
                  </a:lnTo>
                  <a:lnTo>
                    <a:pt x="1337" y="467"/>
                  </a:lnTo>
                  <a:lnTo>
                    <a:pt x="1335" y="469"/>
                  </a:lnTo>
                  <a:lnTo>
                    <a:pt x="1335" y="471"/>
                  </a:lnTo>
                  <a:lnTo>
                    <a:pt x="1333" y="471"/>
                  </a:lnTo>
                  <a:lnTo>
                    <a:pt x="1333" y="471"/>
                  </a:lnTo>
                  <a:lnTo>
                    <a:pt x="1330" y="471"/>
                  </a:lnTo>
                  <a:lnTo>
                    <a:pt x="1330" y="473"/>
                  </a:lnTo>
                  <a:lnTo>
                    <a:pt x="1328" y="471"/>
                  </a:lnTo>
                  <a:lnTo>
                    <a:pt x="1328" y="471"/>
                  </a:lnTo>
                  <a:lnTo>
                    <a:pt x="1326" y="471"/>
                  </a:lnTo>
                  <a:lnTo>
                    <a:pt x="1326" y="471"/>
                  </a:lnTo>
                  <a:lnTo>
                    <a:pt x="1328" y="469"/>
                  </a:lnTo>
                  <a:lnTo>
                    <a:pt x="1328" y="469"/>
                  </a:lnTo>
                  <a:lnTo>
                    <a:pt x="1328" y="467"/>
                  </a:lnTo>
                  <a:lnTo>
                    <a:pt x="1330" y="467"/>
                  </a:lnTo>
                  <a:lnTo>
                    <a:pt x="1330" y="465"/>
                  </a:lnTo>
                  <a:lnTo>
                    <a:pt x="1333" y="465"/>
                  </a:lnTo>
                  <a:lnTo>
                    <a:pt x="1333" y="465"/>
                  </a:lnTo>
                  <a:lnTo>
                    <a:pt x="1333" y="465"/>
                  </a:lnTo>
                  <a:lnTo>
                    <a:pt x="1335" y="465"/>
                  </a:lnTo>
                  <a:lnTo>
                    <a:pt x="1335" y="465"/>
                  </a:lnTo>
                  <a:lnTo>
                    <a:pt x="1337" y="463"/>
                  </a:lnTo>
                  <a:lnTo>
                    <a:pt x="1337" y="461"/>
                  </a:lnTo>
                  <a:lnTo>
                    <a:pt x="1339" y="461"/>
                  </a:lnTo>
                  <a:lnTo>
                    <a:pt x="1339" y="461"/>
                  </a:lnTo>
                  <a:lnTo>
                    <a:pt x="1339" y="461"/>
                  </a:lnTo>
                  <a:lnTo>
                    <a:pt x="1339" y="461"/>
                  </a:lnTo>
                  <a:lnTo>
                    <a:pt x="1341" y="459"/>
                  </a:lnTo>
                  <a:lnTo>
                    <a:pt x="1341" y="459"/>
                  </a:lnTo>
                  <a:lnTo>
                    <a:pt x="1343" y="459"/>
                  </a:lnTo>
                  <a:lnTo>
                    <a:pt x="1343" y="455"/>
                  </a:lnTo>
                  <a:lnTo>
                    <a:pt x="1345" y="455"/>
                  </a:lnTo>
                  <a:lnTo>
                    <a:pt x="1345" y="453"/>
                  </a:lnTo>
                  <a:lnTo>
                    <a:pt x="1345" y="451"/>
                  </a:lnTo>
                  <a:lnTo>
                    <a:pt x="1345" y="451"/>
                  </a:lnTo>
                  <a:lnTo>
                    <a:pt x="1345" y="449"/>
                  </a:lnTo>
                  <a:lnTo>
                    <a:pt x="1345" y="449"/>
                  </a:lnTo>
                  <a:lnTo>
                    <a:pt x="1345" y="447"/>
                  </a:lnTo>
                  <a:lnTo>
                    <a:pt x="1345" y="444"/>
                  </a:lnTo>
                  <a:lnTo>
                    <a:pt x="1347" y="444"/>
                  </a:lnTo>
                  <a:lnTo>
                    <a:pt x="1347" y="447"/>
                  </a:lnTo>
                  <a:lnTo>
                    <a:pt x="1347" y="444"/>
                  </a:lnTo>
                  <a:lnTo>
                    <a:pt x="1347" y="444"/>
                  </a:lnTo>
                  <a:lnTo>
                    <a:pt x="1347" y="444"/>
                  </a:lnTo>
                  <a:lnTo>
                    <a:pt x="1347" y="444"/>
                  </a:lnTo>
                  <a:lnTo>
                    <a:pt x="1347" y="442"/>
                  </a:lnTo>
                  <a:lnTo>
                    <a:pt x="1347" y="442"/>
                  </a:lnTo>
                  <a:lnTo>
                    <a:pt x="1347" y="442"/>
                  </a:lnTo>
                  <a:lnTo>
                    <a:pt x="1347" y="442"/>
                  </a:lnTo>
                  <a:lnTo>
                    <a:pt x="1347" y="442"/>
                  </a:lnTo>
                  <a:lnTo>
                    <a:pt x="1347" y="440"/>
                  </a:lnTo>
                  <a:lnTo>
                    <a:pt x="1347" y="440"/>
                  </a:lnTo>
                  <a:lnTo>
                    <a:pt x="1345" y="440"/>
                  </a:lnTo>
                  <a:lnTo>
                    <a:pt x="1343" y="438"/>
                  </a:lnTo>
                  <a:lnTo>
                    <a:pt x="1343" y="438"/>
                  </a:lnTo>
                  <a:lnTo>
                    <a:pt x="1341" y="438"/>
                  </a:lnTo>
                  <a:lnTo>
                    <a:pt x="1341" y="436"/>
                  </a:lnTo>
                  <a:lnTo>
                    <a:pt x="1339" y="436"/>
                  </a:lnTo>
                  <a:lnTo>
                    <a:pt x="1339" y="436"/>
                  </a:lnTo>
                  <a:lnTo>
                    <a:pt x="1339" y="436"/>
                  </a:lnTo>
                  <a:lnTo>
                    <a:pt x="1339" y="434"/>
                  </a:lnTo>
                  <a:lnTo>
                    <a:pt x="1337" y="434"/>
                  </a:lnTo>
                  <a:lnTo>
                    <a:pt x="1337" y="434"/>
                  </a:lnTo>
                  <a:lnTo>
                    <a:pt x="1335" y="434"/>
                  </a:lnTo>
                  <a:lnTo>
                    <a:pt x="1333" y="432"/>
                  </a:lnTo>
                  <a:lnTo>
                    <a:pt x="1333" y="432"/>
                  </a:lnTo>
                  <a:lnTo>
                    <a:pt x="1333" y="432"/>
                  </a:lnTo>
                  <a:lnTo>
                    <a:pt x="1330" y="432"/>
                  </a:lnTo>
                  <a:lnTo>
                    <a:pt x="1328" y="432"/>
                  </a:lnTo>
                  <a:lnTo>
                    <a:pt x="1328" y="432"/>
                  </a:lnTo>
                  <a:lnTo>
                    <a:pt x="1328" y="432"/>
                  </a:lnTo>
                  <a:lnTo>
                    <a:pt x="1328" y="434"/>
                  </a:lnTo>
                  <a:lnTo>
                    <a:pt x="1326" y="434"/>
                  </a:lnTo>
                  <a:lnTo>
                    <a:pt x="1326" y="436"/>
                  </a:lnTo>
                  <a:lnTo>
                    <a:pt x="1326" y="436"/>
                  </a:lnTo>
                  <a:lnTo>
                    <a:pt x="1324" y="438"/>
                  </a:lnTo>
                  <a:lnTo>
                    <a:pt x="1326" y="438"/>
                  </a:lnTo>
                  <a:lnTo>
                    <a:pt x="1326" y="438"/>
                  </a:lnTo>
                  <a:lnTo>
                    <a:pt x="1326" y="438"/>
                  </a:lnTo>
                  <a:lnTo>
                    <a:pt x="1326" y="438"/>
                  </a:lnTo>
                  <a:lnTo>
                    <a:pt x="1326" y="438"/>
                  </a:lnTo>
                  <a:lnTo>
                    <a:pt x="1324" y="440"/>
                  </a:lnTo>
                  <a:lnTo>
                    <a:pt x="1324" y="440"/>
                  </a:lnTo>
                  <a:lnTo>
                    <a:pt x="1322" y="440"/>
                  </a:lnTo>
                  <a:lnTo>
                    <a:pt x="1320" y="440"/>
                  </a:lnTo>
                  <a:lnTo>
                    <a:pt x="1318" y="442"/>
                  </a:lnTo>
                  <a:lnTo>
                    <a:pt x="1318" y="442"/>
                  </a:lnTo>
                  <a:lnTo>
                    <a:pt x="1318" y="442"/>
                  </a:lnTo>
                  <a:lnTo>
                    <a:pt x="1318" y="444"/>
                  </a:lnTo>
                  <a:lnTo>
                    <a:pt x="1316" y="447"/>
                  </a:lnTo>
                  <a:lnTo>
                    <a:pt x="1316" y="449"/>
                  </a:lnTo>
                  <a:lnTo>
                    <a:pt x="1314" y="451"/>
                  </a:lnTo>
                  <a:lnTo>
                    <a:pt x="1312" y="453"/>
                  </a:lnTo>
                  <a:lnTo>
                    <a:pt x="1312" y="453"/>
                  </a:lnTo>
                  <a:lnTo>
                    <a:pt x="1312" y="451"/>
                  </a:lnTo>
                  <a:lnTo>
                    <a:pt x="1314" y="449"/>
                  </a:lnTo>
                  <a:lnTo>
                    <a:pt x="1314" y="449"/>
                  </a:lnTo>
                  <a:lnTo>
                    <a:pt x="1314" y="449"/>
                  </a:lnTo>
                  <a:lnTo>
                    <a:pt x="1314" y="449"/>
                  </a:lnTo>
                  <a:lnTo>
                    <a:pt x="1314" y="449"/>
                  </a:lnTo>
                  <a:lnTo>
                    <a:pt x="1314" y="449"/>
                  </a:lnTo>
                  <a:lnTo>
                    <a:pt x="1314" y="449"/>
                  </a:lnTo>
                  <a:lnTo>
                    <a:pt x="1314" y="449"/>
                  </a:lnTo>
                  <a:lnTo>
                    <a:pt x="1314" y="451"/>
                  </a:lnTo>
                  <a:lnTo>
                    <a:pt x="1312" y="451"/>
                  </a:lnTo>
                  <a:lnTo>
                    <a:pt x="1312" y="451"/>
                  </a:lnTo>
                  <a:lnTo>
                    <a:pt x="1312" y="451"/>
                  </a:lnTo>
                  <a:lnTo>
                    <a:pt x="1312" y="451"/>
                  </a:lnTo>
                  <a:lnTo>
                    <a:pt x="1314" y="449"/>
                  </a:lnTo>
                  <a:lnTo>
                    <a:pt x="1314" y="449"/>
                  </a:lnTo>
                  <a:lnTo>
                    <a:pt x="1314" y="447"/>
                  </a:lnTo>
                  <a:lnTo>
                    <a:pt x="1314" y="444"/>
                  </a:lnTo>
                  <a:lnTo>
                    <a:pt x="1314" y="444"/>
                  </a:lnTo>
                  <a:lnTo>
                    <a:pt x="1314" y="444"/>
                  </a:lnTo>
                  <a:lnTo>
                    <a:pt x="1316" y="442"/>
                  </a:lnTo>
                  <a:lnTo>
                    <a:pt x="1316" y="442"/>
                  </a:lnTo>
                  <a:lnTo>
                    <a:pt x="1314" y="442"/>
                  </a:lnTo>
                  <a:lnTo>
                    <a:pt x="1314" y="444"/>
                  </a:lnTo>
                  <a:lnTo>
                    <a:pt x="1310" y="447"/>
                  </a:lnTo>
                  <a:lnTo>
                    <a:pt x="1310" y="449"/>
                  </a:lnTo>
                  <a:lnTo>
                    <a:pt x="1308" y="449"/>
                  </a:lnTo>
                  <a:lnTo>
                    <a:pt x="1308" y="449"/>
                  </a:lnTo>
                  <a:lnTo>
                    <a:pt x="1308" y="449"/>
                  </a:lnTo>
                  <a:lnTo>
                    <a:pt x="1306" y="449"/>
                  </a:lnTo>
                  <a:lnTo>
                    <a:pt x="1306" y="449"/>
                  </a:lnTo>
                  <a:lnTo>
                    <a:pt x="1306" y="451"/>
                  </a:lnTo>
                  <a:lnTo>
                    <a:pt x="1304" y="451"/>
                  </a:lnTo>
                  <a:lnTo>
                    <a:pt x="1304" y="453"/>
                  </a:lnTo>
                  <a:lnTo>
                    <a:pt x="1302" y="453"/>
                  </a:lnTo>
                  <a:lnTo>
                    <a:pt x="1302" y="453"/>
                  </a:lnTo>
                  <a:lnTo>
                    <a:pt x="1302" y="453"/>
                  </a:lnTo>
                  <a:lnTo>
                    <a:pt x="1302" y="455"/>
                  </a:lnTo>
                  <a:lnTo>
                    <a:pt x="1300" y="457"/>
                  </a:lnTo>
                  <a:lnTo>
                    <a:pt x="1300" y="459"/>
                  </a:lnTo>
                  <a:lnTo>
                    <a:pt x="1298" y="459"/>
                  </a:lnTo>
                  <a:lnTo>
                    <a:pt x="1296" y="461"/>
                  </a:lnTo>
                  <a:lnTo>
                    <a:pt x="1296" y="463"/>
                  </a:lnTo>
                  <a:lnTo>
                    <a:pt x="1291" y="465"/>
                  </a:lnTo>
                  <a:lnTo>
                    <a:pt x="1291" y="465"/>
                  </a:lnTo>
                  <a:lnTo>
                    <a:pt x="1291" y="465"/>
                  </a:lnTo>
                  <a:lnTo>
                    <a:pt x="1291" y="467"/>
                  </a:lnTo>
                  <a:lnTo>
                    <a:pt x="1291" y="469"/>
                  </a:lnTo>
                  <a:lnTo>
                    <a:pt x="1291" y="469"/>
                  </a:lnTo>
                  <a:lnTo>
                    <a:pt x="1289" y="471"/>
                  </a:lnTo>
                  <a:lnTo>
                    <a:pt x="1289" y="471"/>
                  </a:lnTo>
                  <a:lnTo>
                    <a:pt x="1287" y="475"/>
                  </a:lnTo>
                  <a:lnTo>
                    <a:pt x="1287" y="479"/>
                  </a:lnTo>
                  <a:lnTo>
                    <a:pt x="1287" y="479"/>
                  </a:lnTo>
                  <a:lnTo>
                    <a:pt x="1287" y="481"/>
                  </a:lnTo>
                  <a:lnTo>
                    <a:pt x="1287" y="484"/>
                  </a:lnTo>
                  <a:lnTo>
                    <a:pt x="1287" y="486"/>
                  </a:lnTo>
                  <a:lnTo>
                    <a:pt x="1285" y="488"/>
                  </a:lnTo>
                  <a:lnTo>
                    <a:pt x="1285" y="490"/>
                  </a:lnTo>
                  <a:lnTo>
                    <a:pt x="1283" y="492"/>
                  </a:lnTo>
                  <a:lnTo>
                    <a:pt x="1281" y="494"/>
                  </a:lnTo>
                  <a:lnTo>
                    <a:pt x="1281" y="496"/>
                  </a:lnTo>
                  <a:lnTo>
                    <a:pt x="1279" y="498"/>
                  </a:lnTo>
                  <a:lnTo>
                    <a:pt x="1277" y="500"/>
                  </a:lnTo>
                  <a:lnTo>
                    <a:pt x="1275" y="502"/>
                  </a:lnTo>
                  <a:lnTo>
                    <a:pt x="1273" y="502"/>
                  </a:lnTo>
                  <a:lnTo>
                    <a:pt x="1271" y="504"/>
                  </a:lnTo>
                  <a:lnTo>
                    <a:pt x="1269" y="504"/>
                  </a:lnTo>
                  <a:lnTo>
                    <a:pt x="1265" y="506"/>
                  </a:lnTo>
                  <a:lnTo>
                    <a:pt x="1263" y="508"/>
                  </a:lnTo>
                  <a:lnTo>
                    <a:pt x="1263" y="508"/>
                  </a:lnTo>
                  <a:lnTo>
                    <a:pt x="1261" y="508"/>
                  </a:lnTo>
                  <a:lnTo>
                    <a:pt x="1259" y="508"/>
                  </a:lnTo>
                  <a:lnTo>
                    <a:pt x="1259" y="506"/>
                  </a:lnTo>
                  <a:lnTo>
                    <a:pt x="1259" y="506"/>
                  </a:lnTo>
                  <a:lnTo>
                    <a:pt x="1259" y="506"/>
                  </a:lnTo>
                  <a:lnTo>
                    <a:pt x="1259" y="506"/>
                  </a:lnTo>
                  <a:lnTo>
                    <a:pt x="1259" y="506"/>
                  </a:lnTo>
                  <a:lnTo>
                    <a:pt x="1259" y="504"/>
                  </a:lnTo>
                  <a:lnTo>
                    <a:pt x="1259" y="502"/>
                  </a:lnTo>
                  <a:lnTo>
                    <a:pt x="1259" y="500"/>
                  </a:lnTo>
                  <a:lnTo>
                    <a:pt x="1259" y="500"/>
                  </a:lnTo>
                  <a:lnTo>
                    <a:pt x="1259" y="498"/>
                  </a:lnTo>
                  <a:lnTo>
                    <a:pt x="1259" y="498"/>
                  </a:lnTo>
                  <a:lnTo>
                    <a:pt x="1259" y="496"/>
                  </a:lnTo>
                  <a:lnTo>
                    <a:pt x="1261" y="492"/>
                  </a:lnTo>
                  <a:lnTo>
                    <a:pt x="1263" y="490"/>
                  </a:lnTo>
                  <a:lnTo>
                    <a:pt x="1263" y="488"/>
                  </a:lnTo>
                  <a:lnTo>
                    <a:pt x="1263" y="488"/>
                  </a:lnTo>
                  <a:lnTo>
                    <a:pt x="1263" y="486"/>
                  </a:lnTo>
                  <a:lnTo>
                    <a:pt x="1263" y="486"/>
                  </a:lnTo>
                  <a:lnTo>
                    <a:pt x="1263" y="484"/>
                  </a:lnTo>
                  <a:lnTo>
                    <a:pt x="1263" y="484"/>
                  </a:lnTo>
                  <a:lnTo>
                    <a:pt x="1263" y="484"/>
                  </a:lnTo>
                  <a:lnTo>
                    <a:pt x="1263" y="484"/>
                  </a:lnTo>
                  <a:lnTo>
                    <a:pt x="1265" y="481"/>
                  </a:lnTo>
                  <a:lnTo>
                    <a:pt x="1265" y="481"/>
                  </a:lnTo>
                  <a:lnTo>
                    <a:pt x="1265" y="481"/>
                  </a:lnTo>
                  <a:lnTo>
                    <a:pt x="1265" y="481"/>
                  </a:lnTo>
                  <a:lnTo>
                    <a:pt x="1265" y="479"/>
                  </a:lnTo>
                  <a:lnTo>
                    <a:pt x="1265" y="479"/>
                  </a:lnTo>
                  <a:lnTo>
                    <a:pt x="1265" y="477"/>
                  </a:lnTo>
                  <a:lnTo>
                    <a:pt x="1267" y="477"/>
                  </a:lnTo>
                  <a:lnTo>
                    <a:pt x="1269" y="475"/>
                  </a:lnTo>
                  <a:lnTo>
                    <a:pt x="1269" y="475"/>
                  </a:lnTo>
                  <a:lnTo>
                    <a:pt x="1269" y="473"/>
                  </a:lnTo>
                  <a:lnTo>
                    <a:pt x="1271" y="473"/>
                  </a:lnTo>
                  <a:lnTo>
                    <a:pt x="1273" y="471"/>
                  </a:lnTo>
                  <a:lnTo>
                    <a:pt x="1273" y="469"/>
                  </a:lnTo>
                  <a:lnTo>
                    <a:pt x="1273" y="469"/>
                  </a:lnTo>
                  <a:lnTo>
                    <a:pt x="1273" y="469"/>
                  </a:lnTo>
                  <a:lnTo>
                    <a:pt x="1273" y="467"/>
                  </a:lnTo>
                  <a:lnTo>
                    <a:pt x="1275" y="465"/>
                  </a:lnTo>
                  <a:lnTo>
                    <a:pt x="1275" y="465"/>
                  </a:lnTo>
                  <a:lnTo>
                    <a:pt x="1277" y="463"/>
                  </a:lnTo>
                  <a:lnTo>
                    <a:pt x="1279" y="463"/>
                  </a:lnTo>
                  <a:lnTo>
                    <a:pt x="1279" y="461"/>
                  </a:lnTo>
                  <a:lnTo>
                    <a:pt x="1279" y="461"/>
                  </a:lnTo>
                  <a:lnTo>
                    <a:pt x="1281" y="459"/>
                  </a:lnTo>
                  <a:lnTo>
                    <a:pt x="1281" y="457"/>
                  </a:lnTo>
                  <a:lnTo>
                    <a:pt x="1283" y="455"/>
                  </a:lnTo>
                  <a:lnTo>
                    <a:pt x="1285" y="455"/>
                  </a:lnTo>
                  <a:lnTo>
                    <a:pt x="1285" y="453"/>
                  </a:lnTo>
                  <a:lnTo>
                    <a:pt x="1287" y="453"/>
                  </a:lnTo>
                  <a:lnTo>
                    <a:pt x="1287" y="451"/>
                  </a:lnTo>
                  <a:lnTo>
                    <a:pt x="1285" y="451"/>
                  </a:lnTo>
                  <a:lnTo>
                    <a:pt x="1285" y="451"/>
                  </a:lnTo>
                  <a:lnTo>
                    <a:pt x="1285" y="451"/>
                  </a:lnTo>
                  <a:lnTo>
                    <a:pt x="1283" y="451"/>
                  </a:lnTo>
                  <a:lnTo>
                    <a:pt x="1283" y="451"/>
                  </a:lnTo>
                  <a:lnTo>
                    <a:pt x="1283" y="451"/>
                  </a:lnTo>
                  <a:lnTo>
                    <a:pt x="1281" y="451"/>
                  </a:lnTo>
                  <a:lnTo>
                    <a:pt x="1279" y="453"/>
                  </a:lnTo>
                  <a:lnTo>
                    <a:pt x="1279" y="455"/>
                  </a:lnTo>
                  <a:lnTo>
                    <a:pt x="1277" y="455"/>
                  </a:lnTo>
                  <a:lnTo>
                    <a:pt x="1277" y="455"/>
                  </a:lnTo>
                  <a:lnTo>
                    <a:pt x="1275" y="455"/>
                  </a:lnTo>
                  <a:lnTo>
                    <a:pt x="1275" y="455"/>
                  </a:lnTo>
                  <a:lnTo>
                    <a:pt x="1275" y="455"/>
                  </a:lnTo>
                  <a:lnTo>
                    <a:pt x="1275" y="455"/>
                  </a:lnTo>
                  <a:lnTo>
                    <a:pt x="1277" y="453"/>
                  </a:lnTo>
                  <a:lnTo>
                    <a:pt x="1277" y="453"/>
                  </a:lnTo>
                  <a:lnTo>
                    <a:pt x="1279" y="451"/>
                  </a:lnTo>
                  <a:lnTo>
                    <a:pt x="1279" y="449"/>
                  </a:lnTo>
                  <a:lnTo>
                    <a:pt x="1281" y="449"/>
                  </a:lnTo>
                  <a:lnTo>
                    <a:pt x="1283" y="449"/>
                  </a:lnTo>
                  <a:lnTo>
                    <a:pt x="1285" y="447"/>
                  </a:lnTo>
                  <a:lnTo>
                    <a:pt x="1285" y="444"/>
                  </a:lnTo>
                  <a:lnTo>
                    <a:pt x="1285" y="444"/>
                  </a:lnTo>
                  <a:lnTo>
                    <a:pt x="1285" y="442"/>
                  </a:lnTo>
                  <a:lnTo>
                    <a:pt x="1287" y="442"/>
                  </a:lnTo>
                  <a:lnTo>
                    <a:pt x="1287" y="442"/>
                  </a:lnTo>
                  <a:lnTo>
                    <a:pt x="1291" y="440"/>
                  </a:lnTo>
                  <a:lnTo>
                    <a:pt x="1294" y="438"/>
                  </a:lnTo>
                  <a:lnTo>
                    <a:pt x="1296" y="436"/>
                  </a:lnTo>
                  <a:lnTo>
                    <a:pt x="1298" y="434"/>
                  </a:lnTo>
                  <a:lnTo>
                    <a:pt x="1298" y="434"/>
                  </a:lnTo>
                  <a:lnTo>
                    <a:pt x="1298" y="434"/>
                  </a:lnTo>
                  <a:lnTo>
                    <a:pt x="1300" y="432"/>
                  </a:lnTo>
                  <a:lnTo>
                    <a:pt x="1302" y="430"/>
                  </a:lnTo>
                  <a:lnTo>
                    <a:pt x="1302" y="430"/>
                  </a:lnTo>
                  <a:lnTo>
                    <a:pt x="1302" y="430"/>
                  </a:lnTo>
                  <a:lnTo>
                    <a:pt x="1300" y="432"/>
                  </a:lnTo>
                  <a:lnTo>
                    <a:pt x="1300" y="432"/>
                  </a:lnTo>
                  <a:lnTo>
                    <a:pt x="1300" y="434"/>
                  </a:lnTo>
                  <a:lnTo>
                    <a:pt x="1300" y="434"/>
                  </a:lnTo>
                  <a:lnTo>
                    <a:pt x="1302" y="434"/>
                  </a:lnTo>
                  <a:lnTo>
                    <a:pt x="1302" y="432"/>
                  </a:lnTo>
                  <a:lnTo>
                    <a:pt x="1304" y="432"/>
                  </a:lnTo>
                  <a:lnTo>
                    <a:pt x="1304" y="430"/>
                  </a:lnTo>
                  <a:lnTo>
                    <a:pt x="1304" y="432"/>
                  </a:lnTo>
                  <a:lnTo>
                    <a:pt x="1306" y="432"/>
                  </a:lnTo>
                  <a:lnTo>
                    <a:pt x="1306" y="430"/>
                  </a:lnTo>
                  <a:lnTo>
                    <a:pt x="1308" y="430"/>
                  </a:lnTo>
                  <a:lnTo>
                    <a:pt x="1308" y="430"/>
                  </a:lnTo>
                  <a:lnTo>
                    <a:pt x="1306" y="432"/>
                  </a:lnTo>
                  <a:lnTo>
                    <a:pt x="1306" y="432"/>
                  </a:lnTo>
                  <a:lnTo>
                    <a:pt x="1306" y="432"/>
                  </a:lnTo>
                  <a:lnTo>
                    <a:pt x="1304" y="432"/>
                  </a:lnTo>
                  <a:lnTo>
                    <a:pt x="1304" y="434"/>
                  </a:lnTo>
                  <a:lnTo>
                    <a:pt x="1304" y="434"/>
                  </a:lnTo>
                  <a:lnTo>
                    <a:pt x="1304" y="434"/>
                  </a:lnTo>
                  <a:lnTo>
                    <a:pt x="1304" y="434"/>
                  </a:lnTo>
                  <a:lnTo>
                    <a:pt x="1304" y="434"/>
                  </a:lnTo>
                  <a:lnTo>
                    <a:pt x="1304" y="434"/>
                  </a:lnTo>
                  <a:lnTo>
                    <a:pt x="1306" y="434"/>
                  </a:lnTo>
                  <a:lnTo>
                    <a:pt x="1306" y="432"/>
                  </a:lnTo>
                  <a:lnTo>
                    <a:pt x="1308" y="432"/>
                  </a:lnTo>
                  <a:lnTo>
                    <a:pt x="1310" y="432"/>
                  </a:lnTo>
                  <a:lnTo>
                    <a:pt x="1310" y="430"/>
                  </a:lnTo>
                  <a:lnTo>
                    <a:pt x="1312" y="430"/>
                  </a:lnTo>
                  <a:lnTo>
                    <a:pt x="1312" y="430"/>
                  </a:lnTo>
                  <a:lnTo>
                    <a:pt x="1314" y="428"/>
                  </a:lnTo>
                  <a:lnTo>
                    <a:pt x="1316" y="430"/>
                  </a:lnTo>
                  <a:lnTo>
                    <a:pt x="1316" y="430"/>
                  </a:lnTo>
                  <a:lnTo>
                    <a:pt x="1316" y="430"/>
                  </a:lnTo>
                  <a:lnTo>
                    <a:pt x="1318" y="430"/>
                  </a:lnTo>
                  <a:lnTo>
                    <a:pt x="1318" y="428"/>
                  </a:lnTo>
                  <a:lnTo>
                    <a:pt x="1320" y="428"/>
                  </a:lnTo>
                  <a:lnTo>
                    <a:pt x="1322" y="428"/>
                  </a:lnTo>
                  <a:lnTo>
                    <a:pt x="1324" y="428"/>
                  </a:lnTo>
                  <a:lnTo>
                    <a:pt x="1324" y="426"/>
                  </a:lnTo>
                  <a:lnTo>
                    <a:pt x="1326" y="426"/>
                  </a:lnTo>
                  <a:lnTo>
                    <a:pt x="1328" y="426"/>
                  </a:lnTo>
                  <a:lnTo>
                    <a:pt x="1330" y="428"/>
                  </a:lnTo>
                  <a:lnTo>
                    <a:pt x="1330" y="428"/>
                  </a:lnTo>
                  <a:lnTo>
                    <a:pt x="1333" y="430"/>
                  </a:lnTo>
                  <a:lnTo>
                    <a:pt x="1333" y="430"/>
                  </a:lnTo>
                  <a:lnTo>
                    <a:pt x="1333" y="430"/>
                  </a:lnTo>
                  <a:lnTo>
                    <a:pt x="1335" y="430"/>
                  </a:lnTo>
                  <a:lnTo>
                    <a:pt x="1335" y="430"/>
                  </a:lnTo>
                  <a:lnTo>
                    <a:pt x="1335" y="430"/>
                  </a:lnTo>
                  <a:lnTo>
                    <a:pt x="1335" y="430"/>
                  </a:lnTo>
                  <a:lnTo>
                    <a:pt x="1335" y="430"/>
                  </a:lnTo>
                  <a:lnTo>
                    <a:pt x="1337" y="428"/>
                  </a:lnTo>
                  <a:lnTo>
                    <a:pt x="1337" y="428"/>
                  </a:lnTo>
                  <a:lnTo>
                    <a:pt x="1337" y="428"/>
                  </a:lnTo>
                  <a:lnTo>
                    <a:pt x="1337" y="428"/>
                  </a:lnTo>
                  <a:lnTo>
                    <a:pt x="1337" y="428"/>
                  </a:lnTo>
                  <a:lnTo>
                    <a:pt x="1337" y="428"/>
                  </a:lnTo>
                  <a:lnTo>
                    <a:pt x="1339" y="428"/>
                  </a:lnTo>
                  <a:lnTo>
                    <a:pt x="1339" y="428"/>
                  </a:lnTo>
                  <a:lnTo>
                    <a:pt x="1339" y="428"/>
                  </a:lnTo>
                  <a:lnTo>
                    <a:pt x="1339" y="428"/>
                  </a:lnTo>
                  <a:lnTo>
                    <a:pt x="1341" y="428"/>
                  </a:lnTo>
                  <a:lnTo>
                    <a:pt x="1345" y="430"/>
                  </a:lnTo>
                  <a:lnTo>
                    <a:pt x="1345" y="428"/>
                  </a:lnTo>
                  <a:lnTo>
                    <a:pt x="1347" y="428"/>
                  </a:lnTo>
                  <a:lnTo>
                    <a:pt x="1347" y="428"/>
                  </a:lnTo>
                  <a:lnTo>
                    <a:pt x="1347" y="428"/>
                  </a:lnTo>
                  <a:lnTo>
                    <a:pt x="1345" y="428"/>
                  </a:lnTo>
                  <a:lnTo>
                    <a:pt x="1345" y="426"/>
                  </a:lnTo>
                  <a:lnTo>
                    <a:pt x="1345" y="426"/>
                  </a:lnTo>
                  <a:lnTo>
                    <a:pt x="1345" y="426"/>
                  </a:lnTo>
                  <a:lnTo>
                    <a:pt x="1345" y="426"/>
                  </a:lnTo>
                  <a:lnTo>
                    <a:pt x="1345" y="426"/>
                  </a:lnTo>
                  <a:lnTo>
                    <a:pt x="1343" y="426"/>
                  </a:lnTo>
                  <a:lnTo>
                    <a:pt x="1343" y="424"/>
                  </a:lnTo>
                  <a:lnTo>
                    <a:pt x="1343" y="424"/>
                  </a:lnTo>
                  <a:lnTo>
                    <a:pt x="1345" y="424"/>
                  </a:lnTo>
                  <a:lnTo>
                    <a:pt x="1345" y="424"/>
                  </a:lnTo>
                  <a:lnTo>
                    <a:pt x="1345" y="424"/>
                  </a:lnTo>
                  <a:lnTo>
                    <a:pt x="1345" y="422"/>
                  </a:lnTo>
                  <a:lnTo>
                    <a:pt x="1345" y="422"/>
                  </a:lnTo>
                  <a:lnTo>
                    <a:pt x="1345" y="420"/>
                  </a:lnTo>
                  <a:lnTo>
                    <a:pt x="1345" y="420"/>
                  </a:lnTo>
                  <a:lnTo>
                    <a:pt x="1345" y="420"/>
                  </a:lnTo>
                  <a:lnTo>
                    <a:pt x="1343" y="420"/>
                  </a:lnTo>
                  <a:lnTo>
                    <a:pt x="1343" y="420"/>
                  </a:lnTo>
                  <a:lnTo>
                    <a:pt x="1343" y="420"/>
                  </a:lnTo>
                  <a:lnTo>
                    <a:pt x="1341" y="420"/>
                  </a:lnTo>
                  <a:lnTo>
                    <a:pt x="1341" y="420"/>
                  </a:lnTo>
                  <a:lnTo>
                    <a:pt x="1341" y="420"/>
                  </a:lnTo>
                  <a:lnTo>
                    <a:pt x="1339" y="420"/>
                  </a:lnTo>
                  <a:lnTo>
                    <a:pt x="1339" y="420"/>
                  </a:lnTo>
                  <a:lnTo>
                    <a:pt x="1337" y="420"/>
                  </a:lnTo>
                  <a:lnTo>
                    <a:pt x="1337" y="420"/>
                  </a:lnTo>
                  <a:lnTo>
                    <a:pt x="1335" y="420"/>
                  </a:lnTo>
                  <a:lnTo>
                    <a:pt x="1335" y="420"/>
                  </a:lnTo>
                  <a:lnTo>
                    <a:pt x="1335" y="418"/>
                  </a:lnTo>
                  <a:lnTo>
                    <a:pt x="1335" y="418"/>
                  </a:lnTo>
                  <a:lnTo>
                    <a:pt x="1335" y="418"/>
                  </a:lnTo>
                  <a:lnTo>
                    <a:pt x="1337" y="416"/>
                  </a:lnTo>
                  <a:lnTo>
                    <a:pt x="1337" y="416"/>
                  </a:lnTo>
                  <a:lnTo>
                    <a:pt x="1339" y="414"/>
                  </a:lnTo>
                  <a:lnTo>
                    <a:pt x="1337" y="414"/>
                  </a:lnTo>
                  <a:lnTo>
                    <a:pt x="1335" y="414"/>
                  </a:lnTo>
                  <a:lnTo>
                    <a:pt x="1333" y="416"/>
                  </a:lnTo>
                  <a:lnTo>
                    <a:pt x="1330" y="416"/>
                  </a:lnTo>
                  <a:lnTo>
                    <a:pt x="1328" y="416"/>
                  </a:lnTo>
                  <a:lnTo>
                    <a:pt x="1324" y="416"/>
                  </a:lnTo>
                  <a:lnTo>
                    <a:pt x="1322" y="416"/>
                  </a:lnTo>
                  <a:lnTo>
                    <a:pt x="1320" y="416"/>
                  </a:lnTo>
                  <a:lnTo>
                    <a:pt x="1320" y="416"/>
                  </a:lnTo>
                  <a:lnTo>
                    <a:pt x="1318" y="416"/>
                  </a:lnTo>
                  <a:lnTo>
                    <a:pt x="1316" y="418"/>
                  </a:lnTo>
                  <a:lnTo>
                    <a:pt x="1314" y="420"/>
                  </a:lnTo>
                  <a:lnTo>
                    <a:pt x="1310" y="420"/>
                  </a:lnTo>
                  <a:lnTo>
                    <a:pt x="1310" y="420"/>
                  </a:lnTo>
                  <a:lnTo>
                    <a:pt x="1310" y="420"/>
                  </a:lnTo>
                  <a:lnTo>
                    <a:pt x="1310" y="420"/>
                  </a:lnTo>
                  <a:lnTo>
                    <a:pt x="1310" y="420"/>
                  </a:lnTo>
                  <a:lnTo>
                    <a:pt x="1308" y="420"/>
                  </a:lnTo>
                  <a:lnTo>
                    <a:pt x="1308" y="420"/>
                  </a:lnTo>
                  <a:lnTo>
                    <a:pt x="1306" y="420"/>
                  </a:lnTo>
                  <a:lnTo>
                    <a:pt x="1306" y="418"/>
                  </a:lnTo>
                  <a:lnTo>
                    <a:pt x="1306" y="420"/>
                  </a:lnTo>
                  <a:lnTo>
                    <a:pt x="1304" y="420"/>
                  </a:lnTo>
                  <a:lnTo>
                    <a:pt x="1302" y="420"/>
                  </a:lnTo>
                  <a:lnTo>
                    <a:pt x="1302" y="420"/>
                  </a:lnTo>
                  <a:lnTo>
                    <a:pt x="1302" y="418"/>
                  </a:lnTo>
                  <a:lnTo>
                    <a:pt x="1302" y="418"/>
                  </a:lnTo>
                  <a:lnTo>
                    <a:pt x="1302" y="418"/>
                  </a:lnTo>
                  <a:lnTo>
                    <a:pt x="1300" y="416"/>
                  </a:lnTo>
                  <a:lnTo>
                    <a:pt x="1300" y="414"/>
                  </a:lnTo>
                  <a:lnTo>
                    <a:pt x="1300" y="414"/>
                  </a:lnTo>
                  <a:lnTo>
                    <a:pt x="1298" y="412"/>
                  </a:lnTo>
                  <a:lnTo>
                    <a:pt x="1298" y="412"/>
                  </a:lnTo>
                  <a:lnTo>
                    <a:pt x="1294" y="412"/>
                  </a:lnTo>
                  <a:lnTo>
                    <a:pt x="1294" y="412"/>
                  </a:lnTo>
                  <a:lnTo>
                    <a:pt x="1294" y="412"/>
                  </a:lnTo>
                  <a:lnTo>
                    <a:pt x="1289" y="414"/>
                  </a:lnTo>
                  <a:lnTo>
                    <a:pt x="1289" y="414"/>
                  </a:lnTo>
                  <a:lnTo>
                    <a:pt x="1289" y="414"/>
                  </a:lnTo>
                  <a:lnTo>
                    <a:pt x="1287" y="414"/>
                  </a:lnTo>
                  <a:lnTo>
                    <a:pt x="1287" y="414"/>
                  </a:lnTo>
                  <a:lnTo>
                    <a:pt x="1287" y="414"/>
                  </a:lnTo>
                  <a:lnTo>
                    <a:pt x="1287" y="414"/>
                  </a:lnTo>
                  <a:lnTo>
                    <a:pt x="1287" y="412"/>
                  </a:lnTo>
                  <a:lnTo>
                    <a:pt x="1289" y="412"/>
                  </a:lnTo>
                  <a:lnTo>
                    <a:pt x="1289" y="410"/>
                  </a:lnTo>
                  <a:lnTo>
                    <a:pt x="1289" y="410"/>
                  </a:lnTo>
                  <a:lnTo>
                    <a:pt x="1289" y="410"/>
                  </a:lnTo>
                  <a:lnTo>
                    <a:pt x="1289" y="410"/>
                  </a:lnTo>
                  <a:lnTo>
                    <a:pt x="1289" y="407"/>
                  </a:lnTo>
                  <a:lnTo>
                    <a:pt x="1289" y="407"/>
                  </a:lnTo>
                  <a:lnTo>
                    <a:pt x="1289" y="407"/>
                  </a:lnTo>
                  <a:lnTo>
                    <a:pt x="1289" y="407"/>
                  </a:lnTo>
                  <a:lnTo>
                    <a:pt x="1289" y="407"/>
                  </a:lnTo>
                  <a:lnTo>
                    <a:pt x="1289" y="405"/>
                  </a:lnTo>
                  <a:lnTo>
                    <a:pt x="1287" y="407"/>
                  </a:lnTo>
                  <a:lnTo>
                    <a:pt x="1285" y="407"/>
                  </a:lnTo>
                  <a:lnTo>
                    <a:pt x="1283" y="410"/>
                  </a:lnTo>
                  <a:lnTo>
                    <a:pt x="1283" y="410"/>
                  </a:lnTo>
                  <a:lnTo>
                    <a:pt x="1281" y="410"/>
                  </a:lnTo>
                  <a:lnTo>
                    <a:pt x="1281" y="410"/>
                  </a:lnTo>
                  <a:lnTo>
                    <a:pt x="1279" y="412"/>
                  </a:lnTo>
                  <a:lnTo>
                    <a:pt x="1277" y="412"/>
                  </a:lnTo>
                  <a:lnTo>
                    <a:pt x="1275" y="414"/>
                  </a:lnTo>
                  <a:lnTo>
                    <a:pt x="1273" y="414"/>
                  </a:lnTo>
                  <a:lnTo>
                    <a:pt x="1271" y="414"/>
                  </a:lnTo>
                  <a:lnTo>
                    <a:pt x="1267" y="414"/>
                  </a:lnTo>
                  <a:lnTo>
                    <a:pt x="1265" y="416"/>
                  </a:lnTo>
                  <a:lnTo>
                    <a:pt x="1263" y="418"/>
                  </a:lnTo>
                  <a:lnTo>
                    <a:pt x="1259" y="418"/>
                  </a:lnTo>
                  <a:lnTo>
                    <a:pt x="1257" y="418"/>
                  </a:lnTo>
                  <a:lnTo>
                    <a:pt x="1257" y="418"/>
                  </a:lnTo>
                  <a:lnTo>
                    <a:pt x="1255" y="418"/>
                  </a:lnTo>
                  <a:lnTo>
                    <a:pt x="1255" y="416"/>
                  </a:lnTo>
                  <a:lnTo>
                    <a:pt x="1255" y="416"/>
                  </a:lnTo>
                  <a:lnTo>
                    <a:pt x="1255" y="416"/>
                  </a:lnTo>
                  <a:lnTo>
                    <a:pt x="1255" y="416"/>
                  </a:lnTo>
                  <a:lnTo>
                    <a:pt x="1252" y="418"/>
                  </a:lnTo>
                  <a:lnTo>
                    <a:pt x="1250" y="418"/>
                  </a:lnTo>
                  <a:lnTo>
                    <a:pt x="1250" y="418"/>
                  </a:lnTo>
                  <a:lnTo>
                    <a:pt x="1252" y="416"/>
                  </a:lnTo>
                  <a:lnTo>
                    <a:pt x="1252" y="416"/>
                  </a:lnTo>
                  <a:lnTo>
                    <a:pt x="1252" y="416"/>
                  </a:lnTo>
                  <a:lnTo>
                    <a:pt x="1255" y="414"/>
                  </a:lnTo>
                  <a:lnTo>
                    <a:pt x="1255" y="414"/>
                  </a:lnTo>
                  <a:lnTo>
                    <a:pt x="1257" y="412"/>
                  </a:lnTo>
                  <a:lnTo>
                    <a:pt x="1257" y="412"/>
                  </a:lnTo>
                  <a:lnTo>
                    <a:pt x="1255" y="412"/>
                  </a:lnTo>
                  <a:lnTo>
                    <a:pt x="1255" y="412"/>
                  </a:lnTo>
                  <a:lnTo>
                    <a:pt x="1255" y="412"/>
                  </a:lnTo>
                  <a:lnTo>
                    <a:pt x="1250" y="414"/>
                  </a:lnTo>
                  <a:lnTo>
                    <a:pt x="1250" y="414"/>
                  </a:lnTo>
                  <a:lnTo>
                    <a:pt x="1248" y="412"/>
                  </a:lnTo>
                  <a:lnTo>
                    <a:pt x="1248" y="412"/>
                  </a:lnTo>
                  <a:lnTo>
                    <a:pt x="1246" y="414"/>
                  </a:lnTo>
                  <a:lnTo>
                    <a:pt x="1244" y="416"/>
                  </a:lnTo>
                  <a:lnTo>
                    <a:pt x="1238" y="416"/>
                  </a:lnTo>
                  <a:lnTo>
                    <a:pt x="1238" y="416"/>
                  </a:lnTo>
                  <a:lnTo>
                    <a:pt x="1236" y="416"/>
                  </a:lnTo>
                  <a:lnTo>
                    <a:pt x="1236" y="416"/>
                  </a:lnTo>
                  <a:lnTo>
                    <a:pt x="1236" y="416"/>
                  </a:lnTo>
                  <a:lnTo>
                    <a:pt x="1236" y="414"/>
                  </a:lnTo>
                  <a:lnTo>
                    <a:pt x="1236" y="414"/>
                  </a:lnTo>
                  <a:lnTo>
                    <a:pt x="1244" y="410"/>
                  </a:lnTo>
                  <a:lnTo>
                    <a:pt x="1250" y="407"/>
                  </a:lnTo>
                  <a:lnTo>
                    <a:pt x="1259" y="401"/>
                  </a:lnTo>
                  <a:lnTo>
                    <a:pt x="1261" y="399"/>
                  </a:lnTo>
                  <a:lnTo>
                    <a:pt x="1265" y="397"/>
                  </a:lnTo>
                  <a:lnTo>
                    <a:pt x="1271" y="397"/>
                  </a:lnTo>
                  <a:lnTo>
                    <a:pt x="1275" y="395"/>
                  </a:lnTo>
                  <a:lnTo>
                    <a:pt x="1279" y="395"/>
                  </a:lnTo>
                  <a:lnTo>
                    <a:pt x="1281" y="393"/>
                  </a:lnTo>
                  <a:lnTo>
                    <a:pt x="1281" y="393"/>
                  </a:lnTo>
                  <a:lnTo>
                    <a:pt x="1281" y="393"/>
                  </a:lnTo>
                  <a:lnTo>
                    <a:pt x="1283" y="393"/>
                  </a:lnTo>
                  <a:lnTo>
                    <a:pt x="1283" y="393"/>
                  </a:lnTo>
                  <a:lnTo>
                    <a:pt x="1279" y="393"/>
                  </a:lnTo>
                  <a:lnTo>
                    <a:pt x="1277" y="393"/>
                  </a:lnTo>
                  <a:lnTo>
                    <a:pt x="1277" y="393"/>
                  </a:lnTo>
                  <a:lnTo>
                    <a:pt x="1277" y="391"/>
                  </a:lnTo>
                  <a:lnTo>
                    <a:pt x="1277" y="391"/>
                  </a:lnTo>
                  <a:lnTo>
                    <a:pt x="1273" y="391"/>
                  </a:lnTo>
                  <a:lnTo>
                    <a:pt x="1269" y="391"/>
                  </a:lnTo>
                  <a:lnTo>
                    <a:pt x="1267" y="391"/>
                  </a:lnTo>
                  <a:lnTo>
                    <a:pt x="1267" y="391"/>
                  </a:lnTo>
                  <a:lnTo>
                    <a:pt x="1267" y="389"/>
                  </a:lnTo>
                  <a:lnTo>
                    <a:pt x="1265" y="389"/>
                  </a:lnTo>
                  <a:lnTo>
                    <a:pt x="1263" y="389"/>
                  </a:lnTo>
                  <a:lnTo>
                    <a:pt x="1261" y="391"/>
                  </a:lnTo>
                  <a:lnTo>
                    <a:pt x="1257" y="391"/>
                  </a:lnTo>
                  <a:lnTo>
                    <a:pt x="1257" y="391"/>
                  </a:lnTo>
                  <a:lnTo>
                    <a:pt x="1255" y="391"/>
                  </a:lnTo>
                  <a:lnTo>
                    <a:pt x="1252" y="389"/>
                  </a:lnTo>
                  <a:lnTo>
                    <a:pt x="1250" y="387"/>
                  </a:lnTo>
                  <a:lnTo>
                    <a:pt x="1248" y="387"/>
                  </a:lnTo>
                  <a:lnTo>
                    <a:pt x="1246" y="387"/>
                  </a:lnTo>
                  <a:lnTo>
                    <a:pt x="1246" y="387"/>
                  </a:lnTo>
                  <a:lnTo>
                    <a:pt x="1244" y="387"/>
                  </a:lnTo>
                  <a:lnTo>
                    <a:pt x="1244" y="387"/>
                  </a:lnTo>
                  <a:lnTo>
                    <a:pt x="1244" y="385"/>
                  </a:lnTo>
                  <a:lnTo>
                    <a:pt x="1244" y="385"/>
                  </a:lnTo>
                  <a:lnTo>
                    <a:pt x="1242" y="383"/>
                  </a:lnTo>
                  <a:lnTo>
                    <a:pt x="1242" y="383"/>
                  </a:lnTo>
                  <a:lnTo>
                    <a:pt x="1240" y="381"/>
                  </a:lnTo>
                  <a:lnTo>
                    <a:pt x="1240" y="381"/>
                  </a:lnTo>
                  <a:lnTo>
                    <a:pt x="1238" y="381"/>
                  </a:lnTo>
                  <a:lnTo>
                    <a:pt x="1236" y="381"/>
                  </a:lnTo>
                  <a:lnTo>
                    <a:pt x="1234" y="381"/>
                  </a:lnTo>
                  <a:lnTo>
                    <a:pt x="1232" y="383"/>
                  </a:lnTo>
                  <a:lnTo>
                    <a:pt x="1232" y="383"/>
                  </a:lnTo>
                  <a:lnTo>
                    <a:pt x="1230" y="383"/>
                  </a:lnTo>
                  <a:lnTo>
                    <a:pt x="1228" y="383"/>
                  </a:lnTo>
                  <a:lnTo>
                    <a:pt x="1228" y="381"/>
                  </a:lnTo>
                  <a:lnTo>
                    <a:pt x="1226" y="381"/>
                  </a:lnTo>
                  <a:lnTo>
                    <a:pt x="1222" y="381"/>
                  </a:lnTo>
                  <a:lnTo>
                    <a:pt x="1218" y="379"/>
                  </a:lnTo>
                  <a:lnTo>
                    <a:pt x="1218" y="379"/>
                  </a:lnTo>
                  <a:lnTo>
                    <a:pt x="1218" y="379"/>
                  </a:lnTo>
                  <a:lnTo>
                    <a:pt x="1218" y="377"/>
                  </a:lnTo>
                  <a:lnTo>
                    <a:pt x="1218" y="377"/>
                  </a:lnTo>
                  <a:lnTo>
                    <a:pt x="1218" y="375"/>
                  </a:lnTo>
                  <a:lnTo>
                    <a:pt x="1220" y="373"/>
                  </a:lnTo>
                  <a:lnTo>
                    <a:pt x="1220" y="370"/>
                  </a:lnTo>
                  <a:lnTo>
                    <a:pt x="1220" y="368"/>
                  </a:lnTo>
                  <a:lnTo>
                    <a:pt x="1220" y="368"/>
                  </a:lnTo>
                  <a:lnTo>
                    <a:pt x="1220" y="368"/>
                  </a:lnTo>
                  <a:lnTo>
                    <a:pt x="1218" y="368"/>
                  </a:lnTo>
                  <a:lnTo>
                    <a:pt x="1216" y="370"/>
                  </a:lnTo>
                  <a:lnTo>
                    <a:pt x="1213" y="375"/>
                  </a:lnTo>
                  <a:lnTo>
                    <a:pt x="1209" y="375"/>
                  </a:lnTo>
                  <a:lnTo>
                    <a:pt x="1162" y="375"/>
                  </a:lnTo>
                  <a:lnTo>
                    <a:pt x="1156" y="375"/>
                  </a:lnTo>
                  <a:lnTo>
                    <a:pt x="1016" y="375"/>
                  </a:lnTo>
                  <a:lnTo>
                    <a:pt x="1010" y="375"/>
                  </a:lnTo>
                  <a:lnTo>
                    <a:pt x="873" y="375"/>
                  </a:lnTo>
                  <a:lnTo>
                    <a:pt x="866" y="375"/>
                  </a:lnTo>
                  <a:lnTo>
                    <a:pt x="821" y="375"/>
                  </a:lnTo>
                  <a:lnTo>
                    <a:pt x="821" y="377"/>
                  </a:lnTo>
                  <a:lnTo>
                    <a:pt x="821" y="379"/>
                  </a:lnTo>
                  <a:lnTo>
                    <a:pt x="821" y="379"/>
                  </a:lnTo>
                  <a:lnTo>
                    <a:pt x="821" y="379"/>
                  </a:lnTo>
                  <a:lnTo>
                    <a:pt x="821" y="379"/>
                  </a:lnTo>
                  <a:lnTo>
                    <a:pt x="823" y="379"/>
                  </a:lnTo>
                  <a:lnTo>
                    <a:pt x="823" y="379"/>
                  </a:lnTo>
                  <a:lnTo>
                    <a:pt x="821" y="381"/>
                  </a:lnTo>
                  <a:lnTo>
                    <a:pt x="821" y="383"/>
                  </a:lnTo>
                  <a:lnTo>
                    <a:pt x="821" y="383"/>
                  </a:lnTo>
                  <a:lnTo>
                    <a:pt x="819" y="383"/>
                  </a:lnTo>
                  <a:lnTo>
                    <a:pt x="819" y="383"/>
                  </a:lnTo>
                  <a:lnTo>
                    <a:pt x="817" y="383"/>
                  </a:lnTo>
                  <a:lnTo>
                    <a:pt x="817" y="383"/>
                  </a:lnTo>
                  <a:lnTo>
                    <a:pt x="817" y="385"/>
                  </a:lnTo>
                  <a:lnTo>
                    <a:pt x="817" y="385"/>
                  </a:lnTo>
                  <a:lnTo>
                    <a:pt x="817" y="385"/>
                  </a:lnTo>
                  <a:lnTo>
                    <a:pt x="817" y="385"/>
                  </a:lnTo>
                  <a:lnTo>
                    <a:pt x="817" y="385"/>
                  </a:lnTo>
                  <a:lnTo>
                    <a:pt x="819" y="385"/>
                  </a:lnTo>
                  <a:lnTo>
                    <a:pt x="819" y="387"/>
                  </a:lnTo>
                  <a:lnTo>
                    <a:pt x="819" y="387"/>
                  </a:lnTo>
                  <a:lnTo>
                    <a:pt x="817" y="389"/>
                  </a:lnTo>
                  <a:lnTo>
                    <a:pt x="817" y="389"/>
                  </a:lnTo>
                  <a:lnTo>
                    <a:pt x="815" y="389"/>
                  </a:lnTo>
                  <a:lnTo>
                    <a:pt x="815" y="389"/>
                  </a:lnTo>
                  <a:lnTo>
                    <a:pt x="815" y="391"/>
                  </a:lnTo>
                  <a:lnTo>
                    <a:pt x="817" y="391"/>
                  </a:lnTo>
                  <a:lnTo>
                    <a:pt x="817" y="391"/>
                  </a:lnTo>
                  <a:lnTo>
                    <a:pt x="817" y="389"/>
                  </a:lnTo>
                  <a:lnTo>
                    <a:pt x="817" y="389"/>
                  </a:lnTo>
                  <a:lnTo>
                    <a:pt x="817" y="389"/>
                  </a:lnTo>
                  <a:lnTo>
                    <a:pt x="817" y="391"/>
                  </a:lnTo>
                  <a:lnTo>
                    <a:pt x="817" y="391"/>
                  </a:lnTo>
                  <a:lnTo>
                    <a:pt x="817" y="391"/>
                  </a:lnTo>
                  <a:lnTo>
                    <a:pt x="817" y="393"/>
                  </a:lnTo>
                  <a:lnTo>
                    <a:pt x="815" y="393"/>
                  </a:lnTo>
                  <a:lnTo>
                    <a:pt x="815" y="395"/>
                  </a:lnTo>
                  <a:lnTo>
                    <a:pt x="813" y="395"/>
                  </a:lnTo>
                  <a:lnTo>
                    <a:pt x="813" y="397"/>
                  </a:lnTo>
                  <a:lnTo>
                    <a:pt x="813" y="397"/>
                  </a:lnTo>
                  <a:lnTo>
                    <a:pt x="811" y="397"/>
                  </a:lnTo>
                  <a:lnTo>
                    <a:pt x="811" y="399"/>
                  </a:lnTo>
                  <a:lnTo>
                    <a:pt x="811" y="399"/>
                  </a:lnTo>
                  <a:lnTo>
                    <a:pt x="811" y="399"/>
                  </a:lnTo>
                  <a:lnTo>
                    <a:pt x="811" y="399"/>
                  </a:lnTo>
                  <a:lnTo>
                    <a:pt x="809" y="401"/>
                  </a:lnTo>
                  <a:lnTo>
                    <a:pt x="809" y="403"/>
                  </a:lnTo>
                  <a:lnTo>
                    <a:pt x="809" y="403"/>
                  </a:lnTo>
                  <a:lnTo>
                    <a:pt x="807" y="405"/>
                  </a:lnTo>
                  <a:lnTo>
                    <a:pt x="805" y="405"/>
                  </a:lnTo>
                  <a:lnTo>
                    <a:pt x="805" y="405"/>
                  </a:lnTo>
                  <a:lnTo>
                    <a:pt x="805" y="405"/>
                  </a:lnTo>
                  <a:lnTo>
                    <a:pt x="803" y="407"/>
                  </a:lnTo>
                  <a:lnTo>
                    <a:pt x="801" y="407"/>
                  </a:lnTo>
                  <a:lnTo>
                    <a:pt x="801" y="410"/>
                  </a:lnTo>
                  <a:lnTo>
                    <a:pt x="799" y="410"/>
                  </a:lnTo>
                  <a:lnTo>
                    <a:pt x="799" y="407"/>
                  </a:lnTo>
                  <a:lnTo>
                    <a:pt x="797" y="407"/>
                  </a:lnTo>
                  <a:lnTo>
                    <a:pt x="795" y="407"/>
                  </a:lnTo>
                  <a:lnTo>
                    <a:pt x="797" y="407"/>
                  </a:lnTo>
                  <a:lnTo>
                    <a:pt x="799" y="405"/>
                  </a:lnTo>
                  <a:lnTo>
                    <a:pt x="799" y="405"/>
                  </a:lnTo>
                  <a:lnTo>
                    <a:pt x="801" y="405"/>
                  </a:lnTo>
                  <a:lnTo>
                    <a:pt x="801" y="405"/>
                  </a:lnTo>
                  <a:lnTo>
                    <a:pt x="801" y="407"/>
                  </a:lnTo>
                  <a:lnTo>
                    <a:pt x="801" y="407"/>
                  </a:lnTo>
                  <a:lnTo>
                    <a:pt x="803" y="405"/>
                  </a:lnTo>
                  <a:lnTo>
                    <a:pt x="803" y="405"/>
                  </a:lnTo>
                  <a:lnTo>
                    <a:pt x="803" y="405"/>
                  </a:lnTo>
                  <a:lnTo>
                    <a:pt x="803" y="405"/>
                  </a:lnTo>
                  <a:lnTo>
                    <a:pt x="805" y="405"/>
                  </a:lnTo>
                  <a:lnTo>
                    <a:pt x="805" y="403"/>
                  </a:lnTo>
                  <a:lnTo>
                    <a:pt x="807" y="401"/>
                  </a:lnTo>
                  <a:lnTo>
                    <a:pt x="807" y="401"/>
                  </a:lnTo>
                  <a:lnTo>
                    <a:pt x="807" y="399"/>
                  </a:lnTo>
                  <a:lnTo>
                    <a:pt x="807" y="399"/>
                  </a:lnTo>
                  <a:lnTo>
                    <a:pt x="807" y="399"/>
                  </a:lnTo>
                  <a:lnTo>
                    <a:pt x="807" y="399"/>
                  </a:lnTo>
                  <a:lnTo>
                    <a:pt x="809" y="397"/>
                  </a:lnTo>
                  <a:lnTo>
                    <a:pt x="809" y="397"/>
                  </a:lnTo>
                  <a:lnTo>
                    <a:pt x="811" y="397"/>
                  </a:lnTo>
                  <a:lnTo>
                    <a:pt x="811" y="395"/>
                  </a:lnTo>
                  <a:lnTo>
                    <a:pt x="813" y="393"/>
                  </a:lnTo>
                  <a:lnTo>
                    <a:pt x="811" y="393"/>
                  </a:lnTo>
                  <a:lnTo>
                    <a:pt x="811" y="393"/>
                  </a:lnTo>
                  <a:lnTo>
                    <a:pt x="811" y="395"/>
                  </a:lnTo>
                  <a:lnTo>
                    <a:pt x="811" y="395"/>
                  </a:lnTo>
                  <a:lnTo>
                    <a:pt x="807" y="397"/>
                  </a:lnTo>
                  <a:lnTo>
                    <a:pt x="807" y="397"/>
                  </a:lnTo>
                  <a:lnTo>
                    <a:pt x="805" y="399"/>
                  </a:lnTo>
                  <a:lnTo>
                    <a:pt x="803" y="399"/>
                  </a:lnTo>
                  <a:lnTo>
                    <a:pt x="801" y="401"/>
                  </a:lnTo>
                  <a:lnTo>
                    <a:pt x="799" y="401"/>
                  </a:lnTo>
                  <a:lnTo>
                    <a:pt x="799" y="403"/>
                  </a:lnTo>
                  <a:lnTo>
                    <a:pt x="799" y="403"/>
                  </a:lnTo>
                  <a:lnTo>
                    <a:pt x="799" y="403"/>
                  </a:lnTo>
                  <a:lnTo>
                    <a:pt x="801" y="403"/>
                  </a:lnTo>
                  <a:lnTo>
                    <a:pt x="801" y="403"/>
                  </a:lnTo>
                  <a:lnTo>
                    <a:pt x="799" y="403"/>
                  </a:lnTo>
                  <a:lnTo>
                    <a:pt x="797" y="403"/>
                  </a:lnTo>
                  <a:lnTo>
                    <a:pt x="797" y="403"/>
                  </a:lnTo>
                  <a:lnTo>
                    <a:pt x="797" y="403"/>
                  </a:lnTo>
                  <a:lnTo>
                    <a:pt x="799" y="403"/>
                  </a:lnTo>
                  <a:lnTo>
                    <a:pt x="801" y="401"/>
                  </a:lnTo>
                  <a:lnTo>
                    <a:pt x="807" y="397"/>
                  </a:lnTo>
                  <a:lnTo>
                    <a:pt x="807" y="397"/>
                  </a:lnTo>
                  <a:lnTo>
                    <a:pt x="807" y="397"/>
                  </a:lnTo>
                  <a:lnTo>
                    <a:pt x="807" y="397"/>
                  </a:lnTo>
                  <a:lnTo>
                    <a:pt x="809" y="395"/>
                  </a:lnTo>
                  <a:lnTo>
                    <a:pt x="811" y="393"/>
                  </a:lnTo>
                  <a:lnTo>
                    <a:pt x="811" y="393"/>
                  </a:lnTo>
                  <a:lnTo>
                    <a:pt x="811" y="391"/>
                  </a:lnTo>
                  <a:lnTo>
                    <a:pt x="811" y="391"/>
                  </a:lnTo>
                  <a:lnTo>
                    <a:pt x="811" y="391"/>
                  </a:lnTo>
                  <a:lnTo>
                    <a:pt x="809" y="391"/>
                  </a:lnTo>
                  <a:lnTo>
                    <a:pt x="809" y="391"/>
                  </a:lnTo>
                  <a:lnTo>
                    <a:pt x="807" y="391"/>
                  </a:lnTo>
                  <a:lnTo>
                    <a:pt x="807" y="391"/>
                  </a:lnTo>
                  <a:lnTo>
                    <a:pt x="807" y="389"/>
                  </a:lnTo>
                  <a:lnTo>
                    <a:pt x="807" y="389"/>
                  </a:lnTo>
                  <a:lnTo>
                    <a:pt x="805" y="391"/>
                  </a:lnTo>
                  <a:lnTo>
                    <a:pt x="803" y="391"/>
                  </a:lnTo>
                  <a:lnTo>
                    <a:pt x="795" y="389"/>
                  </a:lnTo>
                  <a:lnTo>
                    <a:pt x="793" y="389"/>
                  </a:lnTo>
                  <a:lnTo>
                    <a:pt x="793" y="389"/>
                  </a:lnTo>
                  <a:lnTo>
                    <a:pt x="791" y="387"/>
                  </a:lnTo>
                  <a:lnTo>
                    <a:pt x="788" y="385"/>
                  </a:lnTo>
                  <a:lnTo>
                    <a:pt x="786" y="385"/>
                  </a:lnTo>
                  <a:lnTo>
                    <a:pt x="786" y="387"/>
                  </a:lnTo>
                  <a:lnTo>
                    <a:pt x="784" y="389"/>
                  </a:lnTo>
                  <a:lnTo>
                    <a:pt x="782" y="393"/>
                  </a:lnTo>
                  <a:lnTo>
                    <a:pt x="782" y="395"/>
                  </a:lnTo>
                  <a:lnTo>
                    <a:pt x="782" y="397"/>
                  </a:lnTo>
                  <a:lnTo>
                    <a:pt x="782" y="399"/>
                  </a:lnTo>
                  <a:lnTo>
                    <a:pt x="780" y="403"/>
                  </a:lnTo>
                  <a:lnTo>
                    <a:pt x="780" y="407"/>
                  </a:lnTo>
                  <a:lnTo>
                    <a:pt x="778" y="410"/>
                  </a:lnTo>
                  <a:lnTo>
                    <a:pt x="778" y="410"/>
                  </a:lnTo>
                  <a:lnTo>
                    <a:pt x="778" y="412"/>
                  </a:lnTo>
                  <a:lnTo>
                    <a:pt x="778" y="410"/>
                  </a:lnTo>
                  <a:lnTo>
                    <a:pt x="778" y="410"/>
                  </a:lnTo>
                  <a:lnTo>
                    <a:pt x="780" y="410"/>
                  </a:lnTo>
                  <a:lnTo>
                    <a:pt x="780" y="412"/>
                  </a:lnTo>
                  <a:lnTo>
                    <a:pt x="782" y="412"/>
                  </a:lnTo>
                  <a:lnTo>
                    <a:pt x="776" y="414"/>
                  </a:lnTo>
                  <a:lnTo>
                    <a:pt x="776" y="416"/>
                  </a:lnTo>
                  <a:lnTo>
                    <a:pt x="776" y="416"/>
                  </a:lnTo>
                  <a:lnTo>
                    <a:pt x="778" y="416"/>
                  </a:lnTo>
                  <a:lnTo>
                    <a:pt x="776" y="420"/>
                  </a:lnTo>
                  <a:lnTo>
                    <a:pt x="774" y="420"/>
                  </a:lnTo>
                  <a:lnTo>
                    <a:pt x="774" y="420"/>
                  </a:lnTo>
                  <a:lnTo>
                    <a:pt x="774" y="418"/>
                  </a:lnTo>
                  <a:lnTo>
                    <a:pt x="774" y="420"/>
                  </a:lnTo>
                  <a:lnTo>
                    <a:pt x="772" y="422"/>
                  </a:lnTo>
                  <a:lnTo>
                    <a:pt x="770" y="424"/>
                  </a:lnTo>
                  <a:lnTo>
                    <a:pt x="772" y="424"/>
                  </a:lnTo>
                  <a:lnTo>
                    <a:pt x="772" y="424"/>
                  </a:lnTo>
                  <a:lnTo>
                    <a:pt x="776" y="424"/>
                  </a:lnTo>
                  <a:lnTo>
                    <a:pt x="776" y="424"/>
                  </a:lnTo>
                  <a:lnTo>
                    <a:pt x="778" y="424"/>
                  </a:lnTo>
                  <a:lnTo>
                    <a:pt x="778" y="424"/>
                  </a:lnTo>
                  <a:lnTo>
                    <a:pt x="780" y="426"/>
                  </a:lnTo>
                  <a:lnTo>
                    <a:pt x="780" y="426"/>
                  </a:lnTo>
                  <a:lnTo>
                    <a:pt x="780" y="426"/>
                  </a:lnTo>
                  <a:lnTo>
                    <a:pt x="780" y="426"/>
                  </a:lnTo>
                  <a:lnTo>
                    <a:pt x="778" y="426"/>
                  </a:lnTo>
                  <a:lnTo>
                    <a:pt x="778" y="424"/>
                  </a:lnTo>
                  <a:lnTo>
                    <a:pt x="778" y="424"/>
                  </a:lnTo>
                  <a:lnTo>
                    <a:pt x="774" y="426"/>
                  </a:lnTo>
                  <a:lnTo>
                    <a:pt x="772" y="426"/>
                  </a:lnTo>
                  <a:lnTo>
                    <a:pt x="772" y="424"/>
                  </a:lnTo>
                  <a:lnTo>
                    <a:pt x="770" y="424"/>
                  </a:lnTo>
                  <a:lnTo>
                    <a:pt x="770" y="426"/>
                  </a:lnTo>
                  <a:lnTo>
                    <a:pt x="770" y="426"/>
                  </a:lnTo>
                  <a:lnTo>
                    <a:pt x="766" y="432"/>
                  </a:lnTo>
                  <a:lnTo>
                    <a:pt x="764" y="436"/>
                  </a:lnTo>
                  <a:lnTo>
                    <a:pt x="762" y="438"/>
                  </a:lnTo>
                  <a:lnTo>
                    <a:pt x="762" y="438"/>
                  </a:lnTo>
                  <a:lnTo>
                    <a:pt x="754" y="453"/>
                  </a:lnTo>
                  <a:lnTo>
                    <a:pt x="752" y="455"/>
                  </a:lnTo>
                  <a:lnTo>
                    <a:pt x="749" y="457"/>
                  </a:lnTo>
                  <a:lnTo>
                    <a:pt x="749" y="459"/>
                  </a:lnTo>
                  <a:lnTo>
                    <a:pt x="747" y="459"/>
                  </a:lnTo>
                  <a:lnTo>
                    <a:pt x="743" y="465"/>
                  </a:lnTo>
                  <a:lnTo>
                    <a:pt x="739" y="471"/>
                  </a:lnTo>
                  <a:lnTo>
                    <a:pt x="737" y="471"/>
                  </a:lnTo>
                  <a:lnTo>
                    <a:pt x="735" y="473"/>
                  </a:lnTo>
                  <a:lnTo>
                    <a:pt x="733" y="475"/>
                  </a:lnTo>
                  <a:lnTo>
                    <a:pt x="735" y="475"/>
                  </a:lnTo>
                  <a:lnTo>
                    <a:pt x="735" y="475"/>
                  </a:lnTo>
                  <a:lnTo>
                    <a:pt x="733" y="477"/>
                  </a:lnTo>
                  <a:lnTo>
                    <a:pt x="733" y="477"/>
                  </a:lnTo>
                  <a:lnTo>
                    <a:pt x="731" y="477"/>
                  </a:lnTo>
                  <a:lnTo>
                    <a:pt x="727" y="484"/>
                  </a:lnTo>
                  <a:lnTo>
                    <a:pt x="725" y="484"/>
                  </a:lnTo>
                  <a:lnTo>
                    <a:pt x="723" y="488"/>
                  </a:lnTo>
                  <a:lnTo>
                    <a:pt x="723" y="490"/>
                  </a:lnTo>
                  <a:lnTo>
                    <a:pt x="723" y="490"/>
                  </a:lnTo>
                  <a:lnTo>
                    <a:pt x="721" y="494"/>
                  </a:lnTo>
                  <a:lnTo>
                    <a:pt x="719" y="496"/>
                  </a:lnTo>
                  <a:lnTo>
                    <a:pt x="719" y="498"/>
                  </a:lnTo>
                  <a:lnTo>
                    <a:pt x="719" y="502"/>
                  </a:lnTo>
                  <a:lnTo>
                    <a:pt x="717" y="502"/>
                  </a:lnTo>
                  <a:lnTo>
                    <a:pt x="717" y="504"/>
                  </a:lnTo>
                  <a:lnTo>
                    <a:pt x="717" y="506"/>
                  </a:lnTo>
                  <a:lnTo>
                    <a:pt x="717" y="508"/>
                  </a:lnTo>
                  <a:lnTo>
                    <a:pt x="715" y="510"/>
                  </a:lnTo>
                  <a:lnTo>
                    <a:pt x="715" y="512"/>
                  </a:lnTo>
                  <a:lnTo>
                    <a:pt x="710" y="516"/>
                  </a:lnTo>
                  <a:lnTo>
                    <a:pt x="708" y="519"/>
                  </a:lnTo>
                  <a:lnTo>
                    <a:pt x="706" y="523"/>
                  </a:lnTo>
                  <a:lnTo>
                    <a:pt x="706" y="523"/>
                  </a:lnTo>
                  <a:lnTo>
                    <a:pt x="706" y="523"/>
                  </a:lnTo>
                  <a:lnTo>
                    <a:pt x="706" y="523"/>
                  </a:lnTo>
                  <a:lnTo>
                    <a:pt x="704" y="523"/>
                  </a:lnTo>
                  <a:lnTo>
                    <a:pt x="704" y="525"/>
                  </a:lnTo>
                  <a:lnTo>
                    <a:pt x="704" y="525"/>
                  </a:lnTo>
                  <a:lnTo>
                    <a:pt x="704" y="525"/>
                  </a:lnTo>
                  <a:lnTo>
                    <a:pt x="704" y="525"/>
                  </a:lnTo>
                  <a:lnTo>
                    <a:pt x="704" y="525"/>
                  </a:lnTo>
                  <a:lnTo>
                    <a:pt x="702" y="527"/>
                  </a:lnTo>
                  <a:lnTo>
                    <a:pt x="700" y="529"/>
                  </a:lnTo>
                  <a:lnTo>
                    <a:pt x="698" y="531"/>
                  </a:lnTo>
                  <a:lnTo>
                    <a:pt x="698" y="533"/>
                  </a:lnTo>
                  <a:lnTo>
                    <a:pt x="700" y="535"/>
                  </a:lnTo>
                  <a:lnTo>
                    <a:pt x="700" y="539"/>
                  </a:lnTo>
                  <a:lnTo>
                    <a:pt x="700" y="539"/>
                  </a:lnTo>
                  <a:lnTo>
                    <a:pt x="700" y="543"/>
                  </a:lnTo>
                  <a:lnTo>
                    <a:pt x="698" y="545"/>
                  </a:lnTo>
                  <a:lnTo>
                    <a:pt x="696" y="547"/>
                  </a:lnTo>
                  <a:lnTo>
                    <a:pt x="696" y="551"/>
                  </a:lnTo>
                  <a:lnTo>
                    <a:pt x="694" y="556"/>
                  </a:lnTo>
                  <a:lnTo>
                    <a:pt x="696" y="560"/>
                  </a:lnTo>
                  <a:lnTo>
                    <a:pt x="696" y="562"/>
                  </a:lnTo>
                  <a:lnTo>
                    <a:pt x="698" y="564"/>
                  </a:lnTo>
                  <a:lnTo>
                    <a:pt x="698" y="568"/>
                  </a:lnTo>
                  <a:lnTo>
                    <a:pt x="698" y="568"/>
                  </a:lnTo>
                  <a:lnTo>
                    <a:pt x="700" y="570"/>
                  </a:lnTo>
                  <a:lnTo>
                    <a:pt x="698" y="570"/>
                  </a:lnTo>
                  <a:lnTo>
                    <a:pt x="698" y="568"/>
                  </a:lnTo>
                  <a:lnTo>
                    <a:pt x="698" y="570"/>
                  </a:lnTo>
                  <a:lnTo>
                    <a:pt x="696" y="572"/>
                  </a:lnTo>
                  <a:lnTo>
                    <a:pt x="696" y="572"/>
                  </a:lnTo>
                  <a:lnTo>
                    <a:pt x="698" y="572"/>
                  </a:lnTo>
                  <a:lnTo>
                    <a:pt x="698" y="572"/>
                  </a:lnTo>
                  <a:lnTo>
                    <a:pt x="700" y="574"/>
                  </a:lnTo>
                  <a:lnTo>
                    <a:pt x="700" y="574"/>
                  </a:lnTo>
                  <a:lnTo>
                    <a:pt x="700" y="574"/>
                  </a:lnTo>
                  <a:lnTo>
                    <a:pt x="702" y="576"/>
                  </a:lnTo>
                  <a:lnTo>
                    <a:pt x="702" y="576"/>
                  </a:lnTo>
                  <a:lnTo>
                    <a:pt x="704" y="574"/>
                  </a:lnTo>
                  <a:lnTo>
                    <a:pt x="704" y="570"/>
                  </a:lnTo>
                  <a:lnTo>
                    <a:pt x="706" y="570"/>
                  </a:lnTo>
                  <a:lnTo>
                    <a:pt x="706" y="570"/>
                  </a:lnTo>
                  <a:lnTo>
                    <a:pt x="708" y="572"/>
                  </a:lnTo>
                  <a:lnTo>
                    <a:pt x="710" y="572"/>
                  </a:lnTo>
                  <a:lnTo>
                    <a:pt x="712" y="570"/>
                  </a:lnTo>
                  <a:lnTo>
                    <a:pt x="712" y="570"/>
                  </a:lnTo>
                  <a:lnTo>
                    <a:pt x="712" y="572"/>
                  </a:lnTo>
                  <a:lnTo>
                    <a:pt x="715" y="572"/>
                  </a:lnTo>
                  <a:lnTo>
                    <a:pt x="717" y="572"/>
                  </a:lnTo>
                  <a:lnTo>
                    <a:pt x="717" y="572"/>
                  </a:lnTo>
                  <a:lnTo>
                    <a:pt x="717" y="572"/>
                  </a:lnTo>
                  <a:lnTo>
                    <a:pt x="719" y="572"/>
                  </a:lnTo>
                  <a:lnTo>
                    <a:pt x="719" y="572"/>
                  </a:lnTo>
                  <a:lnTo>
                    <a:pt x="717" y="572"/>
                  </a:lnTo>
                  <a:lnTo>
                    <a:pt x="717" y="572"/>
                  </a:lnTo>
                  <a:lnTo>
                    <a:pt x="710" y="572"/>
                  </a:lnTo>
                  <a:lnTo>
                    <a:pt x="708" y="572"/>
                  </a:lnTo>
                  <a:lnTo>
                    <a:pt x="706" y="572"/>
                  </a:lnTo>
                  <a:lnTo>
                    <a:pt x="704" y="574"/>
                  </a:lnTo>
                  <a:lnTo>
                    <a:pt x="704" y="574"/>
                  </a:lnTo>
                  <a:lnTo>
                    <a:pt x="704" y="574"/>
                  </a:lnTo>
                  <a:lnTo>
                    <a:pt x="704" y="576"/>
                  </a:lnTo>
                  <a:lnTo>
                    <a:pt x="706" y="578"/>
                  </a:lnTo>
                  <a:lnTo>
                    <a:pt x="706" y="580"/>
                  </a:lnTo>
                  <a:lnTo>
                    <a:pt x="704" y="580"/>
                  </a:lnTo>
                  <a:lnTo>
                    <a:pt x="704" y="582"/>
                  </a:lnTo>
                  <a:lnTo>
                    <a:pt x="706" y="582"/>
                  </a:lnTo>
                  <a:lnTo>
                    <a:pt x="704" y="582"/>
                  </a:lnTo>
                  <a:lnTo>
                    <a:pt x="704" y="582"/>
                  </a:lnTo>
                  <a:lnTo>
                    <a:pt x="704" y="580"/>
                  </a:lnTo>
                  <a:lnTo>
                    <a:pt x="702" y="580"/>
                  </a:lnTo>
                  <a:lnTo>
                    <a:pt x="702" y="578"/>
                  </a:lnTo>
                  <a:lnTo>
                    <a:pt x="702" y="578"/>
                  </a:lnTo>
                  <a:lnTo>
                    <a:pt x="704" y="576"/>
                  </a:lnTo>
                  <a:lnTo>
                    <a:pt x="702" y="576"/>
                  </a:lnTo>
                  <a:lnTo>
                    <a:pt x="702" y="576"/>
                  </a:lnTo>
                  <a:lnTo>
                    <a:pt x="700" y="578"/>
                  </a:lnTo>
                  <a:lnTo>
                    <a:pt x="700" y="580"/>
                  </a:lnTo>
                  <a:lnTo>
                    <a:pt x="700" y="584"/>
                  </a:lnTo>
                  <a:lnTo>
                    <a:pt x="698" y="586"/>
                  </a:lnTo>
                  <a:lnTo>
                    <a:pt x="700" y="590"/>
                  </a:lnTo>
                  <a:lnTo>
                    <a:pt x="704" y="593"/>
                  </a:lnTo>
                  <a:lnTo>
                    <a:pt x="704" y="595"/>
                  </a:lnTo>
                  <a:lnTo>
                    <a:pt x="704" y="595"/>
                  </a:lnTo>
                  <a:lnTo>
                    <a:pt x="702" y="597"/>
                  </a:lnTo>
                  <a:lnTo>
                    <a:pt x="702" y="597"/>
                  </a:lnTo>
                  <a:lnTo>
                    <a:pt x="700" y="599"/>
                  </a:lnTo>
                  <a:lnTo>
                    <a:pt x="698" y="603"/>
                  </a:lnTo>
                  <a:lnTo>
                    <a:pt x="698" y="603"/>
                  </a:lnTo>
                  <a:lnTo>
                    <a:pt x="700" y="607"/>
                  </a:lnTo>
                  <a:lnTo>
                    <a:pt x="700" y="611"/>
                  </a:lnTo>
                  <a:lnTo>
                    <a:pt x="700" y="613"/>
                  </a:lnTo>
                  <a:lnTo>
                    <a:pt x="702" y="613"/>
                  </a:lnTo>
                  <a:lnTo>
                    <a:pt x="702" y="615"/>
                  </a:lnTo>
                  <a:lnTo>
                    <a:pt x="702" y="617"/>
                  </a:lnTo>
                  <a:lnTo>
                    <a:pt x="704" y="619"/>
                  </a:lnTo>
                  <a:lnTo>
                    <a:pt x="704" y="621"/>
                  </a:lnTo>
                  <a:lnTo>
                    <a:pt x="706" y="621"/>
                  </a:lnTo>
                  <a:lnTo>
                    <a:pt x="704" y="623"/>
                  </a:lnTo>
                  <a:lnTo>
                    <a:pt x="704" y="625"/>
                  </a:lnTo>
                  <a:lnTo>
                    <a:pt x="706" y="625"/>
                  </a:lnTo>
                  <a:lnTo>
                    <a:pt x="706" y="625"/>
                  </a:lnTo>
                  <a:lnTo>
                    <a:pt x="706" y="627"/>
                  </a:lnTo>
                  <a:lnTo>
                    <a:pt x="704" y="630"/>
                  </a:lnTo>
                  <a:lnTo>
                    <a:pt x="704" y="632"/>
                  </a:lnTo>
                  <a:lnTo>
                    <a:pt x="704" y="634"/>
                  </a:lnTo>
                  <a:lnTo>
                    <a:pt x="704" y="636"/>
                  </a:lnTo>
                  <a:lnTo>
                    <a:pt x="702" y="636"/>
                  </a:lnTo>
                  <a:lnTo>
                    <a:pt x="704" y="638"/>
                  </a:lnTo>
                  <a:lnTo>
                    <a:pt x="704" y="638"/>
                  </a:lnTo>
                  <a:lnTo>
                    <a:pt x="704" y="638"/>
                  </a:lnTo>
                  <a:lnTo>
                    <a:pt x="708" y="638"/>
                  </a:lnTo>
                  <a:lnTo>
                    <a:pt x="710" y="638"/>
                  </a:lnTo>
                  <a:lnTo>
                    <a:pt x="712" y="640"/>
                  </a:lnTo>
                  <a:lnTo>
                    <a:pt x="715" y="640"/>
                  </a:lnTo>
                  <a:lnTo>
                    <a:pt x="717" y="640"/>
                  </a:lnTo>
                  <a:lnTo>
                    <a:pt x="719" y="642"/>
                  </a:lnTo>
                  <a:lnTo>
                    <a:pt x="721" y="642"/>
                  </a:lnTo>
                  <a:lnTo>
                    <a:pt x="721" y="644"/>
                  </a:lnTo>
                  <a:lnTo>
                    <a:pt x="721" y="646"/>
                  </a:lnTo>
                  <a:lnTo>
                    <a:pt x="725" y="646"/>
                  </a:lnTo>
                  <a:lnTo>
                    <a:pt x="729" y="646"/>
                  </a:lnTo>
                  <a:lnTo>
                    <a:pt x="731" y="646"/>
                  </a:lnTo>
                  <a:lnTo>
                    <a:pt x="731" y="650"/>
                  </a:lnTo>
                  <a:lnTo>
                    <a:pt x="731" y="652"/>
                  </a:lnTo>
                  <a:lnTo>
                    <a:pt x="731" y="652"/>
                  </a:lnTo>
                  <a:lnTo>
                    <a:pt x="733" y="652"/>
                  </a:lnTo>
                  <a:lnTo>
                    <a:pt x="733" y="652"/>
                  </a:lnTo>
                  <a:lnTo>
                    <a:pt x="735" y="652"/>
                  </a:lnTo>
                  <a:lnTo>
                    <a:pt x="735" y="654"/>
                  </a:lnTo>
                  <a:lnTo>
                    <a:pt x="737" y="656"/>
                  </a:lnTo>
                  <a:lnTo>
                    <a:pt x="741" y="660"/>
                  </a:lnTo>
                  <a:lnTo>
                    <a:pt x="741" y="664"/>
                  </a:lnTo>
                  <a:lnTo>
                    <a:pt x="741" y="667"/>
                  </a:lnTo>
                  <a:lnTo>
                    <a:pt x="741" y="669"/>
                  </a:lnTo>
                  <a:lnTo>
                    <a:pt x="741" y="669"/>
                  </a:lnTo>
                  <a:lnTo>
                    <a:pt x="739" y="671"/>
                  </a:lnTo>
                  <a:lnTo>
                    <a:pt x="741" y="671"/>
                  </a:lnTo>
                  <a:lnTo>
                    <a:pt x="741" y="673"/>
                  </a:lnTo>
                  <a:lnTo>
                    <a:pt x="741" y="675"/>
                  </a:lnTo>
                  <a:lnTo>
                    <a:pt x="741" y="675"/>
                  </a:lnTo>
                  <a:lnTo>
                    <a:pt x="745" y="673"/>
                  </a:lnTo>
                  <a:lnTo>
                    <a:pt x="749" y="673"/>
                  </a:lnTo>
                  <a:lnTo>
                    <a:pt x="754" y="673"/>
                  </a:lnTo>
                  <a:lnTo>
                    <a:pt x="760" y="673"/>
                  </a:lnTo>
                  <a:lnTo>
                    <a:pt x="764" y="673"/>
                  </a:lnTo>
                  <a:lnTo>
                    <a:pt x="768" y="673"/>
                  </a:lnTo>
                  <a:lnTo>
                    <a:pt x="772" y="671"/>
                  </a:lnTo>
                  <a:lnTo>
                    <a:pt x="778" y="671"/>
                  </a:lnTo>
                  <a:lnTo>
                    <a:pt x="778" y="671"/>
                  </a:lnTo>
                  <a:lnTo>
                    <a:pt x="776" y="673"/>
                  </a:lnTo>
                  <a:lnTo>
                    <a:pt x="776" y="675"/>
                  </a:lnTo>
                  <a:lnTo>
                    <a:pt x="782" y="677"/>
                  </a:lnTo>
                  <a:lnTo>
                    <a:pt x="788" y="681"/>
                  </a:lnTo>
                  <a:lnTo>
                    <a:pt x="795" y="683"/>
                  </a:lnTo>
                  <a:lnTo>
                    <a:pt x="801" y="685"/>
                  </a:lnTo>
                  <a:lnTo>
                    <a:pt x="807" y="687"/>
                  </a:lnTo>
                  <a:lnTo>
                    <a:pt x="813" y="691"/>
                  </a:lnTo>
                  <a:lnTo>
                    <a:pt x="819" y="693"/>
                  </a:lnTo>
                  <a:lnTo>
                    <a:pt x="825" y="695"/>
                  </a:lnTo>
                  <a:lnTo>
                    <a:pt x="832" y="695"/>
                  </a:lnTo>
                  <a:lnTo>
                    <a:pt x="838" y="695"/>
                  </a:lnTo>
                  <a:lnTo>
                    <a:pt x="842" y="695"/>
                  </a:lnTo>
                  <a:lnTo>
                    <a:pt x="848" y="695"/>
                  </a:lnTo>
                  <a:lnTo>
                    <a:pt x="854" y="695"/>
                  </a:lnTo>
                  <a:lnTo>
                    <a:pt x="858" y="695"/>
                  </a:lnTo>
                  <a:lnTo>
                    <a:pt x="864" y="695"/>
                  </a:lnTo>
                  <a:lnTo>
                    <a:pt x="871" y="695"/>
                  </a:lnTo>
                  <a:lnTo>
                    <a:pt x="871" y="693"/>
                  </a:lnTo>
                  <a:lnTo>
                    <a:pt x="873" y="691"/>
                  </a:lnTo>
                  <a:lnTo>
                    <a:pt x="873" y="689"/>
                  </a:lnTo>
                  <a:lnTo>
                    <a:pt x="873" y="687"/>
                  </a:lnTo>
                  <a:lnTo>
                    <a:pt x="877" y="687"/>
                  </a:lnTo>
                  <a:lnTo>
                    <a:pt x="881" y="687"/>
                  </a:lnTo>
                  <a:lnTo>
                    <a:pt x="883" y="687"/>
                  </a:lnTo>
                  <a:lnTo>
                    <a:pt x="887" y="687"/>
                  </a:lnTo>
                  <a:lnTo>
                    <a:pt x="891" y="687"/>
                  </a:lnTo>
                  <a:lnTo>
                    <a:pt x="893" y="687"/>
                  </a:lnTo>
                  <a:lnTo>
                    <a:pt x="897" y="687"/>
                  </a:lnTo>
                  <a:lnTo>
                    <a:pt x="899" y="687"/>
                  </a:lnTo>
                  <a:lnTo>
                    <a:pt x="901" y="687"/>
                  </a:lnTo>
                  <a:lnTo>
                    <a:pt x="901" y="687"/>
                  </a:lnTo>
                  <a:lnTo>
                    <a:pt x="901" y="689"/>
                  </a:lnTo>
                  <a:lnTo>
                    <a:pt x="901" y="691"/>
                  </a:lnTo>
                  <a:lnTo>
                    <a:pt x="903" y="693"/>
                  </a:lnTo>
                  <a:lnTo>
                    <a:pt x="905" y="695"/>
                  </a:lnTo>
                  <a:lnTo>
                    <a:pt x="908" y="697"/>
                  </a:lnTo>
                  <a:lnTo>
                    <a:pt x="910" y="701"/>
                  </a:lnTo>
                  <a:lnTo>
                    <a:pt x="912" y="706"/>
                  </a:lnTo>
                  <a:lnTo>
                    <a:pt x="916" y="708"/>
                  </a:lnTo>
                  <a:lnTo>
                    <a:pt x="916" y="708"/>
                  </a:lnTo>
                  <a:lnTo>
                    <a:pt x="916" y="710"/>
                  </a:lnTo>
                  <a:lnTo>
                    <a:pt x="918" y="712"/>
                  </a:lnTo>
                  <a:lnTo>
                    <a:pt x="918" y="718"/>
                  </a:lnTo>
                  <a:lnTo>
                    <a:pt x="918" y="720"/>
                  </a:lnTo>
                  <a:lnTo>
                    <a:pt x="918" y="722"/>
                  </a:lnTo>
                  <a:lnTo>
                    <a:pt x="918" y="726"/>
                  </a:lnTo>
                  <a:lnTo>
                    <a:pt x="920" y="728"/>
                  </a:lnTo>
                  <a:lnTo>
                    <a:pt x="920" y="728"/>
                  </a:lnTo>
                  <a:lnTo>
                    <a:pt x="922" y="730"/>
                  </a:lnTo>
                  <a:lnTo>
                    <a:pt x="922" y="732"/>
                  </a:lnTo>
                  <a:lnTo>
                    <a:pt x="924" y="732"/>
                  </a:lnTo>
                  <a:lnTo>
                    <a:pt x="926" y="732"/>
                  </a:lnTo>
                  <a:lnTo>
                    <a:pt x="928" y="734"/>
                  </a:lnTo>
                  <a:lnTo>
                    <a:pt x="932" y="736"/>
                  </a:lnTo>
                  <a:lnTo>
                    <a:pt x="934" y="739"/>
                  </a:lnTo>
                  <a:lnTo>
                    <a:pt x="934" y="739"/>
                  </a:lnTo>
                  <a:lnTo>
                    <a:pt x="936" y="739"/>
                  </a:lnTo>
                  <a:lnTo>
                    <a:pt x="938" y="736"/>
                  </a:lnTo>
                  <a:lnTo>
                    <a:pt x="940" y="734"/>
                  </a:lnTo>
                  <a:lnTo>
                    <a:pt x="940" y="734"/>
                  </a:lnTo>
                  <a:lnTo>
                    <a:pt x="940" y="734"/>
                  </a:lnTo>
                  <a:lnTo>
                    <a:pt x="940" y="732"/>
                  </a:lnTo>
                  <a:lnTo>
                    <a:pt x="942" y="730"/>
                  </a:lnTo>
                  <a:lnTo>
                    <a:pt x="944" y="726"/>
                  </a:lnTo>
                  <a:lnTo>
                    <a:pt x="949" y="724"/>
                  </a:lnTo>
                  <a:lnTo>
                    <a:pt x="951" y="724"/>
                  </a:lnTo>
                  <a:lnTo>
                    <a:pt x="951" y="724"/>
                  </a:lnTo>
                  <a:lnTo>
                    <a:pt x="953" y="722"/>
                  </a:lnTo>
                  <a:lnTo>
                    <a:pt x="955" y="722"/>
                  </a:lnTo>
                  <a:lnTo>
                    <a:pt x="955" y="724"/>
                  </a:lnTo>
                  <a:lnTo>
                    <a:pt x="957" y="724"/>
                  </a:lnTo>
                  <a:lnTo>
                    <a:pt x="961" y="724"/>
                  </a:lnTo>
                  <a:lnTo>
                    <a:pt x="963" y="724"/>
                  </a:lnTo>
                  <a:lnTo>
                    <a:pt x="965" y="724"/>
                  </a:lnTo>
                  <a:lnTo>
                    <a:pt x="965" y="724"/>
                  </a:lnTo>
                  <a:lnTo>
                    <a:pt x="965" y="724"/>
                  </a:lnTo>
                  <a:lnTo>
                    <a:pt x="965" y="724"/>
                  </a:lnTo>
                  <a:lnTo>
                    <a:pt x="967" y="724"/>
                  </a:lnTo>
                  <a:lnTo>
                    <a:pt x="967" y="724"/>
                  </a:lnTo>
                  <a:lnTo>
                    <a:pt x="967" y="726"/>
                  </a:lnTo>
                  <a:lnTo>
                    <a:pt x="971" y="730"/>
                  </a:lnTo>
                  <a:lnTo>
                    <a:pt x="971" y="730"/>
                  </a:lnTo>
                  <a:lnTo>
                    <a:pt x="971" y="732"/>
                  </a:lnTo>
                  <a:lnTo>
                    <a:pt x="971" y="732"/>
                  </a:lnTo>
                  <a:lnTo>
                    <a:pt x="973" y="734"/>
                  </a:lnTo>
                  <a:lnTo>
                    <a:pt x="975" y="736"/>
                  </a:lnTo>
                  <a:lnTo>
                    <a:pt x="975" y="739"/>
                  </a:lnTo>
                  <a:lnTo>
                    <a:pt x="975" y="743"/>
                  </a:lnTo>
                  <a:lnTo>
                    <a:pt x="975" y="747"/>
                  </a:lnTo>
                  <a:lnTo>
                    <a:pt x="977" y="749"/>
                  </a:lnTo>
                  <a:lnTo>
                    <a:pt x="977" y="749"/>
                  </a:lnTo>
                  <a:lnTo>
                    <a:pt x="977" y="749"/>
                  </a:lnTo>
                  <a:lnTo>
                    <a:pt x="977" y="751"/>
                  </a:lnTo>
                  <a:lnTo>
                    <a:pt x="977" y="753"/>
                  </a:lnTo>
                  <a:lnTo>
                    <a:pt x="979" y="753"/>
                  </a:lnTo>
                  <a:lnTo>
                    <a:pt x="979" y="757"/>
                  </a:lnTo>
                  <a:lnTo>
                    <a:pt x="981" y="759"/>
                  </a:lnTo>
                  <a:lnTo>
                    <a:pt x="981" y="761"/>
                  </a:lnTo>
                  <a:lnTo>
                    <a:pt x="984" y="763"/>
                  </a:lnTo>
                  <a:lnTo>
                    <a:pt x="986" y="765"/>
                  </a:lnTo>
                  <a:lnTo>
                    <a:pt x="986" y="767"/>
                  </a:lnTo>
                  <a:lnTo>
                    <a:pt x="986" y="767"/>
                  </a:lnTo>
                  <a:lnTo>
                    <a:pt x="984" y="769"/>
                  </a:lnTo>
                  <a:lnTo>
                    <a:pt x="984" y="769"/>
                  </a:lnTo>
                  <a:lnTo>
                    <a:pt x="984" y="771"/>
                  </a:lnTo>
                  <a:lnTo>
                    <a:pt x="984" y="771"/>
                  </a:lnTo>
                  <a:lnTo>
                    <a:pt x="984" y="773"/>
                  </a:lnTo>
                  <a:lnTo>
                    <a:pt x="984" y="773"/>
                  </a:lnTo>
                  <a:lnTo>
                    <a:pt x="984" y="773"/>
                  </a:lnTo>
                  <a:lnTo>
                    <a:pt x="984" y="776"/>
                  </a:lnTo>
                  <a:lnTo>
                    <a:pt x="986" y="778"/>
                  </a:lnTo>
                  <a:lnTo>
                    <a:pt x="986" y="780"/>
                  </a:lnTo>
                  <a:lnTo>
                    <a:pt x="986" y="784"/>
                  </a:lnTo>
                  <a:lnTo>
                    <a:pt x="986" y="784"/>
                  </a:lnTo>
                  <a:lnTo>
                    <a:pt x="986" y="786"/>
                  </a:lnTo>
                  <a:lnTo>
                    <a:pt x="988" y="786"/>
                  </a:lnTo>
                  <a:lnTo>
                    <a:pt x="990" y="786"/>
                  </a:lnTo>
                  <a:lnTo>
                    <a:pt x="992" y="788"/>
                  </a:lnTo>
                  <a:lnTo>
                    <a:pt x="992" y="788"/>
                  </a:lnTo>
                  <a:lnTo>
                    <a:pt x="994" y="790"/>
                  </a:lnTo>
                  <a:lnTo>
                    <a:pt x="996" y="790"/>
                  </a:lnTo>
                  <a:lnTo>
                    <a:pt x="996" y="790"/>
                  </a:lnTo>
                  <a:lnTo>
                    <a:pt x="998" y="792"/>
                  </a:lnTo>
                  <a:lnTo>
                    <a:pt x="1000" y="792"/>
                  </a:lnTo>
                  <a:lnTo>
                    <a:pt x="1006" y="794"/>
                  </a:lnTo>
                  <a:lnTo>
                    <a:pt x="1008" y="794"/>
                  </a:lnTo>
                  <a:lnTo>
                    <a:pt x="1010" y="796"/>
                  </a:lnTo>
                  <a:lnTo>
                    <a:pt x="1010" y="796"/>
                  </a:lnTo>
                  <a:lnTo>
                    <a:pt x="1012" y="796"/>
                  </a:lnTo>
                  <a:lnTo>
                    <a:pt x="1012" y="796"/>
                  </a:lnTo>
                  <a:lnTo>
                    <a:pt x="1012" y="796"/>
                  </a:lnTo>
                  <a:lnTo>
                    <a:pt x="1012" y="794"/>
                  </a:lnTo>
                  <a:lnTo>
                    <a:pt x="1014" y="794"/>
                  </a:lnTo>
                  <a:lnTo>
                    <a:pt x="1016" y="794"/>
                  </a:lnTo>
                  <a:lnTo>
                    <a:pt x="1016" y="792"/>
                  </a:lnTo>
                  <a:lnTo>
                    <a:pt x="1014" y="792"/>
                  </a:lnTo>
                  <a:lnTo>
                    <a:pt x="1012" y="786"/>
                  </a:lnTo>
                  <a:lnTo>
                    <a:pt x="1012" y="786"/>
                  </a:lnTo>
                  <a:lnTo>
                    <a:pt x="1012" y="782"/>
                  </a:lnTo>
                  <a:lnTo>
                    <a:pt x="1012" y="780"/>
                  </a:lnTo>
                  <a:lnTo>
                    <a:pt x="1012" y="778"/>
                  </a:lnTo>
                  <a:lnTo>
                    <a:pt x="1012" y="776"/>
                  </a:lnTo>
                  <a:lnTo>
                    <a:pt x="1014" y="773"/>
                  </a:lnTo>
                  <a:lnTo>
                    <a:pt x="1014" y="773"/>
                  </a:lnTo>
                  <a:lnTo>
                    <a:pt x="1014" y="771"/>
                  </a:lnTo>
                  <a:lnTo>
                    <a:pt x="1014" y="771"/>
                  </a:lnTo>
                  <a:lnTo>
                    <a:pt x="1012" y="769"/>
                  </a:lnTo>
                  <a:lnTo>
                    <a:pt x="1012" y="767"/>
                  </a:lnTo>
                  <a:lnTo>
                    <a:pt x="1012" y="767"/>
                  </a:lnTo>
                  <a:lnTo>
                    <a:pt x="1014" y="769"/>
                  </a:lnTo>
                  <a:lnTo>
                    <a:pt x="1016" y="769"/>
                  </a:lnTo>
                  <a:lnTo>
                    <a:pt x="1016" y="769"/>
                  </a:lnTo>
                  <a:lnTo>
                    <a:pt x="1018" y="767"/>
                  </a:lnTo>
                  <a:lnTo>
                    <a:pt x="1020" y="763"/>
                  </a:lnTo>
                  <a:lnTo>
                    <a:pt x="1018" y="759"/>
                  </a:lnTo>
                  <a:lnTo>
                    <a:pt x="1018" y="759"/>
                  </a:lnTo>
                  <a:lnTo>
                    <a:pt x="1020" y="759"/>
                  </a:lnTo>
                  <a:lnTo>
                    <a:pt x="1023" y="759"/>
                  </a:lnTo>
                  <a:lnTo>
                    <a:pt x="1023" y="759"/>
                  </a:lnTo>
                  <a:lnTo>
                    <a:pt x="1025" y="757"/>
                  </a:lnTo>
                  <a:lnTo>
                    <a:pt x="1027" y="755"/>
                  </a:lnTo>
                  <a:lnTo>
                    <a:pt x="1025" y="755"/>
                  </a:lnTo>
                  <a:lnTo>
                    <a:pt x="1025" y="755"/>
                  </a:lnTo>
                  <a:lnTo>
                    <a:pt x="1025" y="755"/>
                  </a:lnTo>
                  <a:lnTo>
                    <a:pt x="1027" y="755"/>
                  </a:lnTo>
                  <a:lnTo>
                    <a:pt x="1027" y="755"/>
                  </a:lnTo>
                  <a:lnTo>
                    <a:pt x="1029" y="753"/>
                  </a:lnTo>
                  <a:lnTo>
                    <a:pt x="1029" y="753"/>
                  </a:lnTo>
                  <a:lnTo>
                    <a:pt x="1029" y="753"/>
                  </a:lnTo>
                  <a:lnTo>
                    <a:pt x="1029" y="755"/>
                  </a:lnTo>
                  <a:lnTo>
                    <a:pt x="1031" y="753"/>
                  </a:lnTo>
                  <a:lnTo>
                    <a:pt x="1031" y="753"/>
                  </a:lnTo>
                  <a:lnTo>
                    <a:pt x="1031" y="751"/>
                  </a:lnTo>
                  <a:lnTo>
                    <a:pt x="1033" y="749"/>
                  </a:lnTo>
                  <a:lnTo>
                    <a:pt x="1033" y="751"/>
                  </a:lnTo>
                  <a:lnTo>
                    <a:pt x="1035" y="751"/>
                  </a:lnTo>
                  <a:lnTo>
                    <a:pt x="1037" y="749"/>
                  </a:lnTo>
                  <a:lnTo>
                    <a:pt x="1037" y="749"/>
                  </a:lnTo>
                  <a:lnTo>
                    <a:pt x="1037" y="749"/>
                  </a:lnTo>
                  <a:lnTo>
                    <a:pt x="1037" y="749"/>
                  </a:lnTo>
                  <a:lnTo>
                    <a:pt x="1035" y="745"/>
                  </a:lnTo>
                  <a:lnTo>
                    <a:pt x="1037" y="745"/>
                  </a:lnTo>
                  <a:lnTo>
                    <a:pt x="1037" y="745"/>
                  </a:lnTo>
                  <a:lnTo>
                    <a:pt x="1037" y="745"/>
                  </a:lnTo>
                  <a:lnTo>
                    <a:pt x="1037" y="745"/>
                  </a:lnTo>
                  <a:lnTo>
                    <a:pt x="1037" y="747"/>
                  </a:lnTo>
                  <a:lnTo>
                    <a:pt x="1039" y="745"/>
                  </a:lnTo>
                  <a:lnTo>
                    <a:pt x="1039" y="745"/>
                  </a:lnTo>
                  <a:lnTo>
                    <a:pt x="1041" y="745"/>
                  </a:lnTo>
                  <a:lnTo>
                    <a:pt x="1043" y="745"/>
                  </a:lnTo>
                  <a:lnTo>
                    <a:pt x="1045" y="745"/>
                  </a:lnTo>
                  <a:lnTo>
                    <a:pt x="1043" y="747"/>
                  </a:lnTo>
                  <a:lnTo>
                    <a:pt x="1041" y="749"/>
                  </a:lnTo>
                  <a:lnTo>
                    <a:pt x="1041" y="749"/>
                  </a:lnTo>
                  <a:lnTo>
                    <a:pt x="1045" y="747"/>
                  </a:lnTo>
                  <a:lnTo>
                    <a:pt x="1047" y="745"/>
                  </a:lnTo>
                  <a:lnTo>
                    <a:pt x="1049" y="745"/>
                  </a:lnTo>
                  <a:lnTo>
                    <a:pt x="1051" y="743"/>
                  </a:lnTo>
                  <a:lnTo>
                    <a:pt x="1055" y="741"/>
                  </a:lnTo>
                  <a:lnTo>
                    <a:pt x="1057" y="739"/>
                  </a:lnTo>
                  <a:lnTo>
                    <a:pt x="1059" y="736"/>
                  </a:lnTo>
                  <a:lnTo>
                    <a:pt x="1062" y="736"/>
                  </a:lnTo>
                  <a:lnTo>
                    <a:pt x="1064" y="734"/>
                  </a:lnTo>
                  <a:lnTo>
                    <a:pt x="1066" y="732"/>
                  </a:lnTo>
                  <a:lnTo>
                    <a:pt x="1066" y="730"/>
                  </a:lnTo>
                  <a:lnTo>
                    <a:pt x="1066" y="728"/>
                  </a:lnTo>
                  <a:lnTo>
                    <a:pt x="1066" y="726"/>
                  </a:lnTo>
                  <a:lnTo>
                    <a:pt x="1066" y="726"/>
                  </a:lnTo>
                  <a:lnTo>
                    <a:pt x="1068" y="726"/>
                  </a:lnTo>
                  <a:lnTo>
                    <a:pt x="1068" y="726"/>
                  </a:lnTo>
                  <a:lnTo>
                    <a:pt x="1070" y="724"/>
                  </a:lnTo>
                  <a:lnTo>
                    <a:pt x="1070" y="724"/>
                  </a:lnTo>
                  <a:lnTo>
                    <a:pt x="1070" y="726"/>
                  </a:lnTo>
                  <a:lnTo>
                    <a:pt x="1068" y="728"/>
                  </a:lnTo>
                  <a:lnTo>
                    <a:pt x="1070" y="728"/>
                  </a:lnTo>
                  <a:lnTo>
                    <a:pt x="1072" y="728"/>
                  </a:lnTo>
                  <a:lnTo>
                    <a:pt x="1072" y="728"/>
                  </a:lnTo>
                  <a:lnTo>
                    <a:pt x="1068" y="730"/>
                  </a:lnTo>
                  <a:lnTo>
                    <a:pt x="1068" y="732"/>
                  </a:lnTo>
                  <a:lnTo>
                    <a:pt x="1072" y="730"/>
                  </a:lnTo>
                  <a:lnTo>
                    <a:pt x="1080" y="726"/>
                  </a:lnTo>
                  <a:lnTo>
                    <a:pt x="1084" y="726"/>
                  </a:lnTo>
                  <a:lnTo>
                    <a:pt x="1084" y="726"/>
                  </a:lnTo>
                  <a:lnTo>
                    <a:pt x="1082" y="724"/>
                  </a:lnTo>
                  <a:lnTo>
                    <a:pt x="1086" y="720"/>
                  </a:lnTo>
                  <a:lnTo>
                    <a:pt x="1086" y="720"/>
                  </a:lnTo>
                  <a:lnTo>
                    <a:pt x="1086" y="722"/>
                  </a:lnTo>
                  <a:lnTo>
                    <a:pt x="1086" y="722"/>
                  </a:lnTo>
                  <a:lnTo>
                    <a:pt x="1086" y="724"/>
                  </a:lnTo>
                  <a:lnTo>
                    <a:pt x="1084" y="724"/>
                  </a:lnTo>
                  <a:lnTo>
                    <a:pt x="1084" y="724"/>
                  </a:lnTo>
                  <a:lnTo>
                    <a:pt x="1084" y="724"/>
                  </a:lnTo>
                  <a:lnTo>
                    <a:pt x="1084" y="726"/>
                  </a:lnTo>
                  <a:lnTo>
                    <a:pt x="1086" y="724"/>
                  </a:lnTo>
                  <a:lnTo>
                    <a:pt x="1086" y="724"/>
                  </a:lnTo>
                  <a:lnTo>
                    <a:pt x="1092" y="724"/>
                  </a:lnTo>
                  <a:lnTo>
                    <a:pt x="1092" y="724"/>
                  </a:lnTo>
                  <a:lnTo>
                    <a:pt x="1094" y="724"/>
                  </a:lnTo>
                  <a:lnTo>
                    <a:pt x="1098" y="726"/>
                  </a:lnTo>
                  <a:lnTo>
                    <a:pt x="1101" y="726"/>
                  </a:lnTo>
                  <a:lnTo>
                    <a:pt x="1103" y="728"/>
                  </a:lnTo>
                  <a:lnTo>
                    <a:pt x="1109" y="728"/>
                  </a:lnTo>
                  <a:lnTo>
                    <a:pt x="1111" y="728"/>
                  </a:lnTo>
                  <a:lnTo>
                    <a:pt x="1111" y="728"/>
                  </a:lnTo>
                  <a:lnTo>
                    <a:pt x="1111" y="726"/>
                  </a:lnTo>
                  <a:lnTo>
                    <a:pt x="1111" y="726"/>
                  </a:lnTo>
                  <a:lnTo>
                    <a:pt x="1111" y="724"/>
                  </a:lnTo>
                  <a:lnTo>
                    <a:pt x="1113" y="724"/>
                  </a:lnTo>
                  <a:lnTo>
                    <a:pt x="1115" y="724"/>
                  </a:lnTo>
                  <a:lnTo>
                    <a:pt x="1115" y="724"/>
                  </a:lnTo>
                  <a:lnTo>
                    <a:pt x="1119" y="724"/>
                  </a:lnTo>
                  <a:lnTo>
                    <a:pt x="1119" y="728"/>
                  </a:lnTo>
                  <a:lnTo>
                    <a:pt x="1119" y="728"/>
                  </a:lnTo>
                  <a:lnTo>
                    <a:pt x="1123" y="730"/>
                  </a:lnTo>
                  <a:lnTo>
                    <a:pt x="1123" y="728"/>
                  </a:lnTo>
                  <a:lnTo>
                    <a:pt x="1123" y="728"/>
                  </a:lnTo>
                  <a:lnTo>
                    <a:pt x="1123" y="730"/>
                  </a:lnTo>
                  <a:lnTo>
                    <a:pt x="1123" y="730"/>
                  </a:lnTo>
                  <a:lnTo>
                    <a:pt x="1123" y="732"/>
                  </a:lnTo>
                  <a:lnTo>
                    <a:pt x="1123" y="732"/>
                  </a:lnTo>
                  <a:lnTo>
                    <a:pt x="1123" y="732"/>
                  </a:lnTo>
                  <a:lnTo>
                    <a:pt x="1121" y="732"/>
                  </a:lnTo>
                  <a:lnTo>
                    <a:pt x="1121" y="734"/>
                  </a:lnTo>
                  <a:lnTo>
                    <a:pt x="1125" y="734"/>
                  </a:lnTo>
                  <a:lnTo>
                    <a:pt x="1129" y="736"/>
                  </a:lnTo>
                  <a:lnTo>
                    <a:pt x="1131" y="736"/>
                  </a:lnTo>
                  <a:lnTo>
                    <a:pt x="1133" y="734"/>
                  </a:lnTo>
                  <a:lnTo>
                    <a:pt x="1133" y="732"/>
                  </a:lnTo>
                  <a:lnTo>
                    <a:pt x="1135" y="732"/>
                  </a:lnTo>
                  <a:lnTo>
                    <a:pt x="1137" y="734"/>
                  </a:lnTo>
                  <a:lnTo>
                    <a:pt x="1137" y="736"/>
                  </a:lnTo>
                  <a:lnTo>
                    <a:pt x="1137" y="736"/>
                  </a:lnTo>
                  <a:lnTo>
                    <a:pt x="1140" y="736"/>
                  </a:lnTo>
                  <a:lnTo>
                    <a:pt x="1140" y="734"/>
                  </a:lnTo>
                  <a:lnTo>
                    <a:pt x="1140" y="734"/>
                  </a:lnTo>
                  <a:lnTo>
                    <a:pt x="1142" y="732"/>
                  </a:lnTo>
                  <a:lnTo>
                    <a:pt x="1142" y="732"/>
                  </a:lnTo>
                  <a:lnTo>
                    <a:pt x="1142" y="730"/>
                  </a:lnTo>
                  <a:lnTo>
                    <a:pt x="1142" y="730"/>
                  </a:lnTo>
                  <a:lnTo>
                    <a:pt x="1140" y="730"/>
                  </a:lnTo>
                  <a:lnTo>
                    <a:pt x="1140" y="730"/>
                  </a:lnTo>
                  <a:lnTo>
                    <a:pt x="1140" y="728"/>
                  </a:lnTo>
                  <a:lnTo>
                    <a:pt x="1144" y="730"/>
                  </a:lnTo>
                  <a:lnTo>
                    <a:pt x="1146" y="730"/>
                  </a:lnTo>
                  <a:lnTo>
                    <a:pt x="1146" y="732"/>
                  </a:lnTo>
                  <a:lnTo>
                    <a:pt x="1146" y="732"/>
                  </a:lnTo>
                  <a:lnTo>
                    <a:pt x="1146" y="732"/>
                  </a:lnTo>
                  <a:lnTo>
                    <a:pt x="1148" y="732"/>
                  </a:lnTo>
                  <a:lnTo>
                    <a:pt x="1148" y="732"/>
                  </a:lnTo>
                  <a:lnTo>
                    <a:pt x="1148" y="734"/>
                  </a:lnTo>
                  <a:lnTo>
                    <a:pt x="1150" y="734"/>
                  </a:lnTo>
                  <a:lnTo>
                    <a:pt x="1150" y="734"/>
                  </a:lnTo>
                  <a:lnTo>
                    <a:pt x="1150" y="736"/>
                  </a:lnTo>
                  <a:lnTo>
                    <a:pt x="1152" y="736"/>
                  </a:lnTo>
                  <a:lnTo>
                    <a:pt x="1150" y="739"/>
                  </a:lnTo>
                  <a:lnTo>
                    <a:pt x="1152" y="739"/>
                  </a:lnTo>
                  <a:lnTo>
                    <a:pt x="1152" y="736"/>
                  </a:lnTo>
                  <a:lnTo>
                    <a:pt x="1154" y="739"/>
                  </a:lnTo>
                  <a:lnTo>
                    <a:pt x="1154" y="739"/>
                  </a:lnTo>
                  <a:lnTo>
                    <a:pt x="1154" y="739"/>
                  </a:lnTo>
                  <a:lnTo>
                    <a:pt x="1154" y="736"/>
                  </a:lnTo>
                  <a:lnTo>
                    <a:pt x="1156" y="736"/>
                  </a:lnTo>
                  <a:lnTo>
                    <a:pt x="1156" y="734"/>
                  </a:lnTo>
                  <a:lnTo>
                    <a:pt x="1156" y="734"/>
                  </a:lnTo>
                  <a:lnTo>
                    <a:pt x="1156" y="734"/>
                  </a:lnTo>
                  <a:lnTo>
                    <a:pt x="1154" y="732"/>
                  </a:lnTo>
                  <a:lnTo>
                    <a:pt x="1154" y="732"/>
                  </a:lnTo>
                  <a:lnTo>
                    <a:pt x="1150" y="730"/>
                  </a:lnTo>
                  <a:lnTo>
                    <a:pt x="1150" y="730"/>
                  </a:lnTo>
                  <a:lnTo>
                    <a:pt x="1148" y="728"/>
                  </a:lnTo>
                  <a:lnTo>
                    <a:pt x="1148" y="728"/>
                  </a:lnTo>
                  <a:lnTo>
                    <a:pt x="1148" y="726"/>
                  </a:lnTo>
                  <a:lnTo>
                    <a:pt x="1148" y="726"/>
                  </a:lnTo>
                  <a:lnTo>
                    <a:pt x="1150" y="726"/>
                  </a:lnTo>
                  <a:lnTo>
                    <a:pt x="1150" y="726"/>
                  </a:lnTo>
                  <a:lnTo>
                    <a:pt x="1150" y="726"/>
                  </a:lnTo>
                  <a:lnTo>
                    <a:pt x="1150" y="726"/>
                  </a:lnTo>
                  <a:lnTo>
                    <a:pt x="1152" y="724"/>
                  </a:lnTo>
                  <a:lnTo>
                    <a:pt x="1152" y="724"/>
                  </a:lnTo>
                  <a:lnTo>
                    <a:pt x="1154" y="724"/>
                  </a:lnTo>
                  <a:lnTo>
                    <a:pt x="1154" y="724"/>
                  </a:lnTo>
                  <a:lnTo>
                    <a:pt x="1154" y="722"/>
                  </a:lnTo>
                  <a:lnTo>
                    <a:pt x="1154" y="720"/>
                  </a:lnTo>
                  <a:lnTo>
                    <a:pt x="1154" y="720"/>
                  </a:lnTo>
                  <a:lnTo>
                    <a:pt x="1154" y="720"/>
                  </a:lnTo>
                  <a:lnTo>
                    <a:pt x="1154" y="720"/>
                  </a:lnTo>
                  <a:lnTo>
                    <a:pt x="1152" y="720"/>
                  </a:lnTo>
                  <a:lnTo>
                    <a:pt x="1152" y="722"/>
                  </a:lnTo>
                  <a:lnTo>
                    <a:pt x="1150" y="722"/>
                  </a:lnTo>
                  <a:lnTo>
                    <a:pt x="1150" y="722"/>
                  </a:lnTo>
                  <a:lnTo>
                    <a:pt x="1148" y="720"/>
                  </a:lnTo>
                  <a:lnTo>
                    <a:pt x="1150" y="720"/>
                  </a:lnTo>
                  <a:lnTo>
                    <a:pt x="1150" y="718"/>
                  </a:lnTo>
                  <a:lnTo>
                    <a:pt x="1152" y="718"/>
                  </a:lnTo>
                  <a:lnTo>
                    <a:pt x="1152" y="718"/>
                  </a:lnTo>
                  <a:lnTo>
                    <a:pt x="1150" y="718"/>
                  </a:lnTo>
                  <a:lnTo>
                    <a:pt x="1150" y="718"/>
                  </a:lnTo>
                  <a:lnTo>
                    <a:pt x="1150" y="718"/>
                  </a:lnTo>
                  <a:lnTo>
                    <a:pt x="1148" y="718"/>
                  </a:lnTo>
                  <a:lnTo>
                    <a:pt x="1146" y="720"/>
                  </a:lnTo>
                  <a:lnTo>
                    <a:pt x="1144" y="720"/>
                  </a:lnTo>
                  <a:lnTo>
                    <a:pt x="1142" y="720"/>
                  </a:lnTo>
                  <a:lnTo>
                    <a:pt x="1140" y="718"/>
                  </a:lnTo>
                  <a:lnTo>
                    <a:pt x="1142" y="716"/>
                  </a:lnTo>
                  <a:lnTo>
                    <a:pt x="1144" y="714"/>
                  </a:lnTo>
                  <a:lnTo>
                    <a:pt x="1146" y="714"/>
                  </a:lnTo>
                  <a:lnTo>
                    <a:pt x="1146" y="714"/>
                  </a:lnTo>
                  <a:lnTo>
                    <a:pt x="1148" y="716"/>
                  </a:lnTo>
                  <a:lnTo>
                    <a:pt x="1152" y="718"/>
                  </a:lnTo>
                  <a:lnTo>
                    <a:pt x="1156" y="716"/>
                  </a:lnTo>
                  <a:lnTo>
                    <a:pt x="1158" y="714"/>
                  </a:lnTo>
                  <a:lnTo>
                    <a:pt x="1158" y="714"/>
                  </a:lnTo>
                  <a:lnTo>
                    <a:pt x="1158" y="714"/>
                  </a:lnTo>
                  <a:lnTo>
                    <a:pt x="1162" y="714"/>
                  </a:lnTo>
                  <a:lnTo>
                    <a:pt x="1164" y="712"/>
                  </a:lnTo>
                  <a:lnTo>
                    <a:pt x="1164" y="712"/>
                  </a:lnTo>
                  <a:lnTo>
                    <a:pt x="1166" y="714"/>
                  </a:lnTo>
                  <a:lnTo>
                    <a:pt x="1168" y="714"/>
                  </a:lnTo>
                  <a:lnTo>
                    <a:pt x="1172" y="714"/>
                  </a:lnTo>
                  <a:lnTo>
                    <a:pt x="1174" y="714"/>
                  </a:lnTo>
                  <a:lnTo>
                    <a:pt x="1177" y="714"/>
                  </a:lnTo>
                  <a:lnTo>
                    <a:pt x="1177" y="712"/>
                  </a:lnTo>
                  <a:lnTo>
                    <a:pt x="1179" y="710"/>
                  </a:lnTo>
                  <a:lnTo>
                    <a:pt x="1179" y="708"/>
                  </a:lnTo>
                  <a:lnTo>
                    <a:pt x="1181" y="708"/>
                  </a:lnTo>
                  <a:lnTo>
                    <a:pt x="1181" y="710"/>
                  </a:lnTo>
                  <a:lnTo>
                    <a:pt x="1181" y="710"/>
                  </a:lnTo>
                  <a:lnTo>
                    <a:pt x="1181" y="712"/>
                  </a:lnTo>
                  <a:lnTo>
                    <a:pt x="1181" y="712"/>
                  </a:lnTo>
                  <a:lnTo>
                    <a:pt x="1181" y="714"/>
                  </a:lnTo>
                  <a:lnTo>
                    <a:pt x="1181" y="714"/>
                  </a:lnTo>
                  <a:lnTo>
                    <a:pt x="1181" y="716"/>
                  </a:lnTo>
                  <a:lnTo>
                    <a:pt x="1179" y="716"/>
                  </a:lnTo>
                  <a:lnTo>
                    <a:pt x="1179" y="716"/>
                  </a:lnTo>
                  <a:lnTo>
                    <a:pt x="1177" y="716"/>
                  </a:lnTo>
                  <a:lnTo>
                    <a:pt x="1183" y="716"/>
                  </a:lnTo>
                  <a:lnTo>
                    <a:pt x="1187" y="714"/>
                  </a:lnTo>
                  <a:lnTo>
                    <a:pt x="1187" y="714"/>
                  </a:lnTo>
                  <a:lnTo>
                    <a:pt x="1187" y="714"/>
                  </a:lnTo>
                  <a:lnTo>
                    <a:pt x="1185" y="714"/>
                  </a:lnTo>
                  <a:lnTo>
                    <a:pt x="1187" y="716"/>
                  </a:lnTo>
                  <a:lnTo>
                    <a:pt x="1189" y="714"/>
                  </a:lnTo>
                  <a:lnTo>
                    <a:pt x="1191" y="714"/>
                  </a:lnTo>
                  <a:lnTo>
                    <a:pt x="1191" y="712"/>
                  </a:lnTo>
                  <a:lnTo>
                    <a:pt x="1193" y="710"/>
                  </a:lnTo>
                  <a:lnTo>
                    <a:pt x="1193" y="710"/>
                  </a:lnTo>
                  <a:lnTo>
                    <a:pt x="1193" y="712"/>
                  </a:lnTo>
                  <a:lnTo>
                    <a:pt x="1195" y="710"/>
                  </a:lnTo>
                  <a:lnTo>
                    <a:pt x="1195" y="710"/>
                  </a:lnTo>
                  <a:lnTo>
                    <a:pt x="1195" y="712"/>
                  </a:lnTo>
                  <a:lnTo>
                    <a:pt x="1195" y="712"/>
                  </a:lnTo>
                  <a:lnTo>
                    <a:pt x="1193" y="714"/>
                  </a:lnTo>
                  <a:lnTo>
                    <a:pt x="1191" y="714"/>
                  </a:lnTo>
                  <a:lnTo>
                    <a:pt x="1191" y="714"/>
                  </a:lnTo>
                  <a:lnTo>
                    <a:pt x="1195" y="714"/>
                  </a:lnTo>
                  <a:lnTo>
                    <a:pt x="1199" y="714"/>
                  </a:lnTo>
                  <a:lnTo>
                    <a:pt x="1201" y="712"/>
                  </a:lnTo>
                  <a:lnTo>
                    <a:pt x="1201" y="712"/>
                  </a:lnTo>
                  <a:lnTo>
                    <a:pt x="1203" y="712"/>
                  </a:lnTo>
                  <a:lnTo>
                    <a:pt x="1203" y="712"/>
                  </a:lnTo>
                  <a:lnTo>
                    <a:pt x="1205" y="712"/>
                  </a:lnTo>
                  <a:lnTo>
                    <a:pt x="1207" y="712"/>
                  </a:lnTo>
                  <a:lnTo>
                    <a:pt x="1207" y="712"/>
                  </a:lnTo>
                  <a:lnTo>
                    <a:pt x="1207" y="714"/>
                  </a:lnTo>
                  <a:lnTo>
                    <a:pt x="1205" y="712"/>
                  </a:lnTo>
                  <a:lnTo>
                    <a:pt x="1203" y="714"/>
                  </a:lnTo>
                  <a:lnTo>
                    <a:pt x="1207" y="714"/>
                  </a:lnTo>
                  <a:lnTo>
                    <a:pt x="1211" y="716"/>
                  </a:lnTo>
                  <a:lnTo>
                    <a:pt x="1211" y="718"/>
                  </a:lnTo>
                  <a:lnTo>
                    <a:pt x="1211" y="718"/>
                  </a:lnTo>
                  <a:lnTo>
                    <a:pt x="1213" y="716"/>
                  </a:lnTo>
                  <a:lnTo>
                    <a:pt x="1213" y="716"/>
                  </a:lnTo>
                  <a:lnTo>
                    <a:pt x="1213" y="716"/>
                  </a:lnTo>
                  <a:lnTo>
                    <a:pt x="1216" y="716"/>
                  </a:lnTo>
                  <a:lnTo>
                    <a:pt x="1213" y="716"/>
                  </a:lnTo>
                  <a:lnTo>
                    <a:pt x="1213" y="716"/>
                  </a:lnTo>
                  <a:lnTo>
                    <a:pt x="1213" y="718"/>
                  </a:lnTo>
                  <a:lnTo>
                    <a:pt x="1213" y="718"/>
                  </a:lnTo>
                  <a:lnTo>
                    <a:pt x="1213" y="718"/>
                  </a:lnTo>
                  <a:lnTo>
                    <a:pt x="1216" y="720"/>
                  </a:lnTo>
                  <a:lnTo>
                    <a:pt x="1218" y="722"/>
                  </a:lnTo>
                  <a:lnTo>
                    <a:pt x="1218" y="724"/>
                  </a:lnTo>
                  <a:lnTo>
                    <a:pt x="1218" y="724"/>
                  </a:lnTo>
                  <a:lnTo>
                    <a:pt x="1218" y="724"/>
                  </a:lnTo>
                  <a:lnTo>
                    <a:pt x="1216" y="724"/>
                  </a:lnTo>
                  <a:lnTo>
                    <a:pt x="1216" y="724"/>
                  </a:lnTo>
                  <a:lnTo>
                    <a:pt x="1216" y="724"/>
                  </a:lnTo>
                  <a:lnTo>
                    <a:pt x="1216" y="726"/>
                  </a:lnTo>
                  <a:lnTo>
                    <a:pt x="1218" y="726"/>
                  </a:lnTo>
                  <a:lnTo>
                    <a:pt x="1220" y="726"/>
                  </a:lnTo>
                  <a:lnTo>
                    <a:pt x="1222" y="726"/>
                  </a:lnTo>
                  <a:lnTo>
                    <a:pt x="1222" y="724"/>
                  </a:lnTo>
                  <a:lnTo>
                    <a:pt x="1224" y="724"/>
                  </a:lnTo>
                  <a:lnTo>
                    <a:pt x="1226" y="724"/>
                  </a:lnTo>
                  <a:lnTo>
                    <a:pt x="1230" y="722"/>
                  </a:lnTo>
                  <a:lnTo>
                    <a:pt x="1232" y="722"/>
                  </a:lnTo>
                  <a:lnTo>
                    <a:pt x="1232" y="722"/>
                  </a:lnTo>
                  <a:lnTo>
                    <a:pt x="1232" y="722"/>
                  </a:lnTo>
                  <a:lnTo>
                    <a:pt x="1232" y="720"/>
                  </a:lnTo>
                  <a:lnTo>
                    <a:pt x="1234" y="720"/>
                  </a:lnTo>
                  <a:lnTo>
                    <a:pt x="1234" y="720"/>
                  </a:lnTo>
                  <a:lnTo>
                    <a:pt x="1238" y="718"/>
                  </a:lnTo>
                  <a:lnTo>
                    <a:pt x="1242" y="722"/>
                  </a:lnTo>
                  <a:lnTo>
                    <a:pt x="1246" y="730"/>
                  </a:lnTo>
                  <a:lnTo>
                    <a:pt x="1252" y="739"/>
                  </a:lnTo>
                  <a:lnTo>
                    <a:pt x="1255" y="741"/>
                  </a:lnTo>
                  <a:lnTo>
                    <a:pt x="1255" y="743"/>
                  </a:lnTo>
                  <a:lnTo>
                    <a:pt x="1255" y="743"/>
                  </a:lnTo>
                  <a:lnTo>
                    <a:pt x="1252" y="749"/>
                  </a:lnTo>
                  <a:lnTo>
                    <a:pt x="1250" y="753"/>
                  </a:lnTo>
                  <a:lnTo>
                    <a:pt x="1246" y="759"/>
                  </a:lnTo>
                  <a:lnTo>
                    <a:pt x="1248" y="761"/>
                  </a:lnTo>
                  <a:lnTo>
                    <a:pt x="1248" y="761"/>
                  </a:lnTo>
                  <a:lnTo>
                    <a:pt x="1248" y="763"/>
                  </a:lnTo>
                  <a:lnTo>
                    <a:pt x="1248" y="761"/>
                  </a:lnTo>
                  <a:lnTo>
                    <a:pt x="1250" y="763"/>
                  </a:lnTo>
                  <a:lnTo>
                    <a:pt x="1250" y="761"/>
                  </a:lnTo>
                  <a:lnTo>
                    <a:pt x="1250" y="761"/>
                  </a:lnTo>
                  <a:lnTo>
                    <a:pt x="1250" y="759"/>
                  </a:lnTo>
                  <a:lnTo>
                    <a:pt x="1250" y="759"/>
                  </a:lnTo>
                  <a:lnTo>
                    <a:pt x="1250" y="757"/>
                  </a:lnTo>
                  <a:lnTo>
                    <a:pt x="1250" y="757"/>
                  </a:lnTo>
                  <a:lnTo>
                    <a:pt x="1252" y="757"/>
                  </a:lnTo>
                  <a:lnTo>
                    <a:pt x="1252" y="759"/>
                  </a:lnTo>
                  <a:lnTo>
                    <a:pt x="1252" y="759"/>
                  </a:lnTo>
                  <a:lnTo>
                    <a:pt x="1255" y="759"/>
                  </a:lnTo>
                  <a:lnTo>
                    <a:pt x="1255" y="759"/>
                  </a:lnTo>
                  <a:lnTo>
                    <a:pt x="1255" y="759"/>
                  </a:lnTo>
                  <a:lnTo>
                    <a:pt x="1252" y="761"/>
                  </a:lnTo>
                  <a:lnTo>
                    <a:pt x="1252" y="763"/>
                  </a:lnTo>
                  <a:lnTo>
                    <a:pt x="1248" y="765"/>
                  </a:lnTo>
                  <a:lnTo>
                    <a:pt x="1248" y="765"/>
                  </a:lnTo>
                  <a:lnTo>
                    <a:pt x="1248" y="765"/>
                  </a:lnTo>
                  <a:lnTo>
                    <a:pt x="1248" y="767"/>
                  </a:lnTo>
                  <a:lnTo>
                    <a:pt x="1248" y="767"/>
                  </a:lnTo>
                  <a:lnTo>
                    <a:pt x="1250" y="773"/>
                  </a:lnTo>
                  <a:lnTo>
                    <a:pt x="1250" y="778"/>
                  </a:lnTo>
                  <a:lnTo>
                    <a:pt x="1252" y="778"/>
                  </a:lnTo>
                  <a:lnTo>
                    <a:pt x="1252" y="778"/>
                  </a:lnTo>
                  <a:lnTo>
                    <a:pt x="1255" y="778"/>
                  </a:lnTo>
                  <a:lnTo>
                    <a:pt x="1255" y="778"/>
                  </a:lnTo>
                  <a:lnTo>
                    <a:pt x="1255" y="778"/>
                  </a:lnTo>
                  <a:lnTo>
                    <a:pt x="1255" y="776"/>
                  </a:lnTo>
                  <a:lnTo>
                    <a:pt x="1257" y="776"/>
                  </a:lnTo>
                  <a:lnTo>
                    <a:pt x="1257" y="778"/>
                  </a:lnTo>
                  <a:lnTo>
                    <a:pt x="1255" y="782"/>
                  </a:lnTo>
                  <a:lnTo>
                    <a:pt x="1255" y="784"/>
                  </a:lnTo>
                  <a:lnTo>
                    <a:pt x="1255" y="784"/>
                  </a:lnTo>
                  <a:lnTo>
                    <a:pt x="1257" y="784"/>
                  </a:lnTo>
                  <a:lnTo>
                    <a:pt x="1257" y="782"/>
                  </a:lnTo>
                  <a:lnTo>
                    <a:pt x="1259" y="782"/>
                  </a:lnTo>
                  <a:lnTo>
                    <a:pt x="1259" y="782"/>
                  </a:lnTo>
                  <a:lnTo>
                    <a:pt x="1257" y="784"/>
                  </a:lnTo>
                  <a:lnTo>
                    <a:pt x="1257" y="786"/>
                  </a:lnTo>
                  <a:lnTo>
                    <a:pt x="1257" y="786"/>
                  </a:lnTo>
                  <a:lnTo>
                    <a:pt x="1257" y="786"/>
                  </a:lnTo>
                  <a:lnTo>
                    <a:pt x="1257" y="792"/>
                  </a:lnTo>
                  <a:lnTo>
                    <a:pt x="1259" y="794"/>
                  </a:lnTo>
                  <a:lnTo>
                    <a:pt x="1261" y="796"/>
                  </a:lnTo>
                  <a:lnTo>
                    <a:pt x="1263" y="796"/>
                  </a:lnTo>
                  <a:lnTo>
                    <a:pt x="1263" y="798"/>
                  </a:lnTo>
                  <a:lnTo>
                    <a:pt x="1265" y="802"/>
                  </a:lnTo>
                  <a:lnTo>
                    <a:pt x="1265" y="806"/>
                  </a:lnTo>
                  <a:lnTo>
                    <a:pt x="1267" y="806"/>
                  </a:lnTo>
                  <a:lnTo>
                    <a:pt x="1267" y="806"/>
                  </a:lnTo>
                  <a:lnTo>
                    <a:pt x="1267" y="806"/>
                  </a:lnTo>
                  <a:lnTo>
                    <a:pt x="1267" y="808"/>
                  </a:lnTo>
                  <a:lnTo>
                    <a:pt x="1265" y="806"/>
                  </a:lnTo>
                  <a:lnTo>
                    <a:pt x="1265" y="806"/>
                  </a:lnTo>
                  <a:lnTo>
                    <a:pt x="1265" y="806"/>
                  </a:lnTo>
                  <a:lnTo>
                    <a:pt x="1265" y="808"/>
                  </a:lnTo>
                  <a:lnTo>
                    <a:pt x="1265" y="810"/>
                  </a:lnTo>
                  <a:lnTo>
                    <a:pt x="1267" y="810"/>
                  </a:lnTo>
                  <a:lnTo>
                    <a:pt x="1269" y="808"/>
                  </a:lnTo>
                  <a:lnTo>
                    <a:pt x="1271" y="808"/>
                  </a:lnTo>
                  <a:lnTo>
                    <a:pt x="1273" y="808"/>
                  </a:lnTo>
                  <a:lnTo>
                    <a:pt x="1275" y="808"/>
                  </a:lnTo>
                  <a:lnTo>
                    <a:pt x="1277" y="806"/>
                  </a:lnTo>
                  <a:lnTo>
                    <a:pt x="1277" y="804"/>
                  </a:lnTo>
                  <a:lnTo>
                    <a:pt x="1279" y="800"/>
                  </a:lnTo>
                  <a:lnTo>
                    <a:pt x="1281" y="798"/>
                  </a:lnTo>
                  <a:lnTo>
                    <a:pt x="1281" y="796"/>
                  </a:lnTo>
                  <a:lnTo>
                    <a:pt x="1283" y="796"/>
                  </a:lnTo>
                  <a:lnTo>
                    <a:pt x="1283" y="796"/>
                  </a:lnTo>
                  <a:lnTo>
                    <a:pt x="1283" y="796"/>
                  </a:lnTo>
                  <a:lnTo>
                    <a:pt x="1283" y="792"/>
                  </a:lnTo>
                  <a:lnTo>
                    <a:pt x="1285" y="784"/>
                  </a:lnTo>
                  <a:lnTo>
                    <a:pt x="1287" y="780"/>
                  </a:lnTo>
                  <a:lnTo>
                    <a:pt x="1287" y="776"/>
                  </a:lnTo>
                  <a:lnTo>
                    <a:pt x="1287" y="773"/>
                  </a:lnTo>
                  <a:lnTo>
                    <a:pt x="1285" y="771"/>
                  </a:lnTo>
                  <a:lnTo>
                    <a:pt x="1283" y="753"/>
                  </a:lnTo>
                  <a:lnTo>
                    <a:pt x="1283" y="753"/>
                  </a:lnTo>
                  <a:lnTo>
                    <a:pt x="1281" y="751"/>
                  </a:lnTo>
                  <a:lnTo>
                    <a:pt x="1283" y="747"/>
                  </a:lnTo>
                  <a:lnTo>
                    <a:pt x="1281" y="745"/>
                  </a:lnTo>
                  <a:lnTo>
                    <a:pt x="1283" y="743"/>
                  </a:lnTo>
                  <a:lnTo>
                    <a:pt x="1283" y="743"/>
                  </a:lnTo>
                  <a:lnTo>
                    <a:pt x="1283" y="743"/>
                  </a:lnTo>
                  <a:lnTo>
                    <a:pt x="1283" y="745"/>
                  </a:lnTo>
                  <a:lnTo>
                    <a:pt x="1283" y="745"/>
                  </a:lnTo>
                  <a:lnTo>
                    <a:pt x="1283" y="747"/>
                  </a:lnTo>
                  <a:lnTo>
                    <a:pt x="1283" y="747"/>
                  </a:lnTo>
                  <a:lnTo>
                    <a:pt x="1283" y="747"/>
                  </a:lnTo>
                  <a:lnTo>
                    <a:pt x="1283" y="749"/>
                  </a:lnTo>
                  <a:lnTo>
                    <a:pt x="1283" y="751"/>
                  </a:lnTo>
                  <a:lnTo>
                    <a:pt x="1283" y="751"/>
                  </a:lnTo>
                  <a:lnTo>
                    <a:pt x="1283" y="749"/>
                  </a:lnTo>
                  <a:lnTo>
                    <a:pt x="1285" y="747"/>
                  </a:lnTo>
                  <a:lnTo>
                    <a:pt x="1285" y="747"/>
                  </a:lnTo>
                  <a:lnTo>
                    <a:pt x="1283" y="751"/>
                  </a:lnTo>
                  <a:lnTo>
                    <a:pt x="1283" y="753"/>
                  </a:lnTo>
                  <a:lnTo>
                    <a:pt x="1283" y="759"/>
                  </a:lnTo>
                  <a:lnTo>
                    <a:pt x="1285" y="759"/>
                  </a:lnTo>
                  <a:lnTo>
                    <a:pt x="1283" y="755"/>
                  </a:lnTo>
                  <a:lnTo>
                    <a:pt x="1283" y="753"/>
                  </a:lnTo>
                  <a:lnTo>
                    <a:pt x="1283" y="753"/>
                  </a:lnTo>
                  <a:lnTo>
                    <a:pt x="1285" y="751"/>
                  </a:lnTo>
                  <a:lnTo>
                    <a:pt x="1285" y="749"/>
                  </a:lnTo>
                  <a:lnTo>
                    <a:pt x="1285" y="749"/>
                  </a:lnTo>
                  <a:lnTo>
                    <a:pt x="1285" y="747"/>
                  </a:lnTo>
                  <a:lnTo>
                    <a:pt x="1283" y="739"/>
                  </a:lnTo>
                  <a:lnTo>
                    <a:pt x="1281" y="730"/>
                  </a:lnTo>
                  <a:lnTo>
                    <a:pt x="1281" y="724"/>
                  </a:lnTo>
                  <a:lnTo>
                    <a:pt x="1281" y="718"/>
                  </a:lnTo>
                  <a:lnTo>
                    <a:pt x="1281" y="716"/>
                  </a:lnTo>
                  <a:lnTo>
                    <a:pt x="1281" y="708"/>
                  </a:lnTo>
                  <a:lnTo>
                    <a:pt x="1281" y="708"/>
                  </a:lnTo>
                  <a:lnTo>
                    <a:pt x="1281" y="706"/>
                  </a:lnTo>
                  <a:lnTo>
                    <a:pt x="1281" y="704"/>
                  </a:lnTo>
                  <a:lnTo>
                    <a:pt x="1281" y="704"/>
                  </a:lnTo>
                  <a:lnTo>
                    <a:pt x="1283" y="701"/>
                  </a:lnTo>
                  <a:lnTo>
                    <a:pt x="1283" y="701"/>
                  </a:lnTo>
                  <a:lnTo>
                    <a:pt x="1283" y="699"/>
                  </a:lnTo>
                  <a:lnTo>
                    <a:pt x="1283" y="699"/>
                  </a:lnTo>
                  <a:lnTo>
                    <a:pt x="1285" y="699"/>
                  </a:lnTo>
                  <a:lnTo>
                    <a:pt x="1285" y="699"/>
                  </a:lnTo>
                  <a:lnTo>
                    <a:pt x="1287" y="697"/>
                  </a:lnTo>
                  <a:lnTo>
                    <a:pt x="1287" y="695"/>
                  </a:lnTo>
                  <a:lnTo>
                    <a:pt x="1285" y="695"/>
                  </a:lnTo>
                  <a:lnTo>
                    <a:pt x="1285" y="695"/>
                  </a:lnTo>
                  <a:lnTo>
                    <a:pt x="1287" y="695"/>
                  </a:lnTo>
                  <a:lnTo>
                    <a:pt x="1287" y="693"/>
                  </a:lnTo>
                  <a:lnTo>
                    <a:pt x="1289" y="693"/>
                  </a:lnTo>
                  <a:lnTo>
                    <a:pt x="1289" y="693"/>
                  </a:lnTo>
                  <a:lnTo>
                    <a:pt x="1289" y="691"/>
                  </a:lnTo>
                  <a:lnTo>
                    <a:pt x="1289" y="693"/>
                  </a:lnTo>
                  <a:lnTo>
                    <a:pt x="1289" y="691"/>
                  </a:lnTo>
                  <a:lnTo>
                    <a:pt x="1289" y="691"/>
                  </a:lnTo>
                  <a:lnTo>
                    <a:pt x="1289" y="691"/>
                  </a:lnTo>
                  <a:lnTo>
                    <a:pt x="1291" y="691"/>
                  </a:lnTo>
                  <a:lnTo>
                    <a:pt x="1289" y="689"/>
                  </a:lnTo>
                  <a:lnTo>
                    <a:pt x="1289" y="689"/>
                  </a:lnTo>
                  <a:lnTo>
                    <a:pt x="1291" y="689"/>
                  </a:lnTo>
                  <a:lnTo>
                    <a:pt x="1291" y="689"/>
                  </a:lnTo>
                  <a:lnTo>
                    <a:pt x="1294" y="687"/>
                  </a:lnTo>
                  <a:lnTo>
                    <a:pt x="1294" y="687"/>
                  </a:lnTo>
                  <a:lnTo>
                    <a:pt x="1294" y="687"/>
                  </a:lnTo>
                  <a:lnTo>
                    <a:pt x="1291" y="685"/>
                  </a:lnTo>
                  <a:lnTo>
                    <a:pt x="1294" y="685"/>
                  </a:lnTo>
                  <a:lnTo>
                    <a:pt x="1294" y="685"/>
                  </a:lnTo>
                  <a:lnTo>
                    <a:pt x="1296" y="685"/>
                  </a:lnTo>
                  <a:lnTo>
                    <a:pt x="1298" y="683"/>
                  </a:lnTo>
                  <a:lnTo>
                    <a:pt x="1298" y="683"/>
                  </a:lnTo>
                  <a:lnTo>
                    <a:pt x="1298" y="681"/>
                  </a:lnTo>
                  <a:lnTo>
                    <a:pt x="1300" y="681"/>
                  </a:lnTo>
                  <a:lnTo>
                    <a:pt x="1300" y="681"/>
                  </a:lnTo>
                  <a:lnTo>
                    <a:pt x="1300" y="679"/>
                  </a:lnTo>
                  <a:lnTo>
                    <a:pt x="1300" y="679"/>
                  </a:lnTo>
                  <a:lnTo>
                    <a:pt x="1300" y="679"/>
                  </a:lnTo>
                  <a:lnTo>
                    <a:pt x="1300" y="679"/>
                  </a:lnTo>
                  <a:lnTo>
                    <a:pt x="1300" y="677"/>
                  </a:lnTo>
                  <a:lnTo>
                    <a:pt x="1300" y="675"/>
                  </a:lnTo>
                  <a:lnTo>
                    <a:pt x="1302" y="677"/>
                  </a:lnTo>
                  <a:lnTo>
                    <a:pt x="1302" y="677"/>
                  </a:lnTo>
                  <a:lnTo>
                    <a:pt x="1302" y="677"/>
                  </a:lnTo>
                  <a:lnTo>
                    <a:pt x="1302" y="677"/>
                  </a:lnTo>
                  <a:lnTo>
                    <a:pt x="1302" y="677"/>
                  </a:lnTo>
                  <a:lnTo>
                    <a:pt x="1302" y="679"/>
                  </a:lnTo>
                  <a:lnTo>
                    <a:pt x="1304" y="679"/>
                  </a:lnTo>
                  <a:lnTo>
                    <a:pt x="1304" y="679"/>
                  </a:lnTo>
                  <a:lnTo>
                    <a:pt x="1304" y="677"/>
                  </a:lnTo>
                  <a:lnTo>
                    <a:pt x="1306" y="677"/>
                  </a:lnTo>
                  <a:lnTo>
                    <a:pt x="1304" y="675"/>
                  </a:lnTo>
                  <a:lnTo>
                    <a:pt x="1304" y="675"/>
                  </a:lnTo>
                  <a:lnTo>
                    <a:pt x="1304" y="675"/>
                  </a:lnTo>
                  <a:lnTo>
                    <a:pt x="1306" y="675"/>
                  </a:lnTo>
                  <a:lnTo>
                    <a:pt x="1308" y="675"/>
                  </a:lnTo>
                  <a:lnTo>
                    <a:pt x="1308" y="675"/>
                  </a:lnTo>
                  <a:lnTo>
                    <a:pt x="1310" y="673"/>
                  </a:lnTo>
                  <a:lnTo>
                    <a:pt x="1310" y="673"/>
                  </a:lnTo>
                  <a:lnTo>
                    <a:pt x="1312" y="673"/>
                  </a:lnTo>
                  <a:lnTo>
                    <a:pt x="1314" y="673"/>
                  </a:lnTo>
                  <a:lnTo>
                    <a:pt x="1314" y="671"/>
                  </a:lnTo>
                  <a:lnTo>
                    <a:pt x="1316" y="671"/>
                  </a:lnTo>
                  <a:lnTo>
                    <a:pt x="1316" y="669"/>
                  </a:lnTo>
                  <a:lnTo>
                    <a:pt x="1318" y="669"/>
                  </a:lnTo>
                  <a:lnTo>
                    <a:pt x="1318" y="669"/>
                  </a:lnTo>
                  <a:lnTo>
                    <a:pt x="1320" y="667"/>
                  </a:lnTo>
                  <a:lnTo>
                    <a:pt x="1322" y="664"/>
                  </a:lnTo>
                  <a:lnTo>
                    <a:pt x="1322" y="664"/>
                  </a:lnTo>
                  <a:lnTo>
                    <a:pt x="1324" y="664"/>
                  </a:lnTo>
                  <a:lnTo>
                    <a:pt x="1326" y="662"/>
                  </a:lnTo>
                  <a:lnTo>
                    <a:pt x="1328" y="662"/>
                  </a:lnTo>
                  <a:lnTo>
                    <a:pt x="1328" y="660"/>
                  </a:lnTo>
                  <a:lnTo>
                    <a:pt x="1328" y="658"/>
                  </a:lnTo>
                  <a:lnTo>
                    <a:pt x="1328" y="658"/>
                  </a:lnTo>
                  <a:lnTo>
                    <a:pt x="1328" y="660"/>
                  </a:lnTo>
                  <a:lnTo>
                    <a:pt x="1328" y="660"/>
                  </a:lnTo>
                  <a:lnTo>
                    <a:pt x="1330" y="658"/>
                  </a:lnTo>
                  <a:lnTo>
                    <a:pt x="1335" y="654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5" y="648"/>
                  </a:lnTo>
                  <a:lnTo>
                    <a:pt x="1351" y="648"/>
                  </a:lnTo>
                  <a:lnTo>
                    <a:pt x="1351" y="648"/>
                  </a:lnTo>
                  <a:lnTo>
                    <a:pt x="1353" y="644"/>
                  </a:lnTo>
                  <a:lnTo>
                    <a:pt x="1353" y="646"/>
                  </a:lnTo>
                  <a:lnTo>
                    <a:pt x="1353" y="648"/>
                  </a:lnTo>
                  <a:lnTo>
                    <a:pt x="1353" y="648"/>
                  </a:lnTo>
                  <a:lnTo>
                    <a:pt x="1353" y="646"/>
                  </a:lnTo>
                  <a:lnTo>
                    <a:pt x="1355" y="644"/>
                  </a:lnTo>
                  <a:lnTo>
                    <a:pt x="1357" y="642"/>
                  </a:lnTo>
                  <a:lnTo>
                    <a:pt x="1357" y="642"/>
                  </a:lnTo>
                  <a:lnTo>
                    <a:pt x="1359" y="640"/>
                  </a:lnTo>
                  <a:lnTo>
                    <a:pt x="1361" y="638"/>
                  </a:lnTo>
                  <a:lnTo>
                    <a:pt x="1363" y="638"/>
                  </a:lnTo>
                  <a:lnTo>
                    <a:pt x="1363" y="638"/>
                  </a:lnTo>
                  <a:lnTo>
                    <a:pt x="1363" y="636"/>
                  </a:lnTo>
                  <a:lnTo>
                    <a:pt x="1363" y="634"/>
                  </a:lnTo>
                  <a:lnTo>
                    <a:pt x="1365" y="634"/>
                  </a:lnTo>
                  <a:lnTo>
                    <a:pt x="1365" y="636"/>
                  </a:lnTo>
                  <a:lnTo>
                    <a:pt x="1365" y="636"/>
                  </a:lnTo>
                  <a:lnTo>
                    <a:pt x="1365" y="636"/>
                  </a:lnTo>
                  <a:lnTo>
                    <a:pt x="1367" y="634"/>
                  </a:lnTo>
                  <a:lnTo>
                    <a:pt x="1369" y="634"/>
                  </a:lnTo>
                  <a:lnTo>
                    <a:pt x="1372" y="634"/>
                  </a:lnTo>
                  <a:lnTo>
                    <a:pt x="1374" y="634"/>
                  </a:lnTo>
                  <a:lnTo>
                    <a:pt x="1374" y="634"/>
                  </a:lnTo>
                  <a:lnTo>
                    <a:pt x="1376" y="634"/>
                  </a:lnTo>
                  <a:lnTo>
                    <a:pt x="1378" y="634"/>
                  </a:lnTo>
                  <a:lnTo>
                    <a:pt x="1378" y="634"/>
                  </a:lnTo>
                  <a:lnTo>
                    <a:pt x="1380" y="632"/>
                  </a:lnTo>
                  <a:lnTo>
                    <a:pt x="1382" y="630"/>
                  </a:lnTo>
                  <a:lnTo>
                    <a:pt x="1380" y="630"/>
                  </a:lnTo>
                  <a:lnTo>
                    <a:pt x="1376" y="630"/>
                  </a:lnTo>
                  <a:lnTo>
                    <a:pt x="1374" y="630"/>
                  </a:lnTo>
                  <a:lnTo>
                    <a:pt x="1374" y="627"/>
                  </a:lnTo>
                  <a:lnTo>
                    <a:pt x="1372" y="625"/>
                  </a:lnTo>
                  <a:lnTo>
                    <a:pt x="1374" y="627"/>
                  </a:lnTo>
                  <a:lnTo>
                    <a:pt x="1376" y="630"/>
                  </a:lnTo>
                  <a:lnTo>
                    <a:pt x="1378" y="627"/>
                  </a:lnTo>
                  <a:lnTo>
                    <a:pt x="1378" y="627"/>
                  </a:lnTo>
                  <a:lnTo>
                    <a:pt x="1380" y="625"/>
                  </a:lnTo>
                  <a:lnTo>
                    <a:pt x="1380" y="625"/>
                  </a:lnTo>
                  <a:lnTo>
                    <a:pt x="1382" y="623"/>
                  </a:lnTo>
                  <a:lnTo>
                    <a:pt x="1380" y="623"/>
                  </a:lnTo>
                  <a:lnTo>
                    <a:pt x="1380" y="623"/>
                  </a:lnTo>
                  <a:lnTo>
                    <a:pt x="1376" y="619"/>
                  </a:lnTo>
                  <a:lnTo>
                    <a:pt x="1374" y="619"/>
                  </a:lnTo>
                  <a:lnTo>
                    <a:pt x="1376" y="619"/>
                  </a:lnTo>
                  <a:lnTo>
                    <a:pt x="1378" y="621"/>
                  </a:lnTo>
                  <a:lnTo>
                    <a:pt x="1380" y="619"/>
                  </a:lnTo>
                  <a:lnTo>
                    <a:pt x="1382" y="619"/>
                  </a:lnTo>
                  <a:lnTo>
                    <a:pt x="1382" y="619"/>
                  </a:lnTo>
                  <a:lnTo>
                    <a:pt x="1382" y="619"/>
                  </a:lnTo>
                  <a:lnTo>
                    <a:pt x="1382" y="621"/>
                  </a:lnTo>
                  <a:lnTo>
                    <a:pt x="1382" y="621"/>
                  </a:lnTo>
                  <a:lnTo>
                    <a:pt x="1382" y="621"/>
                  </a:lnTo>
                  <a:lnTo>
                    <a:pt x="1384" y="621"/>
                  </a:lnTo>
                  <a:lnTo>
                    <a:pt x="1386" y="621"/>
                  </a:lnTo>
                  <a:lnTo>
                    <a:pt x="1386" y="621"/>
                  </a:lnTo>
                  <a:lnTo>
                    <a:pt x="1388" y="621"/>
                  </a:lnTo>
                  <a:lnTo>
                    <a:pt x="1390" y="619"/>
                  </a:lnTo>
                  <a:lnTo>
                    <a:pt x="1394" y="617"/>
                  </a:lnTo>
                  <a:lnTo>
                    <a:pt x="1396" y="615"/>
                  </a:lnTo>
                  <a:lnTo>
                    <a:pt x="1396" y="613"/>
                  </a:lnTo>
                  <a:lnTo>
                    <a:pt x="1396" y="611"/>
                  </a:lnTo>
                  <a:lnTo>
                    <a:pt x="1396" y="611"/>
                  </a:lnTo>
                  <a:lnTo>
                    <a:pt x="1394" y="611"/>
                  </a:lnTo>
                  <a:lnTo>
                    <a:pt x="1392" y="611"/>
                  </a:lnTo>
                  <a:lnTo>
                    <a:pt x="1392" y="615"/>
                  </a:lnTo>
                  <a:lnTo>
                    <a:pt x="1390" y="615"/>
                  </a:lnTo>
                  <a:lnTo>
                    <a:pt x="1390" y="615"/>
                  </a:lnTo>
                  <a:lnTo>
                    <a:pt x="1390" y="613"/>
                  </a:lnTo>
                  <a:lnTo>
                    <a:pt x="1392" y="613"/>
                  </a:lnTo>
                  <a:lnTo>
                    <a:pt x="1392" y="611"/>
                  </a:lnTo>
                  <a:lnTo>
                    <a:pt x="1390" y="611"/>
                  </a:lnTo>
                  <a:lnTo>
                    <a:pt x="1388" y="611"/>
                  </a:lnTo>
                  <a:lnTo>
                    <a:pt x="1388" y="611"/>
                  </a:lnTo>
                  <a:lnTo>
                    <a:pt x="1386" y="611"/>
                  </a:lnTo>
                  <a:lnTo>
                    <a:pt x="1384" y="611"/>
                  </a:lnTo>
                  <a:lnTo>
                    <a:pt x="1382" y="611"/>
                  </a:lnTo>
                  <a:lnTo>
                    <a:pt x="1382" y="609"/>
                  </a:lnTo>
                  <a:lnTo>
                    <a:pt x="1382" y="607"/>
                  </a:lnTo>
                  <a:lnTo>
                    <a:pt x="1384" y="605"/>
                  </a:lnTo>
                  <a:lnTo>
                    <a:pt x="1382" y="607"/>
                  </a:lnTo>
                  <a:lnTo>
                    <a:pt x="1384" y="609"/>
                  </a:lnTo>
                  <a:lnTo>
                    <a:pt x="1384" y="609"/>
                  </a:lnTo>
                  <a:lnTo>
                    <a:pt x="1386" y="609"/>
                  </a:lnTo>
                  <a:lnTo>
                    <a:pt x="1386" y="609"/>
                  </a:lnTo>
                  <a:lnTo>
                    <a:pt x="1388" y="607"/>
                  </a:lnTo>
                  <a:lnTo>
                    <a:pt x="1388" y="607"/>
                  </a:lnTo>
                  <a:lnTo>
                    <a:pt x="1390" y="607"/>
                  </a:lnTo>
                  <a:lnTo>
                    <a:pt x="1390" y="607"/>
                  </a:lnTo>
                  <a:lnTo>
                    <a:pt x="1390" y="607"/>
                  </a:lnTo>
                  <a:lnTo>
                    <a:pt x="1392" y="607"/>
                  </a:lnTo>
                  <a:lnTo>
                    <a:pt x="1392" y="607"/>
                  </a:lnTo>
                  <a:lnTo>
                    <a:pt x="1392" y="605"/>
                  </a:lnTo>
                  <a:lnTo>
                    <a:pt x="1394" y="605"/>
                  </a:lnTo>
                  <a:lnTo>
                    <a:pt x="1394" y="607"/>
                  </a:lnTo>
                  <a:lnTo>
                    <a:pt x="1396" y="607"/>
                  </a:lnTo>
                  <a:lnTo>
                    <a:pt x="1396" y="607"/>
                  </a:lnTo>
                  <a:lnTo>
                    <a:pt x="1396" y="605"/>
                  </a:lnTo>
                  <a:lnTo>
                    <a:pt x="1396" y="603"/>
                  </a:lnTo>
                  <a:lnTo>
                    <a:pt x="1396" y="603"/>
                  </a:lnTo>
                  <a:lnTo>
                    <a:pt x="1396" y="601"/>
                  </a:lnTo>
                  <a:lnTo>
                    <a:pt x="1396" y="599"/>
                  </a:lnTo>
                  <a:lnTo>
                    <a:pt x="1396" y="599"/>
                  </a:lnTo>
                  <a:lnTo>
                    <a:pt x="1396" y="599"/>
                  </a:lnTo>
                  <a:lnTo>
                    <a:pt x="1398" y="597"/>
                  </a:lnTo>
                  <a:lnTo>
                    <a:pt x="1398" y="599"/>
                  </a:lnTo>
                  <a:lnTo>
                    <a:pt x="1398" y="599"/>
                  </a:lnTo>
                  <a:lnTo>
                    <a:pt x="1398" y="605"/>
                  </a:lnTo>
                  <a:lnTo>
                    <a:pt x="1398" y="609"/>
                  </a:lnTo>
                  <a:lnTo>
                    <a:pt x="1398" y="613"/>
                  </a:lnTo>
                  <a:lnTo>
                    <a:pt x="1398" y="613"/>
                  </a:lnTo>
                  <a:lnTo>
                    <a:pt x="1398" y="613"/>
                  </a:lnTo>
                  <a:lnTo>
                    <a:pt x="1398" y="605"/>
                  </a:lnTo>
                  <a:lnTo>
                    <a:pt x="1398" y="597"/>
                  </a:lnTo>
                  <a:lnTo>
                    <a:pt x="1398" y="597"/>
                  </a:lnTo>
                  <a:lnTo>
                    <a:pt x="1398" y="595"/>
                  </a:lnTo>
                  <a:lnTo>
                    <a:pt x="1398" y="593"/>
                  </a:lnTo>
                  <a:lnTo>
                    <a:pt x="1396" y="593"/>
                  </a:lnTo>
                  <a:lnTo>
                    <a:pt x="1394" y="593"/>
                  </a:lnTo>
                  <a:lnTo>
                    <a:pt x="1392" y="593"/>
                  </a:lnTo>
                  <a:lnTo>
                    <a:pt x="1390" y="593"/>
                  </a:lnTo>
                  <a:lnTo>
                    <a:pt x="1390" y="593"/>
                  </a:lnTo>
                  <a:lnTo>
                    <a:pt x="1390" y="590"/>
                  </a:lnTo>
                  <a:lnTo>
                    <a:pt x="1390" y="588"/>
                  </a:lnTo>
                  <a:lnTo>
                    <a:pt x="1388" y="588"/>
                  </a:lnTo>
                  <a:lnTo>
                    <a:pt x="1386" y="586"/>
                  </a:lnTo>
                  <a:lnTo>
                    <a:pt x="1386" y="586"/>
                  </a:lnTo>
                  <a:lnTo>
                    <a:pt x="1382" y="586"/>
                  </a:lnTo>
                  <a:lnTo>
                    <a:pt x="1382" y="586"/>
                  </a:lnTo>
                  <a:lnTo>
                    <a:pt x="1382" y="584"/>
                  </a:lnTo>
                  <a:lnTo>
                    <a:pt x="1386" y="584"/>
                  </a:lnTo>
                  <a:lnTo>
                    <a:pt x="1390" y="586"/>
                  </a:lnTo>
                  <a:lnTo>
                    <a:pt x="1390" y="586"/>
                  </a:lnTo>
                  <a:lnTo>
                    <a:pt x="1390" y="588"/>
                  </a:lnTo>
                  <a:lnTo>
                    <a:pt x="1392" y="590"/>
                  </a:lnTo>
                  <a:lnTo>
                    <a:pt x="1392" y="590"/>
                  </a:lnTo>
                  <a:lnTo>
                    <a:pt x="1392" y="590"/>
                  </a:lnTo>
                  <a:lnTo>
                    <a:pt x="1394" y="590"/>
                  </a:lnTo>
                  <a:lnTo>
                    <a:pt x="1394" y="590"/>
                  </a:lnTo>
                  <a:lnTo>
                    <a:pt x="1394" y="588"/>
                  </a:lnTo>
                  <a:lnTo>
                    <a:pt x="1394" y="588"/>
                  </a:lnTo>
                  <a:lnTo>
                    <a:pt x="1394" y="586"/>
                  </a:lnTo>
                  <a:lnTo>
                    <a:pt x="1392" y="586"/>
                  </a:lnTo>
                  <a:lnTo>
                    <a:pt x="1392" y="584"/>
                  </a:lnTo>
                  <a:lnTo>
                    <a:pt x="1390" y="582"/>
                  </a:lnTo>
                  <a:lnTo>
                    <a:pt x="1390" y="582"/>
                  </a:lnTo>
                  <a:lnTo>
                    <a:pt x="1390" y="582"/>
                  </a:lnTo>
                  <a:lnTo>
                    <a:pt x="1392" y="586"/>
                  </a:lnTo>
                  <a:lnTo>
                    <a:pt x="1394" y="586"/>
                  </a:lnTo>
                  <a:lnTo>
                    <a:pt x="1394" y="586"/>
                  </a:lnTo>
                  <a:lnTo>
                    <a:pt x="1394" y="584"/>
                  </a:lnTo>
                  <a:lnTo>
                    <a:pt x="1394" y="584"/>
                  </a:lnTo>
                  <a:lnTo>
                    <a:pt x="1396" y="584"/>
                  </a:lnTo>
                  <a:lnTo>
                    <a:pt x="1398" y="582"/>
                  </a:lnTo>
                  <a:lnTo>
                    <a:pt x="1398" y="582"/>
                  </a:lnTo>
                  <a:lnTo>
                    <a:pt x="1396" y="582"/>
                  </a:lnTo>
                  <a:lnTo>
                    <a:pt x="1398" y="580"/>
                  </a:lnTo>
                  <a:lnTo>
                    <a:pt x="1394" y="580"/>
                  </a:lnTo>
                  <a:lnTo>
                    <a:pt x="1394" y="578"/>
                  </a:lnTo>
                  <a:lnTo>
                    <a:pt x="1394" y="578"/>
                  </a:lnTo>
                  <a:lnTo>
                    <a:pt x="1392" y="576"/>
                  </a:lnTo>
                  <a:lnTo>
                    <a:pt x="1392" y="574"/>
                  </a:lnTo>
                  <a:lnTo>
                    <a:pt x="1390" y="572"/>
                  </a:lnTo>
                  <a:lnTo>
                    <a:pt x="1388" y="570"/>
                  </a:lnTo>
                  <a:lnTo>
                    <a:pt x="1390" y="570"/>
                  </a:lnTo>
                  <a:lnTo>
                    <a:pt x="1390" y="570"/>
                  </a:lnTo>
                  <a:lnTo>
                    <a:pt x="1392" y="574"/>
                  </a:lnTo>
                  <a:lnTo>
                    <a:pt x="1392" y="574"/>
                  </a:lnTo>
                  <a:lnTo>
                    <a:pt x="1394" y="578"/>
                  </a:lnTo>
                  <a:lnTo>
                    <a:pt x="1396" y="578"/>
                  </a:lnTo>
                  <a:lnTo>
                    <a:pt x="1398" y="578"/>
                  </a:lnTo>
                  <a:lnTo>
                    <a:pt x="1398" y="578"/>
                  </a:lnTo>
                  <a:lnTo>
                    <a:pt x="1398" y="576"/>
                  </a:lnTo>
                  <a:lnTo>
                    <a:pt x="1400" y="576"/>
                  </a:lnTo>
                  <a:lnTo>
                    <a:pt x="1400" y="574"/>
                  </a:lnTo>
                  <a:lnTo>
                    <a:pt x="1398" y="574"/>
                  </a:lnTo>
                  <a:lnTo>
                    <a:pt x="1398" y="572"/>
                  </a:lnTo>
                  <a:lnTo>
                    <a:pt x="1396" y="570"/>
                  </a:lnTo>
                  <a:lnTo>
                    <a:pt x="1396" y="570"/>
                  </a:lnTo>
                  <a:lnTo>
                    <a:pt x="1392" y="570"/>
                  </a:lnTo>
                  <a:lnTo>
                    <a:pt x="1390" y="566"/>
                  </a:lnTo>
                  <a:lnTo>
                    <a:pt x="1390" y="566"/>
                  </a:lnTo>
                  <a:lnTo>
                    <a:pt x="1388" y="566"/>
                  </a:lnTo>
                  <a:lnTo>
                    <a:pt x="1388" y="566"/>
                  </a:lnTo>
                  <a:lnTo>
                    <a:pt x="1388" y="566"/>
                  </a:lnTo>
                  <a:lnTo>
                    <a:pt x="1388" y="562"/>
                  </a:lnTo>
                  <a:lnTo>
                    <a:pt x="1390" y="562"/>
                  </a:lnTo>
                  <a:lnTo>
                    <a:pt x="1392" y="560"/>
                  </a:lnTo>
                  <a:lnTo>
                    <a:pt x="1392" y="560"/>
                  </a:lnTo>
                  <a:lnTo>
                    <a:pt x="1394" y="558"/>
                  </a:lnTo>
                  <a:lnTo>
                    <a:pt x="1394" y="556"/>
                  </a:lnTo>
                  <a:lnTo>
                    <a:pt x="1394" y="558"/>
                  </a:lnTo>
                  <a:lnTo>
                    <a:pt x="1392" y="560"/>
                  </a:lnTo>
                  <a:lnTo>
                    <a:pt x="1392" y="560"/>
                  </a:lnTo>
                  <a:lnTo>
                    <a:pt x="1390" y="562"/>
                  </a:lnTo>
                  <a:lnTo>
                    <a:pt x="1388" y="564"/>
                  </a:lnTo>
                  <a:lnTo>
                    <a:pt x="1388" y="566"/>
                  </a:lnTo>
                  <a:lnTo>
                    <a:pt x="1390" y="566"/>
                  </a:lnTo>
                  <a:lnTo>
                    <a:pt x="1390" y="564"/>
                  </a:lnTo>
                  <a:lnTo>
                    <a:pt x="1392" y="564"/>
                  </a:lnTo>
                  <a:lnTo>
                    <a:pt x="1392" y="566"/>
                  </a:lnTo>
                  <a:lnTo>
                    <a:pt x="1392" y="566"/>
                  </a:lnTo>
                  <a:lnTo>
                    <a:pt x="1392" y="568"/>
                  </a:lnTo>
                  <a:lnTo>
                    <a:pt x="1394" y="566"/>
                  </a:lnTo>
                  <a:lnTo>
                    <a:pt x="1394" y="566"/>
                  </a:lnTo>
                  <a:lnTo>
                    <a:pt x="1394" y="568"/>
                  </a:lnTo>
                  <a:lnTo>
                    <a:pt x="1396" y="568"/>
                  </a:lnTo>
                  <a:lnTo>
                    <a:pt x="1398" y="570"/>
                  </a:lnTo>
                  <a:lnTo>
                    <a:pt x="1398" y="570"/>
                  </a:lnTo>
                  <a:lnTo>
                    <a:pt x="1400" y="570"/>
                  </a:lnTo>
                  <a:lnTo>
                    <a:pt x="1400" y="570"/>
                  </a:lnTo>
                  <a:lnTo>
                    <a:pt x="1400" y="570"/>
                  </a:lnTo>
                  <a:lnTo>
                    <a:pt x="1400" y="568"/>
                  </a:lnTo>
                  <a:lnTo>
                    <a:pt x="1398" y="564"/>
                  </a:lnTo>
                  <a:lnTo>
                    <a:pt x="1398" y="562"/>
                  </a:lnTo>
                  <a:lnTo>
                    <a:pt x="1398" y="562"/>
                  </a:lnTo>
                  <a:lnTo>
                    <a:pt x="1398" y="562"/>
                  </a:lnTo>
                  <a:lnTo>
                    <a:pt x="1398" y="562"/>
                  </a:lnTo>
                  <a:lnTo>
                    <a:pt x="1398" y="564"/>
                  </a:lnTo>
                  <a:lnTo>
                    <a:pt x="1400" y="566"/>
                  </a:lnTo>
                  <a:lnTo>
                    <a:pt x="1400" y="566"/>
                  </a:lnTo>
                  <a:lnTo>
                    <a:pt x="1400" y="566"/>
                  </a:lnTo>
                  <a:lnTo>
                    <a:pt x="1400" y="564"/>
                  </a:lnTo>
                  <a:lnTo>
                    <a:pt x="1400" y="564"/>
                  </a:lnTo>
                  <a:lnTo>
                    <a:pt x="1400" y="562"/>
                  </a:lnTo>
                  <a:lnTo>
                    <a:pt x="1400" y="560"/>
                  </a:lnTo>
                  <a:lnTo>
                    <a:pt x="1402" y="558"/>
                  </a:lnTo>
                  <a:lnTo>
                    <a:pt x="1402" y="558"/>
                  </a:lnTo>
                  <a:lnTo>
                    <a:pt x="1402" y="556"/>
                  </a:lnTo>
                  <a:lnTo>
                    <a:pt x="1402" y="556"/>
                  </a:lnTo>
                  <a:lnTo>
                    <a:pt x="1402" y="553"/>
                  </a:lnTo>
                  <a:lnTo>
                    <a:pt x="1402" y="553"/>
                  </a:lnTo>
                  <a:lnTo>
                    <a:pt x="1402" y="553"/>
                  </a:lnTo>
                  <a:lnTo>
                    <a:pt x="1404" y="553"/>
                  </a:lnTo>
                  <a:lnTo>
                    <a:pt x="1404" y="553"/>
                  </a:lnTo>
                  <a:lnTo>
                    <a:pt x="1404" y="551"/>
                  </a:lnTo>
                  <a:lnTo>
                    <a:pt x="1404" y="551"/>
                  </a:lnTo>
                  <a:lnTo>
                    <a:pt x="1404" y="549"/>
                  </a:lnTo>
                  <a:lnTo>
                    <a:pt x="1404" y="549"/>
                  </a:lnTo>
                  <a:lnTo>
                    <a:pt x="1406" y="549"/>
                  </a:lnTo>
                  <a:lnTo>
                    <a:pt x="1406" y="549"/>
                  </a:lnTo>
                  <a:lnTo>
                    <a:pt x="1406" y="549"/>
                  </a:lnTo>
                  <a:lnTo>
                    <a:pt x="1406" y="547"/>
                  </a:lnTo>
                  <a:lnTo>
                    <a:pt x="1409" y="547"/>
                  </a:lnTo>
                  <a:lnTo>
                    <a:pt x="1409" y="547"/>
                  </a:lnTo>
                  <a:lnTo>
                    <a:pt x="1409" y="547"/>
                  </a:lnTo>
                  <a:lnTo>
                    <a:pt x="1409" y="547"/>
                  </a:lnTo>
                  <a:lnTo>
                    <a:pt x="1409" y="547"/>
                  </a:lnTo>
                  <a:lnTo>
                    <a:pt x="1411" y="545"/>
                  </a:lnTo>
                  <a:lnTo>
                    <a:pt x="1411" y="545"/>
                  </a:lnTo>
                  <a:lnTo>
                    <a:pt x="1411" y="547"/>
                  </a:lnTo>
                  <a:lnTo>
                    <a:pt x="1411" y="547"/>
                  </a:lnTo>
                  <a:lnTo>
                    <a:pt x="1413" y="545"/>
                  </a:lnTo>
                  <a:lnTo>
                    <a:pt x="1413" y="545"/>
                  </a:lnTo>
                  <a:lnTo>
                    <a:pt x="1413" y="545"/>
                  </a:lnTo>
                  <a:lnTo>
                    <a:pt x="1413" y="543"/>
                  </a:lnTo>
                  <a:lnTo>
                    <a:pt x="1415" y="543"/>
                  </a:lnTo>
                  <a:lnTo>
                    <a:pt x="1415" y="543"/>
                  </a:lnTo>
                  <a:lnTo>
                    <a:pt x="1415" y="545"/>
                  </a:lnTo>
                  <a:lnTo>
                    <a:pt x="1417" y="545"/>
                  </a:lnTo>
                  <a:lnTo>
                    <a:pt x="1415" y="545"/>
                  </a:lnTo>
                  <a:lnTo>
                    <a:pt x="1415" y="545"/>
                  </a:lnTo>
                  <a:lnTo>
                    <a:pt x="1413" y="547"/>
                  </a:lnTo>
                  <a:lnTo>
                    <a:pt x="1415" y="547"/>
                  </a:lnTo>
                  <a:lnTo>
                    <a:pt x="1415" y="547"/>
                  </a:lnTo>
                  <a:lnTo>
                    <a:pt x="1413" y="547"/>
                  </a:lnTo>
                  <a:lnTo>
                    <a:pt x="1413" y="547"/>
                  </a:lnTo>
                  <a:lnTo>
                    <a:pt x="1411" y="547"/>
                  </a:lnTo>
                  <a:lnTo>
                    <a:pt x="1409" y="551"/>
                  </a:lnTo>
                  <a:lnTo>
                    <a:pt x="1409" y="553"/>
                  </a:lnTo>
                  <a:lnTo>
                    <a:pt x="1409" y="551"/>
                  </a:lnTo>
                  <a:lnTo>
                    <a:pt x="1409" y="553"/>
                  </a:lnTo>
                  <a:lnTo>
                    <a:pt x="1409" y="553"/>
                  </a:lnTo>
                  <a:lnTo>
                    <a:pt x="1406" y="553"/>
                  </a:lnTo>
                  <a:lnTo>
                    <a:pt x="1406" y="553"/>
                  </a:lnTo>
                  <a:lnTo>
                    <a:pt x="1404" y="556"/>
                  </a:lnTo>
                  <a:lnTo>
                    <a:pt x="1404" y="556"/>
                  </a:lnTo>
                  <a:lnTo>
                    <a:pt x="1406" y="556"/>
                  </a:lnTo>
                  <a:lnTo>
                    <a:pt x="1406" y="556"/>
                  </a:lnTo>
                  <a:lnTo>
                    <a:pt x="1406" y="558"/>
                  </a:lnTo>
                  <a:lnTo>
                    <a:pt x="1406" y="558"/>
                  </a:lnTo>
                  <a:lnTo>
                    <a:pt x="1404" y="558"/>
                  </a:lnTo>
                  <a:lnTo>
                    <a:pt x="1404" y="560"/>
                  </a:lnTo>
                  <a:lnTo>
                    <a:pt x="1404" y="560"/>
                  </a:lnTo>
                  <a:lnTo>
                    <a:pt x="1404" y="558"/>
                  </a:lnTo>
                  <a:lnTo>
                    <a:pt x="1406" y="558"/>
                  </a:lnTo>
                  <a:lnTo>
                    <a:pt x="1406" y="560"/>
                  </a:lnTo>
                  <a:lnTo>
                    <a:pt x="1406" y="562"/>
                  </a:lnTo>
                  <a:lnTo>
                    <a:pt x="1409" y="562"/>
                  </a:lnTo>
                  <a:lnTo>
                    <a:pt x="1409" y="562"/>
                  </a:lnTo>
                  <a:lnTo>
                    <a:pt x="1406" y="562"/>
                  </a:lnTo>
                  <a:lnTo>
                    <a:pt x="1404" y="562"/>
                  </a:lnTo>
                  <a:lnTo>
                    <a:pt x="1404" y="562"/>
                  </a:lnTo>
                  <a:lnTo>
                    <a:pt x="1402" y="564"/>
                  </a:lnTo>
                  <a:lnTo>
                    <a:pt x="1402" y="564"/>
                  </a:lnTo>
                  <a:lnTo>
                    <a:pt x="1404" y="566"/>
                  </a:lnTo>
                  <a:lnTo>
                    <a:pt x="1404" y="566"/>
                  </a:lnTo>
                  <a:lnTo>
                    <a:pt x="1404" y="568"/>
                  </a:lnTo>
                  <a:lnTo>
                    <a:pt x="1406" y="568"/>
                  </a:lnTo>
                  <a:lnTo>
                    <a:pt x="1406" y="566"/>
                  </a:lnTo>
                  <a:lnTo>
                    <a:pt x="1406" y="566"/>
                  </a:lnTo>
                  <a:lnTo>
                    <a:pt x="1406" y="568"/>
                  </a:lnTo>
                  <a:lnTo>
                    <a:pt x="1406" y="566"/>
                  </a:lnTo>
                  <a:lnTo>
                    <a:pt x="1409" y="566"/>
                  </a:lnTo>
                  <a:lnTo>
                    <a:pt x="1409" y="566"/>
                  </a:lnTo>
                  <a:lnTo>
                    <a:pt x="1409" y="566"/>
                  </a:lnTo>
                  <a:lnTo>
                    <a:pt x="1409" y="568"/>
                  </a:lnTo>
                  <a:lnTo>
                    <a:pt x="1409" y="568"/>
                  </a:lnTo>
                  <a:lnTo>
                    <a:pt x="1406" y="570"/>
                  </a:lnTo>
                  <a:lnTo>
                    <a:pt x="1406" y="570"/>
                  </a:lnTo>
                  <a:lnTo>
                    <a:pt x="1409" y="570"/>
                  </a:lnTo>
                  <a:lnTo>
                    <a:pt x="1409" y="572"/>
                  </a:lnTo>
                  <a:lnTo>
                    <a:pt x="1406" y="572"/>
                  </a:lnTo>
                  <a:lnTo>
                    <a:pt x="1406" y="574"/>
                  </a:lnTo>
                  <a:lnTo>
                    <a:pt x="1409" y="574"/>
                  </a:lnTo>
                  <a:lnTo>
                    <a:pt x="1409" y="574"/>
                  </a:lnTo>
                  <a:lnTo>
                    <a:pt x="1409" y="576"/>
                  </a:lnTo>
                  <a:lnTo>
                    <a:pt x="1406" y="576"/>
                  </a:lnTo>
                  <a:lnTo>
                    <a:pt x="1404" y="580"/>
                  </a:lnTo>
                  <a:lnTo>
                    <a:pt x="1400" y="584"/>
                  </a:lnTo>
                  <a:lnTo>
                    <a:pt x="1400" y="586"/>
                  </a:lnTo>
                  <a:lnTo>
                    <a:pt x="1400" y="586"/>
                  </a:lnTo>
                  <a:lnTo>
                    <a:pt x="1400" y="588"/>
                  </a:lnTo>
                  <a:lnTo>
                    <a:pt x="1402" y="586"/>
                  </a:lnTo>
                  <a:lnTo>
                    <a:pt x="1404" y="584"/>
                  </a:lnTo>
                  <a:lnTo>
                    <a:pt x="1404" y="582"/>
                  </a:lnTo>
                  <a:lnTo>
                    <a:pt x="1406" y="582"/>
                  </a:lnTo>
                  <a:lnTo>
                    <a:pt x="1406" y="582"/>
                  </a:lnTo>
                  <a:lnTo>
                    <a:pt x="1409" y="580"/>
                  </a:lnTo>
                  <a:lnTo>
                    <a:pt x="1409" y="580"/>
                  </a:lnTo>
                  <a:lnTo>
                    <a:pt x="1415" y="572"/>
                  </a:lnTo>
                  <a:lnTo>
                    <a:pt x="1417" y="570"/>
                  </a:lnTo>
                  <a:lnTo>
                    <a:pt x="1417" y="568"/>
                  </a:lnTo>
                  <a:lnTo>
                    <a:pt x="1419" y="568"/>
                  </a:lnTo>
                  <a:lnTo>
                    <a:pt x="1419" y="568"/>
                  </a:lnTo>
                  <a:lnTo>
                    <a:pt x="1421" y="566"/>
                  </a:lnTo>
                  <a:lnTo>
                    <a:pt x="1421" y="566"/>
                  </a:lnTo>
                  <a:lnTo>
                    <a:pt x="1421" y="564"/>
                  </a:lnTo>
                  <a:lnTo>
                    <a:pt x="1421" y="566"/>
                  </a:lnTo>
                  <a:lnTo>
                    <a:pt x="1421" y="566"/>
                  </a:lnTo>
                  <a:lnTo>
                    <a:pt x="1421" y="566"/>
                  </a:lnTo>
                  <a:lnTo>
                    <a:pt x="1421" y="564"/>
                  </a:lnTo>
                  <a:lnTo>
                    <a:pt x="1423" y="564"/>
                  </a:lnTo>
                  <a:lnTo>
                    <a:pt x="1423" y="562"/>
                  </a:lnTo>
                  <a:lnTo>
                    <a:pt x="1421" y="562"/>
                  </a:lnTo>
                  <a:lnTo>
                    <a:pt x="1421" y="562"/>
                  </a:lnTo>
                  <a:lnTo>
                    <a:pt x="1421" y="562"/>
                  </a:lnTo>
                  <a:lnTo>
                    <a:pt x="1423" y="560"/>
                  </a:lnTo>
                  <a:lnTo>
                    <a:pt x="1423" y="558"/>
                  </a:lnTo>
                  <a:lnTo>
                    <a:pt x="1421" y="558"/>
                  </a:lnTo>
                  <a:lnTo>
                    <a:pt x="1421" y="556"/>
                  </a:lnTo>
                  <a:lnTo>
                    <a:pt x="1421" y="551"/>
                  </a:lnTo>
                  <a:lnTo>
                    <a:pt x="1421" y="549"/>
                  </a:lnTo>
                  <a:lnTo>
                    <a:pt x="1421" y="547"/>
                  </a:lnTo>
                  <a:lnTo>
                    <a:pt x="1421" y="545"/>
                  </a:lnTo>
                  <a:lnTo>
                    <a:pt x="1421" y="543"/>
                  </a:lnTo>
                  <a:lnTo>
                    <a:pt x="1421" y="543"/>
                  </a:lnTo>
                  <a:lnTo>
                    <a:pt x="1421" y="543"/>
                  </a:lnTo>
                  <a:lnTo>
                    <a:pt x="1423" y="541"/>
                  </a:lnTo>
                  <a:lnTo>
                    <a:pt x="1423" y="539"/>
                  </a:lnTo>
                  <a:lnTo>
                    <a:pt x="1425" y="539"/>
                  </a:lnTo>
                  <a:lnTo>
                    <a:pt x="1427" y="539"/>
                  </a:lnTo>
                  <a:lnTo>
                    <a:pt x="1429" y="537"/>
                  </a:lnTo>
                  <a:lnTo>
                    <a:pt x="1431" y="535"/>
                  </a:lnTo>
                  <a:lnTo>
                    <a:pt x="1429" y="537"/>
                  </a:lnTo>
                  <a:lnTo>
                    <a:pt x="1429" y="537"/>
                  </a:lnTo>
                  <a:lnTo>
                    <a:pt x="1425" y="539"/>
                  </a:lnTo>
                  <a:lnTo>
                    <a:pt x="1425" y="539"/>
                  </a:lnTo>
                  <a:lnTo>
                    <a:pt x="1423" y="541"/>
                  </a:lnTo>
                  <a:lnTo>
                    <a:pt x="1421" y="543"/>
                  </a:lnTo>
                  <a:lnTo>
                    <a:pt x="1421" y="543"/>
                  </a:lnTo>
                  <a:lnTo>
                    <a:pt x="1421" y="545"/>
                  </a:lnTo>
                  <a:lnTo>
                    <a:pt x="1423" y="547"/>
                  </a:lnTo>
                  <a:lnTo>
                    <a:pt x="1425" y="549"/>
                  </a:lnTo>
                  <a:lnTo>
                    <a:pt x="1425" y="549"/>
                  </a:lnTo>
                  <a:lnTo>
                    <a:pt x="1427" y="549"/>
                  </a:lnTo>
                  <a:lnTo>
                    <a:pt x="1427" y="551"/>
                  </a:lnTo>
                  <a:lnTo>
                    <a:pt x="1429" y="551"/>
                  </a:lnTo>
                  <a:lnTo>
                    <a:pt x="1427" y="553"/>
                  </a:lnTo>
                  <a:lnTo>
                    <a:pt x="1427" y="556"/>
                  </a:lnTo>
                  <a:lnTo>
                    <a:pt x="1427" y="556"/>
                  </a:lnTo>
                  <a:lnTo>
                    <a:pt x="1429" y="553"/>
                  </a:lnTo>
                  <a:lnTo>
                    <a:pt x="1433" y="549"/>
                  </a:lnTo>
                  <a:lnTo>
                    <a:pt x="1433" y="549"/>
                  </a:lnTo>
                  <a:lnTo>
                    <a:pt x="1433" y="549"/>
                  </a:lnTo>
                  <a:lnTo>
                    <a:pt x="1433" y="547"/>
                  </a:lnTo>
                  <a:lnTo>
                    <a:pt x="1435" y="547"/>
                  </a:lnTo>
                  <a:lnTo>
                    <a:pt x="1435" y="547"/>
                  </a:lnTo>
                  <a:lnTo>
                    <a:pt x="1437" y="547"/>
                  </a:lnTo>
                  <a:lnTo>
                    <a:pt x="1437" y="545"/>
                  </a:lnTo>
                  <a:lnTo>
                    <a:pt x="1437" y="545"/>
                  </a:lnTo>
                  <a:lnTo>
                    <a:pt x="1437" y="543"/>
                  </a:lnTo>
                  <a:lnTo>
                    <a:pt x="1439" y="543"/>
                  </a:lnTo>
                  <a:lnTo>
                    <a:pt x="1441" y="543"/>
                  </a:lnTo>
                  <a:lnTo>
                    <a:pt x="1443" y="541"/>
                  </a:lnTo>
                  <a:lnTo>
                    <a:pt x="1445" y="537"/>
                  </a:lnTo>
                  <a:lnTo>
                    <a:pt x="1445" y="537"/>
                  </a:lnTo>
                  <a:lnTo>
                    <a:pt x="1445" y="535"/>
                  </a:lnTo>
                  <a:lnTo>
                    <a:pt x="1445" y="539"/>
                  </a:lnTo>
                  <a:lnTo>
                    <a:pt x="1443" y="539"/>
                  </a:lnTo>
                  <a:lnTo>
                    <a:pt x="1445" y="537"/>
                  </a:lnTo>
                  <a:lnTo>
                    <a:pt x="1448" y="535"/>
                  </a:lnTo>
                  <a:lnTo>
                    <a:pt x="1448" y="535"/>
                  </a:lnTo>
                  <a:lnTo>
                    <a:pt x="1450" y="533"/>
                  </a:lnTo>
                  <a:lnTo>
                    <a:pt x="1450" y="531"/>
                  </a:lnTo>
                  <a:lnTo>
                    <a:pt x="1450" y="531"/>
                  </a:lnTo>
                  <a:lnTo>
                    <a:pt x="1450" y="529"/>
                  </a:lnTo>
                  <a:lnTo>
                    <a:pt x="1450" y="529"/>
                  </a:lnTo>
                  <a:lnTo>
                    <a:pt x="1445" y="529"/>
                  </a:lnTo>
                  <a:lnTo>
                    <a:pt x="1445" y="527"/>
                  </a:lnTo>
                  <a:lnTo>
                    <a:pt x="1448" y="527"/>
                  </a:lnTo>
                  <a:lnTo>
                    <a:pt x="1448" y="525"/>
                  </a:lnTo>
                  <a:lnTo>
                    <a:pt x="1450" y="525"/>
                  </a:lnTo>
                  <a:lnTo>
                    <a:pt x="1450" y="525"/>
                  </a:lnTo>
                  <a:lnTo>
                    <a:pt x="1452" y="525"/>
                  </a:lnTo>
                  <a:lnTo>
                    <a:pt x="1452" y="523"/>
                  </a:lnTo>
                  <a:lnTo>
                    <a:pt x="1454" y="521"/>
                  </a:lnTo>
                  <a:lnTo>
                    <a:pt x="1456" y="519"/>
                  </a:lnTo>
                  <a:lnTo>
                    <a:pt x="1456" y="516"/>
                  </a:lnTo>
                  <a:lnTo>
                    <a:pt x="1456" y="514"/>
                  </a:lnTo>
                  <a:lnTo>
                    <a:pt x="1456" y="514"/>
                  </a:lnTo>
                  <a:lnTo>
                    <a:pt x="1456" y="516"/>
                  </a:lnTo>
                  <a:lnTo>
                    <a:pt x="1456" y="519"/>
                  </a:lnTo>
                  <a:lnTo>
                    <a:pt x="1454" y="521"/>
                  </a:lnTo>
                  <a:lnTo>
                    <a:pt x="1454" y="523"/>
                  </a:lnTo>
                  <a:lnTo>
                    <a:pt x="1452" y="523"/>
                  </a:lnTo>
                  <a:lnTo>
                    <a:pt x="1454" y="523"/>
                  </a:lnTo>
                  <a:lnTo>
                    <a:pt x="1454" y="523"/>
                  </a:lnTo>
                  <a:lnTo>
                    <a:pt x="1454" y="523"/>
                  </a:lnTo>
                  <a:lnTo>
                    <a:pt x="1456" y="521"/>
                  </a:lnTo>
                  <a:lnTo>
                    <a:pt x="1458" y="521"/>
                  </a:lnTo>
                  <a:lnTo>
                    <a:pt x="1460" y="519"/>
                  </a:lnTo>
                  <a:lnTo>
                    <a:pt x="1466" y="516"/>
                  </a:lnTo>
                  <a:lnTo>
                    <a:pt x="1470" y="514"/>
                  </a:lnTo>
                  <a:lnTo>
                    <a:pt x="1472" y="514"/>
                  </a:lnTo>
                  <a:lnTo>
                    <a:pt x="1472" y="514"/>
                  </a:lnTo>
                  <a:lnTo>
                    <a:pt x="1478" y="514"/>
                  </a:lnTo>
                  <a:lnTo>
                    <a:pt x="1480" y="514"/>
                  </a:lnTo>
                  <a:lnTo>
                    <a:pt x="1480" y="514"/>
                  </a:lnTo>
                  <a:lnTo>
                    <a:pt x="1484" y="512"/>
                  </a:lnTo>
                  <a:lnTo>
                    <a:pt x="1487" y="512"/>
                  </a:lnTo>
                  <a:lnTo>
                    <a:pt x="1489" y="512"/>
                  </a:lnTo>
                  <a:lnTo>
                    <a:pt x="1493" y="512"/>
                  </a:lnTo>
                  <a:lnTo>
                    <a:pt x="1495" y="510"/>
                  </a:lnTo>
                  <a:lnTo>
                    <a:pt x="1497" y="508"/>
                  </a:lnTo>
                  <a:lnTo>
                    <a:pt x="1497" y="506"/>
                  </a:lnTo>
                  <a:lnTo>
                    <a:pt x="1497" y="504"/>
                  </a:lnTo>
                  <a:lnTo>
                    <a:pt x="1499" y="504"/>
                  </a:lnTo>
                  <a:lnTo>
                    <a:pt x="1499" y="506"/>
                  </a:lnTo>
                  <a:lnTo>
                    <a:pt x="1499" y="506"/>
                  </a:lnTo>
                  <a:lnTo>
                    <a:pt x="1499" y="506"/>
                  </a:lnTo>
                  <a:lnTo>
                    <a:pt x="1501" y="506"/>
                  </a:lnTo>
                  <a:lnTo>
                    <a:pt x="1501" y="506"/>
                  </a:lnTo>
                  <a:lnTo>
                    <a:pt x="1499" y="508"/>
                  </a:lnTo>
                  <a:lnTo>
                    <a:pt x="1499" y="510"/>
                  </a:lnTo>
                  <a:lnTo>
                    <a:pt x="1499" y="510"/>
                  </a:lnTo>
                  <a:lnTo>
                    <a:pt x="1501" y="510"/>
                  </a:lnTo>
                  <a:lnTo>
                    <a:pt x="1503" y="508"/>
                  </a:lnTo>
                  <a:lnTo>
                    <a:pt x="1507" y="506"/>
                  </a:lnTo>
                  <a:lnTo>
                    <a:pt x="1507" y="506"/>
                  </a:lnTo>
                  <a:lnTo>
                    <a:pt x="1507" y="508"/>
                  </a:lnTo>
                  <a:lnTo>
                    <a:pt x="1507" y="508"/>
                  </a:lnTo>
                  <a:lnTo>
                    <a:pt x="1507" y="510"/>
                  </a:lnTo>
                  <a:lnTo>
                    <a:pt x="1509" y="508"/>
                  </a:lnTo>
                  <a:lnTo>
                    <a:pt x="1511" y="508"/>
                  </a:lnTo>
                  <a:lnTo>
                    <a:pt x="1517" y="506"/>
                  </a:lnTo>
                  <a:lnTo>
                    <a:pt x="1517" y="506"/>
                  </a:lnTo>
                  <a:lnTo>
                    <a:pt x="1517" y="506"/>
                  </a:lnTo>
                  <a:lnTo>
                    <a:pt x="1519" y="506"/>
                  </a:lnTo>
                  <a:lnTo>
                    <a:pt x="1519" y="504"/>
                  </a:lnTo>
                  <a:lnTo>
                    <a:pt x="1519" y="502"/>
                  </a:lnTo>
                  <a:lnTo>
                    <a:pt x="1519" y="500"/>
                  </a:lnTo>
                  <a:lnTo>
                    <a:pt x="1517" y="500"/>
                  </a:lnTo>
                  <a:lnTo>
                    <a:pt x="1517" y="500"/>
                  </a:lnTo>
                  <a:lnTo>
                    <a:pt x="1517" y="500"/>
                  </a:lnTo>
                  <a:lnTo>
                    <a:pt x="1517" y="500"/>
                  </a:lnTo>
                  <a:lnTo>
                    <a:pt x="1517" y="500"/>
                  </a:lnTo>
                  <a:lnTo>
                    <a:pt x="1517" y="500"/>
                  </a:lnTo>
                  <a:lnTo>
                    <a:pt x="1517" y="500"/>
                  </a:lnTo>
                  <a:lnTo>
                    <a:pt x="1517" y="502"/>
                  </a:lnTo>
                  <a:lnTo>
                    <a:pt x="1519" y="504"/>
                  </a:lnTo>
                  <a:lnTo>
                    <a:pt x="1517" y="504"/>
                  </a:lnTo>
                  <a:lnTo>
                    <a:pt x="1515" y="506"/>
                  </a:lnTo>
                  <a:lnTo>
                    <a:pt x="1513" y="506"/>
                  </a:lnTo>
                  <a:lnTo>
                    <a:pt x="1511" y="506"/>
                  </a:lnTo>
                  <a:lnTo>
                    <a:pt x="1511" y="504"/>
                  </a:lnTo>
                  <a:lnTo>
                    <a:pt x="1511" y="502"/>
                  </a:lnTo>
                  <a:lnTo>
                    <a:pt x="1509" y="502"/>
                  </a:lnTo>
                  <a:lnTo>
                    <a:pt x="1509" y="500"/>
                  </a:lnTo>
                  <a:lnTo>
                    <a:pt x="1511" y="500"/>
                  </a:lnTo>
                  <a:lnTo>
                    <a:pt x="1509" y="498"/>
                  </a:lnTo>
                  <a:lnTo>
                    <a:pt x="1509" y="496"/>
                  </a:lnTo>
                  <a:lnTo>
                    <a:pt x="1507" y="496"/>
                  </a:lnTo>
                  <a:lnTo>
                    <a:pt x="1507" y="496"/>
                  </a:lnTo>
                  <a:lnTo>
                    <a:pt x="1509" y="494"/>
                  </a:lnTo>
                  <a:lnTo>
                    <a:pt x="1509" y="492"/>
                  </a:lnTo>
                  <a:lnTo>
                    <a:pt x="1511" y="492"/>
                  </a:lnTo>
                  <a:lnTo>
                    <a:pt x="1511" y="492"/>
                  </a:lnTo>
                  <a:lnTo>
                    <a:pt x="1513" y="490"/>
                  </a:lnTo>
                  <a:lnTo>
                    <a:pt x="1515" y="490"/>
                  </a:lnTo>
                  <a:lnTo>
                    <a:pt x="1515" y="490"/>
                  </a:lnTo>
                  <a:lnTo>
                    <a:pt x="1515" y="490"/>
                  </a:lnTo>
                  <a:lnTo>
                    <a:pt x="1515" y="490"/>
                  </a:lnTo>
                  <a:lnTo>
                    <a:pt x="1513" y="490"/>
                  </a:lnTo>
                  <a:lnTo>
                    <a:pt x="1513" y="490"/>
                  </a:lnTo>
                  <a:lnTo>
                    <a:pt x="1513" y="488"/>
                  </a:lnTo>
                  <a:lnTo>
                    <a:pt x="1513" y="488"/>
                  </a:lnTo>
                  <a:lnTo>
                    <a:pt x="1513" y="486"/>
                  </a:lnTo>
                  <a:lnTo>
                    <a:pt x="1515" y="484"/>
                  </a:lnTo>
                  <a:lnTo>
                    <a:pt x="1515" y="481"/>
                  </a:lnTo>
                  <a:lnTo>
                    <a:pt x="1517" y="481"/>
                  </a:lnTo>
                  <a:lnTo>
                    <a:pt x="1517" y="481"/>
                  </a:lnTo>
                  <a:lnTo>
                    <a:pt x="1521" y="477"/>
                  </a:lnTo>
                  <a:lnTo>
                    <a:pt x="1523" y="475"/>
                  </a:lnTo>
                  <a:lnTo>
                    <a:pt x="1528" y="471"/>
                  </a:lnTo>
                  <a:lnTo>
                    <a:pt x="1528" y="471"/>
                  </a:lnTo>
                  <a:lnTo>
                    <a:pt x="1528" y="471"/>
                  </a:lnTo>
                  <a:lnTo>
                    <a:pt x="1530" y="469"/>
                  </a:lnTo>
                  <a:lnTo>
                    <a:pt x="1532" y="469"/>
                  </a:lnTo>
                  <a:lnTo>
                    <a:pt x="1532" y="469"/>
                  </a:lnTo>
                  <a:lnTo>
                    <a:pt x="1532" y="469"/>
                  </a:lnTo>
                  <a:lnTo>
                    <a:pt x="1532" y="469"/>
                  </a:lnTo>
                  <a:lnTo>
                    <a:pt x="1532" y="469"/>
                  </a:lnTo>
                  <a:lnTo>
                    <a:pt x="1534" y="469"/>
                  </a:lnTo>
                  <a:lnTo>
                    <a:pt x="1534" y="469"/>
                  </a:lnTo>
                  <a:lnTo>
                    <a:pt x="1534" y="469"/>
                  </a:lnTo>
                  <a:lnTo>
                    <a:pt x="1534" y="469"/>
                  </a:lnTo>
                  <a:lnTo>
                    <a:pt x="1536" y="467"/>
                  </a:lnTo>
                  <a:lnTo>
                    <a:pt x="1536" y="467"/>
                  </a:lnTo>
                  <a:lnTo>
                    <a:pt x="1536" y="467"/>
                  </a:lnTo>
                  <a:lnTo>
                    <a:pt x="1536" y="467"/>
                  </a:lnTo>
                  <a:lnTo>
                    <a:pt x="1536" y="469"/>
                  </a:lnTo>
                  <a:lnTo>
                    <a:pt x="1538" y="467"/>
                  </a:lnTo>
                  <a:lnTo>
                    <a:pt x="1538" y="465"/>
                  </a:lnTo>
                  <a:lnTo>
                    <a:pt x="1538" y="467"/>
                  </a:lnTo>
                  <a:lnTo>
                    <a:pt x="1538" y="467"/>
                  </a:lnTo>
                  <a:lnTo>
                    <a:pt x="1538" y="467"/>
                  </a:lnTo>
                  <a:lnTo>
                    <a:pt x="1540" y="465"/>
                  </a:lnTo>
                  <a:lnTo>
                    <a:pt x="1540" y="467"/>
                  </a:lnTo>
                  <a:lnTo>
                    <a:pt x="1540" y="467"/>
                  </a:lnTo>
                  <a:lnTo>
                    <a:pt x="1540" y="467"/>
                  </a:lnTo>
                  <a:lnTo>
                    <a:pt x="1542" y="467"/>
                  </a:lnTo>
                  <a:lnTo>
                    <a:pt x="1542" y="465"/>
                  </a:lnTo>
                  <a:lnTo>
                    <a:pt x="1544" y="465"/>
                  </a:lnTo>
                  <a:lnTo>
                    <a:pt x="1546" y="465"/>
                  </a:lnTo>
                  <a:lnTo>
                    <a:pt x="1548" y="463"/>
                  </a:lnTo>
                  <a:lnTo>
                    <a:pt x="1548" y="463"/>
                  </a:lnTo>
                  <a:lnTo>
                    <a:pt x="1550" y="459"/>
                  </a:lnTo>
                  <a:lnTo>
                    <a:pt x="1550" y="459"/>
                  </a:lnTo>
                  <a:lnTo>
                    <a:pt x="1552" y="457"/>
                  </a:lnTo>
                  <a:lnTo>
                    <a:pt x="1554" y="457"/>
                  </a:lnTo>
                  <a:lnTo>
                    <a:pt x="1554" y="455"/>
                  </a:lnTo>
                  <a:lnTo>
                    <a:pt x="1554" y="457"/>
                  </a:lnTo>
                  <a:lnTo>
                    <a:pt x="1554" y="457"/>
                  </a:lnTo>
                  <a:lnTo>
                    <a:pt x="1554" y="457"/>
                  </a:lnTo>
                  <a:lnTo>
                    <a:pt x="1554" y="457"/>
                  </a:lnTo>
                  <a:lnTo>
                    <a:pt x="1554" y="457"/>
                  </a:lnTo>
                  <a:lnTo>
                    <a:pt x="1552" y="459"/>
                  </a:lnTo>
                  <a:lnTo>
                    <a:pt x="1552" y="459"/>
                  </a:lnTo>
                  <a:lnTo>
                    <a:pt x="1554" y="459"/>
                  </a:lnTo>
                  <a:lnTo>
                    <a:pt x="1556" y="461"/>
                  </a:lnTo>
                  <a:lnTo>
                    <a:pt x="1556" y="461"/>
                  </a:lnTo>
                  <a:lnTo>
                    <a:pt x="1556" y="461"/>
                  </a:lnTo>
                  <a:lnTo>
                    <a:pt x="1556" y="461"/>
                  </a:lnTo>
                  <a:lnTo>
                    <a:pt x="1556" y="459"/>
                  </a:lnTo>
                  <a:lnTo>
                    <a:pt x="1558" y="457"/>
                  </a:lnTo>
                  <a:lnTo>
                    <a:pt x="1558" y="457"/>
                  </a:lnTo>
                  <a:lnTo>
                    <a:pt x="1558" y="457"/>
                  </a:lnTo>
                  <a:lnTo>
                    <a:pt x="1560" y="457"/>
                  </a:lnTo>
                  <a:lnTo>
                    <a:pt x="1560" y="457"/>
                  </a:lnTo>
                  <a:lnTo>
                    <a:pt x="1562" y="457"/>
                  </a:lnTo>
                  <a:lnTo>
                    <a:pt x="1562" y="457"/>
                  </a:lnTo>
                  <a:lnTo>
                    <a:pt x="1562" y="457"/>
                  </a:lnTo>
                  <a:lnTo>
                    <a:pt x="1562" y="457"/>
                  </a:lnTo>
                  <a:lnTo>
                    <a:pt x="1565" y="457"/>
                  </a:lnTo>
                  <a:lnTo>
                    <a:pt x="1565" y="457"/>
                  </a:lnTo>
                  <a:lnTo>
                    <a:pt x="1565" y="459"/>
                  </a:lnTo>
                  <a:lnTo>
                    <a:pt x="1565" y="459"/>
                  </a:lnTo>
                  <a:lnTo>
                    <a:pt x="1565" y="459"/>
                  </a:lnTo>
                  <a:lnTo>
                    <a:pt x="1567" y="457"/>
                  </a:lnTo>
                  <a:lnTo>
                    <a:pt x="1567" y="457"/>
                  </a:lnTo>
                  <a:lnTo>
                    <a:pt x="1569" y="455"/>
                  </a:lnTo>
                  <a:lnTo>
                    <a:pt x="1569" y="455"/>
                  </a:lnTo>
                  <a:lnTo>
                    <a:pt x="1571" y="455"/>
                  </a:lnTo>
                  <a:lnTo>
                    <a:pt x="1571" y="455"/>
                  </a:lnTo>
                  <a:lnTo>
                    <a:pt x="1573" y="455"/>
                  </a:lnTo>
                  <a:lnTo>
                    <a:pt x="1573" y="455"/>
                  </a:lnTo>
                  <a:lnTo>
                    <a:pt x="1575" y="455"/>
                  </a:lnTo>
                  <a:lnTo>
                    <a:pt x="1577" y="453"/>
                  </a:lnTo>
                  <a:lnTo>
                    <a:pt x="1579" y="453"/>
                  </a:lnTo>
                  <a:lnTo>
                    <a:pt x="1583" y="451"/>
                  </a:lnTo>
                  <a:lnTo>
                    <a:pt x="1583" y="451"/>
                  </a:lnTo>
                  <a:lnTo>
                    <a:pt x="1583" y="451"/>
                  </a:lnTo>
                  <a:lnTo>
                    <a:pt x="1581" y="451"/>
                  </a:lnTo>
                  <a:lnTo>
                    <a:pt x="1581" y="449"/>
                  </a:lnTo>
                  <a:lnTo>
                    <a:pt x="1583" y="449"/>
                  </a:lnTo>
                  <a:lnTo>
                    <a:pt x="1583" y="444"/>
                  </a:lnTo>
                  <a:lnTo>
                    <a:pt x="1583" y="444"/>
                  </a:lnTo>
                  <a:lnTo>
                    <a:pt x="1583" y="442"/>
                  </a:lnTo>
                  <a:lnTo>
                    <a:pt x="1583" y="442"/>
                  </a:lnTo>
                  <a:lnTo>
                    <a:pt x="1581" y="442"/>
                  </a:lnTo>
                  <a:lnTo>
                    <a:pt x="1581" y="442"/>
                  </a:lnTo>
                  <a:lnTo>
                    <a:pt x="1581" y="442"/>
                  </a:lnTo>
                  <a:lnTo>
                    <a:pt x="1581" y="442"/>
                  </a:lnTo>
                  <a:lnTo>
                    <a:pt x="1581" y="444"/>
                  </a:lnTo>
                  <a:lnTo>
                    <a:pt x="1579" y="442"/>
                  </a:lnTo>
                  <a:lnTo>
                    <a:pt x="1579" y="442"/>
                  </a:lnTo>
                  <a:lnTo>
                    <a:pt x="1579" y="442"/>
                  </a:lnTo>
                  <a:lnTo>
                    <a:pt x="1579" y="442"/>
                  </a:lnTo>
                  <a:lnTo>
                    <a:pt x="1579" y="440"/>
                  </a:lnTo>
                  <a:lnTo>
                    <a:pt x="1579" y="440"/>
                  </a:lnTo>
                  <a:lnTo>
                    <a:pt x="1579" y="440"/>
                  </a:lnTo>
                  <a:lnTo>
                    <a:pt x="1579" y="438"/>
                  </a:lnTo>
                  <a:lnTo>
                    <a:pt x="1579" y="438"/>
                  </a:lnTo>
                  <a:lnTo>
                    <a:pt x="1579" y="438"/>
                  </a:lnTo>
                  <a:lnTo>
                    <a:pt x="1579" y="438"/>
                  </a:lnTo>
                  <a:lnTo>
                    <a:pt x="1581" y="436"/>
                  </a:lnTo>
                  <a:lnTo>
                    <a:pt x="1581" y="436"/>
                  </a:lnTo>
                  <a:lnTo>
                    <a:pt x="1581" y="436"/>
                  </a:lnTo>
                  <a:lnTo>
                    <a:pt x="1581" y="436"/>
                  </a:lnTo>
                  <a:lnTo>
                    <a:pt x="1581" y="436"/>
                  </a:lnTo>
                  <a:lnTo>
                    <a:pt x="1581" y="436"/>
                  </a:lnTo>
                  <a:lnTo>
                    <a:pt x="1579" y="436"/>
                  </a:lnTo>
                  <a:lnTo>
                    <a:pt x="1579" y="434"/>
                  </a:lnTo>
                  <a:lnTo>
                    <a:pt x="1579" y="434"/>
                  </a:lnTo>
                  <a:lnTo>
                    <a:pt x="1577" y="434"/>
                  </a:lnTo>
                  <a:lnTo>
                    <a:pt x="1577" y="434"/>
                  </a:lnTo>
                  <a:lnTo>
                    <a:pt x="1577" y="434"/>
                  </a:lnTo>
                  <a:lnTo>
                    <a:pt x="1577" y="434"/>
                  </a:lnTo>
                  <a:lnTo>
                    <a:pt x="1577" y="432"/>
                  </a:lnTo>
                  <a:lnTo>
                    <a:pt x="1577" y="432"/>
                  </a:lnTo>
                  <a:lnTo>
                    <a:pt x="1579" y="432"/>
                  </a:lnTo>
                  <a:lnTo>
                    <a:pt x="1579" y="432"/>
                  </a:lnTo>
                  <a:lnTo>
                    <a:pt x="1579" y="430"/>
                  </a:lnTo>
                  <a:lnTo>
                    <a:pt x="1579" y="430"/>
                  </a:lnTo>
                  <a:lnTo>
                    <a:pt x="1579" y="430"/>
                  </a:lnTo>
                  <a:lnTo>
                    <a:pt x="1579" y="430"/>
                  </a:lnTo>
                  <a:lnTo>
                    <a:pt x="1579" y="430"/>
                  </a:lnTo>
                  <a:lnTo>
                    <a:pt x="1579" y="428"/>
                  </a:lnTo>
                  <a:lnTo>
                    <a:pt x="1581" y="424"/>
                  </a:lnTo>
                  <a:lnTo>
                    <a:pt x="1581" y="422"/>
                  </a:lnTo>
                  <a:lnTo>
                    <a:pt x="1583" y="420"/>
                  </a:lnTo>
                  <a:lnTo>
                    <a:pt x="1583" y="418"/>
                  </a:lnTo>
                  <a:lnTo>
                    <a:pt x="1585" y="414"/>
                  </a:lnTo>
                  <a:lnTo>
                    <a:pt x="1585" y="412"/>
                  </a:lnTo>
                  <a:lnTo>
                    <a:pt x="1587" y="410"/>
                  </a:lnTo>
                  <a:lnTo>
                    <a:pt x="1585" y="407"/>
                  </a:lnTo>
                  <a:lnTo>
                    <a:pt x="1583" y="405"/>
                  </a:lnTo>
                  <a:close/>
                  <a:moveTo>
                    <a:pt x="1554" y="461"/>
                  </a:moveTo>
                  <a:lnTo>
                    <a:pt x="1554" y="461"/>
                  </a:lnTo>
                  <a:lnTo>
                    <a:pt x="1554" y="461"/>
                  </a:lnTo>
                  <a:lnTo>
                    <a:pt x="1552" y="463"/>
                  </a:lnTo>
                  <a:lnTo>
                    <a:pt x="1554" y="463"/>
                  </a:lnTo>
                  <a:lnTo>
                    <a:pt x="1554" y="463"/>
                  </a:lnTo>
                  <a:lnTo>
                    <a:pt x="1554" y="461"/>
                  </a:lnTo>
                  <a:lnTo>
                    <a:pt x="1554" y="461"/>
                  </a:lnTo>
                  <a:close/>
                  <a:moveTo>
                    <a:pt x="1499" y="508"/>
                  </a:moveTo>
                  <a:lnTo>
                    <a:pt x="1499" y="508"/>
                  </a:lnTo>
                  <a:lnTo>
                    <a:pt x="1497" y="508"/>
                  </a:lnTo>
                  <a:lnTo>
                    <a:pt x="1497" y="510"/>
                  </a:lnTo>
                  <a:lnTo>
                    <a:pt x="1497" y="510"/>
                  </a:lnTo>
                  <a:lnTo>
                    <a:pt x="1497" y="510"/>
                  </a:lnTo>
                  <a:lnTo>
                    <a:pt x="1497" y="510"/>
                  </a:lnTo>
                  <a:lnTo>
                    <a:pt x="1499" y="508"/>
                  </a:lnTo>
                  <a:lnTo>
                    <a:pt x="1499" y="508"/>
                  </a:lnTo>
                  <a:close/>
                  <a:moveTo>
                    <a:pt x="5151" y="319"/>
                  </a:moveTo>
                  <a:lnTo>
                    <a:pt x="5147" y="319"/>
                  </a:lnTo>
                  <a:lnTo>
                    <a:pt x="5143" y="319"/>
                  </a:lnTo>
                  <a:lnTo>
                    <a:pt x="5143" y="319"/>
                  </a:lnTo>
                  <a:lnTo>
                    <a:pt x="5141" y="319"/>
                  </a:lnTo>
                  <a:lnTo>
                    <a:pt x="5141" y="319"/>
                  </a:lnTo>
                  <a:lnTo>
                    <a:pt x="5139" y="319"/>
                  </a:lnTo>
                  <a:lnTo>
                    <a:pt x="5137" y="319"/>
                  </a:lnTo>
                  <a:lnTo>
                    <a:pt x="5139" y="319"/>
                  </a:lnTo>
                  <a:lnTo>
                    <a:pt x="5139" y="319"/>
                  </a:lnTo>
                  <a:lnTo>
                    <a:pt x="5141" y="321"/>
                  </a:lnTo>
                  <a:lnTo>
                    <a:pt x="5141" y="321"/>
                  </a:lnTo>
                  <a:lnTo>
                    <a:pt x="5143" y="321"/>
                  </a:lnTo>
                  <a:lnTo>
                    <a:pt x="5147" y="321"/>
                  </a:lnTo>
                  <a:lnTo>
                    <a:pt x="5147" y="321"/>
                  </a:lnTo>
                  <a:lnTo>
                    <a:pt x="5149" y="321"/>
                  </a:lnTo>
                  <a:lnTo>
                    <a:pt x="5149" y="321"/>
                  </a:lnTo>
                  <a:lnTo>
                    <a:pt x="5151" y="319"/>
                  </a:lnTo>
                  <a:lnTo>
                    <a:pt x="5151" y="319"/>
                  </a:lnTo>
                  <a:lnTo>
                    <a:pt x="5151" y="319"/>
                  </a:lnTo>
                  <a:close/>
                  <a:moveTo>
                    <a:pt x="5133" y="317"/>
                  </a:moveTo>
                  <a:lnTo>
                    <a:pt x="5135" y="317"/>
                  </a:lnTo>
                  <a:lnTo>
                    <a:pt x="5135" y="317"/>
                  </a:lnTo>
                  <a:lnTo>
                    <a:pt x="5133" y="315"/>
                  </a:lnTo>
                  <a:lnTo>
                    <a:pt x="5133" y="315"/>
                  </a:lnTo>
                  <a:lnTo>
                    <a:pt x="5131" y="315"/>
                  </a:lnTo>
                  <a:lnTo>
                    <a:pt x="5129" y="315"/>
                  </a:lnTo>
                  <a:lnTo>
                    <a:pt x="5129" y="315"/>
                  </a:lnTo>
                  <a:lnTo>
                    <a:pt x="5129" y="315"/>
                  </a:lnTo>
                  <a:lnTo>
                    <a:pt x="5129" y="317"/>
                  </a:lnTo>
                  <a:lnTo>
                    <a:pt x="5131" y="317"/>
                  </a:lnTo>
                  <a:lnTo>
                    <a:pt x="5131" y="317"/>
                  </a:lnTo>
                  <a:lnTo>
                    <a:pt x="5131" y="319"/>
                  </a:lnTo>
                  <a:lnTo>
                    <a:pt x="5129" y="319"/>
                  </a:lnTo>
                  <a:lnTo>
                    <a:pt x="5125" y="319"/>
                  </a:lnTo>
                  <a:lnTo>
                    <a:pt x="5125" y="321"/>
                  </a:lnTo>
                  <a:lnTo>
                    <a:pt x="5123" y="321"/>
                  </a:lnTo>
                  <a:lnTo>
                    <a:pt x="5123" y="321"/>
                  </a:lnTo>
                  <a:lnTo>
                    <a:pt x="5123" y="321"/>
                  </a:lnTo>
                  <a:lnTo>
                    <a:pt x="5131" y="321"/>
                  </a:lnTo>
                  <a:lnTo>
                    <a:pt x="5133" y="319"/>
                  </a:lnTo>
                  <a:lnTo>
                    <a:pt x="5135" y="319"/>
                  </a:lnTo>
                  <a:lnTo>
                    <a:pt x="5133" y="317"/>
                  </a:lnTo>
                  <a:lnTo>
                    <a:pt x="5133" y="317"/>
                  </a:lnTo>
                  <a:close/>
                  <a:moveTo>
                    <a:pt x="5112" y="323"/>
                  </a:moveTo>
                  <a:lnTo>
                    <a:pt x="5112" y="325"/>
                  </a:lnTo>
                  <a:lnTo>
                    <a:pt x="5114" y="325"/>
                  </a:lnTo>
                  <a:lnTo>
                    <a:pt x="5116" y="325"/>
                  </a:lnTo>
                  <a:lnTo>
                    <a:pt x="5114" y="323"/>
                  </a:lnTo>
                  <a:lnTo>
                    <a:pt x="5112" y="323"/>
                  </a:lnTo>
                  <a:close/>
                  <a:moveTo>
                    <a:pt x="5184" y="307"/>
                  </a:moveTo>
                  <a:lnTo>
                    <a:pt x="5184" y="307"/>
                  </a:lnTo>
                  <a:lnTo>
                    <a:pt x="5182" y="307"/>
                  </a:lnTo>
                  <a:lnTo>
                    <a:pt x="5182" y="307"/>
                  </a:lnTo>
                  <a:lnTo>
                    <a:pt x="5180" y="307"/>
                  </a:lnTo>
                  <a:lnTo>
                    <a:pt x="5180" y="307"/>
                  </a:lnTo>
                  <a:lnTo>
                    <a:pt x="5180" y="307"/>
                  </a:lnTo>
                  <a:lnTo>
                    <a:pt x="5180" y="307"/>
                  </a:lnTo>
                  <a:lnTo>
                    <a:pt x="5182" y="307"/>
                  </a:lnTo>
                  <a:lnTo>
                    <a:pt x="5184" y="307"/>
                  </a:lnTo>
                  <a:lnTo>
                    <a:pt x="5184" y="307"/>
                  </a:lnTo>
                  <a:close/>
                  <a:moveTo>
                    <a:pt x="5112" y="325"/>
                  </a:moveTo>
                  <a:lnTo>
                    <a:pt x="5110" y="323"/>
                  </a:lnTo>
                  <a:lnTo>
                    <a:pt x="5110" y="323"/>
                  </a:lnTo>
                  <a:lnTo>
                    <a:pt x="5110" y="325"/>
                  </a:lnTo>
                  <a:lnTo>
                    <a:pt x="5112" y="325"/>
                  </a:lnTo>
                  <a:lnTo>
                    <a:pt x="5112" y="325"/>
                  </a:lnTo>
                  <a:lnTo>
                    <a:pt x="5112" y="325"/>
                  </a:lnTo>
                  <a:close/>
                  <a:moveTo>
                    <a:pt x="5153" y="315"/>
                  </a:moveTo>
                  <a:lnTo>
                    <a:pt x="5153" y="315"/>
                  </a:lnTo>
                  <a:lnTo>
                    <a:pt x="5153" y="315"/>
                  </a:lnTo>
                  <a:lnTo>
                    <a:pt x="5153" y="317"/>
                  </a:lnTo>
                  <a:lnTo>
                    <a:pt x="5155" y="317"/>
                  </a:lnTo>
                  <a:lnTo>
                    <a:pt x="5155" y="317"/>
                  </a:lnTo>
                  <a:lnTo>
                    <a:pt x="5158" y="315"/>
                  </a:lnTo>
                  <a:lnTo>
                    <a:pt x="5155" y="315"/>
                  </a:lnTo>
                  <a:lnTo>
                    <a:pt x="5153" y="315"/>
                  </a:lnTo>
                  <a:close/>
                  <a:moveTo>
                    <a:pt x="5174" y="309"/>
                  </a:moveTo>
                  <a:lnTo>
                    <a:pt x="5174" y="309"/>
                  </a:lnTo>
                  <a:lnTo>
                    <a:pt x="5172" y="309"/>
                  </a:lnTo>
                  <a:lnTo>
                    <a:pt x="5172" y="311"/>
                  </a:lnTo>
                  <a:lnTo>
                    <a:pt x="5172" y="311"/>
                  </a:lnTo>
                  <a:lnTo>
                    <a:pt x="5174" y="311"/>
                  </a:lnTo>
                  <a:lnTo>
                    <a:pt x="5174" y="311"/>
                  </a:lnTo>
                  <a:lnTo>
                    <a:pt x="5174" y="311"/>
                  </a:lnTo>
                  <a:lnTo>
                    <a:pt x="5174" y="311"/>
                  </a:lnTo>
                  <a:lnTo>
                    <a:pt x="5176" y="311"/>
                  </a:lnTo>
                  <a:lnTo>
                    <a:pt x="5176" y="311"/>
                  </a:lnTo>
                  <a:lnTo>
                    <a:pt x="5176" y="311"/>
                  </a:lnTo>
                  <a:lnTo>
                    <a:pt x="5174" y="309"/>
                  </a:lnTo>
                  <a:close/>
                  <a:moveTo>
                    <a:pt x="4971" y="130"/>
                  </a:moveTo>
                  <a:lnTo>
                    <a:pt x="4971" y="130"/>
                  </a:lnTo>
                  <a:lnTo>
                    <a:pt x="4971" y="128"/>
                  </a:lnTo>
                  <a:lnTo>
                    <a:pt x="4969" y="128"/>
                  </a:lnTo>
                  <a:lnTo>
                    <a:pt x="4967" y="128"/>
                  </a:lnTo>
                  <a:lnTo>
                    <a:pt x="4965" y="128"/>
                  </a:lnTo>
                  <a:lnTo>
                    <a:pt x="4962" y="128"/>
                  </a:lnTo>
                  <a:lnTo>
                    <a:pt x="4960" y="128"/>
                  </a:lnTo>
                  <a:lnTo>
                    <a:pt x="4960" y="128"/>
                  </a:lnTo>
                  <a:lnTo>
                    <a:pt x="4958" y="126"/>
                  </a:lnTo>
                  <a:lnTo>
                    <a:pt x="4956" y="126"/>
                  </a:lnTo>
                  <a:lnTo>
                    <a:pt x="4952" y="126"/>
                  </a:lnTo>
                  <a:lnTo>
                    <a:pt x="4952" y="126"/>
                  </a:lnTo>
                  <a:lnTo>
                    <a:pt x="4950" y="124"/>
                  </a:lnTo>
                  <a:lnTo>
                    <a:pt x="4948" y="124"/>
                  </a:lnTo>
                  <a:lnTo>
                    <a:pt x="4948" y="124"/>
                  </a:lnTo>
                  <a:lnTo>
                    <a:pt x="4944" y="122"/>
                  </a:lnTo>
                  <a:lnTo>
                    <a:pt x="4942" y="122"/>
                  </a:lnTo>
                  <a:lnTo>
                    <a:pt x="4942" y="122"/>
                  </a:lnTo>
                  <a:lnTo>
                    <a:pt x="4940" y="124"/>
                  </a:lnTo>
                  <a:lnTo>
                    <a:pt x="4940" y="124"/>
                  </a:lnTo>
                  <a:lnTo>
                    <a:pt x="4938" y="124"/>
                  </a:lnTo>
                  <a:lnTo>
                    <a:pt x="4936" y="124"/>
                  </a:lnTo>
                  <a:lnTo>
                    <a:pt x="4934" y="124"/>
                  </a:lnTo>
                  <a:lnTo>
                    <a:pt x="4932" y="124"/>
                  </a:lnTo>
                  <a:lnTo>
                    <a:pt x="4932" y="124"/>
                  </a:lnTo>
                  <a:lnTo>
                    <a:pt x="4928" y="122"/>
                  </a:lnTo>
                  <a:lnTo>
                    <a:pt x="4926" y="122"/>
                  </a:lnTo>
                  <a:lnTo>
                    <a:pt x="4928" y="124"/>
                  </a:lnTo>
                  <a:lnTo>
                    <a:pt x="4930" y="126"/>
                  </a:lnTo>
                  <a:lnTo>
                    <a:pt x="4930" y="126"/>
                  </a:lnTo>
                  <a:lnTo>
                    <a:pt x="4932" y="126"/>
                  </a:lnTo>
                  <a:lnTo>
                    <a:pt x="4934" y="128"/>
                  </a:lnTo>
                  <a:lnTo>
                    <a:pt x="4936" y="128"/>
                  </a:lnTo>
                  <a:lnTo>
                    <a:pt x="4938" y="128"/>
                  </a:lnTo>
                  <a:lnTo>
                    <a:pt x="4940" y="128"/>
                  </a:lnTo>
                  <a:lnTo>
                    <a:pt x="4940" y="128"/>
                  </a:lnTo>
                  <a:lnTo>
                    <a:pt x="4940" y="128"/>
                  </a:lnTo>
                  <a:lnTo>
                    <a:pt x="4940" y="126"/>
                  </a:lnTo>
                  <a:lnTo>
                    <a:pt x="4942" y="126"/>
                  </a:lnTo>
                  <a:lnTo>
                    <a:pt x="4944" y="126"/>
                  </a:lnTo>
                  <a:lnTo>
                    <a:pt x="4948" y="128"/>
                  </a:lnTo>
                  <a:lnTo>
                    <a:pt x="4950" y="128"/>
                  </a:lnTo>
                  <a:lnTo>
                    <a:pt x="4952" y="128"/>
                  </a:lnTo>
                  <a:lnTo>
                    <a:pt x="4954" y="130"/>
                  </a:lnTo>
                  <a:lnTo>
                    <a:pt x="4956" y="130"/>
                  </a:lnTo>
                  <a:lnTo>
                    <a:pt x="4958" y="130"/>
                  </a:lnTo>
                  <a:lnTo>
                    <a:pt x="4958" y="130"/>
                  </a:lnTo>
                  <a:lnTo>
                    <a:pt x="4960" y="130"/>
                  </a:lnTo>
                  <a:lnTo>
                    <a:pt x="4962" y="132"/>
                  </a:lnTo>
                  <a:lnTo>
                    <a:pt x="4965" y="132"/>
                  </a:lnTo>
                  <a:lnTo>
                    <a:pt x="4965" y="132"/>
                  </a:lnTo>
                  <a:lnTo>
                    <a:pt x="4969" y="134"/>
                  </a:lnTo>
                  <a:lnTo>
                    <a:pt x="4969" y="134"/>
                  </a:lnTo>
                  <a:lnTo>
                    <a:pt x="4969" y="134"/>
                  </a:lnTo>
                  <a:lnTo>
                    <a:pt x="4969" y="134"/>
                  </a:lnTo>
                  <a:lnTo>
                    <a:pt x="4969" y="132"/>
                  </a:lnTo>
                  <a:lnTo>
                    <a:pt x="4969" y="132"/>
                  </a:lnTo>
                  <a:lnTo>
                    <a:pt x="4969" y="130"/>
                  </a:lnTo>
                  <a:lnTo>
                    <a:pt x="4971" y="130"/>
                  </a:lnTo>
                  <a:close/>
                  <a:moveTo>
                    <a:pt x="5038" y="321"/>
                  </a:moveTo>
                  <a:lnTo>
                    <a:pt x="5036" y="321"/>
                  </a:lnTo>
                  <a:lnTo>
                    <a:pt x="5036" y="321"/>
                  </a:lnTo>
                  <a:lnTo>
                    <a:pt x="5036" y="323"/>
                  </a:lnTo>
                  <a:lnTo>
                    <a:pt x="5038" y="323"/>
                  </a:lnTo>
                  <a:lnTo>
                    <a:pt x="5038" y="323"/>
                  </a:lnTo>
                  <a:lnTo>
                    <a:pt x="5038" y="323"/>
                  </a:lnTo>
                  <a:lnTo>
                    <a:pt x="5038" y="321"/>
                  </a:lnTo>
                  <a:close/>
                  <a:moveTo>
                    <a:pt x="5024" y="321"/>
                  </a:moveTo>
                  <a:lnTo>
                    <a:pt x="5022" y="319"/>
                  </a:lnTo>
                  <a:lnTo>
                    <a:pt x="5022" y="319"/>
                  </a:lnTo>
                  <a:lnTo>
                    <a:pt x="5022" y="319"/>
                  </a:lnTo>
                  <a:lnTo>
                    <a:pt x="5022" y="321"/>
                  </a:lnTo>
                  <a:lnTo>
                    <a:pt x="5022" y="321"/>
                  </a:lnTo>
                  <a:lnTo>
                    <a:pt x="5022" y="321"/>
                  </a:lnTo>
                  <a:lnTo>
                    <a:pt x="5020" y="323"/>
                  </a:lnTo>
                  <a:lnTo>
                    <a:pt x="5022" y="323"/>
                  </a:lnTo>
                  <a:lnTo>
                    <a:pt x="5022" y="323"/>
                  </a:lnTo>
                  <a:lnTo>
                    <a:pt x="5024" y="323"/>
                  </a:lnTo>
                  <a:lnTo>
                    <a:pt x="5024" y="323"/>
                  </a:lnTo>
                  <a:lnTo>
                    <a:pt x="5024" y="321"/>
                  </a:lnTo>
                  <a:lnTo>
                    <a:pt x="5024" y="321"/>
                  </a:lnTo>
                  <a:close/>
                  <a:moveTo>
                    <a:pt x="4991" y="177"/>
                  </a:moveTo>
                  <a:lnTo>
                    <a:pt x="4989" y="177"/>
                  </a:lnTo>
                  <a:lnTo>
                    <a:pt x="4985" y="175"/>
                  </a:lnTo>
                  <a:lnTo>
                    <a:pt x="4983" y="175"/>
                  </a:lnTo>
                  <a:lnTo>
                    <a:pt x="4981" y="173"/>
                  </a:lnTo>
                  <a:lnTo>
                    <a:pt x="4979" y="173"/>
                  </a:lnTo>
                  <a:lnTo>
                    <a:pt x="4981" y="175"/>
                  </a:lnTo>
                  <a:lnTo>
                    <a:pt x="4983" y="175"/>
                  </a:lnTo>
                  <a:lnTo>
                    <a:pt x="4989" y="177"/>
                  </a:lnTo>
                  <a:lnTo>
                    <a:pt x="4993" y="177"/>
                  </a:lnTo>
                  <a:lnTo>
                    <a:pt x="4995" y="179"/>
                  </a:lnTo>
                  <a:lnTo>
                    <a:pt x="4993" y="177"/>
                  </a:lnTo>
                  <a:lnTo>
                    <a:pt x="4991" y="177"/>
                  </a:lnTo>
                  <a:close/>
                  <a:moveTo>
                    <a:pt x="5100" y="325"/>
                  </a:moveTo>
                  <a:lnTo>
                    <a:pt x="5100" y="323"/>
                  </a:lnTo>
                  <a:lnTo>
                    <a:pt x="5100" y="323"/>
                  </a:lnTo>
                  <a:lnTo>
                    <a:pt x="5098" y="323"/>
                  </a:lnTo>
                  <a:lnTo>
                    <a:pt x="5098" y="323"/>
                  </a:lnTo>
                  <a:lnTo>
                    <a:pt x="5098" y="323"/>
                  </a:lnTo>
                  <a:lnTo>
                    <a:pt x="5098" y="323"/>
                  </a:lnTo>
                  <a:lnTo>
                    <a:pt x="5098" y="325"/>
                  </a:lnTo>
                  <a:lnTo>
                    <a:pt x="5098" y="325"/>
                  </a:lnTo>
                  <a:lnTo>
                    <a:pt x="5094" y="327"/>
                  </a:lnTo>
                  <a:lnTo>
                    <a:pt x="5094" y="327"/>
                  </a:lnTo>
                  <a:lnTo>
                    <a:pt x="5096" y="327"/>
                  </a:lnTo>
                  <a:lnTo>
                    <a:pt x="5096" y="327"/>
                  </a:lnTo>
                  <a:lnTo>
                    <a:pt x="5098" y="327"/>
                  </a:lnTo>
                  <a:lnTo>
                    <a:pt x="5098" y="327"/>
                  </a:lnTo>
                  <a:lnTo>
                    <a:pt x="5100" y="327"/>
                  </a:lnTo>
                  <a:lnTo>
                    <a:pt x="5102" y="327"/>
                  </a:lnTo>
                  <a:lnTo>
                    <a:pt x="5102" y="327"/>
                  </a:lnTo>
                  <a:lnTo>
                    <a:pt x="5100" y="325"/>
                  </a:lnTo>
                  <a:lnTo>
                    <a:pt x="5100" y="325"/>
                  </a:lnTo>
                  <a:close/>
                  <a:moveTo>
                    <a:pt x="5110" y="325"/>
                  </a:moveTo>
                  <a:lnTo>
                    <a:pt x="5108" y="325"/>
                  </a:lnTo>
                  <a:lnTo>
                    <a:pt x="5108" y="325"/>
                  </a:lnTo>
                  <a:lnTo>
                    <a:pt x="5106" y="323"/>
                  </a:lnTo>
                  <a:lnTo>
                    <a:pt x="5106" y="323"/>
                  </a:lnTo>
                  <a:lnTo>
                    <a:pt x="5106" y="323"/>
                  </a:lnTo>
                  <a:lnTo>
                    <a:pt x="5104" y="321"/>
                  </a:lnTo>
                  <a:lnTo>
                    <a:pt x="5102" y="321"/>
                  </a:lnTo>
                  <a:lnTo>
                    <a:pt x="5104" y="323"/>
                  </a:lnTo>
                  <a:lnTo>
                    <a:pt x="5104" y="323"/>
                  </a:lnTo>
                  <a:lnTo>
                    <a:pt x="5104" y="325"/>
                  </a:lnTo>
                  <a:lnTo>
                    <a:pt x="5104" y="325"/>
                  </a:lnTo>
                  <a:lnTo>
                    <a:pt x="5106" y="329"/>
                  </a:lnTo>
                  <a:lnTo>
                    <a:pt x="5106" y="327"/>
                  </a:lnTo>
                  <a:lnTo>
                    <a:pt x="5108" y="327"/>
                  </a:lnTo>
                  <a:lnTo>
                    <a:pt x="5110" y="327"/>
                  </a:lnTo>
                  <a:lnTo>
                    <a:pt x="5110" y="325"/>
                  </a:lnTo>
                  <a:lnTo>
                    <a:pt x="5110" y="325"/>
                  </a:lnTo>
                  <a:lnTo>
                    <a:pt x="5110" y="325"/>
                  </a:lnTo>
                  <a:lnTo>
                    <a:pt x="5110" y="325"/>
                  </a:lnTo>
                  <a:lnTo>
                    <a:pt x="5110" y="325"/>
                  </a:lnTo>
                  <a:close/>
                  <a:moveTo>
                    <a:pt x="5092" y="327"/>
                  </a:moveTo>
                  <a:lnTo>
                    <a:pt x="5092" y="325"/>
                  </a:lnTo>
                  <a:lnTo>
                    <a:pt x="5092" y="325"/>
                  </a:lnTo>
                  <a:lnTo>
                    <a:pt x="5092" y="325"/>
                  </a:lnTo>
                  <a:lnTo>
                    <a:pt x="5090" y="323"/>
                  </a:lnTo>
                  <a:lnTo>
                    <a:pt x="5090" y="323"/>
                  </a:lnTo>
                  <a:lnTo>
                    <a:pt x="5088" y="323"/>
                  </a:lnTo>
                  <a:lnTo>
                    <a:pt x="5084" y="323"/>
                  </a:lnTo>
                  <a:lnTo>
                    <a:pt x="5084" y="323"/>
                  </a:lnTo>
                  <a:lnTo>
                    <a:pt x="5084" y="323"/>
                  </a:lnTo>
                  <a:lnTo>
                    <a:pt x="5086" y="323"/>
                  </a:lnTo>
                  <a:lnTo>
                    <a:pt x="5088" y="325"/>
                  </a:lnTo>
                  <a:lnTo>
                    <a:pt x="5090" y="325"/>
                  </a:lnTo>
                  <a:lnTo>
                    <a:pt x="5090" y="325"/>
                  </a:lnTo>
                  <a:lnTo>
                    <a:pt x="5090" y="327"/>
                  </a:lnTo>
                  <a:lnTo>
                    <a:pt x="5090" y="327"/>
                  </a:lnTo>
                  <a:lnTo>
                    <a:pt x="5090" y="327"/>
                  </a:lnTo>
                  <a:lnTo>
                    <a:pt x="5092" y="327"/>
                  </a:lnTo>
                  <a:lnTo>
                    <a:pt x="5094" y="327"/>
                  </a:lnTo>
                  <a:lnTo>
                    <a:pt x="5092" y="327"/>
                  </a:lnTo>
                  <a:lnTo>
                    <a:pt x="5092" y="327"/>
                  </a:lnTo>
                  <a:close/>
                  <a:moveTo>
                    <a:pt x="5057" y="331"/>
                  </a:moveTo>
                  <a:lnTo>
                    <a:pt x="5055" y="331"/>
                  </a:lnTo>
                  <a:lnTo>
                    <a:pt x="5053" y="329"/>
                  </a:lnTo>
                  <a:lnTo>
                    <a:pt x="5049" y="327"/>
                  </a:lnTo>
                  <a:lnTo>
                    <a:pt x="5045" y="327"/>
                  </a:lnTo>
                  <a:lnTo>
                    <a:pt x="5045" y="327"/>
                  </a:lnTo>
                  <a:lnTo>
                    <a:pt x="5047" y="329"/>
                  </a:lnTo>
                  <a:lnTo>
                    <a:pt x="5051" y="329"/>
                  </a:lnTo>
                  <a:lnTo>
                    <a:pt x="5059" y="333"/>
                  </a:lnTo>
                  <a:lnTo>
                    <a:pt x="5061" y="331"/>
                  </a:lnTo>
                  <a:lnTo>
                    <a:pt x="5059" y="331"/>
                  </a:lnTo>
                  <a:lnTo>
                    <a:pt x="5057" y="331"/>
                  </a:lnTo>
                  <a:close/>
                  <a:moveTo>
                    <a:pt x="1281" y="706"/>
                  </a:moveTo>
                  <a:lnTo>
                    <a:pt x="1281" y="708"/>
                  </a:lnTo>
                  <a:lnTo>
                    <a:pt x="1283" y="704"/>
                  </a:lnTo>
                  <a:lnTo>
                    <a:pt x="1283" y="704"/>
                  </a:lnTo>
                  <a:lnTo>
                    <a:pt x="1281" y="704"/>
                  </a:lnTo>
                  <a:lnTo>
                    <a:pt x="1281" y="706"/>
                  </a:lnTo>
                  <a:close/>
                  <a:moveTo>
                    <a:pt x="1156" y="718"/>
                  </a:moveTo>
                  <a:lnTo>
                    <a:pt x="1156" y="718"/>
                  </a:lnTo>
                  <a:lnTo>
                    <a:pt x="1156" y="720"/>
                  </a:lnTo>
                  <a:lnTo>
                    <a:pt x="1156" y="720"/>
                  </a:lnTo>
                  <a:lnTo>
                    <a:pt x="1158" y="720"/>
                  </a:lnTo>
                  <a:lnTo>
                    <a:pt x="1158" y="718"/>
                  </a:lnTo>
                  <a:lnTo>
                    <a:pt x="1158" y="718"/>
                  </a:lnTo>
                  <a:lnTo>
                    <a:pt x="1158" y="718"/>
                  </a:lnTo>
                  <a:lnTo>
                    <a:pt x="1158" y="718"/>
                  </a:lnTo>
                  <a:lnTo>
                    <a:pt x="1156" y="718"/>
                  </a:lnTo>
                  <a:close/>
                  <a:moveTo>
                    <a:pt x="1115" y="728"/>
                  </a:moveTo>
                  <a:lnTo>
                    <a:pt x="1115" y="726"/>
                  </a:lnTo>
                  <a:lnTo>
                    <a:pt x="1113" y="726"/>
                  </a:lnTo>
                  <a:lnTo>
                    <a:pt x="1113" y="728"/>
                  </a:lnTo>
                  <a:lnTo>
                    <a:pt x="1113" y="728"/>
                  </a:lnTo>
                  <a:lnTo>
                    <a:pt x="1115" y="730"/>
                  </a:lnTo>
                  <a:lnTo>
                    <a:pt x="1115" y="730"/>
                  </a:lnTo>
                  <a:lnTo>
                    <a:pt x="1115" y="728"/>
                  </a:lnTo>
                  <a:lnTo>
                    <a:pt x="1115" y="728"/>
                  </a:lnTo>
                  <a:lnTo>
                    <a:pt x="1115" y="728"/>
                  </a:lnTo>
                  <a:lnTo>
                    <a:pt x="1115" y="728"/>
                  </a:lnTo>
                  <a:close/>
                  <a:moveTo>
                    <a:pt x="1066" y="734"/>
                  </a:moveTo>
                  <a:lnTo>
                    <a:pt x="1062" y="736"/>
                  </a:lnTo>
                  <a:lnTo>
                    <a:pt x="1064" y="736"/>
                  </a:lnTo>
                  <a:lnTo>
                    <a:pt x="1066" y="734"/>
                  </a:lnTo>
                  <a:lnTo>
                    <a:pt x="1068" y="732"/>
                  </a:lnTo>
                  <a:lnTo>
                    <a:pt x="1068" y="732"/>
                  </a:lnTo>
                  <a:lnTo>
                    <a:pt x="1066" y="734"/>
                  </a:lnTo>
                  <a:close/>
                  <a:moveTo>
                    <a:pt x="1164" y="722"/>
                  </a:moveTo>
                  <a:lnTo>
                    <a:pt x="1162" y="724"/>
                  </a:lnTo>
                  <a:lnTo>
                    <a:pt x="1162" y="724"/>
                  </a:lnTo>
                  <a:lnTo>
                    <a:pt x="1164" y="722"/>
                  </a:lnTo>
                  <a:lnTo>
                    <a:pt x="1164" y="720"/>
                  </a:lnTo>
                  <a:lnTo>
                    <a:pt x="1164" y="720"/>
                  </a:lnTo>
                  <a:lnTo>
                    <a:pt x="1164" y="722"/>
                  </a:lnTo>
                  <a:close/>
                  <a:moveTo>
                    <a:pt x="1166" y="716"/>
                  </a:moveTo>
                  <a:lnTo>
                    <a:pt x="1166" y="716"/>
                  </a:lnTo>
                  <a:lnTo>
                    <a:pt x="1168" y="716"/>
                  </a:lnTo>
                  <a:lnTo>
                    <a:pt x="1168" y="716"/>
                  </a:lnTo>
                  <a:lnTo>
                    <a:pt x="1168" y="716"/>
                  </a:lnTo>
                  <a:lnTo>
                    <a:pt x="1168" y="716"/>
                  </a:lnTo>
                  <a:lnTo>
                    <a:pt x="1166" y="716"/>
                  </a:lnTo>
                  <a:close/>
                  <a:moveTo>
                    <a:pt x="1174" y="716"/>
                  </a:moveTo>
                  <a:lnTo>
                    <a:pt x="1172" y="716"/>
                  </a:lnTo>
                  <a:lnTo>
                    <a:pt x="1172" y="716"/>
                  </a:lnTo>
                  <a:lnTo>
                    <a:pt x="1174" y="716"/>
                  </a:lnTo>
                  <a:lnTo>
                    <a:pt x="1177" y="716"/>
                  </a:lnTo>
                  <a:lnTo>
                    <a:pt x="1177" y="716"/>
                  </a:lnTo>
                  <a:lnTo>
                    <a:pt x="1174" y="716"/>
                  </a:lnTo>
                  <a:close/>
                  <a:moveTo>
                    <a:pt x="1160" y="726"/>
                  </a:moveTo>
                  <a:lnTo>
                    <a:pt x="1160" y="726"/>
                  </a:lnTo>
                  <a:lnTo>
                    <a:pt x="1162" y="726"/>
                  </a:lnTo>
                  <a:lnTo>
                    <a:pt x="1162" y="724"/>
                  </a:lnTo>
                  <a:lnTo>
                    <a:pt x="1160" y="726"/>
                  </a:lnTo>
                  <a:lnTo>
                    <a:pt x="1160" y="726"/>
                  </a:lnTo>
                  <a:close/>
                  <a:moveTo>
                    <a:pt x="1037" y="751"/>
                  </a:moveTo>
                  <a:lnTo>
                    <a:pt x="1035" y="751"/>
                  </a:lnTo>
                  <a:lnTo>
                    <a:pt x="1033" y="753"/>
                  </a:lnTo>
                  <a:lnTo>
                    <a:pt x="1031" y="753"/>
                  </a:lnTo>
                  <a:lnTo>
                    <a:pt x="1031" y="755"/>
                  </a:lnTo>
                  <a:lnTo>
                    <a:pt x="1031" y="755"/>
                  </a:lnTo>
                  <a:lnTo>
                    <a:pt x="1035" y="753"/>
                  </a:lnTo>
                  <a:lnTo>
                    <a:pt x="1037" y="751"/>
                  </a:lnTo>
                  <a:lnTo>
                    <a:pt x="1037" y="751"/>
                  </a:lnTo>
                  <a:lnTo>
                    <a:pt x="1037" y="751"/>
                  </a:lnTo>
                  <a:lnTo>
                    <a:pt x="1037" y="751"/>
                  </a:lnTo>
                  <a:close/>
                  <a:moveTo>
                    <a:pt x="712" y="646"/>
                  </a:moveTo>
                  <a:lnTo>
                    <a:pt x="710" y="646"/>
                  </a:lnTo>
                  <a:lnTo>
                    <a:pt x="708" y="646"/>
                  </a:lnTo>
                  <a:lnTo>
                    <a:pt x="710" y="646"/>
                  </a:lnTo>
                  <a:lnTo>
                    <a:pt x="708" y="648"/>
                  </a:lnTo>
                  <a:lnTo>
                    <a:pt x="710" y="648"/>
                  </a:lnTo>
                  <a:lnTo>
                    <a:pt x="715" y="646"/>
                  </a:lnTo>
                  <a:lnTo>
                    <a:pt x="715" y="646"/>
                  </a:lnTo>
                  <a:lnTo>
                    <a:pt x="715" y="646"/>
                  </a:lnTo>
                  <a:lnTo>
                    <a:pt x="712" y="646"/>
                  </a:lnTo>
                  <a:close/>
                  <a:moveTo>
                    <a:pt x="723" y="667"/>
                  </a:moveTo>
                  <a:lnTo>
                    <a:pt x="723" y="664"/>
                  </a:lnTo>
                  <a:lnTo>
                    <a:pt x="721" y="664"/>
                  </a:lnTo>
                  <a:lnTo>
                    <a:pt x="723" y="667"/>
                  </a:lnTo>
                  <a:lnTo>
                    <a:pt x="723" y="669"/>
                  </a:lnTo>
                  <a:lnTo>
                    <a:pt x="723" y="669"/>
                  </a:lnTo>
                  <a:lnTo>
                    <a:pt x="725" y="669"/>
                  </a:lnTo>
                  <a:lnTo>
                    <a:pt x="723" y="669"/>
                  </a:lnTo>
                  <a:lnTo>
                    <a:pt x="723" y="667"/>
                  </a:lnTo>
                  <a:close/>
                  <a:moveTo>
                    <a:pt x="708" y="660"/>
                  </a:moveTo>
                  <a:lnTo>
                    <a:pt x="708" y="660"/>
                  </a:lnTo>
                  <a:lnTo>
                    <a:pt x="708" y="660"/>
                  </a:lnTo>
                  <a:lnTo>
                    <a:pt x="710" y="662"/>
                  </a:lnTo>
                  <a:lnTo>
                    <a:pt x="710" y="662"/>
                  </a:lnTo>
                  <a:lnTo>
                    <a:pt x="710" y="660"/>
                  </a:lnTo>
                  <a:lnTo>
                    <a:pt x="710" y="660"/>
                  </a:lnTo>
                  <a:lnTo>
                    <a:pt x="708" y="660"/>
                  </a:lnTo>
                  <a:close/>
                  <a:moveTo>
                    <a:pt x="1020" y="765"/>
                  </a:moveTo>
                  <a:lnTo>
                    <a:pt x="1018" y="769"/>
                  </a:lnTo>
                  <a:lnTo>
                    <a:pt x="1016" y="771"/>
                  </a:lnTo>
                  <a:lnTo>
                    <a:pt x="1018" y="769"/>
                  </a:lnTo>
                  <a:lnTo>
                    <a:pt x="1020" y="765"/>
                  </a:lnTo>
                  <a:lnTo>
                    <a:pt x="1025" y="761"/>
                  </a:lnTo>
                  <a:lnTo>
                    <a:pt x="1023" y="761"/>
                  </a:lnTo>
                  <a:lnTo>
                    <a:pt x="1020" y="765"/>
                  </a:lnTo>
                  <a:close/>
                  <a:moveTo>
                    <a:pt x="727" y="658"/>
                  </a:moveTo>
                  <a:lnTo>
                    <a:pt x="725" y="656"/>
                  </a:lnTo>
                  <a:lnTo>
                    <a:pt x="725" y="656"/>
                  </a:lnTo>
                  <a:lnTo>
                    <a:pt x="725" y="658"/>
                  </a:lnTo>
                  <a:lnTo>
                    <a:pt x="725" y="658"/>
                  </a:lnTo>
                  <a:lnTo>
                    <a:pt x="727" y="658"/>
                  </a:lnTo>
                  <a:lnTo>
                    <a:pt x="727" y="658"/>
                  </a:lnTo>
                  <a:lnTo>
                    <a:pt x="727" y="658"/>
                  </a:lnTo>
                  <a:lnTo>
                    <a:pt x="727" y="660"/>
                  </a:lnTo>
                  <a:lnTo>
                    <a:pt x="727" y="660"/>
                  </a:lnTo>
                  <a:lnTo>
                    <a:pt x="729" y="660"/>
                  </a:lnTo>
                  <a:lnTo>
                    <a:pt x="729" y="658"/>
                  </a:lnTo>
                  <a:lnTo>
                    <a:pt x="727" y="658"/>
                  </a:lnTo>
                  <a:close/>
                  <a:moveTo>
                    <a:pt x="1029" y="755"/>
                  </a:moveTo>
                  <a:lnTo>
                    <a:pt x="1027" y="757"/>
                  </a:lnTo>
                  <a:lnTo>
                    <a:pt x="1027" y="757"/>
                  </a:lnTo>
                  <a:lnTo>
                    <a:pt x="1025" y="759"/>
                  </a:lnTo>
                  <a:lnTo>
                    <a:pt x="1027" y="759"/>
                  </a:lnTo>
                  <a:lnTo>
                    <a:pt x="1029" y="757"/>
                  </a:lnTo>
                  <a:lnTo>
                    <a:pt x="1029" y="755"/>
                  </a:lnTo>
                  <a:lnTo>
                    <a:pt x="1029" y="755"/>
                  </a:lnTo>
                  <a:lnTo>
                    <a:pt x="1029" y="755"/>
                  </a:lnTo>
                  <a:close/>
                  <a:moveTo>
                    <a:pt x="1016" y="773"/>
                  </a:moveTo>
                  <a:lnTo>
                    <a:pt x="1014" y="780"/>
                  </a:lnTo>
                  <a:lnTo>
                    <a:pt x="1014" y="788"/>
                  </a:lnTo>
                  <a:lnTo>
                    <a:pt x="1014" y="792"/>
                  </a:lnTo>
                  <a:lnTo>
                    <a:pt x="1016" y="790"/>
                  </a:lnTo>
                  <a:lnTo>
                    <a:pt x="1016" y="788"/>
                  </a:lnTo>
                  <a:lnTo>
                    <a:pt x="1016" y="780"/>
                  </a:lnTo>
                  <a:lnTo>
                    <a:pt x="1016" y="771"/>
                  </a:lnTo>
                  <a:lnTo>
                    <a:pt x="1016" y="773"/>
                  </a:lnTo>
                  <a:close/>
                  <a:moveTo>
                    <a:pt x="1271" y="815"/>
                  </a:moveTo>
                  <a:lnTo>
                    <a:pt x="1271" y="815"/>
                  </a:lnTo>
                  <a:lnTo>
                    <a:pt x="1271" y="813"/>
                  </a:lnTo>
                  <a:lnTo>
                    <a:pt x="1271" y="813"/>
                  </a:lnTo>
                  <a:lnTo>
                    <a:pt x="1271" y="815"/>
                  </a:lnTo>
                  <a:close/>
                  <a:moveTo>
                    <a:pt x="1376" y="634"/>
                  </a:moveTo>
                  <a:lnTo>
                    <a:pt x="1376" y="634"/>
                  </a:lnTo>
                  <a:lnTo>
                    <a:pt x="1376" y="636"/>
                  </a:lnTo>
                  <a:lnTo>
                    <a:pt x="1378" y="636"/>
                  </a:lnTo>
                  <a:lnTo>
                    <a:pt x="1378" y="636"/>
                  </a:lnTo>
                  <a:lnTo>
                    <a:pt x="1376" y="634"/>
                  </a:lnTo>
                  <a:lnTo>
                    <a:pt x="1376" y="634"/>
                  </a:lnTo>
                  <a:close/>
                  <a:moveTo>
                    <a:pt x="1277" y="806"/>
                  </a:moveTo>
                  <a:lnTo>
                    <a:pt x="1277" y="808"/>
                  </a:lnTo>
                  <a:lnTo>
                    <a:pt x="1275" y="808"/>
                  </a:lnTo>
                  <a:lnTo>
                    <a:pt x="1275" y="808"/>
                  </a:lnTo>
                  <a:lnTo>
                    <a:pt x="1275" y="810"/>
                  </a:lnTo>
                  <a:lnTo>
                    <a:pt x="1273" y="813"/>
                  </a:lnTo>
                  <a:lnTo>
                    <a:pt x="1273" y="813"/>
                  </a:lnTo>
                  <a:lnTo>
                    <a:pt x="1275" y="810"/>
                  </a:lnTo>
                  <a:lnTo>
                    <a:pt x="1279" y="806"/>
                  </a:lnTo>
                  <a:lnTo>
                    <a:pt x="1279" y="806"/>
                  </a:lnTo>
                  <a:lnTo>
                    <a:pt x="1277" y="806"/>
                  </a:lnTo>
                  <a:close/>
                  <a:moveTo>
                    <a:pt x="1380" y="634"/>
                  </a:moveTo>
                  <a:lnTo>
                    <a:pt x="1378" y="636"/>
                  </a:lnTo>
                  <a:lnTo>
                    <a:pt x="1378" y="636"/>
                  </a:lnTo>
                  <a:lnTo>
                    <a:pt x="1382" y="632"/>
                  </a:lnTo>
                  <a:lnTo>
                    <a:pt x="1384" y="630"/>
                  </a:lnTo>
                  <a:lnTo>
                    <a:pt x="1384" y="630"/>
                  </a:lnTo>
                  <a:lnTo>
                    <a:pt x="1380" y="634"/>
                  </a:lnTo>
                  <a:close/>
                  <a:moveTo>
                    <a:pt x="1398" y="613"/>
                  </a:moveTo>
                  <a:lnTo>
                    <a:pt x="1398" y="611"/>
                  </a:lnTo>
                  <a:lnTo>
                    <a:pt x="1396" y="611"/>
                  </a:lnTo>
                  <a:lnTo>
                    <a:pt x="1398" y="613"/>
                  </a:lnTo>
                  <a:lnTo>
                    <a:pt x="1398" y="613"/>
                  </a:lnTo>
                  <a:lnTo>
                    <a:pt x="1398" y="613"/>
                  </a:lnTo>
                  <a:close/>
                  <a:moveTo>
                    <a:pt x="1417" y="572"/>
                  </a:moveTo>
                  <a:lnTo>
                    <a:pt x="1413" y="574"/>
                  </a:lnTo>
                  <a:lnTo>
                    <a:pt x="1415" y="574"/>
                  </a:lnTo>
                  <a:lnTo>
                    <a:pt x="1417" y="572"/>
                  </a:lnTo>
                  <a:lnTo>
                    <a:pt x="1419" y="570"/>
                  </a:lnTo>
                  <a:lnTo>
                    <a:pt x="1421" y="568"/>
                  </a:lnTo>
                  <a:lnTo>
                    <a:pt x="1419" y="568"/>
                  </a:lnTo>
                  <a:lnTo>
                    <a:pt x="1417" y="572"/>
                  </a:lnTo>
                  <a:close/>
                  <a:moveTo>
                    <a:pt x="1398" y="615"/>
                  </a:moveTo>
                  <a:lnTo>
                    <a:pt x="1398" y="617"/>
                  </a:lnTo>
                  <a:lnTo>
                    <a:pt x="1398" y="619"/>
                  </a:lnTo>
                  <a:lnTo>
                    <a:pt x="1396" y="623"/>
                  </a:lnTo>
                  <a:lnTo>
                    <a:pt x="1394" y="625"/>
                  </a:lnTo>
                  <a:lnTo>
                    <a:pt x="1394" y="625"/>
                  </a:lnTo>
                  <a:lnTo>
                    <a:pt x="1396" y="623"/>
                  </a:lnTo>
                  <a:lnTo>
                    <a:pt x="1396" y="623"/>
                  </a:lnTo>
                  <a:lnTo>
                    <a:pt x="1398" y="619"/>
                  </a:lnTo>
                  <a:lnTo>
                    <a:pt x="1398" y="617"/>
                  </a:lnTo>
                  <a:lnTo>
                    <a:pt x="1398" y="615"/>
                  </a:lnTo>
                  <a:lnTo>
                    <a:pt x="1398" y="615"/>
                  </a:lnTo>
                  <a:lnTo>
                    <a:pt x="1398" y="615"/>
                  </a:lnTo>
                  <a:close/>
                  <a:moveTo>
                    <a:pt x="1388" y="625"/>
                  </a:moveTo>
                  <a:lnTo>
                    <a:pt x="1388" y="625"/>
                  </a:lnTo>
                  <a:lnTo>
                    <a:pt x="1392" y="625"/>
                  </a:lnTo>
                  <a:lnTo>
                    <a:pt x="1390" y="625"/>
                  </a:lnTo>
                  <a:lnTo>
                    <a:pt x="1388" y="625"/>
                  </a:lnTo>
                  <a:close/>
                  <a:moveTo>
                    <a:pt x="1224" y="726"/>
                  </a:moveTo>
                  <a:lnTo>
                    <a:pt x="1222" y="726"/>
                  </a:lnTo>
                  <a:lnTo>
                    <a:pt x="1220" y="726"/>
                  </a:lnTo>
                  <a:lnTo>
                    <a:pt x="1220" y="726"/>
                  </a:lnTo>
                  <a:lnTo>
                    <a:pt x="1222" y="728"/>
                  </a:lnTo>
                  <a:lnTo>
                    <a:pt x="1224" y="726"/>
                  </a:lnTo>
                  <a:lnTo>
                    <a:pt x="1226" y="726"/>
                  </a:lnTo>
                  <a:lnTo>
                    <a:pt x="1224" y="726"/>
                  </a:lnTo>
                  <a:lnTo>
                    <a:pt x="1224" y="726"/>
                  </a:lnTo>
                  <a:close/>
                  <a:moveTo>
                    <a:pt x="1252" y="786"/>
                  </a:moveTo>
                  <a:lnTo>
                    <a:pt x="1252" y="784"/>
                  </a:lnTo>
                  <a:lnTo>
                    <a:pt x="1252" y="786"/>
                  </a:lnTo>
                  <a:lnTo>
                    <a:pt x="1252" y="786"/>
                  </a:lnTo>
                  <a:lnTo>
                    <a:pt x="1255" y="786"/>
                  </a:lnTo>
                  <a:lnTo>
                    <a:pt x="1255" y="786"/>
                  </a:lnTo>
                  <a:lnTo>
                    <a:pt x="1252" y="786"/>
                  </a:lnTo>
                  <a:lnTo>
                    <a:pt x="1252" y="786"/>
                  </a:lnTo>
                  <a:close/>
                  <a:moveTo>
                    <a:pt x="1255" y="784"/>
                  </a:moveTo>
                  <a:lnTo>
                    <a:pt x="1255" y="782"/>
                  </a:lnTo>
                  <a:lnTo>
                    <a:pt x="1252" y="782"/>
                  </a:lnTo>
                  <a:lnTo>
                    <a:pt x="1252" y="784"/>
                  </a:lnTo>
                  <a:lnTo>
                    <a:pt x="1255" y="784"/>
                  </a:lnTo>
                  <a:lnTo>
                    <a:pt x="1255" y="784"/>
                  </a:lnTo>
                  <a:close/>
                  <a:moveTo>
                    <a:pt x="1252" y="821"/>
                  </a:moveTo>
                  <a:lnTo>
                    <a:pt x="1252" y="821"/>
                  </a:lnTo>
                  <a:lnTo>
                    <a:pt x="1252" y="821"/>
                  </a:lnTo>
                  <a:lnTo>
                    <a:pt x="1252" y="821"/>
                  </a:lnTo>
                  <a:lnTo>
                    <a:pt x="1252" y="821"/>
                  </a:lnTo>
                  <a:lnTo>
                    <a:pt x="1252" y="821"/>
                  </a:lnTo>
                  <a:lnTo>
                    <a:pt x="1252" y="821"/>
                  </a:lnTo>
                  <a:close/>
                  <a:moveTo>
                    <a:pt x="1257" y="819"/>
                  </a:moveTo>
                  <a:lnTo>
                    <a:pt x="1255" y="819"/>
                  </a:lnTo>
                  <a:lnTo>
                    <a:pt x="1257" y="819"/>
                  </a:lnTo>
                  <a:lnTo>
                    <a:pt x="1257" y="819"/>
                  </a:lnTo>
                  <a:lnTo>
                    <a:pt x="1257" y="819"/>
                  </a:lnTo>
                  <a:lnTo>
                    <a:pt x="1257" y="819"/>
                  </a:lnTo>
                  <a:lnTo>
                    <a:pt x="1257" y="819"/>
                  </a:lnTo>
                  <a:close/>
                  <a:moveTo>
                    <a:pt x="1263" y="817"/>
                  </a:moveTo>
                  <a:lnTo>
                    <a:pt x="1263" y="819"/>
                  </a:lnTo>
                  <a:lnTo>
                    <a:pt x="1265" y="817"/>
                  </a:lnTo>
                  <a:lnTo>
                    <a:pt x="1265" y="817"/>
                  </a:lnTo>
                  <a:lnTo>
                    <a:pt x="1267" y="817"/>
                  </a:lnTo>
                  <a:lnTo>
                    <a:pt x="1263" y="817"/>
                  </a:lnTo>
                  <a:lnTo>
                    <a:pt x="1263" y="817"/>
                  </a:lnTo>
                  <a:close/>
                  <a:moveTo>
                    <a:pt x="1267" y="815"/>
                  </a:moveTo>
                  <a:lnTo>
                    <a:pt x="1267" y="817"/>
                  </a:lnTo>
                  <a:lnTo>
                    <a:pt x="1269" y="817"/>
                  </a:lnTo>
                  <a:lnTo>
                    <a:pt x="1269" y="815"/>
                  </a:lnTo>
                  <a:lnTo>
                    <a:pt x="1269" y="815"/>
                  </a:lnTo>
                  <a:lnTo>
                    <a:pt x="1269" y="815"/>
                  </a:lnTo>
                  <a:lnTo>
                    <a:pt x="1267" y="815"/>
                  </a:lnTo>
                  <a:close/>
                  <a:moveTo>
                    <a:pt x="1259" y="817"/>
                  </a:moveTo>
                  <a:lnTo>
                    <a:pt x="1259" y="819"/>
                  </a:lnTo>
                  <a:lnTo>
                    <a:pt x="1259" y="819"/>
                  </a:lnTo>
                  <a:lnTo>
                    <a:pt x="1259" y="819"/>
                  </a:lnTo>
                  <a:lnTo>
                    <a:pt x="1259" y="819"/>
                  </a:lnTo>
                  <a:lnTo>
                    <a:pt x="1261" y="819"/>
                  </a:lnTo>
                  <a:lnTo>
                    <a:pt x="1261" y="819"/>
                  </a:lnTo>
                  <a:lnTo>
                    <a:pt x="1259" y="817"/>
                  </a:lnTo>
                  <a:lnTo>
                    <a:pt x="1259" y="817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8" name="Freeform 21">
              <a:extLst>
                <a:ext uri="{FF2B5EF4-FFF2-40B4-BE49-F238E27FC236}">
                  <a16:creationId xmlns:a16="http://schemas.microsoft.com/office/drawing/2014/main" id="{B9CE4E9B-C18C-C54A-927B-43BB5C2D7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8377" y="3133314"/>
              <a:ext cx="7130" cy="14261"/>
            </a:xfrm>
            <a:custGeom>
              <a:avLst/>
              <a:gdLst>
                <a:gd name="T0" fmla="*/ 4 w 6"/>
                <a:gd name="T1" fmla="*/ 12 h 12"/>
                <a:gd name="T2" fmla="*/ 2 w 6"/>
                <a:gd name="T3" fmla="*/ 10 h 12"/>
                <a:gd name="T4" fmla="*/ 2 w 6"/>
                <a:gd name="T5" fmla="*/ 10 h 12"/>
                <a:gd name="T6" fmla="*/ 0 w 6"/>
                <a:gd name="T7" fmla="*/ 12 h 12"/>
                <a:gd name="T8" fmla="*/ 4 w 6"/>
                <a:gd name="T9" fmla="*/ 12 h 12"/>
                <a:gd name="T10" fmla="*/ 6 w 6"/>
                <a:gd name="T11" fmla="*/ 12 h 12"/>
                <a:gd name="T12" fmla="*/ 4 w 6"/>
                <a:gd name="T13" fmla="*/ 12 h 12"/>
                <a:gd name="T14" fmla="*/ 4 w 6"/>
                <a:gd name="T15" fmla="*/ 0 h 12"/>
                <a:gd name="T16" fmla="*/ 6 w 6"/>
                <a:gd name="T17" fmla="*/ 0 h 12"/>
                <a:gd name="T18" fmla="*/ 4 w 6"/>
                <a:gd name="T19" fmla="*/ 0 h 12"/>
                <a:gd name="T20" fmla="*/ 4 w 6"/>
                <a:gd name="T21" fmla="*/ 0 h 12"/>
                <a:gd name="T22" fmla="*/ 4 w 6"/>
                <a:gd name="T23" fmla="*/ 0 h 12"/>
                <a:gd name="T24" fmla="*/ 4 w 6"/>
                <a:gd name="T25" fmla="*/ 0 h 12"/>
                <a:gd name="T26" fmla="*/ 2 w 6"/>
                <a:gd name="T27" fmla="*/ 0 h 12"/>
                <a:gd name="T28" fmla="*/ 2 w 6"/>
                <a:gd name="T29" fmla="*/ 0 h 12"/>
                <a:gd name="T30" fmla="*/ 2 w 6"/>
                <a:gd name="T31" fmla="*/ 0 h 12"/>
                <a:gd name="T32" fmla="*/ 0 w 6"/>
                <a:gd name="T33" fmla="*/ 0 h 12"/>
                <a:gd name="T34" fmla="*/ 2 w 6"/>
                <a:gd name="T35" fmla="*/ 0 h 12"/>
                <a:gd name="T36" fmla="*/ 2 w 6"/>
                <a:gd name="T3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" h="12">
                  <a:moveTo>
                    <a:pt x="4" y="12"/>
                  </a:moveTo>
                  <a:lnTo>
                    <a:pt x="2" y="10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4" y="12"/>
                  </a:lnTo>
                  <a:close/>
                  <a:moveTo>
                    <a:pt x="4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9" name="Freeform 22">
              <a:extLst>
                <a:ext uri="{FF2B5EF4-FFF2-40B4-BE49-F238E27FC236}">
                  <a16:creationId xmlns:a16="http://schemas.microsoft.com/office/drawing/2014/main" id="{EC8531E6-A5B1-7A40-A629-093021A8B1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8843" y="3054881"/>
              <a:ext cx="11884" cy="4754"/>
            </a:xfrm>
            <a:custGeom>
              <a:avLst/>
              <a:gdLst>
                <a:gd name="T0" fmla="*/ 2 w 10"/>
                <a:gd name="T1" fmla="*/ 2 h 4"/>
                <a:gd name="T2" fmla="*/ 0 w 10"/>
                <a:gd name="T3" fmla="*/ 2 h 4"/>
                <a:gd name="T4" fmla="*/ 0 w 10"/>
                <a:gd name="T5" fmla="*/ 2 h 4"/>
                <a:gd name="T6" fmla="*/ 0 w 10"/>
                <a:gd name="T7" fmla="*/ 4 h 4"/>
                <a:gd name="T8" fmla="*/ 0 w 10"/>
                <a:gd name="T9" fmla="*/ 4 h 4"/>
                <a:gd name="T10" fmla="*/ 2 w 10"/>
                <a:gd name="T11" fmla="*/ 4 h 4"/>
                <a:gd name="T12" fmla="*/ 2 w 10"/>
                <a:gd name="T13" fmla="*/ 4 h 4"/>
                <a:gd name="T14" fmla="*/ 2 w 10"/>
                <a:gd name="T15" fmla="*/ 2 h 4"/>
                <a:gd name="T16" fmla="*/ 2 w 10"/>
                <a:gd name="T17" fmla="*/ 2 h 4"/>
                <a:gd name="T18" fmla="*/ 2 w 10"/>
                <a:gd name="T19" fmla="*/ 2 h 4"/>
                <a:gd name="T20" fmla="*/ 10 w 10"/>
                <a:gd name="T21" fmla="*/ 2 h 4"/>
                <a:gd name="T22" fmla="*/ 8 w 10"/>
                <a:gd name="T23" fmla="*/ 2 h 4"/>
                <a:gd name="T24" fmla="*/ 8 w 10"/>
                <a:gd name="T25" fmla="*/ 2 h 4"/>
                <a:gd name="T26" fmla="*/ 8 w 10"/>
                <a:gd name="T27" fmla="*/ 2 h 4"/>
                <a:gd name="T28" fmla="*/ 10 w 10"/>
                <a:gd name="T29" fmla="*/ 2 h 4"/>
                <a:gd name="T30" fmla="*/ 10 w 10"/>
                <a:gd name="T31" fmla="*/ 4 h 4"/>
                <a:gd name="T32" fmla="*/ 10 w 10"/>
                <a:gd name="T33" fmla="*/ 4 h 4"/>
                <a:gd name="T34" fmla="*/ 10 w 10"/>
                <a:gd name="T35" fmla="*/ 4 h 4"/>
                <a:gd name="T36" fmla="*/ 10 w 10"/>
                <a:gd name="T37" fmla="*/ 2 h 4"/>
                <a:gd name="T38" fmla="*/ 6 w 10"/>
                <a:gd name="T39" fmla="*/ 0 h 4"/>
                <a:gd name="T40" fmla="*/ 6 w 10"/>
                <a:gd name="T41" fmla="*/ 0 h 4"/>
                <a:gd name="T42" fmla="*/ 6 w 10"/>
                <a:gd name="T43" fmla="*/ 0 h 4"/>
                <a:gd name="T44" fmla="*/ 6 w 10"/>
                <a:gd name="T45" fmla="*/ 2 h 4"/>
                <a:gd name="T46" fmla="*/ 6 w 10"/>
                <a:gd name="T47" fmla="*/ 2 h 4"/>
                <a:gd name="T48" fmla="*/ 6 w 10"/>
                <a:gd name="T49" fmla="*/ 2 h 4"/>
                <a:gd name="T50" fmla="*/ 6 w 10"/>
                <a:gd name="T51" fmla="*/ 2 h 4"/>
                <a:gd name="T52" fmla="*/ 8 w 10"/>
                <a:gd name="T53" fmla="*/ 2 h 4"/>
                <a:gd name="T54" fmla="*/ 6 w 10"/>
                <a:gd name="T55" fmla="*/ 2 h 4"/>
                <a:gd name="T56" fmla="*/ 6 w 10"/>
                <a:gd name="T5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" h="4">
                  <a:moveTo>
                    <a:pt x="2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0" y="2"/>
                  </a:move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2"/>
                  </a:lnTo>
                  <a:close/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0" name="Freeform 26">
              <a:extLst>
                <a:ext uri="{FF2B5EF4-FFF2-40B4-BE49-F238E27FC236}">
                  <a16:creationId xmlns:a16="http://schemas.microsoft.com/office/drawing/2014/main" id="{2C7E6177-BCDF-DF4B-A77A-3152D18E8F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32347" y="3286616"/>
              <a:ext cx="29710" cy="27333"/>
            </a:xfrm>
            <a:custGeom>
              <a:avLst/>
              <a:gdLst>
                <a:gd name="T0" fmla="*/ 16 w 25"/>
                <a:gd name="T1" fmla="*/ 9 h 23"/>
                <a:gd name="T2" fmla="*/ 14 w 25"/>
                <a:gd name="T3" fmla="*/ 9 h 23"/>
                <a:gd name="T4" fmla="*/ 12 w 25"/>
                <a:gd name="T5" fmla="*/ 11 h 23"/>
                <a:gd name="T6" fmla="*/ 10 w 25"/>
                <a:gd name="T7" fmla="*/ 11 h 23"/>
                <a:gd name="T8" fmla="*/ 8 w 25"/>
                <a:gd name="T9" fmla="*/ 11 h 23"/>
                <a:gd name="T10" fmla="*/ 6 w 25"/>
                <a:gd name="T11" fmla="*/ 11 h 23"/>
                <a:gd name="T12" fmla="*/ 6 w 25"/>
                <a:gd name="T13" fmla="*/ 11 h 23"/>
                <a:gd name="T14" fmla="*/ 6 w 25"/>
                <a:gd name="T15" fmla="*/ 13 h 23"/>
                <a:gd name="T16" fmla="*/ 6 w 25"/>
                <a:gd name="T17" fmla="*/ 13 h 23"/>
                <a:gd name="T18" fmla="*/ 8 w 25"/>
                <a:gd name="T19" fmla="*/ 13 h 23"/>
                <a:gd name="T20" fmla="*/ 8 w 25"/>
                <a:gd name="T21" fmla="*/ 13 h 23"/>
                <a:gd name="T22" fmla="*/ 8 w 25"/>
                <a:gd name="T23" fmla="*/ 15 h 23"/>
                <a:gd name="T24" fmla="*/ 8 w 25"/>
                <a:gd name="T25" fmla="*/ 19 h 23"/>
                <a:gd name="T26" fmla="*/ 6 w 25"/>
                <a:gd name="T27" fmla="*/ 19 h 23"/>
                <a:gd name="T28" fmla="*/ 4 w 25"/>
                <a:gd name="T29" fmla="*/ 21 h 23"/>
                <a:gd name="T30" fmla="*/ 4 w 25"/>
                <a:gd name="T31" fmla="*/ 21 h 23"/>
                <a:gd name="T32" fmla="*/ 0 w 25"/>
                <a:gd name="T33" fmla="*/ 23 h 23"/>
                <a:gd name="T34" fmla="*/ 2 w 25"/>
                <a:gd name="T35" fmla="*/ 23 h 23"/>
                <a:gd name="T36" fmla="*/ 6 w 25"/>
                <a:gd name="T37" fmla="*/ 23 h 23"/>
                <a:gd name="T38" fmla="*/ 12 w 25"/>
                <a:gd name="T39" fmla="*/ 23 h 23"/>
                <a:gd name="T40" fmla="*/ 14 w 25"/>
                <a:gd name="T41" fmla="*/ 23 h 23"/>
                <a:gd name="T42" fmla="*/ 14 w 25"/>
                <a:gd name="T43" fmla="*/ 21 h 23"/>
                <a:gd name="T44" fmla="*/ 14 w 25"/>
                <a:gd name="T45" fmla="*/ 19 h 23"/>
                <a:gd name="T46" fmla="*/ 16 w 25"/>
                <a:gd name="T47" fmla="*/ 19 h 23"/>
                <a:gd name="T48" fmla="*/ 14 w 25"/>
                <a:gd name="T49" fmla="*/ 17 h 23"/>
                <a:gd name="T50" fmla="*/ 14 w 25"/>
                <a:gd name="T51" fmla="*/ 15 h 23"/>
                <a:gd name="T52" fmla="*/ 14 w 25"/>
                <a:gd name="T53" fmla="*/ 15 h 23"/>
                <a:gd name="T54" fmla="*/ 14 w 25"/>
                <a:gd name="T55" fmla="*/ 13 h 23"/>
                <a:gd name="T56" fmla="*/ 16 w 25"/>
                <a:gd name="T57" fmla="*/ 11 h 23"/>
                <a:gd name="T58" fmla="*/ 16 w 25"/>
                <a:gd name="T59" fmla="*/ 9 h 23"/>
                <a:gd name="T60" fmla="*/ 22 w 25"/>
                <a:gd name="T61" fmla="*/ 0 h 23"/>
                <a:gd name="T62" fmla="*/ 20 w 25"/>
                <a:gd name="T63" fmla="*/ 0 h 23"/>
                <a:gd name="T64" fmla="*/ 18 w 25"/>
                <a:gd name="T65" fmla="*/ 2 h 23"/>
                <a:gd name="T66" fmla="*/ 18 w 25"/>
                <a:gd name="T67" fmla="*/ 2 h 23"/>
                <a:gd name="T68" fmla="*/ 20 w 25"/>
                <a:gd name="T69" fmla="*/ 2 h 23"/>
                <a:gd name="T70" fmla="*/ 25 w 25"/>
                <a:gd name="T71" fmla="*/ 0 h 23"/>
                <a:gd name="T72" fmla="*/ 25 w 25"/>
                <a:gd name="T73" fmla="*/ 0 h 23"/>
                <a:gd name="T74" fmla="*/ 22 w 25"/>
                <a:gd name="T7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" h="23">
                  <a:moveTo>
                    <a:pt x="16" y="9"/>
                  </a:moveTo>
                  <a:lnTo>
                    <a:pt x="14" y="9"/>
                  </a:lnTo>
                  <a:lnTo>
                    <a:pt x="12" y="11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6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0" y="23"/>
                  </a:lnTo>
                  <a:lnTo>
                    <a:pt x="2" y="23"/>
                  </a:lnTo>
                  <a:lnTo>
                    <a:pt x="6" y="23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4" y="19"/>
                  </a:lnTo>
                  <a:lnTo>
                    <a:pt x="16" y="19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3"/>
                  </a:lnTo>
                  <a:lnTo>
                    <a:pt x="16" y="11"/>
                  </a:lnTo>
                  <a:lnTo>
                    <a:pt x="16" y="9"/>
                  </a:lnTo>
                  <a:close/>
                  <a:moveTo>
                    <a:pt x="22" y="0"/>
                  </a:moveTo>
                  <a:lnTo>
                    <a:pt x="20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1" name="Freeform 37">
              <a:extLst>
                <a:ext uri="{FF2B5EF4-FFF2-40B4-BE49-F238E27FC236}">
                  <a16:creationId xmlns:a16="http://schemas.microsoft.com/office/drawing/2014/main" id="{74D821BB-4E9D-B240-87BA-1EFD1650B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085" y="3404267"/>
              <a:ext cx="80810" cy="90317"/>
            </a:xfrm>
            <a:custGeom>
              <a:avLst/>
              <a:gdLst>
                <a:gd name="T0" fmla="*/ 66 w 68"/>
                <a:gd name="T1" fmla="*/ 8 h 76"/>
                <a:gd name="T2" fmla="*/ 66 w 68"/>
                <a:gd name="T3" fmla="*/ 2 h 76"/>
                <a:gd name="T4" fmla="*/ 54 w 68"/>
                <a:gd name="T5" fmla="*/ 0 h 76"/>
                <a:gd name="T6" fmla="*/ 41 w 68"/>
                <a:gd name="T7" fmla="*/ 0 h 76"/>
                <a:gd name="T8" fmla="*/ 37 w 68"/>
                <a:gd name="T9" fmla="*/ 2 h 76"/>
                <a:gd name="T10" fmla="*/ 31 w 68"/>
                <a:gd name="T11" fmla="*/ 0 h 76"/>
                <a:gd name="T12" fmla="*/ 19 w 68"/>
                <a:gd name="T13" fmla="*/ 0 h 76"/>
                <a:gd name="T14" fmla="*/ 17 w 68"/>
                <a:gd name="T15" fmla="*/ 6 h 76"/>
                <a:gd name="T16" fmla="*/ 15 w 68"/>
                <a:gd name="T17" fmla="*/ 8 h 76"/>
                <a:gd name="T18" fmla="*/ 15 w 68"/>
                <a:gd name="T19" fmla="*/ 10 h 76"/>
                <a:gd name="T20" fmla="*/ 15 w 68"/>
                <a:gd name="T21" fmla="*/ 12 h 76"/>
                <a:gd name="T22" fmla="*/ 15 w 68"/>
                <a:gd name="T23" fmla="*/ 14 h 76"/>
                <a:gd name="T24" fmla="*/ 15 w 68"/>
                <a:gd name="T25" fmla="*/ 17 h 76"/>
                <a:gd name="T26" fmla="*/ 11 w 68"/>
                <a:gd name="T27" fmla="*/ 17 h 76"/>
                <a:gd name="T28" fmla="*/ 7 w 68"/>
                <a:gd name="T29" fmla="*/ 19 h 76"/>
                <a:gd name="T30" fmla="*/ 5 w 68"/>
                <a:gd name="T31" fmla="*/ 19 h 76"/>
                <a:gd name="T32" fmla="*/ 5 w 68"/>
                <a:gd name="T33" fmla="*/ 23 h 76"/>
                <a:gd name="T34" fmla="*/ 5 w 68"/>
                <a:gd name="T35" fmla="*/ 27 h 76"/>
                <a:gd name="T36" fmla="*/ 2 w 68"/>
                <a:gd name="T37" fmla="*/ 31 h 76"/>
                <a:gd name="T38" fmla="*/ 2 w 68"/>
                <a:gd name="T39" fmla="*/ 35 h 76"/>
                <a:gd name="T40" fmla="*/ 5 w 68"/>
                <a:gd name="T41" fmla="*/ 41 h 76"/>
                <a:gd name="T42" fmla="*/ 7 w 68"/>
                <a:gd name="T43" fmla="*/ 45 h 76"/>
                <a:gd name="T44" fmla="*/ 9 w 68"/>
                <a:gd name="T45" fmla="*/ 47 h 76"/>
                <a:gd name="T46" fmla="*/ 11 w 68"/>
                <a:gd name="T47" fmla="*/ 47 h 76"/>
                <a:gd name="T48" fmla="*/ 13 w 68"/>
                <a:gd name="T49" fmla="*/ 49 h 76"/>
                <a:gd name="T50" fmla="*/ 15 w 68"/>
                <a:gd name="T51" fmla="*/ 51 h 76"/>
                <a:gd name="T52" fmla="*/ 15 w 68"/>
                <a:gd name="T53" fmla="*/ 56 h 76"/>
                <a:gd name="T54" fmla="*/ 15 w 68"/>
                <a:gd name="T55" fmla="*/ 58 h 76"/>
                <a:gd name="T56" fmla="*/ 17 w 68"/>
                <a:gd name="T57" fmla="*/ 58 h 76"/>
                <a:gd name="T58" fmla="*/ 17 w 68"/>
                <a:gd name="T59" fmla="*/ 60 h 76"/>
                <a:gd name="T60" fmla="*/ 19 w 68"/>
                <a:gd name="T61" fmla="*/ 64 h 76"/>
                <a:gd name="T62" fmla="*/ 19 w 68"/>
                <a:gd name="T63" fmla="*/ 66 h 76"/>
                <a:gd name="T64" fmla="*/ 21 w 68"/>
                <a:gd name="T65" fmla="*/ 70 h 76"/>
                <a:gd name="T66" fmla="*/ 25 w 68"/>
                <a:gd name="T67" fmla="*/ 72 h 76"/>
                <a:gd name="T68" fmla="*/ 27 w 68"/>
                <a:gd name="T69" fmla="*/ 74 h 76"/>
                <a:gd name="T70" fmla="*/ 33 w 68"/>
                <a:gd name="T71" fmla="*/ 76 h 76"/>
                <a:gd name="T72" fmla="*/ 35 w 68"/>
                <a:gd name="T73" fmla="*/ 72 h 76"/>
                <a:gd name="T74" fmla="*/ 33 w 68"/>
                <a:gd name="T75" fmla="*/ 70 h 76"/>
                <a:gd name="T76" fmla="*/ 31 w 68"/>
                <a:gd name="T77" fmla="*/ 66 h 76"/>
                <a:gd name="T78" fmla="*/ 33 w 68"/>
                <a:gd name="T79" fmla="*/ 66 h 76"/>
                <a:gd name="T80" fmla="*/ 35 w 68"/>
                <a:gd name="T81" fmla="*/ 64 h 76"/>
                <a:gd name="T82" fmla="*/ 37 w 68"/>
                <a:gd name="T83" fmla="*/ 66 h 76"/>
                <a:gd name="T84" fmla="*/ 46 w 68"/>
                <a:gd name="T85" fmla="*/ 64 h 76"/>
                <a:gd name="T86" fmla="*/ 48 w 68"/>
                <a:gd name="T87" fmla="*/ 62 h 76"/>
                <a:gd name="T88" fmla="*/ 50 w 68"/>
                <a:gd name="T89" fmla="*/ 62 h 76"/>
                <a:gd name="T90" fmla="*/ 52 w 68"/>
                <a:gd name="T91" fmla="*/ 64 h 76"/>
                <a:gd name="T92" fmla="*/ 54 w 68"/>
                <a:gd name="T93" fmla="*/ 64 h 76"/>
                <a:gd name="T94" fmla="*/ 56 w 68"/>
                <a:gd name="T95" fmla="*/ 66 h 76"/>
                <a:gd name="T96" fmla="*/ 56 w 68"/>
                <a:gd name="T97" fmla="*/ 66 h 76"/>
                <a:gd name="T98" fmla="*/ 58 w 68"/>
                <a:gd name="T99" fmla="*/ 64 h 76"/>
                <a:gd name="T100" fmla="*/ 64 w 68"/>
                <a:gd name="T101" fmla="*/ 58 h 76"/>
                <a:gd name="T102" fmla="*/ 64 w 68"/>
                <a:gd name="T103" fmla="*/ 51 h 76"/>
                <a:gd name="T104" fmla="*/ 66 w 68"/>
                <a:gd name="T105" fmla="*/ 45 h 76"/>
                <a:gd name="T106" fmla="*/ 66 w 68"/>
                <a:gd name="T107" fmla="*/ 43 h 76"/>
                <a:gd name="T108" fmla="*/ 64 w 68"/>
                <a:gd name="T109" fmla="*/ 39 h 76"/>
                <a:gd name="T110" fmla="*/ 62 w 68"/>
                <a:gd name="T111" fmla="*/ 35 h 76"/>
                <a:gd name="T112" fmla="*/ 60 w 68"/>
                <a:gd name="T113" fmla="*/ 33 h 76"/>
                <a:gd name="T114" fmla="*/ 60 w 68"/>
                <a:gd name="T115" fmla="*/ 27 h 76"/>
                <a:gd name="T116" fmla="*/ 60 w 68"/>
                <a:gd name="T117" fmla="*/ 23 h 76"/>
                <a:gd name="T118" fmla="*/ 60 w 68"/>
                <a:gd name="T119" fmla="*/ 19 h 76"/>
                <a:gd name="T120" fmla="*/ 62 w 68"/>
                <a:gd name="T121" fmla="*/ 1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8" h="76">
                  <a:moveTo>
                    <a:pt x="64" y="12"/>
                  </a:moveTo>
                  <a:lnTo>
                    <a:pt x="66" y="10"/>
                  </a:lnTo>
                  <a:lnTo>
                    <a:pt x="66" y="8"/>
                  </a:lnTo>
                  <a:lnTo>
                    <a:pt x="66" y="6"/>
                  </a:lnTo>
                  <a:lnTo>
                    <a:pt x="68" y="4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2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2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7" y="2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1" y="17"/>
                  </a:lnTo>
                  <a:lnTo>
                    <a:pt x="9" y="17"/>
                  </a:lnTo>
                  <a:lnTo>
                    <a:pt x="7" y="17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0" y="33"/>
                  </a:lnTo>
                  <a:lnTo>
                    <a:pt x="2" y="35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1"/>
                  </a:lnTo>
                  <a:lnTo>
                    <a:pt x="7" y="43"/>
                  </a:lnTo>
                  <a:lnTo>
                    <a:pt x="9" y="45"/>
                  </a:lnTo>
                  <a:lnTo>
                    <a:pt x="7" y="45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9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2"/>
                  </a:lnTo>
                  <a:lnTo>
                    <a:pt x="19" y="62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70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9" y="74"/>
                  </a:lnTo>
                  <a:lnTo>
                    <a:pt x="33" y="76"/>
                  </a:lnTo>
                  <a:lnTo>
                    <a:pt x="35" y="74"/>
                  </a:lnTo>
                  <a:lnTo>
                    <a:pt x="35" y="74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0"/>
                  </a:lnTo>
                  <a:lnTo>
                    <a:pt x="33" y="70"/>
                  </a:lnTo>
                  <a:lnTo>
                    <a:pt x="33" y="68"/>
                  </a:lnTo>
                  <a:lnTo>
                    <a:pt x="31" y="68"/>
                  </a:lnTo>
                  <a:lnTo>
                    <a:pt x="31" y="66"/>
                  </a:lnTo>
                  <a:lnTo>
                    <a:pt x="33" y="66"/>
                  </a:lnTo>
                  <a:lnTo>
                    <a:pt x="33" y="66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7" y="66"/>
                  </a:lnTo>
                  <a:lnTo>
                    <a:pt x="39" y="64"/>
                  </a:lnTo>
                  <a:lnTo>
                    <a:pt x="44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2" y="62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60" y="64"/>
                  </a:lnTo>
                  <a:lnTo>
                    <a:pt x="62" y="60"/>
                  </a:lnTo>
                  <a:lnTo>
                    <a:pt x="64" y="58"/>
                  </a:lnTo>
                  <a:lnTo>
                    <a:pt x="64" y="56"/>
                  </a:lnTo>
                  <a:lnTo>
                    <a:pt x="64" y="54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6" y="47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1"/>
                  </a:lnTo>
                  <a:lnTo>
                    <a:pt x="64" y="39"/>
                  </a:lnTo>
                  <a:lnTo>
                    <a:pt x="64" y="39"/>
                  </a:lnTo>
                  <a:lnTo>
                    <a:pt x="62" y="37"/>
                  </a:lnTo>
                  <a:lnTo>
                    <a:pt x="62" y="35"/>
                  </a:lnTo>
                  <a:lnTo>
                    <a:pt x="62" y="33"/>
                  </a:lnTo>
                  <a:lnTo>
                    <a:pt x="62" y="33"/>
                  </a:lnTo>
                  <a:lnTo>
                    <a:pt x="60" y="33"/>
                  </a:lnTo>
                  <a:lnTo>
                    <a:pt x="60" y="31"/>
                  </a:lnTo>
                  <a:lnTo>
                    <a:pt x="60" y="29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7"/>
                  </a:lnTo>
                  <a:lnTo>
                    <a:pt x="62" y="14"/>
                  </a:lnTo>
                  <a:lnTo>
                    <a:pt x="64" y="1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2" name="Freeform 40">
              <a:extLst>
                <a:ext uri="{FF2B5EF4-FFF2-40B4-BE49-F238E27FC236}">
                  <a16:creationId xmlns:a16="http://schemas.microsoft.com/office/drawing/2014/main" id="{795D120D-0664-C64A-9C1B-03441355F4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6608" y="3242646"/>
              <a:ext cx="4754" cy="15449"/>
            </a:xfrm>
            <a:custGeom>
              <a:avLst/>
              <a:gdLst>
                <a:gd name="T0" fmla="*/ 0 w 4"/>
                <a:gd name="T1" fmla="*/ 11 h 13"/>
                <a:gd name="T2" fmla="*/ 0 w 4"/>
                <a:gd name="T3" fmla="*/ 11 h 13"/>
                <a:gd name="T4" fmla="*/ 0 w 4"/>
                <a:gd name="T5" fmla="*/ 11 h 13"/>
                <a:gd name="T6" fmla="*/ 0 w 4"/>
                <a:gd name="T7" fmla="*/ 11 h 13"/>
                <a:gd name="T8" fmla="*/ 0 w 4"/>
                <a:gd name="T9" fmla="*/ 13 h 13"/>
                <a:gd name="T10" fmla="*/ 0 w 4"/>
                <a:gd name="T11" fmla="*/ 13 h 13"/>
                <a:gd name="T12" fmla="*/ 0 w 4"/>
                <a:gd name="T13" fmla="*/ 13 h 13"/>
                <a:gd name="T14" fmla="*/ 0 w 4"/>
                <a:gd name="T15" fmla="*/ 13 h 13"/>
                <a:gd name="T16" fmla="*/ 0 w 4"/>
                <a:gd name="T17" fmla="*/ 13 h 13"/>
                <a:gd name="T18" fmla="*/ 0 w 4"/>
                <a:gd name="T19" fmla="*/ 13 h 13"/>
                <a:gd name="T20" fmla="*/ 0 w 4"/>
                <a:gd name="T21" fmla="*/ 13 h 13"/>
                <a:gd name="T22" fmla="*/ 0 w 4"/>
                <a:gd name="T23" fmla="*/ 13 h 13"/>
                <a:gd name="T24" fmla="*/ 0 w 4"/>
                <a:gd name="T25" fmla="*/ 13 h 13"/>
                <a:gd name="T26" fmla="*/ 0 w 4"/>
                <a:gd name="T27" fmla="*/ 11 h 13"/>
                <a:gd name="T28" fmla="*/ 0 w 4"/>
                <a:gd name="T29" fmla="*/ 11 h 13"/>
                <a:gd name="T30" fmla="*/ 0 w 4"/>
                <a:gd name="T31" fmla="*/ 11 h 13"/>
                <a:gd name="T32" fmla="*/ 2 w 4"/>
                <a:gd name="T33" fmla="*/ 7 h 13"/>
                <a:gd name="T34" fmla="*/ 2 w 4"/>
                <a:gd name="T35" fmla="*/ 7 h 13"/>
                <a:gd name="T36" fmla="*/ 2 w 4"/>
                <a:gd name="T37" fmla="*/ 4 h 13"/>
                <a:gd name="T38" fmla="*/ 2 w 4"/>
                <a:gd name="T39" fmla="*/ 7 h 13"/>
                <a:gd name="T40" fmla="*/ 2 w 4"/>
                <a:gd name="T41" fmla="*/ 7 h 13"/>
                <a:gd name="T42" fmla="*/ 2 w 4"/>
                <a:gd name="T43" fmla="*/ 7 h 13"/>
                <a:gd name="T44" fmla="*/ 2 w 4"/>
                <a:gd name="T45" fmla="*/ 7 h 13"/>
                <a:gd name="T46" fmla="*/ 2 w 4"/>
                <a:gd name="T47" fmla="*/ 7 h 13"/>
                <a:gd name="T48" fmla="*/ 2 w 4"/>
                <a:gd name="T49" fmla="*/ 7 h 13"/>
                <a:gd name="T50" fmla="*/ 2 w 4"/>
                <a:gd name="T51" fmla="*/ 7 h 13"/>
                <a:gd name="T52" fmla="*/ 2 w 4"/>
                <a:gd name="T53" fmla="*/ 7 h 13"/>
                <a:gd name="T54" fmla="*/ 2 w 4"/>
                <a:gd name="T55" fmla="*/ 7 h 13"/>
                <a:gd name="T56" fmla="*/ 2 w 4"/>
                <a:gd name="T57" fmla="*/ 7 h 13"/>
                <a:gd name="T58" fmla="*/ 2 w 4"/>
                <a:gd name="T59" fmla="*/ 7 h 13"/>
                <a:gd name="T60" fmla="*/ 2 w 4"/>
                <a:gd name="T61" fmla="*/ 7 h 13"/>
                <a:gd name="T62" fmla="*/ 2 w 4"/>
                <a:gd name="T63" fmla="*/ 7 h 13"/>
                <a:gd name="T64" fmla="*/ 2 w 4"/>
                <a:gd name="T65" fmla="*/ 7 h 13"/>
                <a:gd name="T66" fmla="*/ 2 w 4"/>
                <a:gd name="T67" fmla="*/ 7 h 13"/>
                <a:gd name="T68" fmla="*/ 2 w 4"/>
                <a:gd name="T69" fmla="*/ 7 h 13"/>
                <a:gd name="T70" fmla="*/ 2 w 4"/>
                <a:gd name="T71" fmla="*/ 7 h 13"/>
                <a:gd name="T72" fmla="*/ 2 w 4"/>
                <a:gd name="T73" fmla="*/ 7 h 13"/>
                <a:gd name="T74" fmla="*/ 2 w 4"/>
                <a:gd name="T75" fmla="*/ 7 h 13"/>
                <a:gd name="T76" fmla="*/ 2 w 4"/>
                <a:gd name="T77" fmla="*/ 7 h 13"/>
                <a:gd name="T78" fmla="*/ 4 w 4"/>
                <a:gd name="T79" fmla="*/ 0 h 13"/>
                <a:gd name="T80" fmla="*/ 4 w 4"/>
                <a:gd name="T81" fmla="*/ 0 h 13"/>
                <a:gd name="T82" fmla="*/ 2 w 4"/>
                <a:gd name="T83" fmla="*/ 0 h 13"/>
                <a:gd name="T84" fmla="*/ 2 w 4"/>
                <a:gd name="T85" fmla="*/ 0 h 13"/>
                <a:gd name="T86" fmla="*/ 2 w 4"/>
                <a:gd name="T87" fmla="*/ 2 h 13"/>
                <a:gd name="T88" fmla="*/ 2 w 4"/>
                <a:gd name="T89" fmla="*/ 4 h 13"/>
                <a:gd name="T90" fmla="*/ 4 w 4"/>
                <a:gd name="T91" fmla="*/ 4 h 13"/>
                <a:gd name="T92" fmla="*/ 4 w 4"/>
                <a:gd name="T93" fmla="*/ 2 h 13"/>
                <a:gd name="T94" fmla="*/ 4 w 4"/>
                <a:gd name="T95" fmla="*/ 0 h 13"/>
                <a:gd name="T96" fmla="*/ 4 w 4"/>
                <a:gd name="T9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" h="13"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close/>
                  <a:moveTo>
                    <a:pt x="2" y="7"/>
                  </a:moveTo>
                  <a:lnTo>
                    <a:pt x="2" y="7"/>
                  </a:lnTo>
                  <a:lnTo>
                    <a:pt x="2" y="4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3" name="Freeform 41">
              <a:extLst>
                <a:ext uri="{FF2B5EF4-FFF2-40B4-BE49-F238E27FC236}">
                  <a16:creationId xmlns:a16="http://schemas.microsoft.com/office/drawing/2014/main" id="{FF144B41-63C0-E44F-9794-7C9BFCA084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0720" y="2510599"/>
              <a:ext cx="2377" cy="7130"/>
            </a:xfrm>
            <a:custGeom>
              <a:avLst/>
              <a:gdLst>
                <a:gd name="T0" fmla="*/ 2 w 2"/>
                <a:gd name="T1" fmla="*/ 4 h 6"/>
                <a:gd name="T2" fmla="*/ 2 w 2"/>
                <a:gd name="T3" fmla="*/ 4 h 6"/>
                <a:gd name="T4" fmla="*/ 2 w 2"/>
                <a:gd name="T5" fmla="*/ 4 h 6"/>
                <a:gd name="T6" fmla="*/ 0 w 2"/>
                <a:gd name="T7" fmla="*/ 6 h 6"/>
                <a:gd name="T8" fmla="*/ 2 w 2"/>
                <a:gd name="T9" fmla="*/ 6 h 6"/>
                <a:gd name="T10" fmla="*/ 2 w 2"/>
                <a:gd name="T11" fmla="*/ 6 h 6"/>
                <a:gd name="T12" fmla="*/ 2 w 2"/>
                <a:gd name="T13" fmla="*/ 4 h 6"/>
                <a:gd name="T14" fmla="*/ 2 w 2"/>
                <a:gd name="T15" fmla="*/ 4 h 6"/>
                <a:gd name="T16" fmla="*/ 2 w 2"/>
                <a:gd name="T17" fmla="*/ 4 h 6"/>
                <a:gd name="T18" fmla="*/ 2 w 2"/>
                <a:gd name="T19" fmla="*/ 4 h 6"/>
                <a:gd name="T20" fmla="*/ 0 w 2"/>
                <a:gd name="T21" fmla="*/ 2 h 6"/>
                <a:gd name="T22" fmla="*/ 0 w 2"/>
                <a:gd name="T23" fmla="*/ 2 h 6"/>
                <a:gd name="T24" fmla="*/ 2 w 2"/>
                <a:gd name="T25" fmla="*/ 0 h 6"/>
                <a:gd name="T26" fmla="*/ 2 w 2"/>
                <a:gd name="T27" fmla="*/ 0 h 6"/>
                <a:gd name="T28" fmla="*/ 2 w 2"/>
                <a:gd name="T29" fmla="*/ 0 h 6"/>
                <a:gd name="T30" fmla="*/ 0 w 2"/>
                <a:gd name="T31" fmla="*/ 0 h 6"/>
                <a:gd name="T32" fmla="*/ 0 w 2"/>
                <a:gd name="T33" fmla="*/ 0 h 6"/>
                <a:gd name="T34" fmla="*/ 0 w 2"/>
                <a:gd name="T35" fmla="*/ 2 h 6"/>
                <a:gd name="T36" fmla="*/ 0 w 2"/>
                <a:gd name="T37" fmla="*/ 2 h 6"/>
                <a:gd name="T38" fmla="*/ 0 w 2"/>
                <a:gd name="T39" fmla="*/ 4 h 6"/>
                <a:gd name="T40" fmla="*/ 0 w 2"/>
                <a:gd name="T41" fmla="*/ 4 h 6"/>
                <a:gd name="T42" fmla="*/ 0 w 2"/>
                <a:gd name="T43" fmla="*/ 4 h 6"/>
                <a:gd name="T44" fmla="*/ 0 w 2"/>
                <a:gd name="T45" fmla="*/ 4 h 6"/>
                <a:gd name="T46" fmla="*/ 2 w 2"/>
                <a:gd name="T4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" h="6"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2" y="4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4" name="Freeform 42">
              <a:extLst>
                <a:ext uri="{FF2B5EF4-FFF2-40B4-BE49-F238E27FC236}">
                  <a16:creationId xmlns:a16="http://schemas.microsoft.com/office/drawing/2014/main" id="{3ECEDDBF-C504-E043-B379-789BAE443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217" y="3138068"/>
              <a:ext cx="0" cy="2377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2 h 2"/>
                <a:gd name="T4" fmla="*/ 2 h 2"/>
                <a:gd name="T5" fmla="*/ 0 h 2"/>
                <a:gd name="T6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5" name="Freeform 43">
              <a:extLst>
                <a:ext uri="{FF2B5EF4-FFF2-40B4-BE49-F238E27FC236}">
                  <a16:creationId xmlns:a16="http://schemas.microsoft.com/office/drawing/2014/main" id="{D28E9133-622D-0B4D-BFA9-FC6439AA01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840" y="3140445"/>
              <a:ext cx="2377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  <a:gd name="T4" fmla="*/ 2 w 2"/>
                <a:gd name="T5" fmla="*/ 2 w 2"/>
                <a:gd name="T6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6" name="Freeform 45">
              <a:extLst>
                <a:ext uri="{FF2B5EF4-FFF2-40B4-BE49-F238E27FC236}">
                  <a16:creationId xmlns:a16="http://schemas.microsoft.com/office/drawing/2014/main" id="{82B6F588-CD06-9440-AF31-7576528FA0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7594" y="3154705"/>
              <a:ext cx="4754" cy="4754"/>
            </a:xfrm>
            <a:custGeom>
              <a:avLst/>
              <a:gdLst>
                <a:gd name="T0" fmla="*/ 4 w 4"/>
                <a:gd name="T1" fmla="*/ 2 h 4"/>
                <a:gd name="T2" fmla="*/ 4 w 4"/>
                <a:gd name="T3" fmla="*/ 2 h 4"/>
                <a:gd name="T4" fmla="*/ 4 w 4"/>
                <a:gd name="T5" fmla="*/ 4 h 4"/>
                <a:gd name="T6" fmla="*/ 4 w 4"/>
                <a:gd name="T7" fmla="*/ 4 h 4"/>
                <a:gd name="T8" fmla="*/ 4 w 4"/>
                <a:gd name="T9" fmla="*/ 4 h 4"/>
                <a:gd name="T10" fmla="*/ 4 w 4"/>
                <a:gd name="T11" fmla="*/ 4 h 4"/>
                <a:gd name="T12" fmla="*/ 4 w 4"/>
                <a:gd name="T13" fmla="*/ 2 h 4"/>
                <a:gd name="T14" fmla="*/ 4 w 4"/>
                <a:gd name="T15" fmla="*/ 2 h 4"/>
                <a:gd name="T16" fmla="*/ 2 w 4"/>
                <a:gd name="T17" fmla="*/ 2 h 4"/>
                <a:gd name="T18" fmla="*/ 2 w 4"/>
                <a:gd name="T19" fmla="*/ 0 h 4"/>
                <a:gd name="T20" fmla="*/ 0 w 4"/>
                <a:gd name="T21" fmla="*/ 0 h 4"/>
                <a:gd name="T22" fmla="*/ 0 w 4"/>
                <a:gd name="T23" fmla="*/ 0 h 4"/>
                <a:gd name="T24" fmla="*/ 0 w 4"/>
                <a:gd name="T25" fmla="*/ 0 h 4"/>
                <a:gd name="T26" fmla="*/ 0 w 4"/>
                <a:gd name="T27" fmla="*/ 0 h 4"/>
                <a:gd name="T28" fmla="*/ 0 w 4"/>
                <a:gd name="T29" fmla="*/ 0 h 4"/>
                <a:gd name="T30" fmla="*/ 0 w 4"/>
                <a:gd name="T31" fmla="*/ 2 h 4"/>
                <a:gd name="T32" fmla="*/ 2 w 4"/>
                <a:gd name="T33" fmla="*/ 2 h 4"/>
                <a:gd name="T34" fmla="*/ 2 w 4"/>
                <a:gd name="T35" fmla="*/ 2 h 4"/>
                <a:gd name="T36" fmla="*/ 4 w 4"/>
                <a:gd name="T37" fmla="*/ 2 h 4"/>
                <a:gd name="T38" fmla="*/ 4 w 4"/>
                <a:gd name="T3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2"/>
                  </a:lnTo>
                  <a:close/>
                  <a:moveTo>
                    <a:pt x="4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7" name="Freeform 47">
              <a:extLst>
                <a:ext uri="{FF2B5EF4-FFF2-40B4-BE49-F238E27FC236}">
                  <a16:creationId xmlns:a16="http://schemas.microsoft.com/office/drawing/2014/main" id="{51E74762-5BAB-B24E-8396-AE3795D290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0463" y="3147575"/>
              <a:ext cx="4754" cy="4754"/>
            </a:xfrm>
            <a:custGeom>
              <a:avLst/>
              <a:gdLst>
                <a:gd name="T0" fmla="*/ 4 w 4"/>
                <a:gd name="T1" fmla="*/ 4 h 4"/>
                <a:gd name="T2" fmla="*/ 4 w 4"/>
                <a:gd name="T3" fmla="*/ 4 h 4"/>
                <a:gd name="T4" fmla="*/ 4 w 4"/>
                <a:gd name="T5" fmla="*/ 4 h 4"/>
                <a:gd name="T6" fmla="*/ 4 w 4"/>
                <a:gd name="T7" fmla="*/ 4 h 4"/>
                <a:gd name="T8" fmla="*/ 4 w 4"/>
                <a:gd name="T9" fmla="*/ 4 h 4"/>
                <a:gd name="T10" fmla="*/ 4 w 4"/>
                <a:gd name="T11" fmla="*/ 4 h 4"/>
                <a:gd name="T12" fmla="*/ 4 w 4"/>
                <a:gd name="T13" fmla="*/ 4 h 4"/>
                <a:gd name="T14" fmla="*/ 4 w 4"/>
                <a:gd name="T15" fmla="*/ 4 h 4"/>
                <a:gd name="T16" fmla="*/ 4 w 4"/>
                <a:gd name="T17" fmla="*/ 4 h 4"/>
                <a:gd name="T18" fmla="*/ 0 w 4"/>
                <a:gd name="T19" fmla="*/ 0 h 4"/>
                <a:gd name="T20" fmla="*/ 0 w 4"/>
                <a:gd name="T21" fmla="*/ 0 h 4"/>
                <a:gd name="T22" fmla="*/ 0 w 4"/>
                <a:gd name="T23" fmla="*/ 2 h 4"/>
                <a:gd name="T24" fmla="*/ 0 w 4"/>
                <a:gd name="T25" fmla="*/ 2 h 4"/>
                <a:gd name="T26" fmla="*/ 0 w 4"/>
                <a:gd name="T27" fmla="*/ 2 h 4"/>
                <a:gd name="T28" fmla="*/ 0 w 4"/>
                <a:gd name="T29" fmla="*/ 2 h 4"/>
                <a:gd name="T30" fmla="*/ 0 w 4"/>
                <a:gd name="T31" fmla="*/ 0 h 4"/>
                <a:gd name="T32" fmla="*/ 0 w 4"/>
                <a:gd name="T3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8" name="Freeform 48">
              <a:extLst>
                <a:ext uri="{FF2B5EF4-FFF2-40B4-BE49-F238E27FC236}">
                  <a16:creationId xmlns:a16="http://schemas.microsoft.com/office/drawing/2014/main" id="{5EC063BF-3D24-EA45-AE99-60D21084E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594" y="3142821"/>
              <a:ext cx="2377" cy="0"/>
            </a:xfrm>
            <a:custGeom>
              <a:avLst/>
              <a:gdLst>
                <a:gd name="T0" fmla="*/ 0 w 2"/>
                <a:gd name="T1" fmla="*/ 0 w 2"/>
                <a:gd name="T2" fmla="*/ 0 w 2"/>
                <a:gd name="T3" fmla="*/ 0 w 2"/>
                <a:gd name="T4" fmla="*/ 0 w 2"/>
                <a:gd name="T5" fmla="*/ 0 w 2"/>
                <a:gd name="T6" fmla="*/ 2 w 2"/>
                <a:gd name="T7" fmla="*/ 2 w 2"/>
                <a:gd name="T8" fmla="*/ 2 w 2"/>
                <a:gd name="T9" fmla="*/ 2 w 2"/>
                <a:gd name="T10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9" name="Freeform 53">
              <a:extLst>
                <a:ext uri="{FF2B5EF4-FFF2-40B4-BE49-F238E27FC236}">
                  <a16:creationId xmlns:a16="http://schemas.microsoft.com/office/drawing/2014/main" id="{E5900317-C8BA-BE40-84C0-39932E5D10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4860" y="4704363"/>
              <a:ext cx="215098" cy="92694"/>
            </a:xfrm>
            <a:custGeom>
              <a:avLst/>
              <a:gdLst>
                <a:gd name="T0" fmla="*/ 181 w 181"/>
                <a:gd name="T1" fmla="*/ 76 h 78"/>
                <a:gd name="T2" fmla="*/ 179 w 181"/>
                <a:gd name="T3" fmla="*/ 76 h 78"/>
                <a:gd name="T4" fmla="*/ 179 w 181"/>
                <a:gd name="T5" fmla="*/ 76 h 78"/>
                <a:gd name="T6" fmla="*/ 179 w 181"/>
                <a:gd name="T7" fmla="*/ 76 h 78"/>
                <a:gd name="T8" fmla="*/ 177 w 181"/>
                <a:gd name="T9" fmla="*/ 76 h 78"/>
                <a:gd name="T10" fmla="*/ 179 w 181"/>
                <a:gd name="T11" fmla="*/ 76 h 78"/>
                <a:gd name="T12" fmla="*/ 181 w 181"/>
                <a:gd name="T13" fmla="*/ 78 h 78"/>
                <a:gd name="T14" fmla="*/ 181 w 181"/>
                <a:gd name="T15" fmla="*/ 76 h 78"/>
                <a:gd name="T16" fmla="*/ 33 w 181"/>
                <a:gd name="T17" fmla="*/ 10 h 78"/>
                <a:gd name="T18" fmla="*/ 33 w 181"/>
                <a:gd name="T19" fmla="*/ 10 h 78"/>
                <a:gd name="T20" fmla="*/ 31 w 181"/>
                <a:gd name="T21" fmla="*/ 10 h 78"/>
                <a:gd name="T22" fmla="*/ 31 w 181"/>
                <a:gd name="T23" fmla="*/ 10 h 78"/>
                <a:gd name="T24" fmla="*/ 29 w 181"/>
                <a:gd name="T25" fmla="*/ 10 h 78"/>
                <a:gd name="T26" fmla="*/ 29 w 181"/>
                <a:gd name="T27" fmla="*/ 8 h 78"/>
                <a:gd name="T28" fmla="*/ 27 w 181"/>
                <a:gd name="T29" fmla="*/ 6 h 78"/>
                <a:gd name="T30" fmla="*/ 27 w 181"/>
                <a:gd name="T31" fmla="*/ 6 h 78"/>
                <a:gd name="T32" fmla="*/ 25 w 181"/>
                <a:gd name="T33" fmla="*/ 4 h 78"/>
                <a:gd name="T34" fmla="*/ 25 w 181"/>
                <a:gd name="T35" fmla="*/ 4 h 78"/>
                <a:gd name="T36" fmla="*/ 25 w 181"/>
                <a:gd name="T37" fmla="*/ 4 h 78"/>
                <a:gd name="T38" fmla="*/ 25 w 181"/>
                <a:gd name="T39" fmla="*/ 6 h 78"/>
                <a:gd name="T40" fmla="*/ 23 w 181"/>
                <a:gd name="T41" fmla="*/ 6 h 78"/>
                <a:gd name="T42" fmla="*/ 23 w 181"/>
                <a:gd name="T43" fmla="*/ 4 h 78"/>
                <a:gd name="T44" fmla="*/ 21 w 181"/>
                <a:gd name="T45" fmla="*/ 4 h 78"/>
                <a:gd name="T46" fmla="*/ 21 w 181"/>
                <a:gd name="T47" fmla="*/ 4 h 78"/>
                <a:gd name="T48" fmla="*/ 19 w 181"/>
                <a:gd name="T49" fmla="*/ 2 h 78"/>
                <a:gd name="T50" fmla="*/ 19 w 181"/>
                <a:gd name="T51" fmla="*/ 2 h 78"/>
                <a:gd name="T52" fmla="*/ 16 w 181"/>
                <a:gd name="T53" fmla="*/ 2 h 78"/>
                <a:gd name="T54" fmla="*/ 16 w 181"/>
                <a:gd name="T55" fmla="*/ 2 h 78"/>
                <a:gd name="T56" fmla="*/ 16 w 181"/>
                <a:gd name="T57" fmla="*/ 2 h 78"/>
                <a:gd name="T58" fmla="*/ 14 w 181"/>
                <a:gd name="T59" fmla="*/ 2 h 78"/>
                <a:gd name="T60" fmla="*/ 12 w 181"/>
                <a:gd name="T61" fmla="*/ 2 h 78"/>
                <a:gd name="T62" fmla="*/ 12 w 181"/>
                <a:gd name="T63" fmla="*/ 0 h 78"/>
                <a:gd name="T64" fmla="*/ 8 w 181"/>
                <a:gd name="T65" fmla="*/ 0 h 78"/>
                <a:gd name="T66" fmla="*/ 8 w 181"/>
                <a:gd name="T67" fmla="*/ 0 h 78"/>
                <a:gd name="T68" fmla="*/ 6 w 181"/>
                <a:gd name="T69" fmla="*/ 0 h 78"/>
                <a:gd name="T70" fmla="*/ 2 w 181"/>
                <a:gd name="T71" fmla="*/ 0 h 78"/>
                <a:gd name="T72" fmla="*/ 0 w 181"/>
                <a:gd name="T73" fmla="*/ 0 h 78"/>
                <a:gd name="T74" fmla="*/ 2 w 181"/>
                <a:gd name="T75" fmla="*/ 0 h 78"/>
                <a:gd name="T76" fmla="*/ 6 w 181"/>
                <a:gd name="T77" fmla="*/ 0 h 78"/>
                <a:gd name="T78" fmla="*/ 6 w 181"/>
                <a:gd name="T79" fmla="*/ 2 h 78"/>
                <a:gd name="T80" fmla="*/ 6 w 181"/>
                <a:gd name="T81" fmla="*/ 2 h 78"/>
                <a:gd name="T82" fmla="*/ 6 w 181"/>
                <a:gd name="T83" fmla="*/ 2 h 78"/>
                <a:gd name="T84" fmla="*/ 8 w 181"/>
                <a:gd name="T85" fmla="*/ 2 h 78"/>
                <a:gd name="T86" fmla="*/ 14 w 181"/>
                <a:gd name="T87" fmla="*/ 4 h 78"/>
                <a:gd name="T88" fmla="*/ 14 w 181"/>
                <a:gd name="T89" fmla="*/ 6 h 78"/>
                <a:gd name="T90" fmla="*/ 16 w 181"/>
                <a:gd name="T91" fmla="*/ 6 h 78"/>
                <a:gd name="T92" fmla="*/ 19 w 181"/>
                <a:gd name="T93" fmla="*/ 6 h 78"/>
                <a:gd name="T94" fmla="*/ 19 w 181"/>
                <a:gd name="T95" fmla="*/ 6 h 78"/>
                <a:gd name="T96" fmla="*/ 19 w 181"/>
                <a:gd name="T97" fmla="*/ 6 h 78"/>
                <a:gd name="T98" fmla="*/ 21 w 181"/>
                <a:gd name="T99" fmla="*/ 8 h 78"/>
                <a:gd name="T100" fmla="*/ 23 w 181"/>
                <a:gd name="T101" fmla="*/ 8 h 78"/>
                <a:gd name="T102" fmla="*/ 25 w 181"/>
                <a:gd name="T103" fmla="*/ 8 h 78"/>
                <a:gd name="T104" fmla="*/ 25 w 181"/>
                <a:gd name="T105" fmla="*/ 8 h 78"/>
                <a:gd name="T106" fmla="*/ 25 w 181"/>
                <a:gd name="T107" fmla="*/ 10 h 78"/>
                <a:gd name="T108" fmla="*/ 27 w 181"/>
                <a:gd name="T109" fmla="*/ 12 h 78"/>
                <a:gd name="T110" fmla="*/ 29 w 181"/>
                <a:gd name="T111" fmla="*/ 14 h 78"/>
                <a:gd name="T112" fmla="*/ 31 w 181"/>
                <a:gd name="T113" fmla="*/ 14 h 78"/>
                <a:gd name="T114" fmla="*/ 31 w 181"/>
                <a:gd name="T115" fmla="*/ 14 h 78"/>
                <a:gd name="T116" fmla="*/ 33 w 181"/>
                <a:gd name="T117" fmla="*/ 14 h 78"/>
                <a:gd name="T118" fmla="*/ 33 w 181"/>
                <a:gd name="T119" fmla="*/ 14 h 78"/>
                <a:gd name="T120" fmla="*/ 35 w 181"/>
                <a:gd name="T121" fmla="*/ 12 h 78"/>
                <a:gd name="T122" fmla="*/ 33 w 181"/>
                <a:gd name="T123" fmla="*/ 12 h 78"/>
                <a:gd name="T124" fmla="*/ 33 w 181"/>
                <a:gd name="T125" fmla="*/ 1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1" h="78">
                  <a:moveTo>
                    <a:pt x="181" y="76"/>
                  </a:moveTo>
                  <a:lnTo>
                    <a:pt x="179" y="76"/>
                  </a:lnTo>
                  <a:lnTo>
                    <a:pt x="179" y="76"/>
                  </a:lnTo>
                  <a:lnTo>
                    <a:pt x="179" y="76"/>
                  </a:lnTo>
                  <a:lnTo>
                    <a:pt x="177" y="76"/>
                  </a:lnTo>
                  <a:lnTo>
                    <a:pt x="179" y="76"/>
                  </a:lnTo>
                  <a:lnTo>
                    <a:pt x="181" y="78"/>
                  </a:lnTo>
                  <a:lnTo>
                    <a:pt x="181" y="76"/>
                  </a:lnTo>
                  <a:close/>
                  <a:moveTo>
                    <a:pt x="33" y="10"/>
                  </a:moveTo>
                  <a:lnTo>
                    <a:pt x="33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29" y="10"/>
                  </a:lnTo>
                  <a:lnTo>
                    <a:pt x="29" y="8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6"/>
                  </a:lnTo>
                  <a:lnTo>
                    <a:pt x="23" y="6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10"/>
                  </a:lnTo>
                  <a:lnTo>
                    <a:pt x="27" y="12"/>
                  </a:lnTo>
                  <a:lnTo>
                    <a:pt x="29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5" y="12"/>
                  </a:lnTo>
                  <a:lnTo>
                    <a:pt x="33" y="12"/>
                  </a:lnTo>
                  <a:lnTo>
                    <a:pt x="33" y="1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0" name="Freeform 72">
              <a:extLst>
                <a:ext uri="{FF2B5EF4-FFF2-40B4-BE49-F238E27FC236}">
                  <a16:creationId xmlns:a16="http://schemas.microsoft.com/office/drawing/2014/main" id="{BB52082D-E66F-1A4C-B358-1FEFB67E65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2523" y="3130937"/>
              <a:ext cx="51101" cy="11884"/>
            </a:xfrm>
            <a:custGeom>
              <a:avLst/>
              <a:gdLst>
                <a:gd name="T0" fmla="*/ 0 w 43"/>
                <a:gd name="T1" fmla="*/ 6 h 10"/>
                <a:gd name="T2" fmla="*/ 0 w 43"/>
                <a:gd name="T3" fmla="*/ 6 h 10"/>
                <a:gd name="T4" fmla="*/ 0 w 43"/>
                <a:gd name="T5" fmla="*/ 8 h 10"/>
                <a:gd name="T6" fmla="*/ 0 w 43"/>
                <a:gd name="T7" fmla="*/ 8 h 10"/>
                <a:gd name="T8" fmla="*/ 2 w 43"/>
                <a:gd name="T9" fmla="*/ 8 h 10"/>
                <a:gd name="T10" fmla="*/ 2 w 43"/>
                <a:gd name="T11" fmla="*/ 8 h 10"/>
                <a:gd name="T12" fmla="*/ 2 w 43"/>
                <a:gd name="T13" fmla="*/ 8 h 10"/>
                <a:gd name="T14" fmla="*/ 2 w 43"/>
                <a:gd name="T15" fmla="*/ 6 h 10"/>
                <a:gd name="T16" fmla="*/ 2 w 43"/>
                <a:gd name="T17" fmla="*/ 6 h 10"/>
                <a:gd name="T18" fmla="*/ 43 w 43"/>
                <a:gd name="T19" fmla="*/ 6 h 10"/>
                <a:gd name="T20" fmla="*/ 39 w 43"/>
                <a:gd name="T21" fmla="*/ 6 h 10"/>
                <a:gd name="T22" fmla="*/ 39 w 43"/>
                <a:gd name="T23" fmla="*/ 6 h 10"/>
                <a:gd name="T24" fmla="*/ 41 w 43"/>
                <a:gd name="T25" fmla="*/ 6 h 10"/>
                <a:gd name="T26" fmla="*/ 43 w 43"/>
                <a:gd name="T27" fmla="*/ 6 h 10"/>
                <a:gd name="T28" fmla="*/ 31 w 43"/>
                <a:gd name="T29" fmla="*/ 0 h 10"/>
                <a:gd name="T30" fmla="*/ 31 w 43"/>
                <a:gd name="T31" fmla="*/ 0 h 10"/>
                <a:gd name="T32" fmla="*/ 31 w 43"/>
                <a:gd name="T33" fmla="*/ 0 h 10"/>
                <a:gd name="T34" fmla="*/ 28 w 43"/>
                <a:gd name="T35" fmla="*/ 0 h 10"/>
                <a:gd name="T36" fmla="*/ 14 w 43"/>
                <a:gd name="T37" fmla="*/ 0 h 10"/>
                <a:gd name="T38" fmla="*/ 14 w 43"/>
                <a:gd name="T39" fmla="*/ 0 h 10"/>
                <a:gd name="T40" fmla="*/ 12 w 43"/>
                <a:gd name="T41" fmla="*/ 2 h 10"/>
                <a:gd name="T42" fmla="*/ 12 w 43"/>
                <a:gd name="T43" fmla="*/ 2 h 10"/>
                <a:gd name="T44" fmla="*/ 12 w 43"/>
                <a:gd name="T45" fmla="*/ 4 h 10"/>
                <a:gd name="T46" fmla="*/ 12 w 43"/>
                <a:gd name="T47" fmla="*/ 8 h 10"/>
                <a:gd name="T48" fmla="*/ 14 w 43"/>
                <a:gd name="T49" fmla="*/ 10 h 10"/>
                <a:gd name="T50" fmla="*/ 16 w 43"/>
                <a:gd name="T51" fmla="*/ 10 h 10"/>
                <a:gd name="T52" fmla="*/ 18 w 43"/>
                <a:gd name="T53" fmla="*/ 8 h 10"/>
                <a:gd name="T54" fmla="*/ 22 w 43"/>
                <a:gd name="T55" fmla="*/ 8 h 10"/>
                <a:gd name="T56" fmla="*/ 26 w 43"/>
                <a:gd name="T57" fmla="*/ 10 h 10"/>
                <a:gd name="T58" fmla="*/ 26 w 43"/>
                <a:gd name="T59" fmla="*/ 10 h 10"/>
                <a:gd name="T60" fmla="*/ 31 w 43"/>
                <a:gd name="T61" fmla="*/ 10 h 10"/>
                <a:gd name="T62" fmla="*/ 35 w 43"/>
                <a:gd name="T63" fmla="*/ 6 h 10"/>
                <a:gd name="T64" fmla="*/ 37 w 43"/>
                <a:gd name="T65" fmla="*/ 4 h 10"/>
                <a:gd name="T66" fmla="*/ 35 w 43"/>
                <a:gd name="T6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3" h="10">
                  <a:moveTo>
                    <a:pt x="2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close/>
                  <a:moveTo>
                    <a:pt x="43" y="6"/>
                  </a:moveTo>
                  <a:lnTo>
                    <a:pt x="41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3" y="6"/>
                  </a:lnTo>
                  <a:close/>
                  <a:moveTo>
                    <a:pt x="33" y="0"/>
                  </a:move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20" y="10"/>
                  </a:lnTo>
                  <a:lnTo>
                    <a:pt x="22" y="8"/>
                  </a:lnTo>
                  <a:lnTo>
                    <a:pt x="24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10"/>
                  </a:lnTo>
                  <a:lnTo>
                    <a:pt x="31" y="10"/>
                  </a:lnTo>
                  <a:lnTo>
                    <a:pt x="33" y="8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1" name="Freeform 75">
              <a:extLst>
                <a:ext uri="{FF2B5EF4-FFF2-40B4-BE49-F238E27FC236}">
                  <a16:creationId xmlns:a16="http://schemas.microsoft.com/office/drawing/2014/main" id="{E671C2CC-B8ED-4248-BFDE-BFB4C6C5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26" y="4063822"/>
              <a:ext cx="0" cy="2377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  <a:gd name="T5" fmla="*/ 2 h 2"/>
                <a:gd name="T6" fmla="*/ 2 h 2"/>
                <a:gd name="T7" fmla="*/ 2 h 2"/>
                <a:gd name="T8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2" name="Freeform 77">
              <a:extLst>
                <a:ext uri="{FF2B5EF4-FFF2-40B4-BE49-F238E27FC236}">
                  <a16:creationId xmlns:a16="http://schemas.microsoft.com/office/drawing/2014/main" id="{96471736-A2ED-3C48-A4F9-6DADB3831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440" y="3533801"/>
              <a:ext cx="255503" cy="400487"/>
            </a:xfrm>
            <a:custGeom>
              <a:avLst/>
              <a:gdLst>
                <a:gd name="T0" fmla="*/ 207 w 215"/>
                <a:gd name="T1" fmla="*/ 284 h 337"/>
                <a:gd name="T2" fmla="*/ 207 w 215"/>
                <a:gd name="T3" fmla="*/ 267 h 337"/>
                <a:gd name="T4" fmla="*/ 211 w 215"/>
                <a:gd name="T5" fmla="*/ 259 h 337"/>
                <a:gd name="T6" fmla="*/ 207 w 215"/>
                <a:gd name="T7" fmla="*/ 236 h 337"/>
                <a:gd name="T8" fmla="*/ 205 w 215"/>
                <a:gd name="T9" fmla="*/ 218 h 337"/>
                <a:gd name="T10" fmla="*/ 187 w 215"/>
                <a:gd name="T11" fmla="*/ 204 h 337"/>
                <a:gd name="T12" fmla="*/ 178 w 215"/>
                <a:gd name="T13" fmla="*/ 191 h 337"/>
                <a:gd name="T14" fmla="*/ 178 w 215"/>
                <a:gd name="T15" fmla="*/ 175 h 337"/>
                <a:gd name="T16" fmla="*/ 166 w 215"/>
                <a:gd name="T17" fmla="*/ 183 h 337"/>
                <a:gd name="T18" fmla="*/ 150 w 215"/>
                <a:gd name="T19" fmla="*/ 175 h 337"/>
                <a:gd name="T20" fmla="*/ 137 w 215"/>
                <a:gd name="T21" fmla="*/ 162 h 337"/>
                <a:gd name="T22" fmla="*/ 129 w 215"/>
                <a:gd name="T23" fmla="*/ 154 h 337"/>
                <a:gd name="T24" fmla="*/ 125 w 215"/>
                <a:gd name="T25" fmla="*/ 144 h 337"/>
                <a:gd name="T26" fmla="*/ 121 w 215"/>
                <a:gd name="T27" fmla="*/ 138 h 337"/>
                <a:gd name="T28" fmla="*/ 125 w 215"/>
                <a:gd name="T29" fmla="*/ 134 h 337"/>
                <a:gd name="T30" fmla="*/ 133 w 215"/>
                <a:gd name="T31" fmla="*/ 119 h 337"/>
                <a:gd name="T32" fmla="*/ 135 w 215"/>
                <a:gd name="T33" fmla="*/ 103 h 337"/>
                <a:gd name="T34" fmla="*/ 143 w 215"/>
                <a:gd name="T35" fmla="*/ 91 h 337"/>
                <a:gd name="T36" fmla="*/ 162 w 215"/>
                <a:gd name="T37" fmla="*/ 82 h 337"/>
                <a:gd name="T38" fmla="*/ 176 w 215"/>
                <a:gd name="T39" fmla="*/ 76 h 337"/>
                <a:gd name="T40" fmla="*/ 182 w 215"/>
                <a:gd name="T41" fmla="*/ 76 h 337"/>
                <a:gd name="T42" fmla="*/ 174 w 215"/>
                <a:gd name="T43" fmla="*/ 72 h 337"/>
                <a:gd name="T44" fmla="*/ 180 w 215"/>
                <a:gd name="T45" fmla="*/ 49 h 337"/>
                <a:gd name="T46" fmla="*/ 168 w 215"/>
                <a:gd name="T47" fmla="*/ 41 h 337"/>
                <a:gd name="T48" fmla="*/ 156 w 215"/>
                <a:gd name="T49" fmla="*/ 41 h 337"/>
                <a:gd name="T50" fmla="*/ 143 w 215"/>
                <a:gd name="T51" fmla="*/ 45 h 337"/>
                <a:gd name="T52" fmla="*/ 133 w 215"/>
                <a:gd name="T53" fmla="*/ 43 h 337"/>
                <a:gd name="T54" fmla="*/ 127 w 215"/>
                <a:gd name="T55" fmla="*/ 33 h 337"/>
                <a:gd name="T56" fmla="*/ 121 w 215"/>
                <a:gd name="T57" fmla="*/ 23 h 337"/>
                <a:gd name="T58" fmla="*/ 111 w 215"/>
                <a:gd name="T59" fmla="*/ 14 h 337"/>
                <a:gd name="T60" fmla="*/ 104 w 215"/>
                <a:gd name="T61" fmla="*/ 4 h 337"/>
                <a:gd name="T62" fmla="*/ 96 w 215"/>
                <a:gd name="T63" fmla="*/ 2 h 337"/>
                <a:gd name="T64" fmla="*/ 96 w 215"/>
                <a:gd name="T65" fmla="*/ 10 h 337"/>
                <a:gd name="T66" fmla="*/ 94 w 215"/>
                <a:gd name="T67" fmla="*/ 16 h 337"/>
                <a:gd name="T68" fmla="*/ 80 w 215"/>
                <a:gd name="T69" fmla="*/ 43 h 337"/>
                <a:gd name="T70" fmla="*/ 53 w 215"/>
                <a:gd name="T71" fmla="*/ 60 h 337"/>
                <a:gd name="T72" fmla="*/ 49 w 215"/>
                <a:gd name="T73" fmla="*/ 64 h 337"/>
                <a:gd name="T74" fmla="*/ 45 w 215"/>
                <a:gd name="T75" fmla="*/ 72 h 337"/>
                <a:gd name="T76" fmla="*/ 43 w 215"/>
                <a:gd name="T77" fmla="*/ 82 h 337"/>
                <a:gd name="T78" fmla="*/ 37 w 215"/>
                <a:gd name="T79" fmla="*/ 91 h 337"/>
                <a:gd name="T80" fmla="*/ 26 w 215"/>
                <a:gd name="T81" fmla="*/ 82 h 337"/>
                <a:gd name="T82" fmla="*/ 16 w 215"/>
                <a:gd name="T83" fmla="*/ 82 h 337"/>
                <a:gd name="T84" fmla="*/ 14 w 215"/>
                <a:gd name="T85" fmla="*/ 74 h 337"/>
                <a:gd name="T86" fmla="*/ 18 w 215"/>
                <a:gd name="T87" fmla="*/ 68 h 337"/>
                <a:gd name="T88" fmla="*/ 12 w 215"/>
                <a:gd name="T89" fmla="*/ 64 h 337"/>
                <a:gd name="T90" fmla="*/ 4 w 215"/>
                <a:gd name="T91" fmla="*/ 95 h 337"/>
                <a:gd name="T92" fmla="*/ 4 w 215"/>
                <a:gd name="T93" fmla="*/ 111 h 337"/>
                <a:gd name="T94" fmla="*/ 35 w 215"/>
                <a:gd name="T95" fmla="*/ 146 h 337"/>
                <a:gd name="T96" fmla="*/ 55 w 215"/>
                <a:gd name="T97" fmla="*/ 181 h 337"/>
                <a:gd name="T98" fmla="*/ 76 w 215"/>
                <a:gd name="T99" fmla="*/ 222 h 337"/>
                <a:gd name="T100" fmla="*/ 92 w 215"/>
                <a:gd name="T101" fmla="*/ 245 h 337"/>
                <a:gd name="T102" fmla="*/ 98 w 215"/>
                <a:gd name="T103" fmla="*/ 269 h 337"/>
                <a:gd name="T104" fmla="*/ 135 w 215"/>
                <a:gd name="T105" fmla="*/ 296 h 337"/>
                <a:gd name="T106" fmla="*/ 168 w 215"/>
                <a:gd name="T107" fmla="*/ 313 h 337"/>
                <a:gd name="T108" fmla="*/ 189 w 215"/>
                <a:gd name="T109" fmla="*/ 331 h 337"/>
                <a:gd name="T110" fmla="*/ 203 w 215"/>
                <a:gd name="T111" fmla="*/ 329 h 337"/>
                <a:gd name="T112" fmla="*/ 207 w 215"/>
                <a:gd name="T113" fmla="*/ 319 h 337"/>
                <a:gd name="T114" fmla="*/ 211 w 215"/>
                <a:gd name="T115" fmla="*/ 30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5" h="337">
                  <a:moveTo>
                    <a:pt x="215" y="300"/>
                  </a:moveTo>
                  <a:lnTo>
                    <a:pt x="215" y="298"/>
                  </a:lnTo>
                  <a:lnTo>
                    <a:pt x="213" y="298"/>
                  </a:lnTo>
                  <a:lnTo>
                    <a:pt x="211" y="298"/>
                  </a:lnTo>
                  <a:lnTo>
                    <a:pt x="211" y="298"/>
                  </a:lnTo>
                  <a:lnTo>
                    <a:pt x="209" y="296"/>
                  </a:lnTo>
                  <a:lnTo>
                    <a:pt x="207" y="290"/>
                  </a:lnTo>
                  <a:lnTo>
                    <a:pt x="205" y="288"/>
                  </a:lnTo>
                  <a:lnTo>
                    <a:pt x="205" y="286"/>
                  </a:lnTo>
                  <a:lnTo>
                    <a:pt x="207" y="284"/>
                  </a:lnTo>
                  <a:lnTo>
                    <a:pt x="207" y="282"/>
                  </a:lnTo>
                  <a:lnTo>
                    <a:pt x="209" y="280"/>
                  </a:lnTo>
                  <a:lnTo>
                    <a:pt x="209" y="280"/>
                  </a:lnTo>
                  <a:lnTo>
                    <a:pt x="205" y="276"/>
                  </a:lnTo>
                  <a:lnTo>
                    <a:pt x="205" y="276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7" y="271"/>
                  </a:lnTo>
                  <a:lnTo>
                    <a:pt x="207" y="269"/>
                  </a:lnTo>
                  <a:lnTo>
                    <a:pt x="207" y="267"/>
                  </a:lnTo>
                  <a:lnTo>
                    <a:pt x="207" y="267"/>
                  </a:lnTo>
                  <a:lnTo>
                    <a:pt x="207" y="267"/>
                  </a:lnTo>
                  <a:lnTo>
                    <a:pt x="209" y="265"/>
                  </a:lnTo>
                  <a:lnTo>
                    <a:pt x="209" y="265"/>
                  </a:lnTo>
                  <a:lnTo>
                    <a:pt x="209" y="263"/>
                  </a:lnTo>
                  <a:lnTo>
                    <a:pt x="209" y="261"/>
                  </a:lnTo>
                  <a:lnTo>
                    <a:pt x="211" y="261"/>
                  </a:lnTo>
                  <a:lnTo>
                    <a:pt x="211" y="261"/>
                  </a:lnTo>
                  <a:lnTo>
                    <a:pt x="211" y="261"/>
                  </a:lnTo>
                  <a:lnTo>
                    <a:pt x="211" y="259"/>
                  </a:lnTo>
                  <a:lnTo>
                    <a:pt x="211" y="257"/>
                  </a:lnTo>
                  <a:lnTo>
                    <a:pt x="209" y="257"/>
                  </a:lnTo>
                  <a:lnTo>
                    <a:pt x="209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9" y="249"/>
                  </a:lnTo>
                  <a:lnTo>
                    <a:pt x="209" y="249"/>
                  </a:lnTo>
                  <a:lnTo>
                    <a:pt x="209" y="247"/>
                  </a:lnTo>
                  <a:lnTo>
                    <a:pt x="207" y="239"/>
                  </a:lnTo>
                  <a:lnTo>
                    <a:pt x="207" y="236"/>
                  </a:lnTo>
                  <a:lnTo>
                    <a:pt x="209" y="236"/>
                  </a:lnTo>
                  <a:lnTo>
                    <a:pt x="209" y="234"/>
                  </a:lnTo>
                  <a:lnTo>
                    <a:pt x="211" y="234"/>
                  </a:lnTo>
                  <a:lnTo>
                    <a:pt x="211" y="232"/>
                  </a:lnTo>
                  <a:lnTo>
                    <a:pt x="211" y="232"/>
                  </a:lnTo>
                  <a:lnTo>
                    <a:pt x="211" y="230"/>
                  </a:lnTo>
                  <a:lnTo>
                    <a:pt x="211" y="230"/>
                  </a:lnTo>
                  <a:lnTo>
                    <a:pt x="209" y="226"/>
                  </a:lnTo>
                  <a:lnTo>
                    <a:pt x="207" y="222"/>
                  </a:lnTo>
                  <a:lnTo>
                    <a:pt x="205" y="218"/>
                  </a:lnTo>
                  <a:lnTo>
                    <a:pt x="203" y="214"/>
                  </a:lnTo>
                  <a:lnTo>
                    <a:pt x="201" y="212"/>
                  </a:lnTo>
                  <a:lnTo>
                    <a:pt x="199" y="208"/>
                  </a:lnTo>
                  <a:lnTo>
                    <a:pt x="199" y="206"/>
                  </a:lnTo>
                  <a:lnTo>
                    <a:pt x="195" y="202"/>
                  </a:lnTo>
                  <a:lnTo>
                    <a:pt x="195" y="202"/>
                  </a:lnTo>
                  <a:lnTo>
                    <a:pt x="191" y="202"/>
                  </a:lnTo>
                  <a:lnTo>
                    <a:pt x="189" y="202"/>
                  </a:lnTo>
                  <a:lnTo>
                    <a:pt x="189" y="202"/>
                  </a:lnTo>
                  <a:lnTo>
                    <a:pt x="187" y="204"/>
                  </a:lnTo>
                  <a:lnTo>
                    <a:pt x="184" y="204"/>
                  </a:lnTo>
                  <a:lnTo>
                    <a:pt x="184" y="204"/>
                  </a:lnTo>
                  <a:lnTo>
                    <a:pt x="182" y="204"/>
                  </a:lnTo>
                  <a:lnTo>
                    <a:pt x="182" y="202"/>
                  </a:lnTo>
                  <a:lnTo>
                    <a:pt x="180" y="202"/>
                  </a:lnTo>
                  <a:lnTo>
                    <a:pt x="180" y="202"/>
                  </a:lnTo>
                  <a:lnTo>
                    <a:pt x="178" y="202"/>
                  </a:lnTo>
                  <a:lnTo>
                    <a:pt x="178" y="199"/>
                  </a:lnTo>
                  <a:lnTo>
                    <a:pt x="178" y="195"/>
                  </a:lnTo>
                  <a:lnTo>
                    <a:pt x="178" y="191"/>
                  </a:lnTo>
                  <a:lnTo>
                    <a:pt x="178" y="187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5"/>
                  </a:lnTo>
                  <a:lnTo>
                    <a:pt x="178" y="173"/>
                  </a:lnTo>
                  <a:lnTo>
                    <a:pt x="178" y="175"/>
                  </a:lnTo>
                  <a:lnTo>
                    <a:pt x="176" y="175"/>
                  </a:lnTo>
                  <a:lnTo>
                    <a:pt x="176" y="175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4" y="177"/>
                  </a:lnTo>
                  <a:lnTo>
                    <a:pt x="172" y="179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68" y="183"/>
                  </a:lnTo>
                  <a:lnTo>
                    <a:pt x="166" y="183"/>
                  </a:lnTo>
                  <a:lnTo>
                    <a:pt x="162" y="183"/>
                  </a:lnTo>
                  <a:lnTo>
                    <a:pt x="158" y="183"/>
                  </a:lnTo>
                  <a:lnTo>
                    <a:pt x="154" y="183"/>
                  </a:lnTo>
                  <a:lnTo>
                    <a:pt x="154" y="183"/>
                  </a:lnTo>
                  <a:lnTo>
                    <a:pt x="152" y="183"/>
                  </a:lnTo>
                  <a:lnTo>
                    <a:pt x="154" y="181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0" y="177"/>
                  </a:lnTo>
                  <a:lnTo>
                    <a:pt x="150" y="175"/>
                  </a:lnTo>
                  <a:lnTo>
                    <a:pt x="150" y="175"/>
                  </a:lnTo>
                  <a:lnTo>
                    <a:pt x="147" y="175"/>
                  </a:lnTo>
                  <a:lnTo>
                    <a:pt x="145" y="173"/>
                  </a:lnTo>
                  <a:lnTo>
                    <a:pt x="141" y="173"/>
                  </a:lnTo>
                  <a:lnTo>
                    <a:pt x="139" y="173"/>
                  </a:lnTo>
                  <a:lnTo>
                    <a:pt x="135" y="173"/>
                  </a:lnTo>
                  <a:lnTo>
                    <a:pt x="137" y="171"/>
                  </a:lnTo>
                  <a:lnTo>
                    <a:pt x="139" y="167"/>
                  </a:lnTo>
                  <a:lnTo>
                    <a:pt x="139" y="165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5" y="160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6"/>
                  </a:lnTo>
                  <a:lnTo>
                    <a:pt x="131" y="156"/>
                  </a:lnTo>
                  <a:lnTo>
                    <a:pt x="131" y="156"/>
                  </a:lnTo>
                  <a:lnTo>
                    <a:pt x="131" y="154"/>
                  </a:lnTo>
                  <a:lnTo>
                    <a:pt x="129" y="154"/>
                  </a:lnTo>
                  <a:lnTo>
                    <a:pt x="129" y="154"/>
                  </a:lnTo>
                  <a:lnTo>
                    <a:pt x="129" y="152"/>
                  </a:lnTo>
                  <a:lnTo>
                    <a:pt x="129" y="152"/>
                  </a:lnTo>
                  <a:lnTo>
                    <a:pt x="127" y="150"/>
                  </a:lnTo>
                  <a:lnTo>
                    <a:pt x="127" y="150"/>
                  </a:lnTo>
                  <a:lnTo>
                    <a:pt x="127" y="148"/>
                  </a:lnTo>
                  <a:lnTo>
                    <a:pt x="127" y="148"/>
                  </a:lnTo>
                  <a:lnTo>
                    <a:pt x="125" y="146"/>
                  </a:lnTo>
                  <a:lnTo>
                    <a:pt x="125" y="146"/>
                  </a:lnTo>
                  <a:lnTo>
                    <a:pt x="125" y="146"/>
                  </a:lnTo>
                  <a:lnTo>
                    <a:pt x="125" y="144"/>
                  </a:lnTo>
                  <a:lnTo>
                    <a:pt x="125" y="144"/>
                  </a:lnTo>
                  <a:lnTo>
                    <a:pt x="125" y="144"/>
                  </a:lnTo>
                  <a:lnTo>
                    <a:pt x="125" y="142"/>
                  </a:lnTo>
                  <a:lnTo>
                    <a:pt x="125" y="142"/>
                  </a:lnTo>
                  <a:lnTo>
                    <a:pt x="123" y="140"/>
                  </a:lnTo>
                  <a:lnTo>
                    <a:pt x="121" y="140"/>
                  </a:lnTo>
                  <a:lnTo>
                    <a:pt x="121" y="140"/>
                  </a:lnTo>
                  <a:lnTo>
                    <a:pt x="121" y="138"/>
                  </a:lnTo>
                  <a:lnTo>
                    <a:pt x="121" y="138"/>
                  </a:lnTo>
                  <a:lnTo>
                    <a:pt x="121" y="138"/>
                  </a:lnTo>
                  <a:lnTo>
                    <a:pt x="121" y="138"/>
                  </a:lnTo>
                  <a:lnTo>
                    <a:pt x="121" y="136"/>
                  </a:lnTo>
                  <a:lnTo>
                    <a:pt x="121" y="136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25" y="136"/>
                  </a:lnTo>
                  <a:lnTo>
                    <a:pt x="125" y="134"/>
                  </a:lnTo>
                  <a:lnTo>
                    <a:pt x="125" y="134"/>
                  </a:lnTo>
                  <a:lnTo>
                    <a:pt x="125" y="132"/>
                  </a:lnTo>
                  <a:lnTo>
                    <a:pt x="123" y="132"/>
                  </a:lnTo>
                  <a:lnTo>
                    <a:pt x="123" y="130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5"/>
                  </a:lnTo>
                  <a:lnTo>
                    <a:pt x="129" y="123"/>
                  </a:lnTo>
                  <a:lnTo>
                    <a:pt x="131" y="121"/>
                  </a:lnTo>
                  <a:lnTo>
                    <a:pt x="133" y="121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3" y="117"/>
                  </a:lnTo>
                  <a:lnTo>
                    <a:pt x="133" y="117"/>
                  </a:lnTo>
                  <a:lnTo>
                    <a:pt x="133" y="115"/>
                  </a:lnTo>
                  <a:lnTo>
                    <a:pt x="133" y="113"/>
                  </a:lnTo>
                  <a:lnTo>
                    <a:pt x="131" y="111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5" y="107"/>
                  </a:lnTo>
                  <a:lnTo>
                    <a:pt x="135" y="103"/>
                  </a:lnTo>
                  <a:lnTo>
                    <a:pt x="135" y="103"/>
                  </a:lnTo>
                  <a:lnTo>
                    <a:pt x="135" y="101"/>
                  </a:lnTo>
                  <a:lnTo>
                    <a:pt x="137" y="97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9" y="93"/>
                  </a:lnTo>
                  <a:lnTo>
                    <a:pt x="141" y="93"/>
                  </a:lnTo>
                  <a:lnTo>
                    <a:pt x="143" y="91"/>
                  </a:lnTo>
                  <a:lnTo>
                    <a:pt x="145" y="88"/>
                  </a:lnTo>
                  <a:lnTo>
                    <a:pt x="147" y="86"/>
                  </a:lnTo>
                  <a:lnTo>
                    <a:pt x="150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4" y="82"/>
                  </a:lnTo>
                  <a:lnTo>
                    <a:pt x="156" y="82"/>
                  </a:lnTo>
                  <a:lnTo>
                    <a:pt x="158" y="82"/>
                  </a:lnTo>
                  <a:lnTo>
                    <a:pt x="160" y="82"/>
                  </a:lnTo>
                  <a:lnTo>
                    <a:pt x="162" y="8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68" y="80"/>
                  </a:lnTo>
                  <a:lnTo>
                    <a:pt x="168" y="78"/>
                  </a:lnTo>
                  <a:lnTo>
                    <a:pt x="170" y="78"/>
                  </a:lnTo>
                  <a:lnTo>
                    <a:pt x="170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74" y="76"/>
                  </a:lnTo>
                  <a:lnTo>
                    <a:pt x="176" y="76"/>
                  </a:lnTo>
                  <a:lnTo>
                    <a:pt x="178" y="76"/>
                  </a:lnTo>
                  <a:lnTo>
                    <a:pt x="178" y="78"/>
                  </a:lnTo>
                  <a:lnTo>
                    <a:pt x="180" y="78"/>
                  </a:lnTo>
                  <a:lnTo>
                    <a:pt x="180" y="78"/>
                  </a:lnTo>
                  <a:lnTo>
                    <a:pt x="180" y="78"/>
                  </a:lnTo>
                  <a:lnTo>
                    <a:pt x="182" y="80"/>
                  </a:lnTo>
                  <a:lnTo>
                    <a:pt x="182" y="80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2" y="76"/>
                  </a:lnTo>
                  <a:lnTo>
                    <a:pt x="182" y="76"/>
                  </a:lnTo>
                  <a:lnTo>
                    <a:pt x="180" y="74"/>
                  </a:lnTo>
                  <a:lnTo>
                    <a:pt x="180" y="74"/>
                  </a:lnTo>
                  <a:lnTo>
                    <a:pt x="178" y="72"/>
                  </a:lnTo>
                  <a:lnTo>
                    <a:pt x="178" y="70"/>
                  </a:lnTo>
                  <a:lnTo>
                    <a:pt x="178" y="70"/>
                  </a:lnTo>
                  <a:lnTo>
                    <a:pt x="176" y="70"/>
                  </a:lnTo>
                  <a:lnTo>
                    <a:pt x="176" y="70"/>
                  </a:lnTo>
                  <a:lnTo>
                    <a:pt x="174" y="72"/>
                  </a:lnTo>
                  <a:lnTo>
                    <a:pt x="174" y="72"/>
                  </a:lnTo>
                  <a:lnTo>
                    <a:pt x="172" y="70"/>
                  </a:lnTo>
                  <a:lnTo>
                    <a:pt x="170" y="70"/>
                  </a:lnTo>
                  <a:lnTo>
                    <a:pt x="172" y="66"/>
                  </a:lnTo>
                  <a:lnTo>
                    <a:pt x="176" y="60"/>
                  </a:lnTo>
                  <a:lnTo>
                    <a:pt x="178" y="58"/>
                  </a:lnTo>
                  <a:lnTo>
                    <a:pt x="180" y="53"/>
                  </a:lnTo>
                  <a:lnTo>
                    <a:pt x="180" y="51"/>
                  </a:lnTo>
                  <a:lnTo>
                    <a:pt x="182" y="49"/>
                  </a:lnTo>
                  <a:lnTo>
                    <a:pt x="180" y="49"/>
                  </a:lnTo>
                  <a:lnTo>
                    <a:pt x="180" y="49"/>
                  </a:lnTo>
                  <a:lnTo>
                    <a:pt x="180" y="49"/>
                  </a:lnTo>
                  <a:lnTo>
                    <a:pt x="178" y="47"/>
                  </a:lnTo>
                  <a:lnTo>
                    <a:pt x="178" y="47"/>
                  </a:lnTo>
                  <a:lnTo>
                    <a:pt x="176" y="47"/>
                  </a:lnTo>
                  <a:lnTo>
                    <a:pt x="176" y="45"/>
                  </a:lnTo>
                  <a:lnTo>
                    <a:pt x="174" y="45"/>
                  </a:lnTo>
                  <a:lnTo>
                    <a:pt x="172" y="45"/>
                  </a:lnTo>
                  <a:lnTo>
                    <a:pt x="172" y="45"/>
                  </a:lnTo>
                  <a:lnTo>
                    <a:pt x="170" y="43"/>
                  </a:lnTo>
                  <a:lnTo>
                    <a:pt x="168" y="41"/>
                  </a:lnTo>
                  <a:lnTo>
                    <a:pt x="166" y="41"/>
                  </a:lnTo>
                  <a:lnTo>
                    <a:pt x="166" y="41"/>
                  </a:lnTo>
                  <a:lnTo>
                    <a:pt x="164" y="41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0" y="43"/>
                  </a:lnTo>
                  <a:lnTo>
                    <a:pt x="160" y="43"/>
                  </a:lnTo>
                  <a:lnTo>
                    <a:pt x="158" y="41"/>
                  </a:lnTo>
                  <a:lnTo>
                    <a:pt x="158" y="41"/>
                  </a:lnTo>
                  <a:lnTo>
                    <a:pt x="156" y="41"/>
                  </a:lnTo>
                  <a:lnTo>
                    <a:pt x="154" y="39"/>
                  </a:lnTo>
                  <a:lnTo>
                    <a:pt x="154" y="39"/>
                  </a:lnTo>
                  <a:lnTo>
                    <a:pt x="152" y="41"/>
                  </a:lnTo>
                  <a:lnTo>
                    <a:pt x="152" y="41"/>
                  </a:lnTo>
                  <a:lnTo>
                    <a:pt x="150" y="43"/>
                  </a:lnTo>
                  <a:lnTo>
                    <a:pt x="150" y="43"/>
                  </a:lnTo>
                  <a:lnTo>
                    <a:pt x="147" y="43"/>
                  </a:lnTo>
                  <a:lnTo>
                    <a:pt x="145" y="43"/>
                  </a:lnTo>
                  <a:lnTo>
                    <a:pt x="145" y="45"/>
                  </a:lnTo>
                  <a:lnTo>
                    <a:pt x="143" y="45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7" y="45"/>
                  </a:lnTo>
                  <a:lnTo>
                    <a:pt x="135" y="45"/>
                  </a:lnTo>
                  <a:lnTo>
                    <a:pt x="135" y="43"/>
                  </a:lnTo>
                  <a:lnTo>
                    <a:pt x="133" y="43"/>
                  </a:lnTo>
                  <a:lnTo>
                    <a:pt x="133" y="43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31" y="37"/>
                  </a:lnTo>
                  <a:lnTo>
                    <a:pt x="131" y="35"/>
                  </a:lnTo>
                  <a:lnTo>
                    <a:pt x="131" y="33"/>
                  </a:lnTo>
                  <a:lnTo>
                    <a:pt x="129" y="33"/>
                  </a:lnTo>
                  <a:lnTo>
                    <a:pt x="129" y="33"/>
                  </a:lnTo>
                  <a:lnTo>
                    <a:pt x="127" y="33"/>
                  </a:lnTo>
                  <a:lnTo>
                    <a:pt x="127" y="33"/>
                  </a:lnTo>
                  <a:lnTo>
                    <a:pt x="125" y="31"/>
                  </a:lnTo>
                  <a:lnTo>
                    <a:pt x="125" y="31"/>
                  </a:lnTo>
                  <a:lnTo>
                    <a:pt x="125" y="29"/>
                  </a:lnTo>
                  <a:lnTo>
                    <a:pt x="125" y="27"/>
                  </a:lnTo>
                  <a:lnTo>
                    <a:pt x="125" y="27"/>
                  </a:lnTo>
                  <a:lnTo>
                    <a:pt x="123" y="25"/>
                  </a:lnTo>
                  <a:lnTo>
                    <a:pt x="123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19" y="23"/>
                  </a:lnTo>
                  <a:lnTo>
                    <a:pt x="119" y="21"/>
                  </a:lnTo>
                  <a:lnTo>
                    <a:pt x="117" y="21"/>
                  </a:lnTo>
                  <a:lnTo>
                    <a:pt x="117" y="19"/>
                  </a:lnTo>
                  <a:lnTo>
                    <a:pt x="115" y="19"/>
                  </a:lnTo>
                  <a:lnTo>
                    <a:pt x="113" y="19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4"/>
                  </a:lnTo>
                  <a:lnTo>
                    <a:pt x="111" y="14"/>
                  </a:lnTo>
                  <a:lnTo>
                    <a:pt x="111" y="12"/>
                  </a:lnTo>
                  <a:lnTo>
                    <a:pt x="111" y="10"/>
                  </a:lnTo>
                  <a:lnTo>
                    <a:pt x="108" y="10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2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4" y="6"/>
                  </a:lnTo>
                  <a:lnTo>
                    <a:pt x="94" y="8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2" y="25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90" y="31"/>
                  </a:lnTo>
                  <a:lnTo>
                    <a:pt x="86" y="35"/>
                  </a:lnTo>
                  <a:lnTo>
                    <a:pt x="84" y="39"/>
                  </a:lnTo>
                  <a:lnTo>
                    <a:pt x="82" y="41"/>
                  </a:lnTo>
                  <a:lnTo>
                    <a:pt x="80" y="43"/>
                  </a:lnTo>
                  <a:lnTo>
                    <a:pt x="78" y="45"/>
                  </a:lnTo>
                  <a:lnTo>
                    <a:pt x="74" y="47"/>
                  </a:lnTo>
                  <a:lnTo>
                    <a:pt x="72" y="49"/>
                  </a:lnTo>
                  <a:lnTo>
                    <a:pt x="67" y="49"/>
                  </a:lnTo>
                  <a:lnTo>
                    <a:pt x="63" y="51"/>
                  </a:lnTo>
                  <a:lnTo>
                    <a:pt x="61" y="53"/>
                  </a:lnTo>
                  <a:lnTo>
                    <a:pt x="59" y="53"/>
                  </a:lnTo>
                  <a:lnTo>
                    <a:pt x="55" y="56"/>
                  </a:lnTo>
                  <a:lnTo>
                    <a:pt x="53" y="56"/>
                  </a:lnTo>
                  <a:lnTo>
                    <a:pt x="53" y="60"/>
                  </a:lnTo>
                  <a:lnTo>
                    <a:pt x="51" y="60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1" y="64"/>
                  </a:lnTo>
                  <a:lnTo>
                    <a:pt x="51" y="64"/>
                  </a:lnTo>
                  <a:lnTo>
                    <a:pt x="51" y="64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7" y="62"/>
                  </a:lnTo>
                  <a:lnTo>
                    <a:pt x="47" y="64"/>
                  </a:lnTo>
                  <a:lnTo>
                    <a:pt x="47" y="66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6"/>
                  </a:lnTo>
                  <a:lnTo>
                    <a:pt x="43" y="78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3" y="82"/>
                  </a:lnTo>
                  <a:lnTo>
                    <a:pt x="43" y="82"/>
                  </a:lnTo>
                  <a:lnTo>
                    <a:pt x="43" y="82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1" y="86"/>
                  </a:lnTo>
                  <a:lnTo>
                    <a:pt x="39" y="86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91"/>
                  </a:lnTo>
                  <a:lnTo>
                    <a:pt x="39" y="91"/>
                  </a:lnTo>
                  <a:lnTo>
                    <a:pt x="37" y="91"/>
                  </a:lnTo>
                  <a:lnTo>
                    <a:pt x="37" y="93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3" y="91"/>
                  </a:lnTo>
                  <a:lnTo>
                    <a:pt x="33" y="88"/>
                  </a:lnTo>
                  <a:lnTo>
                    <a:pt x="30" y="88"/>
                  </a:lnTo>
                  <a:lnTo>
                    <a:pt x="30" y="86"/>
                  </a:lnTo>
                  <a:lnTo>
                    <a:pt x="28" y="84"/>
                  </a:lnTo>
                  <a:lnTo>
                    <a:pt x="28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2" y="80"/>
                  </a:lnTo>
                  <a:lnTo>
                    <a:pt x="20" y="80"/>
                  </a:lnTo>
                  <a:lnTo>
                    <a:pt x="18" y="78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6" y="80"/>
                  </a:lnTo>
                  <a:lnTo>
                    <a:pt x="16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6" y="78"/>
                  </a:lnTo>
                  <a:lnTo>
                    <a:pt x="14" y="78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0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6"/>
                  </a:lnTo>
                  <a:lnTo>
                    <a:pt x="16" y="66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2" y="64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6" y="72"/>
                  </a:lnTo>
                  <a:lnTo>
                    <a:pt x="2" y="78"/>
                  </a:lnTo>
                  <a:lnTo>
                    <a:pt x="0" y="80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2" y="91"/>
                  </a:lnTo>
                  <a:lnTo>
                    <a:pt x="4" y="93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3"/>
                  </a:lnTo>
                  <a:lnTo>
                    <a:pt x="8" y="105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4" y="109"/>
                  </a:lnTo>
                  <a:lnTo>
                    <a:pt x="4" y="111"/>
                  </a:lnTo>
                  <a:lnTo>
                    <a:pt x="6" y="113"/>
                  </a:lnTo>
                  <a:lnTo>
                    <a:pt x="10" y="115"/>
                  </a:lnTo>
                  <a:lnTo>
                    <a:pt x="22" y="121"/>
                  </a:lnTo>
                  <a:lnTo>
                    <a:pt x="24" y="123"/>
                  </a:lnTo>
                  <a:lnTo>
                    <a:pt x="24" y="128"/>
                  </a:lnTo>
                  <a:lnTo>
                    <a:pt x="28" y="130"/>
                  </a:lnTo>
                  <a:lnTo>
                    <a:pt x="30" y="134"/>
                  </a:lnTo>
                  <a:lnTo>
                    <a:pt x="30" y="136"/>
                  </a:lnTo>
                  <a:lnTo>
                    <a:pt x="35" y="144"/>
                  </a:lnTo>
                  <a:lnTo>
                    <a:pt x="35" y="146"/>
                  </a:lnTo>
                  <a:lnTo>
                    <a:pt x="39" y="148"/>
                  </a:lnTo>
                  <a:lnTo>
                    <a:pt x="41" y="150"/>
                  </a:lnTo>
                  <a:lnTo>
                    <a:pt x="43" y="154"/>
                  </a:lnTo>
                  <a:lnTo>
                    <a:pt x="45" y="158"/>
                  </a:lnTo>
                  <a:lnTo>
                    <a:pt x="45" y="160"/>
                  </a:lnTo>
                  <a:lnTo>
                    <a:pt x="47" y="165"/>
                  </a:lnTo>
                  <a:lnTo>
                    <a:pt x="49" y="169"/>
                  </a:lnTo>
                  <a:lnTo>
                    <a:pt x="51" y="173"/>
                  </a:lnTo>
                  <a:lnTo>
                    <a:pt x="53" y="177"/>
                  </a:lnTo>
                  <a:lnTo>
                    <a:pt x="55" y="181"/>
                  </a:lnTo>
                  <a:lnTo>
                    <a:pt x="55" y="185"/>
                  </a:lnTo>
                  <a:lnTo>
                    <a:pt x="57" y="189"/>
                  </a:lnTo>
                  <a:lnTo>
                    <a:pt x="63" y="199"/>
                  </a:lnTo>
                  <a:lnTo>
                    <a:pt x="65" y="202"/>
                  </a:lnTo>
                  <a:lnTo>
                    <a:pt x="65" y="206"/>
                  </a:lnTo>
                  <a:lnTo>
                    <a:pt x="67" y="208"/>
                  </a:lnTo>
                  <a:lnTo>
                    <a:pt x="72" y="212"/>
                  </a:lnTo>
                  <a:lnTo>
                    <a:pt x="74" y="214"/>
                  </a:lnTo>
                  <a:lnTo>
                    <a:pt x="76" y="218"/>
                  </a:lnTo>
                  <a:lnTo>
                    <a:pt x="76" y="222"/>
                  </a:lnTo>
                  <a:lnTo>
                    <a:pt x="78" y="222"/>
                  </a:lnTo>
                  <a:lnTo>
                    <a:pt x="78" y="224"/>
                  </a:lnTo>
                  <a:lnTo>
                    <a:pt x="78" y="224"/>
                  </a:lnTo>
                  <a:lnTo>
                    <a:pt x="82" y="226"/>
                  </a:lnTo>
                  <a:lnTo>
                    <a:pt x="82" y="230"/>
                  </a:lnTo>
                  <a:lnTo>
                    <a:pt x="84" y="234"/>
                  </a:lnTo>
                  <a:lnTo>
                    <a:pt x="86" y="236"/>
                  </a:lnTo>
                  <a:lnTo>
                    <a:pt x="88" y="239"/>
                  </a:lnTo>
                  <a:lnTo>
                    <a:pt x="88" y="241"/>
                  </a:lnTo>
                  <a:lnTo>
                    <a:pt x="92" y="245"/>
                  </a:lnTo>
                  <a:lnTo>
                    <a:pt x="94" y="249"/>
                  </a:lnTo>
                  <a:lnTo>
                    <a:pt x="92" y="253"/>
                  </a:lnTo>
                  <a:lnTo>
                    <a:pt x="92" y="253"/>
                  </a:lnTo>
                  <a:lnTo>
                    <a:pt x="90" y="255"/>
                  </a:lnTo>
                  <a:lnTo>
                    <a:pt x="92" y="257"/>
                  </a:lnTo>
                  <a:lnTo>
                    <a:pt x="92" y="259"/>
                  </a:lnTo>
                  <a:lnTo>
                    <a:pt x="94" y="261"/>
                  </a:lnTo>
                  <a:lnTo>
                    <a:pt x="96" y="263"/>
                  </a:lnTo>
                  <a:lnTo>
                    <a:pt x="98" y="265"/>
                  </a:lnTo>
                  <a:lnTo>
                    <a:pt x="98" y="269"/>
                  </a:lnTo>
                  <a:lnTo>
                    <a:pt x="102" y="271"/>
                  </a:lnTo>
                  <a:lnTo>
                    <a:pt x="106" y="273"/>
                  </a:lnTo>
                  <a:lnTo>
                    <a:pt x="108" y="278"/>
                  </a:lnTo>
                  <a:lnTo>
                    <a:pt x="111" y="280"/>
                  </a:lnTo>
                  <a:lnTo>
                    <a:pt x="113" y="282"/>
                  </a:lnTo>
                  <a:lnTo>
                    <a:pt x="115" y="284"/>
                  </a:lnTo>
                  <a:lnTo>
                    <a:pt x="123" y="288"/>
                  </a:lnTo>
                  <a:lnTo>
                    <a:pt x="127" y="290"/>
                  </a:lnTo>
                  <a:lnTo>
                    <a:pt x="131" y="292"/>
                  </a:lnTo>
                  <a:lnTo>
                    <a:pt x="135" y="296"/>
                  </a:lnTo>
                  <a:lnTo>
                    <a:pt x="137" y="298"/>
                  </a:lnTo>
                  <a:lnTo>
                    <a:pt x="143" y="300"/>
                  </a:lnTo>
                  <a:lnTo>
                    <a:pt x="145" y="300"/>
                  </a:lnTo>
                  <a:lnTo>
                    <a:pt x="150" y="304"/>
                  </a:lnTo>
                  <a:lnTo>
                    <a:pt x="154" y="304"/>
                  </a:lnTo>
                  <a:lnTo>
                    <a:pt x="158" y="306"/>
                  </a:lnTo>
                  <a:lnTo>
                    <a:pt x="160" y="308"/>
                  </a:lnTo>
                  <a:lnTo>
                    <a:pt x="162" y="311"/>
                  </a:lnTo>
                  <a:lnTo>
                    <a:pt x="166" y="313"/>
                  </a:lnTo>
                  <a:lnTo>
                    <a:pt x="168" y="313"/>
                  </a:lnTo>
                  <a:lnTo>
                    <a:pt x="170" y="315"/>
                  </a:lnTo>
                  <a:lnTo>
                    <a:pt x="170" y="317"/>
                  </a:lnTo>
                  <a:lnTo>
                    <a:pt x="174" y="317"/>
                  </a:lnTo>
                  <a:lnTo>
                    <a:pt x="176" y="319"/>
                  </a:lnTo>
                  <a:lnTo>
                    <a:pt x="176" y="321"/>
                  </a:lnTo>
                  <a:lnTo>
                    <a:pt x="178" y="323"/>
                  </a:lnTo>
                  <a:lnTo>
                    <a:pt x="178" y="325"/>
                  </a:lnTo>
                  <a:lnTo>
                    <a:pt x="184" y="329"/>
                  </a:lnTo>
                  <a:lnTo>
                    <a:pt x="187" y="329"/>
                  </a:lnTo>
                  <a:lnTo>
                    <a:pt x="189" y="331"/>
                  </a:lnTo>
                  <a:lnTo>
                    <a:pt x="193" y="335"/>
                  </a:lnTo>
                  <a:lnTo>
                    <a:pt x="195" y="337"/>
                  </a:lnTo>
                  <a:lnTo>
                    <a:pt x="195" y="337"/>
                  </a:lnTo>
                  <a:lnTo>
                    <a:pt x="197" y="337"/>
                  </a:lnTo>
                  <a:lnTo>
                    <a:pt x="199" y="337"/>
                  </a:lnTo>
                  <a:lnTo>
                    <a:pt x="201" y="335"/>
                  </a:lnTo>
                  <a:lnTo>
                    <a:pt x="203" y="335"/>
                  </a:lnTo>
                  <a:lnTo>
                    <a:pt x="203" y="333"/>
                  </a:lnTo>
                  <a:lnTo>
                    <a:pt x="205" y="331"/>
                  </a:lnTo>
                  <a:lnTo>
                    <a:pt x="203" y="329"/>
                  </a:lnTo>
                  <a:lnTo>
                    <a:pt x="203" y="327"/>
                  </a:lnTo>
                  <a:lnTo>
                    <a:pt x="203" y="325"/>
                  </a:lnTo>
                  <a:lnTo>
                    <a:pt x="203" y="325"/>
                  </a:lnTo>
                  <a:lnTo>
                    <a:pt x="205" y="325"/>
                  </a:lnTo>
                  <a:lnTo>
                    <a:pt x="207" y="323"/>
                  </a:lnTo>
                  <a:lnTo>
                    <a:pt x="207" y="321"/>
                  </a:lnTo>
                  <a:lnTo>
                    <a:pt x="207" y="321"/>
                  </a:lnTo>
                  <a:lnTo>
                    <a:pt x="207" y="321"/>
                  </a:lnTo>
                  <a:lnTo>
                    <a:pt x="207" y="319"/>
                  </a:lnTo>
                  <a:lnTo>
                    <a:pt x="207" y="319"/>
                  </a:lnTo>
                  <a:lnTo>
                    <a:pt x="205" y="317"/>
                  </a:lnTo>
                  <a:lnTo>
                    <a:pt x="205" y="317"/>
                  </a:lnTo>
                  <a:lnTo>
                    <a:pt x="205" y="317"/>
                  </a:lnTo>
                  <a:lnTo>
                    <a:pt x="207" y="315"/>
                  </a:lnTo>
                  <a:lnTo>
                    <a:pt x="207" y="315"/>
                  </a:lnTo>
                  <a:lnTo>
                    <a:pt x="209" y="313"/>
                  </a:lnTo>
                  <a:lnTo>
                    <a:pt x="209" y="313"/>
                  </a:lnTo>
                  <a:lnTo>
                    <a:pt x="211" y="311"/>
                  </a:lnTo>
                  <a:lnTo>
                    <a:pt x="211" y="308"/>
                  </a:lnTo>
                  <a:lnTo>
                    <a:pt x="211" y="306"/>
                  </a:lnTo>
                  <a:lnTo>
                    <a:pt x="213" y="306"/>
                  </a:lnTo>
                  <a:lnTo>
                    <a:pt x="213" y="306"/>
                  </a:lnTo>
                  <a:lnTo>
                    <a:pt x="213" y="304"/>
                  </a:lnTo>
                  <a:lnTo>
                    <a:pt x="213" y="302"/>
                  </a:lnTo>
                  <a:lnTo>
                    <a:pt x="213" y="302"/>
                  </a:lnTo>
                  <a:lnTo>
                    <a:pt x="215" y="300"/>
                  </a:lnTo>
                  <a:lnTo>
                    <a:pt x="215" y="300"/>
                  </a:lnTo>
                  <a:lnTo>
                    <a:pt x="215" y="300"/>
                  </a:lnTo>
                  <a:lnTo>
                    <a:pt x="215" y="30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3" name="Freeform 78">
              <a:extLst>
                <a:ext uri="{FF2B5EF4-FFF2-40B4-BE49-F238E27FC236}">
                  <a16:creationId xmlns:a16="http://schemas.microsoft.com/office/drawing/2014/main" id="{CAC0D364-0B3D-E840-A060-926A331E5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2609" y="3953744"/>
              <a:ext cx="163998" cy="180635"/>
            </a:xfrm>
            <a:custGeom>
              <a:avLst/>
              <a:gdLst>
                <a:gd name="T0" fmla="*/ 134 w 138"/>
                <a:gd name="T1" fmla="*/ 84 h 152"/>
                <a:gd name="T2" fmla="*/ 127 w 138"/>
                <a:gd name="T3" fmla="*/ 84 h 152"/>
                <a:gd name="T4" fmla="*/ 121 w 138"/>
                <a:gd name="T5" fmla="*/ 86 h 152"/>
                <a:gd name="T6" fmla="*/ 117 w 138"/>
                <a:gd name="T7" fmla="*/ 82 h 152"/>
                <a:gd name="T8" fmla="*/ 115 w 138"/>
                <a:gd name="T9" fmla="*/ 76 h 152"/>
                <a:gd name="T10" fmla="*/ 113 w 138"/>
                <a:gd name="T11" fmla="*/ 70 h 152"/>
                <a:gd name="T12" fmla="*/ 113 w 138"/>
                <a:gd name="T13" fmla="*/ 63 h 152"/>
                <a:gd name="T14" fmla="*/ 111 w 138"/>
                <a:gd name="T15" fmla="*/ 57 h 152"/>
                <a:gd name="T16" fmla="*/ 105 w 138"/>
                <a:gd name="T17" fmla="*/ 55 h 152"/>
                <a:gd name="T18" fmla="*/ 99 w 138"/>
                <a:gd name="T19" fmla="*/ 51 h 152"/>
                <a:gd name="T20" fmla="*/ 97 w 138"/>
                <a:gd name="T21" fmla="*/ 55 h 152"/>
                <a:gd name="T22" fmla="*/ 90 w 138"/>
                <a:gd name="T23" fmla="*/ 55 h 152"/>
                <a:gd name="T24" fmla="*/ 82 w 138"/>
                <a:gd name="T25" fmla="*/ 53 h 152"/>
                <a:gd name="T26" fmla="*/ 76 w 138"/>
                <a:gd name="T27" fmla="*/ 53 h 152"/>
                <a:gd name="T28" fmla="*/ 74 w 138"/>
                <a:gd name="T29" fmla="*/ 49 h 152"/>
                <a:gd name="T30" fmla="*/ 74 w 138"/>
                <a:gd name="T31" fmla="*/ 45 h 152"/>
                <a:gd name="T32" fmla="*/ 74 w 138"/>
                <a:gd name="T33" fmla="*/ 39 h 152"/>
                <a:gd name="T34" fmla="*/ 74 w 138"/>
                <a:gd name="T35" fmla="*/ 35 h 152"/>
                <a:gd name="T36" fmla="*/ 74 w 138"/>
                <a:gd name="T37" fmla="*/ 28 h 152"/>
                <a:gd name="T38" fmla="*/ 72 w 138"/>
                <a:gd name="T39" fmla="*/ 26 h 152"/>
                <a:gd name="T40" fmla="*/ 70 w 138"/>
                <a:gd name="T41" fmla="*/ 20 h 152"/>
                <a:gd name="T42" fmla="*/ 68 w 138"/>
                <a:gd name="T43" fmla="*/ 16 h 152"/>
                <a:gd name="T44" fmla="*/ 58 w 138"/>
                <a:gd name="T45" fmla="*/ 4 h 152"/>
                <a:gd name="T46" fmla="*/ 23 w 138"/>
                <a:gd name="T47" fmla="*/ 4 h 152"/>
                <a:gd name="T48" fmla="*/ 8 w 138"/>
                <a:gd name="T49" fmla="*/ 14 h 152"/>
                <a:gd name="T50" fmla="*/ 4 w 138"/>
                <a:gd name="T51" fmla="*/ 33 h 152"/>
                <a:gd name="T52" fmla="*/ 0 w 138"/>
                <a:gd name="T53" fmla="*/ 55 h 152"/>
                <a:gd name="T54" fmla="*/ 8 w 138"/>
                <a:gd name="T55" fmla="*/ 61 h 152"/>
                <a:gd name="T56" fmla="*/ 21 w 138"/>
                <a:gd name="T57" fmla="*/ 74 h 152"/>
                <a:gd name="T58" fmla="*/ 29 w 138"/>
                <a:gd name="T59" fmla="*/ 80 h 152"/>
                <a:gd name="T60" fmla="*/ 45 w 138"/>
                <a:gd name="T61" fmla="*/ 86 h 152"/>
                <a:gd name="T62" fmla="*/ 60 w 138"/>
                <a:gd name="T63" fmla="*/ 96 h 152"/>
                <a:gd name="T64" fmla="*/ 76 w 138"/>
                <a:gd name="T65" fmla="*/ 105 h 152"/>
                <a:gd name="T66" fmla="*/ 86 w 138"/>
                <a:gd name="T67" fmla="*/ 111 h 152"/>
                <a:gd name="T68" fmla="*/ 86 w 138"/>
                <a:gd name="T69" fmla="*/ 117 h 152"/>
                <a:gd name="T70" fmla="*/ 84 w 138"/>
                <a:gd name="T71" fmla="*/ 123 h 152"/>
                <a:gd name="T72" fmla="*/ 82 w 138"/>
                <a:gd name="T73" fmla="*/ 127 h 152"/>
                <a:gd name="T74" fmla="*/ 80 w 138"/>
                <a:gd name="T75" fmla="*/ 131 h 152"/>
                <a:gd name="T76" fmla="*/ 80 w 138"/>
                <a:gd name="T77" fmla="*/ 137 h 152"/>
                <a:gd name="T78" fmla="*/ 80 w 138"/>
                <a:gd name="T79" fmla="*/ 140 h 152"/>
                <a:gd name="T80" fmla="*/ 76 w 138"/>
                <a:gd name="T81" fmla="*/ 144 h 152"/>
                <a:gd name="T82" fmla="*/ 97 w 138"/>
                <a:gd name="T83" fmla="*/ 150 h 152"/>
                <a:gd name="T84" fmla="*/ 107 w 138"/>
                <a:gd name="T85" fmla="*/ 152 h 152"/>
                <a:gd name="T86" fmla="*/ 113 w 138"/>
                <a:gd name="T87" fmla="*/ 150 h 152"/>
                <a:gd name="T88" fmla="*/ 119 w 138"/>
                <a:gd name="T89" fmla="*/ 148 h 152"/>
                <a:gd name="T90" fmla="*/ 123 w 138"/>
                <a:gd name="T91" fmla="*/ 146 h 152"/>
                <a:gd name="T92" fmla="*/ 127 w 138"/>
                <a:gd name="T93" fmla="*/ 142 h 152"/>
                <a:gd name="T94" fmla="*/ 132 w 138"/>
                <a:gd name="T95" fmla="*/ 137 h 152"/>
                <a:gd name="T96" fmla="*/ 136 w 138"/>
                <a:gd name="T97" fmla="*/ 133 h 152"/>
                <a:gd name="T98" fmla="*/ 136 w 138"/>
                <a:gd name="T99" fmla="*/ 109 h 152"/>
                <a:gd name="T100" fmla="*/ 138 w 138"/>
                <a:gd name="T101" fmla="*/ 9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8" h="152">
                  <a:moveTo>
                    <a:pt x="136" y="88"/>
                  </a:moveTo>
                  <a:lnTo>
                    <a:pt x="138" y="88"/>
                  </a:lnTo>
                  <a:lnTo>
                    <a:pt x="138" y="88"/>
                  </a:lnTo>
                  <a:lnTo>
                    <a:pt x="136" y="86"/>
                  </a:lnTo>
                  <a:lnTo>
                    <a:pt x="134" y="84"/>
                  </a:lnTo>
                  <a:lnTo>
                    <a:pt x="132" y="84"/>
                  </a:lnTo>
                  <a:lnTo>
                    <a:pt x="132" y="84"/>
                  </a:lnTo>
                  <a:lnTo>
                    <a:pt x="129" y="84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7" y="86"/>
                  </a:lnTo>
                  <a:lnTo>
                    <a:pt x="125" y="86"/>
                  </a:lnTo>
                  <a:lnTo>
                    <a:pt x="123" y="86"/>
                  </a:lnTo>
                  <a:lnTo>
                    <a:pt x="123" y="86"/>
                  </a:lnTo>
                  <a:lnTo>
                    <a:pt x="121" y="86"/>
                  </a:lnTo>
                  <a:lnTo>
                    <a:pt x="119" y="86"/>
                  </a:lnTo>
                  <a:lnTo>
                    <a:pt x="119" y="86"/>
                  </a:lnTo>
                  <a:lnTo>
                    <a:pt x="117" y="84"/>
                  </a:lnTo>
                  <a:lnTo>
                    <a:pt x="117" y="82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5" y="80"/>
                  </a:lnTo>
                  <a:lnTo>
                    <a:pt x="115" y="78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5" y="74"/>
                  </a:lnTo>
                  <a:lnTo>
                    <a:pt x="115" y="72"/>
                  </a:lnTo>
                  <a:lnTo>
                    <a:pt x="113" y="70"/>
                  </a:lnTo>
                  <a:lnTo>
                    <a:pt x="113" y="70"/>
                  </a:lnTo>
                  <a:lnTo>
                    <a:pt x="113" y="68"/>
                  </a:lnTo>
                  <a:lnTo>
                    <a:pt x="113" y="65"/>
                  </a:lnTo>
                  <a:lnTo>
                    <a:pt x="113" y="65"/>
                  </a:lnTo>
                  <a:lnTo>
                    <a:pt x="113" y="63"/>
                  </a:lnTo>
                  <a:lnTo>
                    <a:pt x="113" y="61"/>
                  </a:lnTo>
                  <a:lnTo>
                    <a:pt x="113" y="61"/>
                  </a:lnTo>
                  <a:lnTo>
                    <a:pt x="111" y="61"/>
                  </a:lnTo>
                  <a:lnTo>
                    <a:pt x="111" y="59"/>
                  </a:lnTo>
                  <a:lnTo>
                    <a:pt x="111" y="57"/>
                  </a:lnTo>
                  <a:lnTo>
                    <a:pt x="109" y="57"/>
                  </a:lnTo>
                  <a:lnTo>
                    <a:pt x="109" y="55"/>
                  </a:lnTo>
                  <a:lnTo>
                    <a:pt x="107" y="55"/>
                  </a:lnTo>
                  <a:lnTo>
                    <a:pt x="107" y="55"/>
                  </a:lnTo>
                  <a:lnTo>
                    <a:pt x="105" y="55"/>
                  </a:lnTo>
                  <a:lnTo>
                    <a:pt x="103" y="55"/>
                  </a:lnTo>
                  <a:lnTo>
                    <a:pt x="103" y="55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9" y="51"/>
                  </a:lnTo>
                  <a:lnTo>
                    <a:pt x="99" y="51"/>
                  </a:lnTo>
                  <a:lnTo>
                    <a:pt x="97" y="51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97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3" y="55"/>
                  </a:lnTo>
                  <a:lnTo>
                    <a:pt x="90" y="55"/>
                  </a:lnTo>
                  <a:lnTo>
                    <a:pt x="90" y="55"/>
                  </a:lnTo>
                  <a:lnTo>
                    <a:pt x="88" y="53"/>
                  </a:lnTo>
                  <a:lnTo>
                    <a:pt x="86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2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78" y="51"/>
                  </a:lnTo>
                  <a:lnTo>
                    <a:pt x="78" y="51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7"/>
                  </a:lnTo>
                  <a:lnTo>
                    <a:pt x="74" y="47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4" y="33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2" y="28"/>
                  </a:lnTo>
                  <a:lnTo>
                    <a:pt x="74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6"/>
                  </a:lnTo>
                  <a:lnTo>
                    <a:pt x="68" y="14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1" y="0"/>
                  </a:lnTo>
                  <a:lnTo>
                    <a:pt x="43" y="0"/>
                  </a:lnTo>
                  <a:lnTo>
                    <a:pt x="37" y="0"/>
                  </a:lnTo>
                  <a:lnTo>
                    <a:pt x="29" y="2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10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20"/>
                  </a:lnTo>
                  <a:lnTo>
                    <a:pt x="2" y="24"/>
                  </a:lnTo>
                  <a:lnTo>
                    <a:pt x="4" y="28"/>
                  </a:lnTo>
                  <a:lnTo>
                    <a:pt x="4" y="33"/>
                  </a:lnTo>
                  <a:lnTo>
                    <a:pt x="2" y="39"/>
                  </a:lnTo>
                  <a:lnTo>
                    <a:pt x="2" y="45"/>
                  </a:lnTo>
                  <a:lnTo>
                    <a:pt x="2" y="49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2" y="57"/>
                  </a:lnTo>
                  <a:lnTo>
                    <a:pt x="6" y="57"/>
                  </a:lnTo>
                  <a:lnTo>
                    <a:pt x="8" y="61"/>
                  </a:lnTo>
                  <a:lnTo>
                    <a:pt x="10" y="65"/>
                  </a:lnTo>
                  <a:lnTo>
                    <a:pt x="14" y="70"/>
                  </a:lnTo>
                  <a:lnTo>
                    <a:pt x="17" y="72"/>
                  </a:lnTo>
                  <a:lnTo>
                    <a:pt x="19" y="74"/>
                  </a:lnTo>
                  <a:lnTo>
                    <a:pt x="21" y="74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3" y="76"/>
                  </a:lnTo>
                  <a:lnTo>
                    <a:pt x="27" y="78"/>
                  </a:lnTo>
                  <a:lnTo>
                    <a:pt x="29" y="80"/>
                  </a:lnTo>
                  <a:lnTo>
                    <a:pt x="29" y="82"/>
                  </a:lnTo>
                  <a:lnTo>
                    <a:pt x="33" y="84"/>
                  </a:lnTo>
                  <a:lnTo>
                    <a:pt x="39" y="86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9" y="88"/>
                  </a:lnTo>
                  <a:lnTo>
                    <a:pt x="54" y="92"/>
                  </a:lnTo>
                  <a:lnTo>
                    <a:pt x="56" y="94"/>
                  </a:lnTo>
                  <a:lnTo>
                    <a:pt x="58" y="94"/>
                  </a:lnTo>
                  <a:lnTo>
                    <a:pt x="60" y="96"/>
                  </a:lnTo>
                  <a:lnTo>
                    <a:pt x="68" y="100"/>
                  </a:lnTo>
                  <a:lnTo>
                    <a:pt x="72" y="102"/>
                  </a:lnTo>
                  <a:lnTo>
                    <a:pt x="74" y="102"/>
                  </a:lnTo>
                  <a:lnTo>
                    <a:pt x="74" y="105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8" y="105"/>
                  </a:lnTo>
                  <a:lnTo>
                    <a:pt x="80" y="107"/>
                  </a:lnTo>
                  <a:lnTo>
                    <a:pt x="84" y="107"/>
                  </a:lnTo>
                  <a:lnTo>
                    <a:pt x="86" y="111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88" y="115"/>
                  </a:lnTo>
                  <a:lnTo>
                    <a:pt x="88" y="117"/>
                  </a:lnTo>
                  <a:lnTo>
                    <a:pt x="86" y="117"/>
                  </a:lnTo>
                  <a:lnTo>
                    <a:pt x="86" y="117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4" y="121"/>
                  </a:lnTo>
                  <a:lnTo>
                    <a:pt x="84" y="123"/>
                  </a:lnTo>
                  <a:lnTo>
                    <a:pt x="84" y="123"/>
                  </a:lnTo>
                  <a:lnTo>
                    <a:pt x="84" y="125"/>
                  </a:lnTo>
                  <a:lnTo>
                    <a:pt x="82" y="125"/>
                  </a:lnTo>
                  <a:lnTo>
                    <a:pt x="82" y="127"/>
                  </a:lnTo>
                  <a:lnTo>
                    <a:pt x="82" y="127"/>
                  </a:lnTo>
                  <a:lnTo>
                    <a:pt x="82" y="127"/>
                  </a:lnTo>
                  <a:lnTo>
                    <a:pt x="80" y="129"/>
                  </a:lnTo>
                  <a:lnTo>
                    <a:pt x="80" y="129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2" y="133"/>
                  </a:lnTo>
                  <a:lnTo>
                    <a:pt x="82" y="135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0" y="137"/>
                  </a:lnTo>
                  <a:lnTo>
                    <a:pt x="80" y="137"/>
                  </a:lnTo>
                  <a:lnTo>
                    <a:pt x="80" y="137"/>
                  </a:lnTo>
                  <a:lnTo>
                    <a:pt x="80" y="140"/>
                  </a:lnTo>
                  <a:lnTo>
                    <a:pt x="80" y="140"/>
                  </a:lnTo>
                  <a:lnTo>
                    <a:pt x="80" y="140"/>
                  </a:lnTo>
                  <a:lnTo>
                    <a:pt x="78" y="140"/>
                  </a:lnTo>
                  <a:lnTo>
                    <a:pt x="78" y="142"/>
                  </a:lnTo>
                  <a:lnTo>
                    <a:pt x="78" y="142"/>
                  </a:lnTo>
                  <a:lnTo>
                    <a:pt x="78" y="144"/>
                  </a:lnTo>
                  <a:lnTo>
                    <a:pt x="76" y="144"/>
                  </a:lnTo>
                  <a:lnTo>
                    <a:pt x="76" y="146"/>
                  </a:lnTo>
                  <a:lnTo>
                    <a:pt x="76" y="148"/>
                  </a:lnTo>
                  <a:lnTo>
                    <a:pt x="84" y="148"/>
                  </a:lnTo>
                  <a:lnTo>
                    <a:pt x="88" y="148"/>
                  </a:lnTo>
                  <a:lnTo>
                    <a:pt x="97" y="150"/>
                  </a:lnTo>
                  <a:lnTo>
                    <a:pt x="101" y="150"/>
                  </a:lnTo>
                  <a:lnTo>
                    <a:pt x="103" y="150"/>
                  </a:lnTo>
                  <a:lnTo>
                    <a:pt x="105" y="150"/>
                  </a:lnTo>
                  <a:lnTo>
                    <a:pt x="105" y="150"/>
                  </a:lnTo>
                  <a:lnTo>
                    <a:pt x="107" y="152"/>
                  </a:lnTo>
                  <a:lnTo>
                    <a:pt x="109" y="150"/>
                  </a:lnTo>
                  <a:lnTo>
                    <a:pt x="111" y="150"/>
                  </a:lnTo>
                  <a:lnTo>
                    <a:pt x="111" y="152"/>
                  </a:lnTo>
                  <a:lnTo>
                    <a:pt x="113" y="152"/>
                  </a:lnTo>
                  <a:lnTo>
                    <a:pt x="113" y="150"/>
                  </a:lnTo>
                  <a:lnTo>
                    <a:pt x="115" y="148"/>
                  </a:lnTo>
                  <a:lnTo>
                    <a:pt x="115" y="148"/>
                  </a:lnTo>
                  <a:lnTo>
                    <a:pt x="117" y="148"/>
                  </a:lnTo>
                  <a:lnTo>
                    <a:pt x="119" y="148"/>
                  </a:lnTo>
                  <a:lnTo>
                    <a:pt x="119" y="148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3" y="148"/>
                  </a:lnTo>
                  <a:lnTo>
                    <a:pt x="123" y="148"/>
                  </a:lnTo>
                  <a:lnTo>
                    <a:pt x="123" y="146"/>
                  </a:lnTo>
                  <a:lnTo>
                    <a:pt x="123" y="144"/>
                  </a:lnTo>
                  <a:lnTo>
                    <a:pt x="125" y="144"/>
                  </a:lnTo>
                  <a:lnTo>
                    <a:pt x="125" y="144"/>
                  </a:lnTo>
                  <a:lnTo>
                    <a:pt x="125" y="142"/>
                  </a:lnTo>
                  <a:lnTo>
                    <a:pt x="127" y="142"/>
                  </a:lnTo>
                  <a:lnTo>
                    <a:pt x="129" y="142"/>
                  </a:lnTo>
                  <a:lnTo>
                    <a:pt x="129" y="140"/>
                  </a:lnTo>
                  <a:lnTo>
                    <a:pt x="129" y="140"/>
                  </a:lnTo>
                  <a:lnTo>
                    <a:pt x="132" y="140"/>
                  </a:lnTo>
                  <a:lnTo>
                    <a:pt x="132" y="137"/>
                  </a:lnTo>
                  <a:lnTo>
                    <a:pt x="134" y="137"/>
                  </a:lnTo>
                  <a:lnTo>
                    <a:pt x="134" y="135"/>
                  </a:lnTo>
                  <a:lnTo>
                    <a:pt x="134" y="135"/>
                  </a:lnTo>
                  <a:lnTo>
                    <a:pt x="134" y="135"/>
                  </a:lnTo>
                  <a:lnTo>
                    <a:pt x="136" y="133"/>
                  </a:lnTo>
                  <a:lnTo>
                    <a:pt x="136" y="129"/>
                  </a:lnTo>
                  <a:lnTo>
                    <a:pt x="136" y="123"/>
                  </a:lnTo>
                  <a:lnTo>
                    <a:pt x="136" y="115"/>
                  </a:lnTo>
                  <a:lnTo>
                    <a:pt x="136" y="113"/>
                  </a:lnTo>
                  <a:lnTo>
                    <a:pt x="136" y="109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6" y="102"/>
                  </a:lnTo>
                  <a:lnTo>
                    <a:pt x="138" y="96"/>
                  </a:lnTo>
                  <a:lnTo>
                    <a:pt x="138" y="92"/>
                  </a:lnTo>
                  <a:lnTo>
                    <a:pt x="136" y="90"/>
                  </a:lnTo>
                  <a:lnTo>
                    <a:pt x="136" y="88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4" name="Freeform 80">
              <a:extLst>
                <a:ext uri="{FF2B5EF4-FFF2-40B4-BE49-F238E27FC236}">
                  <a16:creationId xmlns:a16="http://schemas.microsoft.com/office/drawing/2014/main" id="{37F1120E-9C30-914D-A4C8-BBAA10FF47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4730" y="3323456"/>
              <a:ext cx="111708" cy="53477"/>
            </a:xfrm>
            <a:custGeom>
              <a:avLst/>
              <a:gdLst>
                <a:gd name="T0" fmla="*/ 21 w 94"/>
                <a:gd name="T1" fmla="*/ 37 h 45"/>
                <a:gd name="T2" fmla="*/ 19 w 94"/>
                <a:gd name="T3" fmla="*/ 39 h 45"/>
                <a:gd name="T4" fmla="*/ 23 w 94"/>
                <a:gd name="T5" fmla="*/ 43 h 45"/>
                <a:gd name="T6" fmla="*/ 64 w 94"/>
                <a:gd name="T7" fmla="*/ 25 h 45"/>
                <a:gd name="T8" fmla="*/ 64 w 94"/>
                <a:gd name="T9" fmla="*/ 25 h 45"/>
                <a:gd name="T10" fmla="*/ 66 w 94"/>
                <a:gd name="T11" fmla="*/ 23 h 45"/>
                <a:gd name="T12" fmla="*/ 68 w 94"/>
                <a:gd name="T13" fmla="*/ 25 h 45"/>
                <a:gd name="T14" fmla="*/ 14 w 94"/>
                <a:gd name="T15" fmla="*/ 4 h 45"/>
                <a:gd name="T16" fmla="*/ 14 w 94"/>
                <a:gd name="T17" fmla="*/ 6 h 45"/>
                <a:gd name="T18" fmla="*/ 92 w 94"/>
                <a:gd name="T19" fmla="*/ 25 h 45"/>
                <a:gd name="T20" fmla="*/ 90 w 94"/>
                <a:gd name="T21" fmla="*/ 21 h 45"/>
                <a:gd name="T22" fmla="*/ 86 w 94"/>
                <a:gd name="T23" fmla="*/ 10 h 45"/>
                <a:gd name="T24" fmla="*/ 68 w 94"/>
                <a:gd name="T25" fmla="*/ 4 h 45"/>
                <a:gd name="T26" fmla="*/ 64 w 94"/>
                <a:gd name="T27" fmla="*/ 2 h 45"/>
                <a:gd name="T28" fmla="*/ 55 w 94"/>
                <a:gd name="T29" fmla="*/ 2 h 45"/>
                <a:gd name="T30" fmla="*/ 49 w 94"/>
                <a:gd name="T31" fmla="*/ 8 h 45"/>
                <a:gd name="T32" fmla="*/ 33 w 94"/>
                <a:gd name="T33" fmla="*/ 15 h 45"/>
                <a:gd name="T34" fmla="*/ 23 w 94"/>
                <a:gd name="T35" fmla="*/ 13 h 45"/>
                <a:gd name="T36" fmla="*/ 21 w 94"/>
                <a:gd name="T37" fmla="*/ 10 h 45"/>
                <a:gd name="T38" fmla="*/ 21 w 94"/>
                <a:gd name="T39" fmla="*/ 13 h 45"/>
                <a:gd name="T40" fmla="*/ 14 w 94"/>
                <a:gd name="T41" fmla="*/ 8 h 45"/>
                <a:gd name="T42" fmla="*/ 14 w 94"/>
                <a:gd name="T43" fmla="*/ 8 h 45"/>
                <a:gd name="T44" fmla="*/ 12 w 94"/>
                <a:gd name="T45" fmla="*/ 4 h 45"/>
                <a:gd name="T46" fmla="*/ 10 w 94"/>
                <a:gd name="T47" fmla="*/ 2 h 45"/>
                <a:gd name="T48" fmla="*/ 6 w 94"/>
                <a:gd name="T49" fmla="*/ 0 h 45"/>
                <a:gd name="T50" fmla="*/ 4 w 94"/>
                <a:gd name="T51" fmla="*/ 2 h 45"/>
                <a:gd name="T52" fmla="*/ 4 w 94"/>
                <a:gd name="T53" fmla="*/ 10 h 45"/>
                <a:gd name="T54" fmla="*/ 6 w 94"/>
                <a:gd name="T55" fmla="*/ 15 h 45"/>
                <a:gd name="T56" fmla="*/ 4 w 94"/>
                <a:gd name="T57" fmla="*/ 19 h 45"/>
                <a:gd name="T58" fmla="*/ 2 w 94"/>
                <a:gd name="T59" fmla="*/ 23 h 45"/>
                <a:gd name="T60" fmla="*/ 2 w 94"/>
                <a:gd name="T61" fmla="*/ 27 h 45"/>
                <a:gd name="T62" fmla="*/ 4 w 94"/>
                <a:gd name="T63" fmla="*/ 25 h 45"/>
                <a:gd name="T64" fmla="*/ 12 w 94"/>
                <a:gd name="T65" fmla="*/ 25 h 45"/>
                <a:gd name="T66" fmla="*/ 16 w 94"/>
                <a:gd name="T67" fmla="*/ 27 h 45"/>
                <a:gd name="T68" fmla="*/ 23 w 94"/>
                <a:gd name="T69" fmla="*/ 29 h 45"/>
                <a:gd name="T70" fmla="*/ 29 w 94"/>
                <a:gd name="T71" fmla="*/ 37 h 45"/>
                <a:gd name="T72" fmla="*/ 31 w 94"/>
                <a:gd name="T73" fmla="*/ 33 h 45"/>
                <a:gd name="T74" fmla="*/ 35 w 94"/>
                <a:gd name="T75" fmla="*/ 41 h 45"/>
                <a:gd name="T76" fmla="*/ 41 w 94"/>
                <a:gd name="T77" fmla="*/ 43 h 45"/>
                <a:gd name="T78" fmla="*/ 47 w 94"/>
                <a:gd name="T79" fmla="*/ 41 h 45"/>
                <a:gd name="T80" fmla="*/ 47 w 94"/>
                <a:gd name="T81" fmla="*/ 37 h 45"/>
                <a:gd name="T82" fmla="*/ 41 w 94"/>
                <a:gd name="T83" fmla="*/ 29 h 45"/>
                <a:gd name="T84" fmla="*/ 43 w 94"/>
                <a:gd name="T85" fmla="*/ 25 h 45"/>
                <a:gd name="T86" fmla="*/ 53 w 94"/>
                <a:gd name="T87" fmla="*/ 19 h 45"/>
                <a:gd name="T88" fmla="*/ 58 w 94"/>
                <a:gd name="T89" fmla="*/ 15 h 45"/>
                <a:gd name="T90" fmla="*/ 62 w 94"/>
                <a:gd name="T91" fmla="*/ 10 h 45"/>
                <a:gd name="T92" fmla="*/ 70 w 94"/>
                <a:gd name="T93" fmla="*/ 15 h 45"/>
                <a:gd name="T94" fmla="*/ 74 w 94"/>
                <a:gd name="T95" fmla="*/ 19 h 45"/>
                <a:gd name="T96" fmla="*/ 76 w 94"/>
                <a:gd name="T97" fmla="*/ 23 h 45"/>
                <a:gd name="T98" fmla="*/ 76 w 94"/>
                <a:gd name="T99" fmla="*/ 21 h 45"/>
                <a:gd name="T100" fmla="*/ 78 w 94"/>
                <a:gd name="T101" fmla="*/ 23 h 45"/>
                <a:gd name="T102" fmla="*/ 82 w 94"/>
                <a:gd name="T103" fmla="*/ 23 h 45"/>
                <a:gd name="T104" fmla="*/ 84 w 94"/>
                <a:gd name="T105" fmla="*/ 27 h 45"/>
                <a:gd name="T106" fmla="*/ 80 w 94"/>
                <a:gd name="T107" fmla="*/ 23 h 45"/>
                <a:gd name="T108" fmla="*/ 78 w 94"/>
                <a:gd name="T109" fmla="*/ 29 h 45"/>
                <a:gd name="T110" fmla="*/ 76 w 94"/>
                <a:gd name="T111" fmla="*/ 31 h 45"/>
                <a:gd name="T112" fmla="*/ 84 w 94"/>
                <a:gd name="T113" fmla="*/ 41 h 45"/>
                <a:gd name="T114" fmla="*/ 86 w 94"/>
                <a:gd name="T115" fmla="*/ 35 h 45"/>
                <a:gd name="T116" fmla="*/ 86 w 94"/>
                <a:gd name="T117" fmla="*/ 37 h 45"/>
                <a:gd name="T118" fmla="*/ 92 w 94"/>
                <a:gd name="T119" fmla="*/ 35 h 45"/>
                <a:gd name="T120" fmla="*/ 94 w 94"/>
                <a:gd name="T121" fmla="*/ 3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4" h="45">
                  <a:moveTo>
                    <a:pt x="21" y="41"/>
                  </a:moveTo>
                  <a:lnTo>
                    <a:pt x="21" y="39"/>
                  </a:lnTo>
                  <a:lnTo>
                    <a:pt x="23" y="39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21" y="41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1"/>
                  </a:lnTo>
                  <a:lnTo>
                    <a:pt x="21" y="41"/>
                  </a:lnTo>
                  <a:close/>
                  <a:moveTo>
                    <a:pt x="64" y="25"/>
                  </a:moveTo>
                  <a:lnTo>
                    <a:pt x="64" y="25"/>
                  </a:lnTo>
                  <a:lnTo>
                    <a:pt x="64" y="27"/>
                  </a:lnTo>
                  <a:lnTo>
                    <a:pt x="66" y="25"/>
                  </a:lnTo>
                  <a:lnTo>
                    <a:pt x="64" y="25"/>
                  </a:lnTo>
                  <a:lnTo>
                    <a:pt x="64" y="25"/>
                  </a:lnTo>
                  <a:close/>
                  <a:moveTo>
                    <a:pt x="68" y="21"/>
                  </a:moveTo>
                  <a:lnTo>
                    <a:pt x="68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5"/>
                  </a:lnTo>
                  <a:lnTo>
                    <a:pt x="68" y="27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1"/>
                  </a:lnTo>
                  <a:close/>
                  <a:moveTo>
                    <a:pt x="14" y="4"/>
                  </a:move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4" y="4"/>
                  </a:lnTo>
                  <a:close/>
                  <a:moveTo>
                    <a:pt x="94" y="29"/>
                  </a:moveTo>
                  <a:lnTo>
                    <a:pt x="94" y="27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3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88" y="15"/>
                  </a:lnTo>
                  <a:lnTo>
                    <a:pt x="86" y="10"/>
                  </a:lnTo>
                  <a:lnTo>
                    <a:pt x="82" y="8"/>
                  </a:lnTo>
                  <a:lnTo>
                    <a:pt x="76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58" y="2"/>
                  </a:lnTo>
                  <a:lnTo>
                    <a:pt x="55" y="2"/>
                  </a:lnTo>
                  <a:lnTo>
                    <a:pt x="53" y="4"/>
                  </a:lnTo>
                  <a:lnTo>
                    <a:pt x="51" y="4"/>
                  </a:lnTo>
                  <a:lnTo>
                    <a:pt x="51" y="6"/>
                  </a:lnTo>
                  <a:lnTo>
                    <a:pt x="49" y="8"/>
                  </a:lnTo>
                  <a:lnTo>
                    <a:pt x="41" y="10"/>
                  </a:lnTo>
                  <a:lnTo>
                    <a:pt x="39" y="10"/>
                  </a:lnTo>
                  <a:lnTo>
                    <a:pt x="37" y="15"/>
                  </a:lnTo>
                  <a:lnTo>
                    <a:pt x="33" y="15"/>
                  </a:lnTo>
                  <a:lnTo>
                    <a:pt x="31" y="17"/>
                  </a:lnTo>
                  <a:lnTo>
                    <a:pt x="29" y="17"/>
                  </a:lnTo>
                  <a:lnTo>
                    <a:pt x="25" y="15"/>
                  </a:lnTo>
                  <a:lnTo>
                    <a:pt x="23" y="13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3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3"/>
                  </a:lnTo>
                  <a:lnTo>
                    <a:pt x="2" y="2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5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8" y="25"/>
                  </a:lnTo>
                  <a:lnTo>
                    <a:pt x="12" y="25"/>
                  </a:lnTo>
                  <a:lnTo>
                    <a:pt x="14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6" y="27"/>
                  </a:lnTo>
                  <a:lnTo>
                    <a:pt x="19" y="27"/>
                  </a:lnTo>
                  <a:lnTo>
                    <a:pt x="21" y="27"/>
                  </a:lnTo>
                  <a:lnTo>
                    <a:pt x="23" y="27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35"/>
                  </a:lnTo>
                  <a:lnTo>
                    <a:pt x="27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3" y="31"/>
                  </a:lnTo>
                  <a:lnTo>
                    <a:pt x="33" y="35"/>
                  </a:lnTo>
                  <a:lnTo>
                    <a:pt x="35" y="41"/>
                  </a:lnTo>
                  <a:lnTo>
                    <a:pt x="35" y="43"/>
                  </a:lnTo>
                  <a:lnTo>
                    <a:pt x="35" y="45"/>
                  </a:lnTo>
                  <a:lnTo>
                    <a:pt x="37" y="45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3" y="41"/>
                  </a:lnTo>
                  <a:lnTo>
                    <a:pt x="45" y="41"/>
                  </a:lnTo>
                  <a:lnTo>
                    <a:pt x="47" y="41"/>
                  </a:lnTo>
                  <a:lnTo>
                    <a:pt x="47" y="39"/>
                  </a:lnTo>
                  <a:lnTo>
                    <a:pt x="49" y="39"/>
                  </a:lnTo>
                  <a:lnTo>
                    <a:pt x="49" y="37"/>
                  </a:lnTo>
                  <a:lnTo>
                    <a:pt x="47" y="37"/>
                  </a:lnTo>
                  <a:lnTo>
                    <a:pt x="45" y="33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41" y="29"/>
                  </a:lnTo>
                  <a:lnTo>
                    <a:pt x="41" y="27"/>
                  </a:lnTo>
                  <a:lnTo>
                    <a:pt x="43" y="27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7" y="25"/>
                  </a:lnTo>
                  <a:lnTo>
                    <a:pt x="47" y="23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5" y="17"/>
                  </a:lnTo>
                  <a:lnTo>
                    <a:pt x="55" y="15"/>
                  </a:lnTo>
                  <a:lnTo>
                    <a:pt x="58" y="15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60" y="13"/>
                  </a:lnTo>
                  <a:lnTo>
                    <a:pt x="62" y="10"/>
                  </a:lnTo>
                  <a:lnTo>
                    <a:pt x="66" y="13"/>
                  </a:lnTo>
                  <a:lnTo>
                    <a:pt x="68" y="13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4" y="19"/>
                  </a:lnTo>
                  <a:lnTo>
                    <a:pt x="74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1"/>
                  </a:lnTo>
                  <a:lnTo>
                    <a:pt x="76" y="21"/>
                  </a:lnTo>
                  <a:lnTo>
                    <a:pt x="76" y="21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80" y="23"/>
                  </a:lnTo>
                  <a:lnTo>
                    <a:pt x="80" y="21"/>
                  </a:lnTo>
                  <a:lnTo>
                    <a:pt x="82" y="23"/>
                  </a:lnTo>
                  <a:lnTo>
                    <a:pt x="82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4" y="27"/>
                  </a:lnTo>
                  <a:lnTo>
                    <a:pt x="82" y="27"/>
                  </a:lnTo>
                  <a:lnTo>
                    <a:pt x="82" y="25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0" y="25"/>
                  </a:lnTo>
                  <a:lnTo>
                    <a:pt x="78" y="25"/>
                  </a:lnTo>
                  <a:lnTo>
                    <a:pt x="78" y="27"/>
                  </a:lnTo>
                  <a:lnTo>
                    <a:pt x="78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4" y="29"/>
                  </a:lnTo>
                  <a:lnTo>
                    <a:pt x="76" y="31"/>
                  </a:lnTo>
                  <a:lnTo>
                    <a:pt x="78" y="39"/>
                  </a:lnTo>
                  <a:lnTo>
                    <a:pt x="82" y="43"/>
                  </a:lnTo>
                  <a:lnTo>
                    <a:pt x="82" y="43"/>
                  </a:lnTo>
                  <a:lnTo>
                    <a:pt x="84" y="41"/>
                  </a:lnTo>
                  <a:lnTo>
                    <a:pt x="84" y="39"/>
                  </a:lnTo>
                  <a:lnTo>
                    <a:pt x="86" y="39"/>
                  </a:lnTo>
                  <a:lnTo>
                    <a:pt x="84" y="37"/>
                  </a:lnTo>
                  <a:lnTo>
                    <a:pt x="86" y="35"/>
                  </a:lnTo>
                  <a:lnTo>
                    <a:pt x="86" y="35"/>
                  </a:lnTo>
                  <a:lnTo>
                    <a:pt x="86" y="35"/>
                  </a:lnTo>
                  <a:lnTo>
                    <a:pt x="86" y="35"/>
                  </a:lnTo>
                  <a:lnTo>
                    <a:pt x="86" y="37"/>
                  </a:lnTo>
                  <a:lnTo>
                    <a:pt x="88" y="37"/>
                  </a:lnTo>
                  <a:lnTo>
                    <a:pt x="88" y="39"/>
                  </a:lnTo>
                  <a:lnTo>
                    <a:pt x="88" y="37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3"/>
                  </a:lnTo>
                  <a:lnTo>
                    <a:pt x="92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2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5" name="Freeform 92">
              <a:extLst>
                <a:ext uri="{FF2B5EF4-FFF2-40B4-BE49-F238E27FC236}">
                  <a16:creationId xmlns:a16="http://schemas.microsoft.com/office/drawing/2014/main" id="{1FF66AE2-23D9-D74F-95DA-B0A5069E7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920" y="3206994"/>
              <a:ext cx="90317" cy="92694"/>
            </a:xfrm>
            <a:custGeom>
              <a:avLst/>
              <a:gdLst>
                <a:gd name="T0" fmla="*/ 70 w 76"/>
                <a:gd name="T1" fmla="*/ 2 h 78"/>
                <a:gd name="T2" fmla="*/ 68 w 76"/>
                <a:gd name="T3" fmla="*/ 2 h 78"/>
                <a:gd name="T4" fmla="*/ 62 w 76"/>
                <a:gd name="T5" fmla="*/ 4 h 78"/>
                <a:gd name="T6" fmla="*/ 62 w 76"/>
                <a:gd name="T7" fmla="*/ 6 h 78"/>
                <a:gd name="T8" fmla="*/ 60 w 76"/>
                <a:gd name="T9" fmla="*/ 4 h 78"/>
                <a:gd name="T10" fmla="*/ 58 w 76"/>
                <a:gd name="T11" fmla="*/ 6 h 78"/>
                <a:gd name="T12" fmla="*/ 56 w 76"/>
                <a:gd name="T13" fmla="*/ 6 h 78"/>
                <a:gd name="T14" fmla="*/ 52 w 76"/>
                <a:gd name="T15" fmla="*/ 6 h 78"/>
                <a:gd name="T16" fmla="*/ 48 w 76"/>
                <a:gd name="T17" fmla="*/ 4 h 78"/>
                <a:gd name="T18" fmla="*/ 45 w 76"/>
                <a:gd name="T19" fmla="*/ 8 h 78"/>
                <a:gd name="T20" fmla="*/ 43 w 76"/>
                <a:gd name="T21" fmla="*/ 8 h 78"/>
                <a:gd name="T22" fmla="*/ 43 w 76"/>
                <a:gd name="T23" fmla="*/ 12 h 78"/>
                <a:gd name="T24" fmla="*/ 39 w 76"/>
                <a:gd name="T25" fmla="*/ 14 h 78"/>
                <a:gd name="T26" fmla="*/ 35 w 76"/>
                <a:gd name="T27" fmla="*/ 18 h 78"/>
                <a:gd name="T28" fmla="*/ 33 w 76"/>
                <a:gd name="T29" fmla="*/ 20 h 78"/>
                <a:gd name="T30" fmla="*/ 29 w 76"/>
                <a:gd name="T31" fmla="*/ 18 h 78"/>
                <a:gd name="T32" fmla="*/ 27 w 76"/>
                <a:gd name="T33" fmla="*/ 18 h 78"/>
                <a:gd name="T34" fmla="*/ 23 w 76"/>
                <a:gd name="T35" fmla="*/ 22 h 78"/>
                <a:gd name="T36" fmla="*/ 17 w 76"/>
                <a:gd name="T37" fmla="*/ 22 h 78"/>
                <a:gd name="T38" fmla="*/ 17 w 76"/>
                <a:gd name="T39" fmla="*/ 28 h 78"/>
                <a:gd name="T40" fmla="*/ 15 w 76"/>
                <a:gd name="T41" fmla="*/ 30 h 78"/>
                <a:gd name="T42" fmla="*/ 13 w 76"/>
                <a:gd name="T43" fmla="*/ 32 h 78"/>
                <a:gd name="T44" fmla="*/ 11 w 76"/>
                <a:gd name="T45" fmla="*/ 37 h 78"/>
                <a:gd name="T46" fmla="*/ 6 w 76"/>
                <a:gd name="T47" fmla="*/ 37 h 78"/>
                <a:gd name="T48" fmla="*/ 4 w 76"/>
                <a:gd name="T49" fmla="*/ 37 h 78"/>
                <a:gd name="T50" fmla="*/ 0 w 76"/>
                <a:gd name="T51" fmla="*/ 37 h 78"/>
                <a:gd name="T52" fmla="*/ 8 w 76"/>
                <a:gd name="T53" fmla="*/ 45 h 78"/>
                <a:gd name="T54" fmla="*/ 15 w 76"/>
                <a:gd name="T55" fmla="*/ 51 h 78"/>
                <a:gd name="T56" fmla="*/ 25 w 76"/>
                <a:gd name="T57" fmla="*/ 67 h 78"/>
                <a:gd name="T58" fmla="*/ 29 w 76"/>
                <a:gd name="T59" fmla="*/ 71 h 78"/>
                <a:gd name="T60" fmla="*/ 29 w 76"/>
                <a:gd name="T61" fmla="*/ 71 h 78"/>
                <a:gd name="T62" fmla="*/ 31 w 76"/>
                <a:gd name="T63" fmla="*/ 69 h 78"/>
                <a:gd name="T64" fmla="*/ 37 w 76"/>
                <a:gd name="T65" fmla="*/ 71 h 78"/>
                <a:gd name="T66" fmla="*/ 45 w 76"/>
                <a:gd name="T67" fmla="*/ 71 h 78"/>
                <a:gd name="T68" fmla="*/ 50 w 76"/>
                <a:gd name="T69" fmla="*/ 74 h 78"/>
                <a:gd name="T70" fmla="*/ 54 w 76"/>
                <a:gd name="T71" fmla="*/ 76 h 78"/>
                <a:gd name="T72" fmla="*/ 54 w 76"/>
                <a:gd name="T73" fmla="*/ 78 h 78"/>
                <a:gd name="T74" fmla="*/ 60 w 76"/>
                <a:gd name="T75" fmla="*/ 78 h 78"/>
                <a:gd name="T76" fmla="*/ 62 w 76"/>
                <a:gd name="T77" fmla="*/ 74 h 78"/>
                <a:gd name="T78" fmla="*/ 60 w 76"/>
                <a:gd name="T79" fmla="*/ 67 h 78"/>
                <a:gd name="T80" fmla="*/ 60 w 76"/>
                <a:gd name="T81" fmla="*/ 63 h 78"/>
                <a:gd name="T82" fmla="*/ 64 w 76"/>
                <a:gd name="T83" fmla="*/ 59 h 78"/>
                <a:gd name="T84" fmla="*/ 62 w 76"/>
                <a:gd name="T85" fmla="*/ 57 h 78"/>
                <a:gd name="T86" fmla="*/ 62 w 76"/>
                <a:gd name="T87" fmla="*/ 57 h 78"/>
                <a:gd name="T88" fmla="*/ 62 w 76"/>
                <a:gd name="T89" fmla="*/ 53 h 78"/>
                <a:gd name="T90" fmla="*/ 64 w 76"/>
                <a:gd name="T91" fmla="*/ 51 h 78"/>
                <a:gd name="T92" fmla="*/ 64 w 76"/>
                <a:gd name="T93" fmla="*/ 47 h 78"/>
                <a:gd name="T94" fmla="*/ 64 w 76"/>
                <a:gd name="T95" fmla="*/ 45 h 78"/>
                <a:gd name="T96" fmla="*/ 66 w 76"/>
                <a:gd name="T97" fmla="*/ 43 h 78"/>
                <a:gd name="T98" fmla="*/ 64 w 76"/>
                <a:gd name="T99" fmla="*/ 47 h 78"/>
                <a:gd name="T100" fmla="*/ 66 w 76"/>
                <a:gd name="T101" fmla="*/ 47 h 78"/>
                <a:gd name="T102" fmla="*/ 68 w 76"/>
                <a:gd name="T103" fmla="*/ 37 h 78"/>
                <a:gd name="T104" fmla="*/ 70 w 76"/>
                <a:gd name="T105" fmla="*/ 18 h 78"/>
                <a:gd name="T106" fmla="*/ 74 w 76"/>
                <a:gd name="T107" fmla="*/ 14 h 78"/>
                <a:gd name="T108" fmla="*/ 74 w 76"/>
                <a:gd name="T109" fmla="*/ 4 h 78"/>
                <a:gd name="T110" fmla="*/ 72 w 76"/>
                <a:gd name="T111" fmla="*/ 2 h 78"/>
                <a:gd name="T112" fmla="*/ 74 w 76"/>
                <a:gd name="T113" fmla="*/ 4 h 78"/>
                <a:gd name="T114" fmla="*/ 76 w 76"/>
                <a:gd name="T11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6" h="78">
                  <a:moveTo>
                    <a:pt x="72" y="0"/>
                  </a:moveTo>
                  <a:lnTo>
                    <a:pt x="70" y="0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4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4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3" y="8"/>
                  </a:lnTo>
                  <a:lnTo>
                    <a:pt x="43" y="10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39" y="14"/>
                  </a:lnTo>
                  <a:lnTo>
                    <a:pt x="37" y="16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5" y="20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19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8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5" y="30"/>
                  </a:lnTo>
                  <a:lnTo>
                    <a:pt x="15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0" y="37"/>
                  </a:lnTo>
                  <a:lnTo>
                    <a:pt x="0" y="39"/>
                  </a:lnTo>
                  <a:lnTo>
                    <a:pt x="4" y="41"/>
                  </a:lnTo>
                  <a:lnTo>
                    <a:pt x="8" y="45"/>
                  </a:lnTo>
                  <a:lnTo>
                    <a:pt x="8" y="47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5" y="55"/>
                  </a:lnTo>
                  <a:lnTo>
                    <a:pt x="19" y="59"/>
                  </a:lnTo>
                  <a:lnTo>
                    <a:pt x="25" y="67"/>
                  </a:lnTo>
                  <a:lnTo>
                    <a:pt x="27" y="69"/>
                  </a:lnTo>
                  <a:lnTo>
                    <a:pt x="29" y="71"/>
                  </a:lnTo>
                  <a:lnTo>
                    <a:pt x="29" y="71"/>
                  </a:lnTo>
                  <a:lnTo>
                    <a:pt x="29" y="71"/>
                  </a:lnTo>
                  <a:lnTo>
                    <a:pt x="29" y="71"/>
                  </a:lnTo>
                  <a:lnTo>
                    <a:pt x="29" y="71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5" y="71"/>
                  </a:lnTo>
                  <a:lnTo>
                    <a:pt x="37" y="71"/>
                  </a:lnTo>
                  <a:lnTo>
                    <a:pt x="41" y="74"/>
                  </a:lnTo>
                  <a:lnTo>
                    <a:pt x="43" y="74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2" y="76"/>
                  </a:lnTo>
                  <a:lnTo>
                    <a:pt x="54" y="76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8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2" y="74"/>
                  </a:lnTo>
                  <a:lnTo>
                    <a:pt x="60" y="74"/>
                  </a:lnTo>
                  <a:lnTo>
                    <a:pt x="60" y="71"/>
                  </a:lnTo>
                  <a:lnTo>
                    <a:pt x="60" y="67"/>
                  </a:lnTo>
                  <a:lnTo>
                    <a:pt x="60" y="67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2" y="63"/>
                  </a:lnTo>
                  <a:lnTo>
                    <a:pt x="64" y="61"/>
                  </a:lnTo>
                  <a:lnTo>
                    <a:pt x="64" y="59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2" y="57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5"/>
                  </a:lnTo>
                  <a:lnTo>
                    <a:pt x="64" y="55"/>
                  </a:lnTo>
                  <a:lnTo>
                    <a:pt x="64" y="51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4" y="47"/>
                  </a:lnTo>
                  <a:lnTo>
                    <a:pt x="62" y="45"/>
                  </a:lnTo>
                  <a:lnTo>
                    <a:pt x="64" y="45"/>
                  </a:lnTo>
                  <a:lnTo>
                    <a:pt x="64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5"/>
                  </a:lnTo>
                  <a:lnTo>
                    <a:pt x="64" y="45"/>
                  </a:lnTo>
                  <a:lnTo>
                    <a:pt x="64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8" y="37"/>
                  </a:lnTo>
                  <a:lnTo>
                    <a:pt x="68" y="30"/>
                  </a:lnTo>
                  <a:lnTo>
                    <a:pt x="70" y="22"/>
                  </a:lnTo>
                  <a:lnTo>
                    <a:pt x="70" y="18"/>
                  </a:lnTo>
                  <a:lnTo>
                    <a:pt x="72" y="18"/>
                  </a:lnTo>
                  <a:lnTo>
                    <a:pt x="74" y="16"/>
                  </a:lnTo>
                  <a:lnTo>
                    <a:pt x="74" y="14"/>
                  </a:lnTo>
                  <a:lnTo>
                    <a:pt x="74" y="12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6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6" name="Freeform 102">
              <a:extLst>
                <a:ext uri="{FF2B5EF4-FFF2-40B4-BE49-F238E27FC236}">
                  <a16:creationId xmlns:a16="http://schemas.microsoft.com/office/drawing/2014/main" id="{48E27EA8-BF5F-3744-82D7-9136563D3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7101" y="3167777"/>
              <a:ext cx="2377" cy="2377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0 h 2"/>
                <a:gd name="T4" fmla="*/ 0 w 2"/>
                <a:gd name="T5" fmla="*/ 0 h 2"/>
                <a:gd name="T6" fmla="*/ 0 w 2"/>
                <a:gd name="T7" fmla="*/ 2 h 2"/>
                <a:gd name="T8" fmla="*/ 2 w 2"/>
                <a:gd name="T9" fmla="*/ 2 h 2"/>
                <a:gd name="T10" fmla="*/ 2 w 2"/>
                <a:gd name="T11" fmla="*/ 2 h 2"/>
                <a:gd name="T12" fmla="*/ 2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7" name="Freeform 108">
              <a:extLst>
                <a:ext uri="{FF2B5EF4-FFF2-40B4-BE49-F238E27FC236}">
                  <a16:creationId xmlns:a16="http://schemas.microsoft.com/office/drawing/2014/main" id="{7E993D73-D0C6-1B4D-ACD2-27FCF23A1C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725" y="2820768"/>
              <a:ext cx="553789" cy="395733"/>
            </a:xfrm>
            <a:custGeom>
              <a:avLst/>
              <a:gdLst>
                <a:gd name="T0" fmla="*/ 462 w 466"/>
                <a:gd name="T1" fmla="*/ 222 h 333"/>
                <a:gd name="T2" fmla="*/ 466 w 466"/>
                <a:gd name="T3" fmla="*/ 211 h 333"/>
                <a:gd name="T4" fmla="*/ 111 w 466"/>
                <a:gd name="T5" fmla="*/ 156 h 333"/>
                <a:gd name="T6" fmla="*/ 101 w 466"/>
                <a:gd name="T7" fmla="*/ 139 h 333"/>
                <a:gd name="T8" fmla="*/ 76 w 466"/>
                <a:gd name="T9" fmla="*/ 150 h 333"/>
                <a:gd name="T10" fmla="*/ 41 w 466"/>
                <a:gd name="T11" fmla="*/ 84 h 333"/>
                <a:gd name="T12" fmla="*/ 95 w 466"/>
                <a:gd name="T13" fmla="*/ 63 h 333"/>
                <a:gd name="T14" fmla="*/ 80 w 466"/>
                <a:gd name="T15" fmla="*/ 65 h 333"/>
                <a:gd name="T16" fmla="*/ 464 w 466"/>
                <a:gd name="T17" fmla="*/ 209 h 333"/>
                <a:gd name="T18" fmla="*/ 458 w 466"/>
                <a:gd name="T19" fmla="*/ 207 h 333"/>
                <a:gd name="T20" fmla="*/ 411 w 466"/>
                <a:gd name="T21" fmla="*/ 211 h 333"/>
                <a:gd name="T22" fmla="*/ 384 w 466"/>
                <a:gd name="T23" fmla="*/ 253 h 333"/>
                <a:gd name="T24" fmla="*/ 376 w 466"/>
                <a:gd name="T25" fmla="*/ 259 h 333"/>
                <a:gd name="T26" fmla="*/ 345 w 466"/>
                <a:gd name="T27" fmla="*/ 265 h 333"/>
                <a:gd name="T28" fmla="*/ 314 w 466"/>
                <a:gd name="T29" fmla="*/ 255 h 333"/>
                <a:gd name="T30" fmla="*/ 298 w 466"/>
                <a:gd name="T31" fmla="*/ 213 h 333"/>
                <a:gd name="T32" fmla="*/ 298 w 466"/>
                <a:gd name="T33" fmla="*/ 207 h 333"/>
                <a:gd name="T34" fmla="*/ 300 w 466"/>
                <a:gd name="T35" fmla="*/ 164 h 333"/>
                <a:gd name="T36" fmla="*/ 302 w 466"/>
                <a:gd name="T37" fmla="*/ 121 h 333"/>
                <a:gd name="T38" fmla="*/ 286 w 466"/>
                <a:gd name="T39" fmla="*/ 102 h 333"/>
                <a:gd name="T40" fmla="*/ 279 w 466"/>
                <a:gd name="T41" fmla="*/ 78 h 333"/>
                <a:gd name="T42" fmla="*/ 267 w 466"/>
                <a:gd name="T43" fmla="*/ 53 h 333"/>
                <a:gd name="T44" fmla="*/ 242 w 466"/>
                <a:gd name="T45" fmla="*/ 63 h 333"/>
                <a:gd name="T46" fmla="*/ 220 w 466"/>
                <a:gd name="T47" fmla="*/ 49 h 333"/>
                <a:gd name="T48" fmla="*/ 199 w 466"/>
                <a:gd name="T49" fmla="*/ 16 h 333"/>
                <a:gd name="T50" fmla="*/ 144 w 466"/>
                <a:gd name="T51" fmla="*/ 24 h 333"/>
                <a:gd name="T52" fmla="*/ 70 w 466"/>
                <a:gd name="T53" fmla="*/ 2 h 333"/>
                <a:gd name="T54" fmla="*/ 43 w 466"/>
                <a:gd name="T55" fmla="*/ 18 h 333"/>
                <a:gd name="T56" fmla="*/ 47 w 466"/>
                <a:gd name="T57" fmla="*/ 51 h 333"/>
                <a:gd name="T58" fmla="*/ 60 w 466"/>
                <a:gd name="T59" fmla="*/ 88 h 333"/>
                <a:gd name="T60" fmla="*/ 45 w 466"/>
                <a:gd name="T61" fmla="*/ 90 h 333"/>
                <a:gd name="T62" fmla="*/ 66 w 466"/>
                <a:gd name="T63" fmla="*/ 109 h 333"/>
                <a:gd name="T64" fmla="*/ 80 w 466"/>
                <a:gd name="T65" fmla="*/ 135 h 333"/>
                <a:gd name="T66" fmla="*/ 99 w 466"/>
                <a:gd name="T67" fmla="*/ 166 h 333"/>
                <a:gd name="T68" fmla="*/ 111 w 466"/>
                <a:gd name="T69" fmla="*/ 164 h 333"/>
                <a:gd name="T70" fmla="*/ 99 w 466"/>
                <a:gd name="T71" fmla="*/ 156 h 333"/>
                <a:gd name="T72" fmla="*/ 95 w 466"/>
                <a:gd name="T73" fmla="*/ 115 h 333"/>
                <a:gd name="T74" fmla="*/ 88 w 466"/>
                <a:gd name="T75" fmla="*/ 102 h 333"/>
                <a:gd name="T76" fmla="*/ 80 w 466"/>
                <a:gd name="T77" fmla="*/ 72 h 333"/>
                <a:gd name="T78" fmla="*/ 66 w 466"/>
                <a:gd name="T79" fmla="*/ 47 h 333"/>
                <a:gd name="T80" fmla="*/ 76 w 466"/>
                <a:gd name="T81" fmla="*/ 18 h 333"/>
                <a:gd name="T82" fmla="*/ 97 w 466"/>
                <a:gd name="T83" fmla="*/ 30 h 333"/>
                <a:gd name="T84" fmla="*/ 97 w 466"/>
                <a:gd name="T85" fmla="*/ 59 h 333"/>
                <a:gd name="T86" fmla="*/ 107 w 466"/>
                <a:gd name="T87" fmla="*/ 86 h 333"/>
                <a:gd name="T88" fmla="*/ 121 w 466"/>
                <a:gd name="T89" fmla="*/ 105 h 333"/>
                <a:gd name="T90" fmla="*/ 125 w 466"/>
                <a:gd name="T91" fmla="*/ 123 h 333"/>
                <a:gd name="T92" fmla="*/ 132 w 466"/>
                <a:gd name="T93" fmla="*/ 131 h 333"/>
                <a:gd name="T94" fmla="*/ 142 w 466"/>
                <a:gd name="T95" fmla="*/ 148 h 333"/>
                <a:gd name="T96" fmla="*/ 160 w 466"/>
                <a:gd name="T97" fmla="*/ 174 h 333"/>
                <a:gd name="T98" fmla="*/ 168 w 466"/>
                <a:gd name="T99" fmla="*/ 218 h 333"/>
                <a:gd name="T100" fmla="*/ 166 w 466"/>
                <a:gd name="T101" fmla="*/ 238 h 333"/>
                <a:gd name="T102" fmla="*/ 214 w 466"/>
                <a:gd name="T103" fmla="*/ 271 h 333"/>
                <a:gd name="T104" fmla="*/ 259 w 466"/>
                <a:gd name="T105" fmla="*/ 296 h 333"/>
                <a:gd name="T106" fmla="*/ 325 w 466"/>
                <a:gd name="T107" fmla="*/ 302 h 333"/>
                <a:gd name="T108" fmla="*/ 337 w 466"/>
                <a:gd name="T109" fmla="*/ 306 h 333"/>
                <a:gd name="T110" fmla="*/ 351 w 466"/>
                <a:gd name="T111" fmla="*/ 318 h 333"/>
                <a:gd name="T112" fmla="*/ 364 w 466"/>
                <a:gd name="T113" fmla="*/ 320 h 333"/>
                <a:gd name="T114" fmla="*/ 394 w 466"/>
                <a:gd name="T115" fmla="*/ 300 h 333"/>
                <a:gd name="T116" fmla="*/ 388 w 466"/>
                <a:gd name="T117" fmla="*/ 279 h 333"/>
                <a:gd name="T118" fmla="*/ 429 w 466"/>
                <a:gd name="T119" fmla="*/ 265 h 333"/>
                <a:gd name="T120" fmla="*/ 442 w 466"/>
                <a:gd name="T121" fmla="*/ 265 h 333"/>
                <a:gd name="T122" fmla="*/ 450 w 466"/>
                <a:gd name="T123" fmla="*/ 242 h 333"/>
                <a:gd name="T124" fmla="*/ 456 w 466"/>
                <a:gd name="T125" fmla="*/ 224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6" h="333">
                  <a:moveTo>
                    <a:pt x="380" y="257"/>
                  </a:moveTo>
                  <a:lnTo>
                    <a:pt x="382" y="257"/>
                  </a:lnTo>
                  <a:lnTo>
                    <a:pt x="384" y="257"/>
                  </a:lnTo>
                  <a:lnTo>
                    <a:pt x="382" y="255"/>
                  </a:lnTo>
                  <a:lnTo>
                    <a:pt x="382" y="255"/>
                  </a:lnTo>
                  <a:lnTo>
                    <a:pt x="378" y="257"/>
                  </a:lnTo>
                  <a:lnTo>
                    <a:pt x="378" y="257"/>
                  </a:lnTo>
                  <a:lnTo>
                    <a:pt x="380" y="257"/>
                  </a:lnTo>
                  <a:close/>
                  <a:moveTo>
                    <a:pt x="74" y="255"/>
                  </a:moveTo>
                  <a:lnTo>
                    <a:pt x="72" y="255"/>
                  </a:lnTo>
                  <a:lnTo>
                    <a:pt x="72" y="255"/>
                  </a:lnTo>
                  <a:lnTo>
                    <a:pt x="74" y="257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5"/>
                  </a:lnTo>
                  <a:close/>
                  <a:moveTo>
                    <a:pt x="462" y="222"/>
                  </a:moveTo>
                  <a:lnTo>
                    <a:pt x="462" y="224"/>
                  </a:lnTo>
                  <a:lnTo>
                    <a:pt x="460" y="224"/>
                  </a:lnTo>
                  <a:lnTo>
                    <a:pt x="460" y="226"/>
                  </a:lnTo>
                  <a:lnTo>
                    <a:pt x="460" y="228"/>
                  </a:lnTo>
                  <a:lnTo>
                    <a:pt x="460" y="228"/>
                  </a:lnTo>
                  <a:lnTo>
                    <a:pt x="462" y="224"/>
                  </a:lnTo>
                  <a:lnTo>
                    <a:pt x="464" y="224"/>
                  </a:lnTo>
                  <a:lnTo>
                    <a:pt x="464" y="222"/>
                  </a:lnTo>
                  <a:lnTo>
                    <a:pt x="462" y="222"/>
                  </a:lnTo>
                  <a:close/>
                  <a:moveTo>
                    <a:pt x="466" y="209"/>
                  </a:moveTo>
                  <a:lnTo>
                    <a:pt x="466" y="209"/>
                  </a:lnTo>
                  <a:lnTo>
                    <a:pt x="466" y="209"/>
                  </a:lnTo>
                  <a:lnTo>
                    <a:pt x="466" y="209"/>
                  </a:lnTo>
                  <a:lnTo>
                    <a:pt x="466" y="209"/>
                  </a:lnTo>
                  <a:lnTo>
                    <a:pt x="466" y="211"/>
                  </a:lnTo>
                  <a:lnTo>
                    <a:pt x="466" y="211"/>
                  </a:lnTo>
                  <a:lnTo>
                    <a:pt x="466" y="209"/>
                  </a:lnTo>
                  <a:close/>
                  <a:moveTo>
                    <a:pt x="154" y="203"/>
                  </a:moveTo>
                  <a:lnTo>
                    <a:pt x="152" y="201"/>
                  </a:lnTo>
                  <a:lnTo>
                    <a:pt x="152" y="201"/>
                  </a:lnTo>
                  <a:lnTo>
                    <a:pt x="152" y="203"/>
                  </a:lnTo>
                  <a:lnTo>
                    <a:pt x="152" y="205"/>
                  </a:lnTo>
                  <a:lnTo>
                    <a:pt x="152" y="205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4" y="203"/>
                  </a:lnTo>
                  <a:close/>
                  <a:moveTo>
                    <a:pt x="109" y="154"/>
                  </a:moveTo>
                  <a:lnTo>
                    <a:pt x="109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09" y="154"/>
                  </a:lnTo>
                  <a:lnTo>
                    <a:pt x="109" y="154"/>
                  </a:lnTo>
                  <a:close/>
                  <a:moveTo>
                    <a:pt x="78" y="150"/>
                  </a:moveTo>
                  <a:lnTo>
                    <a:pt x="78" y="150"/>
                  </a:lnTo>
                  <a:lnTo>
                    <a:pt x="80" y="154"/>
                  </a:lnTo>
                  <a:lnTo>
                    <a:pt x="82" y="152"/>
                  </a:lnTo>
                  <a:lnTo>
                    <a:pt x="80" y="150"/>
                  </a:lnTo>
                  <a:lnTo>
                    <a:pt x="78" y="150"/>
                  </a:lnTo>
                  <a:close/>
                  <a:moveTo>
                    <a:pt x="101" y="139"/>
                  </a:moveTo>
                  <a:lnTo>
                    <a:pt x="101" y="139"/>
                  </a:lnTo>
                  <a:lnTo>
                    <a:pt x="101" y="142"/>
                  </a:lnTo>
                  <a:lnTo>
                    <a:pt x="101" y="144"/>
                  </a:lnTo>
                  <a:lnTo>
                    <a:pt x="103" y="144"/>
                  </a:lnTo>
                  <a:lnTo>
                    <a:pt x="103" y="142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39"/>
                  </a:lnTo>
                  <a:close/>
                  <a:moveTo>
                    <a:pt x="76" y="148"/>
                  </a:moveTo>
                  <a:lnTo>
                    <a:pt x="76" y="146"/>
                  </a:lnTo>
                  <a:lnTo>
                    <a:pt x="76" y="146"/>
                  </a:lnTo>
                  <a:lnTo>
                    <a:pt x="76" y="144"/>
                  </a:lnTo>
                  <a:lnTo>
                    <a:pt x="76" y="144"/>
                  </a:lnTo>
                  <a:lnTo>
                    <a:pt x="78" y="137"/>
                  </a:lnTo>
                  <a:lnTo>
                    <a:pt x="78" y="135"/>
                  </a:lnTo>
                  <a:lnTo>
                    <a:pt x="76" y="142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76" y="146"/>
                  </a:lnTo>
                  <a:lnTo>
                    <a:pt x="76" y="148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48"/>
                  </a:lnTo>
                  <a:close/>
                  <a:moveTo>
                    <a:pt x="97" y="121"/>
                  </a:moveTo>
                  <a:lnTo>
                    <a:pt x="97" y="123"/>
                  </a:lnTo>
                  <a:lnTo>
                    <a:pt x="95" y="125"/>
                  </a:lnTo>
                  <a:lnTo>
                    <a:pt x="97" y="125"/>
                  </a:lnTo>
                  <a:lnTo>
                    <a:pt x="97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1"/>
                  </a:lnTo>
                  <a:lnTo>
                    <a:pt x="97" y="121"/>
                  </a:lnTo>
                  <a:close/>
                  <a:moveTo>
                    <a:pt x="45" y="80"/>
                  </a:moveTo>
                  <a:lnTo>
                    <a:pt x="45" y="80"/>
                  </a:lnTo>
                  <a:lnTo>
                    <a:pt x="45" y="80"/>
                  </a:lnTo>
                  <a:lnTo>
                    <a:pt x="43" y="82"/>
                  </a:lnTo>
                  <a:lnTo>
                    <a:pt x="41" y="84"/>
                  </a:lnTo>
                  <a:lnTo>
                    <a:pt x="43" y="86"/>
                  </a:lnTo>
                  <a:lnTo>
                    <a:pt x="45" y="84"/>
                  </a:lnTo>
                  <a:lnTo>
                    <a:pt x="45" y="82"/>
                  </a:lnTo>
                  <a:lnTo>
                    <a:pt x="45" y="80"/>
                  </a:lnTo>
                  <a:close/>
                  <a:moveTo>
                    <a:pt x="2" y="65"/>
                  </a:moveTo>
                  <a:lnTo>
                    <a:pt x="2" y="63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2" y="65"/>
                  </a:lnTo>
                  <a:lnTo>
                    <a:pt x="2" y="65"/>
                  </a:lnTo>
                  <a:close/>
                  <a:moveTo>
                    <a:pt x="97" y="63"/>
                  </a:moveTo>
                  <a:lnTo>
                    <a:pt x="95" y="63"/>
                  </a:lnTo>
                  <a:lnTo>
                    <a:pt x="93" y="65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3" y="72"/>
                  </a:lnTo>
                  <a:lnTo>
                    <a:pt x="95" y="72"/>
                  </a:lnTo>
                  <a:lnTo>
                    <a:pt x="97" y="68"/>
                  </a:lnTo>
                  <a:lnTo>
                    <a:pt x="97" y="65"/>
                  </a:lnTo>
                  <a:lnTo>
                    <a:pt x="97" y="63"/>
                  </a:lnTo>
                  <a:lnTo>
                    <a:pt x="97" y="63"/>
                  </a:lnTo>
                  <a:close/>
                  <a:moveTo>
                    <a:pt x="80" y="59"/>
                  </a:moveTo>
                  <a:lnTo>
                    <a:pt x="78" y="57"/>
                  </a:lnTo>
                  <a:lnTo>
                    <a:pt x="78" y="57"/>
                  </a:lnTo>
                  <a:lnTo>
                    <a:pt x="78" y="59"/>
                  </a:lnTo>
                  <a:lnTo>
                    <a:pt x="76" y="59"/>
                  </a:lnTo>
                  <a:lnTo>
                    <a:pt x="78" y="61"/>
                  </a:lnTo>
                  <a:lnTo>
                    <a:pt x="80" y="65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2" y="65"/>
                  </a:lnTo>
                  <a:lnTo>
                    <a:pt x="82" y="61"/>
                  </a:lnTo>
                  <a:lnTo>
                    <a:pt x="80" y="61"/>
                  </a:lnTo>
                  <a:lnTo>
                    <a:pt x="80" y="59"/>
                  </a:lnTo>
                  <a:lnTo>
                    <a:pt x="80" y="59"/>
                  </a:lnTo>
                  <a:close/>
                  <a:moveTo>
                    <a:pt x="74" y="16"/>
                  </a:move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6"/>
                  </a:lnTo>
                  <a:lnTo>
                    <a:pt x="74" y="16"/>
                  </a:lnTo>
                  <a:close/>
                  <a:moveTo>
                    <a:pt x="464" y="209"/>
                  </a:moveTo>
                  <a:lnTo>
                    <a:pt x="466" y="207"/>
                  </a:lnTo>
                  <a:lnTo>
                    <a:pt x="464" y="205"/>
                  </a:lnTo>
                  <a:lnTo>
                    <a:pt x="462" y="203"/>
                  </a:lnTo>
                  <a:lnTo>
                    <a:pt x="460" y="203"/>
                  </a:lnTo>
                  <a:lnTo>
                    <a:pt x="460" y="203"/>
                  </a:lnTo>
                  <a:lnTo>
                    <a:pt x="458" y="203"/>
                  </a:lnTo>
                  <a:lnTo>
                    <a:pt x="458" y="203"/>
                  </a:lnTo>
                  <a:lnTo>
                    <a:pt x="456" y="205"/>
                  </a:lnTo>
                  <a:lnTo>
                    <a:pt x="458" y="205"/>
                  </a:lnTo>
                  <a:lnTo>
                    <a:pt x="458" y="205"/>
                  </a:lnTo>
                  <a:lnTo>
                    <a:pt x="460" y="205"/>
                  </a:lnTo>
                  <a:lnTo>
                    <a:pt x="460" y="205"/>
                  </a:lnTo>
                  <a:lnTo>
                    <a:pt x="460" y="205"/>
                  </a:lnTo>
                  <a:lnTo>
                    <a:pt x="460" y="205"/>
                  </a:lnTo>
                  <a:lnTo>
                    <a:pt x="460" y="205"/>
                  </a:lnTo>
                  <a:lnTo>
                    <a:pt x="458" y="207"/>
                  </a:lnTo>
                  <a:lnTo>
                    <a:pt x="456" y="205"/>
                  </a:lnTo>
                  <a:lnTo>
                    <a:pt x="452" y="205"/>
                  </a:lnTo>
                  <a:lnTo>
                    <a:pt x="450" y="205"/>
                  </a:lnTo>
                  <a:lnTo>
                    <a:pt x="448" y="203"/>
                  </a:lnTo>
                  <a:lnTo>
                    <a:pt x="446" y="203"/>
                  </a:lnTo>
                  <a:lnTo>
                    <a:pt x="444" y="203"/>
                  </a:lnTo>
                  <a:lnTo>
                    <a:pt x="444" y="203"/>
                  </a:lnTo>
                  <a:lnTo>
                    <a:pt x="444" y="203"/>
                  </a:lnTo>
                  <a:lnTo>
                    <a:pt x="444" y="203"/>
                  </a:lnTo>
                  <a:lnTo>
                    <a:pt x="439" y="203"/>
                  </a:lnTo>
                  <a:lnTo>
                    <a:pt x="437" y="205"/>
                  </a:lnTo>
                  <a:lnTo>
                    <a:pt x="435" y="207"/>
                  </a:lnTo>
                  <a:lnTo>
                    <a:pt x="433" y="207"/>
                  </a:lnTo>
                  <a:lnTo>
                    <a:pt x="417" y="209"/>
                  </a:lnTo>
                  <a:lnTo>
                    <a:pt x="417" y="209"/>
                  </a:lnTo>
                  <a:lnTo>
                    <a:pt x="411" y="211"/>
                  </a:lnTo>
                  <a:lnTo>
                    <a:pt x="409" y="213"/>
                  </a:lnTo>
                  <a:lnTo>
                    <a:pt x="407" y="220"/>
                  </a:lnTo>
                  <a:lnTo>
                    <a:pt x="407" y="220"/>
                  </a:lnTo>
                  <a:lnTo>
                    <a:pt x="405" y="222"/>
                  </a:lnTo>
                  <a:lnTo>
                    <a:pt x="405" y="226"/>
                  </a:lnTo>
                  <a:lnTo>
                    <a:pt x="405" y="228"/>
                  </a:lnTo>
                  <a:lnTo>
                    <a:pt x="403" y="232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0" y="236"/>
                  </a:lnTo>
                  <a:lnTo>
                    <a:pt x="398" y="238"/>
                  </a:lnTo>
                  <a:lnTo>
                    <a:pt x="398" y="244"/>
                  </a:lnTo>
                  <a:lnTo>
                    <a:pt x="394" y="248"/>
                  </a:lnTo>
                  <a:lnTo>
                    <a:pt x="392" y="250"/>
                  </a:lnTo>
                  <a:lnTo>
                    <a:pt x="390" y="250"/>
                  </a:lnTo>
                  <a:lnTo>
                    <a:pt x="384" y="253"/>
                  </a:lnTo>
                  <a:lnTo>
                    <a:pt x="384" y="255"/>
                  </a:lnTo>
                  <a:lnTo>
                    <a:pt x="384" y="255"/>
                  </a:lnTo>
                  <a:lnTo>
                    <a:pt x="384" y="255"/>
                  </a:lnTo>
                  <a:lnTo>
                    <a:pt x="386" y="253"/>
                  </a:lnTo>
                  <a:lnTo>
                    <a:pt x="386" y="253"/>
                  </a:lnTo>
                  <a:lnTo>
                    <a:pt x="386" y="255"/>
                  </a:lnTo>
                  <a:lnTo>
                    <a:pt x="386" y="255"/>
                  </a:lnTo>
                  <a:lnTo>
                    <a:pt x="386" y="255"/>
                  </a:lnTo>
                  <a:lnTo>
                    <a:pt x="386" y="257"/>
                  </a:lnTo>
                  <a:lnTo>
                    <a:pt x="386" y="259"/>
                  </a:lnTo>
                  <a:lnTo>
                    <a:pt x="384" y="259"/>
                  </a:lnTo>
                  <a:lnTo>
                    <a:pt x="382" y="261"/>
                  </a:lnTo>
                  <a:lnTo>
                    <a:pt x="382" y="261"/>
                  </a:lnTo>
                  <a:lnTo>
                    <a:pt x="378" y="261"/>
                  </a:lnTo>
                  <a:lnTo>
                    <a:pt x="376" y="261"/>
                  </a:lnTo>
                  <a:lnTo>
                    <a:pt x="376" y="259"/>
                  </a:lnTo>
                  <a:lnTo>
                    <a:pt x="378" y="259"/>
                  </a:lnTo>
                  <a:lnTo>
                    <a:pt x="378" y="259"/>
                  </a:lnTo>
                  <a:lnTo>
                    <a:pt x="376" y="257"/>
                  </a:lnTo>
                  <a:lnTo>
                    <a:pt x="374" y="257"/>
                  </a:lnTo>
                  <a:lnTo>
                    <a:pt x="372" y="257"/>
                  </a:lnTo>
                  <a:lnTo>
                    <a:pt x="368" y="257"/>
                  </a:lnTo>
                  <a:lnTo>
                    <a:pt x="368" y="257"/>
                  </a:lnTo>
                  <a:lnTo>
                    <a:pt x="364" y="259"/>
                  </a:lnTo>
                  <a:lnTo>
                    <a:pt x="364" y="259"/>
                  </a:lnTo>
                  <a:lnTo>
                    <a:pt x="364" y="261"/>
                  </a:lnTo>
                  <a:lnTo>
                    <a:pt x="361" y="261"/>
                  </a:lnTo>
                  <a:lnTo>
                    <a:pt x="357" y="263"/>
                  </a:lnTo>
                  <a:lnTo>
                    <a:pt x="355" y="261"/>
                  </a:lnTo>
                  <a:lnTo>
                    <a:pt x="349" y="261"/>
                  </a:lnTo>
                  <a:lnTo>
                    <a:pt x="347" y="263"/>
                  </a:lnTo>
                  <a:lnTo>
                    <a:pt x="345" y="265"/>
                  </a:lnTo>
                  <a:lnTo>
                    <a:pt x="339" y="267"/>
                  </a:lnTo>
                  <a:lnTo>
                    <a:pt x="337" y="267"/>
                  </a:lnTo>
                  <a:lnTo>
                    <a:pt x="335" y="267"/>
                  </a:lnTo>
                  <a:lnTo>
                    <a:pt x="333" y="267"/>
                  </a:lnTo>
                  <a:lnTo>
                    <a:pt x="333" y="263"/>
                  </a:lnTo>
                  <a:lnTo>
                    <a:pt x="331" y="261"/>
                  </a:lnTo>
                  <a:lnTo>
                    <a:pt x="327" y="259"/>
                  </a:lnTo>
                  <a:lnTo>
                    <a:pt x="325" y="257"/>
                  </a:lnTo>
                  <a:lnTo>
                    <a:pt x="318" y="257"/>
                  </a:lnTo>
                  <a:lnTo>
                    <a:pt x="316" y="255"/>
                  </a:lnTo>
                  <a:lnTo>
                    <a:pt x="316" y="255"/>
                  </a:lnTo>
                  <a:lnTo>
                    <a:pt x="318" y="257"/>
                  </a:lnTo>
                  <a:lnTo>
                    <a:pt x="318" y="257"/>
                  </a:lnTo>
                  <a:lnTo>
                    <a:pt x="318" y="257"/>
                  </a:lnTo>
                  <a:lnTo>
                    <a:pt x="314" y="257"/>
                  </a:lnTo>
                  <a:lnTo>
                    <a:pt x="314" y="255"/>
                  </a:lnTo>
                  <a:lnTo>
                    <a:pt x="314" y="255"/>
                  </a:lnTo>
                  <a:lnTo>
                    <a:pt x="314" y="255"/>
                  </a:lnTo>
                  <a:lnTo>
                    <a:pt x="316" y="255"/>
                  </a:lnTo>
                  <a:lnTo>
                    <a:pt x="314" y="253"/>
                  </a:lnTo>
                  <a:lnTo>
                    <a:pt x="312" y="250"/>
                  </a:lnTo>
                  <a:lnTo>
                    <a:pt x="312" y="248"/>
                  </a:lnTo>
                  <a:lnTo>
                    <a:pt x="312" y="248"/>
                  </a:lnTo>
                  <a:lnTo>
                    <a:pt x="308" y="244"/>
                  </a:lnTo>
                  <a:lnTo>
                    <a:pt x="308" y="242"/>
                  </a:lnTo>
                  <a:lnTo>
                    <a:pt x="308" y="240"/>
                  </a:lnTo>
                  <a:lnTo>
                    <a:pt x="308" y="236"/>
                  </a:lnTo>
                  <a:lnTo>
                    <a:pt x="304" y="230"/>
                  </a:lnTo>
                  <a:lnTo>
                    <a:pt x="300" y="222"/>
                  </a:lnTo>
                  <a:lnTo>
                    <a:pt x="298" y="220"/>
                  </a:lnTo>
                  <a:lnTo>
                    <a:pt x="300" y="218"/>
                  </a:lnTo>
                  <a:lnTo>
                    <a:pt x="298" y="213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6" y="205"/>
                  </a:lnTo>
                  <a:lnTo>
                    <a:pt x="296" y="205"/>
                  </a:lnTo>
                  <a:lnTo>
                    <a:pt x="294" y="205"/>
                  </a:lnTo>
                  <a:lnTo>
                    <a:pt x="294" y="203"/>
                  </a:lnTo>
                  <a:lnTo>
                    <a:pt x="294" y="195"/>
                  </a:lnTo>
                  <a:lnTo>
                    <a:pt x="296" y="201"/>
                  </a:lnTo>
                  <a:lnTo>
                    <a:pt x="298" y="203"/>
                  </a:lnTo>
                  <a:lnTo>
                    <a:pt x="298" y="203"/>
                  </a:lnTo>
                  <a:lnTo>
                    <a:pt x="298" y="205"/>
                  </a:lnTo>
                  <a:lnTo>
                    <a:pt x="298" y="205"/>
                  </a:lnTo>
                  <a:lnTo>
                    <a:pt x="296" y="207"/>
                  </a:lnTo>
                  <a:lnTo>
                    <a:pt x="298" y="209"/>
                  </a:lnTo>
                  <a:lnTo>
                    <a:pt x="298" y="207"/>
                  </a:lnTo>
                  <a:lnTo>
                    <a:pt x="298" y="207"/>
                  </a:lnTo>
                  <a:lnTo>
                    <a:pt x="300" y="205"/>
                  </a:lnTo>
                  <a:lnTo>
                    <a:pt x="298" y="203"/>
                  </a:lnTo>
                  <a:lnTo>
                    <a:pt x="298" y="201"/>
                  </a:lnTo>
                  <a:lnTo>
                    <a:pt x="296" y="199"/>
                  </a:lnTo>
                  <a:lnTo>
                    <a:pt x="294" y="195"/>
                  </a:lnTo>
                  <a:lnTo>
                    <a:pt x="294" y="191"/>
                  </a:lnTo>
                  <a:lnTo>
                    <a:pt x="294" y="187"/>
                  </a:lnTo>
                  <a:lnTo>
                    <a:pt x="294" y="187"/>
                  </a:lnTo>
                  <a:lnTo>
                    <a:pt x="294" y="185"/>
                  </a:lnTo>
                  <a:lnTo>
                    <a:pt x="296" y="183"/>
                  </a:lnTo>
                  <a:lnTo>
                    <a:pt x="296" y="181"/>
                  </a:lnTo>
                  <a:lnTo>
                    <a:pt x="296" y="179"/>
                  </a:lnTo>
                  <a:lnTo>
                    <a:pt x="298" y="172"/>
                  </a:lnTo>
                  <a:lnTo>
                    <a:pt x="300" y="164"/>
                  </a:lnTo>
                  <a:lnTo>
                    <a:pt x="300" y="164"/>
                  </a:lnTo>
                  <a:lnTo>
                    <a:pt x="300" y="164"/>
                  </a:lnTo>
                  <a:lnTo>
                    <a:pt x="300" y="160"/>
                  </a:lnTo>
                  <a:lnTo>
                    <a:pt x="302" y="152"/>
                  </a:lnTo>
                  <a:lnTo>
                    <a:pt x="308" y="142"/>
                  </a:lnTo>
                  <a:lnTo>
                    <a:pt x="310" y="137"/>
                  </a:lnTo>
                  <a:lnTo>
                    <a:pt x="314" y="131"/>
                  </a:lnTo>
                  <a:lnTo>
                    <a:pt x="316" y="127"/>
                  </a:lnTo>
                  <a:lnTo>
                    <a:pt x="316" y="123"/>
                  </a:lnTo>
                  <a:lnTo>
                    <a:pt x="314" y="123"/>
                  </a:lnTo>
                  <a:lnTo>
                    <a:pt x="314" y="125"/>
                  </a:lnTo>
                  <a:lnTo>
                    <a:pt x="314" y="125"/>
                  </a:lnTo>
                  <a:lnTo>
                    <a:pt x="314" y="125"/>
                  </a:lnTo>
                  <a:lnTo>
                    <a:pt x="312" y="125"/>
                  </a:lnTo>
                  <a:lnTo>
                    <a:pt x="312" y="125"/>
                  </a:lnTo>
                  <a:lnTo>
                    <a:pt x="310" y="123"/>
                  </a:lnTo>
                  <a:lnTo>
                    <a:pt x="308" y="123"/>
                  </a:lnTo>
                  <a:lnTo>
                    <a:pt x="302" y="121"/>
                  </a:lnTo>
                  <a:lnTo>
                    <a:pt x="300" y="121"/>
                  </a:lnTo>
                  <a:lnTo>
                    <a:pt x="298" y="119"/>
                  </a:lnTo>
                  <a:lnTo>
                    <a:pt x="298" y="119"/>
                  </a:lnTo>
                  <a:lnTo>
                    <a:pt x="296" y="119"/>
                  </a:lnTo>
                  <a:lnTo>
                    <a:pt x="294" y="117"/>
                  </a:lnTo>
                  <a:lnTo>
                    <a:pt x="294" y="117"/>
                  </a:lnTo>
                  <a:lnTo>
                    <a:pt x="292" y="115"/>
                  </a:lnTo>
                  <a:lnTo>
                    <a:pt x="290" y="115"/>
                  </a:lnTo>
                  <a:lnTo>
                    <a:pt x="288" y="115"/>
                  </a:lnTo>
                  <a:lnTo>
                    <a:pt x="288" y="113"/>
                  </a:lnTo>
                  <a:lnTo>
                    <a:pt x="288" y="113"/>
                  </a:lnTo>
                  <a:lnTo>
                    <a:pt x="288" y="109"/>
                  </a:lnTo>
                  <a:lnTo>
                    <a:pt x="288" y="107"/>
                  </a:lnTo>
                  <a:lnTo>
                    <a:pt x="286" y="105"/>
                  </a:lnTo>
                  <a:lnTo>
                    <a:pt x="286" y="102"/>
                  </a:lnTo>
                  <a:lnTo>
                    <a:pt x="286" y="102"/>
                  </a:lnTo>
                  <a:lnTo>
                    <a:pt x="286" y="102"/>
                  </a:lnTo>
                  <a:lnTo>
                    <a:pt x="286" y="100"/>
                  </a:lnTo>
                  <a:lnTo>
                    <a:pt x="286" y="100"/>
                  </a:lnTo>
                  <a:lnTo>
                    <a:pt x="286" y="98"/>
                  </a:lnTo>
                  <a:lnTo>
                    <a:pt x="286" y="98"/>
                  </a:lnTo>
                  <a:lnTo>
                    <a:pt x="288" y="96"/>
                  </a:lnTo>
                  <a:lnTo>
                    <a:pt x="288" y="96"/>
                  </a:lnTo>
                  <a:lnTo>
                    <a:pt x="288" y="94"/>
                  </a:lnTo>
                  <a:lnTo>
                    <a:pt x="286" y="92"/>
                  </a:lnTo>
                  <a:lnTo>
                    <a:pt x="283" y="90"/>
                  </a:lnTo>
                  <a:lnTo>
                    <a:pt x="283" y="88"/>
                  </a:lnTo>
                  <a:lnTo>
                    <a:pt x="281" y="86"/>
                  </a:lnTo>
                  <a:lnTo>
                    <a:pt x="281" y="82"/>
                  </a:lnTo>
                  <a:lnTo>
                    <a:pt x="279" y="82"/>
                  </a:lnTo>
                  <a:lnTo>
                    <a:pt x="279" y="80"/>
                  </a:lnTo>
                  <a:lnTo>
                    <a:pt x="279" y="78"/>
                  </a:lnTo>
                  <a:lnTo>
                    <a:pt x="279" y="78"/>
                  </a:lnTo>
                  <a:lnTo>
                    <a:pt x="279" y="78"/>
                  </a:lnTo>
                  <a:lnTo>
                    <a:pt x="277" y="76"/>
                  </a:lnTo>
                  <a:lnTo>
                    <a:pt x="277" y="72"/>
                  </a:lnTo>
                  <a:lnTo>
                    <a:pt x="277" y="68"/>
                  </a:lnTo>
                  <a:lnTo>
                    <a:pt x="277" y="65"/>
                  </a:lnTo>
                  <a:lnTo>
                    <a:pt x="275" y="63"/>
                  </a:lnTo>
                  <a:lnTo>
                    <a:pt x="273" y="61"/>
                  </a:lnTo>
                  <a:lnTo>
                    <a:pt x="273" y="61"/>
                  </a:lnTo>
                  <a:lnTo>
                    <a:pt x="273" y="59"/>
                  </a:lnTo>
                  <a:lnTo>
                    <a:pt x="273" y="59"/>
                  </a:lnTo>
                  <a:lnTo>
                    <a:pt x="269" y="55"/>
                  </a:lnTo>
                  <a:lnTo>
                    <a:pt x="269" y="53"/>
                  </a:lnTo>
                  <a:lnTo>
                    <a:pt x="269" y="53"/>
                  </a:lnTo>
                  <a:lnTo>
                    <a:pt x="267" y="53"/>
                  </a:lnTo>
                  <a:lnTo>
                    <a:pt x="267" y="53"/>
                  </a:lnTo>
                  <a:lnTo>
                    <a:pt x="267" y="53"/>
                  </a:lnTo>
                  <a:lnTo>
                    <a:pt x="267" y="53"/>
                  </a:lnTo>
                  <a:lnTo>
                    <a:pt x="265" y="53"/>
                  </a:lnTo>
                  <a:lnTo>
                    <a:pt x="263" y="53"/>
                  </a:lnTo>
                  <a:lnTo>
                    <a:pt x="259" y="53"/>
                  </a:lnTo>
                  <a:lnTo>
                    <a:pt x="257" y="53"/>
                  </a:lnTo>
                  <a:lnTo>
                    <a:pt x="257" y="51"/>
                  </a:lnTo>
                  <a:lnTo>
                    <a:pt x="255" y="51"/>
                  </a:lnTo>
                  <a:lnTo>
                    <a:pt x="253" y="53"/>
                  </a:lnTo>
                  <a:lnTo>
                    <a:pt x="253" y="53"/>
                  </a:lnTo>
                  <a:lnTo>
                    <a:pt x="251" y="53"/>
                  </a:lnTo>
                  <a:lnTo>
                    <a:pt x="246" y="55"/>
                  </a:lnTo>
                  <a:lnTo>
                    <a:pt x="244" y="59"/>
                  </a:lnTo>
                  <a:lnTo>
                    <a:pt x="242" y="61"/>
                  </a:lnTo>
                  <a:lnTo>
                    <a:pt x="242" y="63"/>
                  </a:lnTo>
                  <a:lnTo>
                    <a:pt x="242" y="63"/>
                  </a:lnTo>
                  <a:lnTo>
                    <a:pt x="242" y="63"/>
                  </a:lnTo>
                  <a:lnTo>
                    <a:pt x="240" y="65"/>
                  </a:lnTo>
                  <a:lnTo>
                    <a:pt x="238" y="68"/>
                  </a:lnTo>
                  <a:lnTo>
                    <a:pt x="236" y="68"/>
                  </a:lnTo>
                  <a:lnTo>
                    <a:pt x="236" y="68"/>
                  </a:lnTo>
                  <a:lnTo>
                    <a:pt x="234" y="65"/>
                  </a:lnTo>
                  <a:lnTo>
                    <a:pt x="230" y="63"/>
                  </a:lnTo>
                  <a:lnTo>
                    <a:pt x="228" y="61"/>
                  </a:lnTo>
                  <a:lnTo>
                    <a:pt x="226" y="61"/>
                  </a:lnTo>
                  <a:lnTo>
                    <a:pt x="224" y="61"/>
                  </a:lnTo>
                  <a:lnTo>
                    <a:pt x="224" y="59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0" y="55"/>
                  </a:lnTo>
                  <a:lnTo>
                    <a:pt x="220" y="51"/>
                  </a:lnTo>
                  <a:lnTo>
                    <a:pt x="220" y="49"/>
                  </a:lnTo>
                  <a:lnTo>
                    <a:pt x="220" y="47"/>
                  </a:lnTo>
                  <a:lnTo>
                    <a:pt x="220" y="41"/>
                  </a:lnTo>
                  <a:lnTo>
                    <a:pt x="218" y="39"/>
                  </a:lnTo>
                  <a:lnTo>
                    <a:pt x="218" y="37"/>
                  </a:lnTo>
                  <a:lnTo>
                    <a:pt x="218" y="37"/>
                  </a:lnTo>
                  <a:lnTo>
                    <a:pt x="214" y="35"/>
                  </a:lnTo>
                  <a:lnTo>
                    <a:pt x="212" y="30"/>
                  </a:lnTo>
                  <a:lnTo>
                    <a:pt x="210" y="26"/>
                  </a:lnTo>
                  <a:lnTo>
                    <a:pt x="207" y="24"/>
                  </a:lnTo>
                  <a:lnTo>
                    <a:pt x="205" y="22"/>
                  </a:lnTo>
                  <a:lnTo>
                    <a:pt x="203" y="20"/>
                  </a:lnTo>
                  <a:lnTo>
                    <a:pt x="203" y="18"/>
                  </a:lnTo>
                  <a:lnTo>
                    <a:pt x="203" y="16"/>
                  </a:lnTo>
                  <a:lnTo>
                    <a:pt x="203" y="16"/>
                  </a:lnTo>
                  <a:lnTo>
                    <a:pt x="201" y="16"/>
                  </a:lnTo>
                  <a:lnTo>
                    <a:pt x="199" y="16"/>
                  </a:lnTo>
                  <a:lnTo>
                    <a:pt x="195" y="16"/>
                  </a:lnTo>
                  <a:lnTo>
                    <a:pt x="193" y="16"/>
                  </a:lnTo>
                  <a:lnTo>
                    <a:pt x="189" y="16"/>
                  </a:lnTo>
                  <a:lnTo>
                    <a:pt x="185" y="16"/>
                  </a:lnTo>
                  <a:lnTo>
                    <a:pt x="183" y="16"/>
                  </a:lnTo>
                  <a:lnTo>
                    <a:pt x="179" y="16"/>
                  </a:lnTo>
                  <a:lnTo>
                    <a:pt x="175" y="16"/>
                  </a:lnTo>
                  <a:lnTo>
                    <a:pt x="175" y="18"/>
                  </a:lnTo>
                  <a:lnTo>
                    <a:pt x="175" y="20"/>
                  </a:lnTo>
                  <a:lnTo>
                    <a:pt x="173" y="22"/>
                  </a:lnTo>
                  <a:lnTo>
                    <a:pt x="173" y="24"/>
                  </a:lnTo>
                  <a:lnTo>
                    <a:pt x="166" y="24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0" y="24"/>
                  </a:lnTo>
                  <a:lnTo>
                    <a:pt x="144" y="24"/>
                  </a:lnTo>
                  <a:lnTo>
                    <a:pt x="140" y="24"/>
                  </a:lnTo>
                  <a:lnTo>
                    <a:pt x="134" y="24"/>
                  </a:lnTo>
                  <a:lnTo>
                    <a:pt x="127" y="24"/>
                  </a:lnTo>
                  <a:lnTo>
                    <a:pt x="121" y="22"/>
                  </a:lnTo>
                  <a:lnTo>
                    <a:pt x="115" y="20"/>
                  </a:lnTo>
                  <a:lnTo>
                    <a:pt x="109" y="16"/>
                  </a:lnTo>
                  <a:lnTo>
                    <a:pt x="103" y="14"/>
                  </a:lnTo>
                  <a:lnTo>
                    <a:pt x="97" y="12"/>
                  </a:lnTo>
                  <a:lnTo>
                    <a:pt x="90" y="10"/>
                  </a:lnTo>
                  <a:lnTo>
                    <a:pt x="84" y="6"/>
                  </a:lnTo>
                  <a:lnTo>
                    <a:pt x="78" y="4"/>
                  </a:lnTo>
                  <a:lnTo>
                    <a:pt x="78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0" y="2"/>
                  </a:lnTo>
                  <a:lnTo>
                    <a:pt x="66" y="2"/>
                  </a:lnTo>
                  <a:lnTo>
                    <a:pt x="62" y="2"/>
                  </a:lnTo>
                  <a:lnTo>
                    <a:pt x="56" y="2"/>
                  </a:lnTo>
                  <a:lnTo>
                    <a:pt x="51" y="2"/>
                  </a:lnTo>
                  <a:lnTo>
                    <a:pt x="47" y="2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3" y="8"/>
                  </a:lnTo>
                  <a:lnTo>
                    <a:pt x="43" y="10"/>
                  </a:lnTo>
                  <a:lnTo>
                    <a:pt x="43" y="12"/>
                  </a:lnTo>
                  <a:lnTo>
                    <a:pt x="45" y="16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20"/>
                  </a:lnTo>
                  <a:lnTo>
                    <a:pt x="43" y="22"/>
                  </a:lnTo>
                  <a:lnTo>
                    <a:pt x="45" y="24"/>
                  </a:lnTo>
                  <a:lnTo>
                    <a:pt x="45" y="26"/>
                  </a:lnTo>
                  <a:lnTo>
                    <a:pt x="45" y="28"/>
                  </a:lnTo>
                  <a:lnTo>
                    <a:pt x="45" y="30"/>
                  </a:lnTo>
                  <a:lnTo>
                    <a:pt x="45" y="33"/>
                  </a:lnTo>
                  <a:lnTo>
                    <a:pt x="47" y="35"/>
                  </a:lnTo>
                  <a:lnTo>
                    <a:pt x="47" y="37"/>
                  </a:lnTo>
                  <a:lnTo>
                    <a:pt x="45" y="39"/>
                  </a:lnTo>
                  <a:lnTo>
                    <a:pt x="45" y="41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7"/>
                  </a:lnTo>
                  <a:lnTo>
                    <a:pt x="45" y="51"/>
                  </a:lnTo>
                  <a:lnTo>
                    <a:pt x="47" y="51"/>
                  </a:lnTo>
                  <a:lnTo>
                    <a:pt x="47" y="53"/>
                  </a:lnTo>
                  <a:lnTo>
                    <a:pt x="47" y="55"/>
                  </a:lnTo>
                  <a:lnTo>
                    <a:pt x="51" y="57"/>
                  </a:lnTo>
                  <a:lnTo>
                    <a:pt x="51" y="59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3"/>
                  </a:lnTo>
                  <a:lnTo>
                    <a:pt x="58" y="65"/>
                  </a:lnTo>
                  <a:lnTo>
                    <a:pt x="62" y="72"/>
                  </a:lnTo>
                  <a:lnTo>
                    <a:pt x="64" y="76"/>
                  </a:lnTo>
                  <a:lnTo>
                    <a:pt x="64" y="78"/>
                  </a:lnTo>
                  <a:lnTo>
                    <a:pt x="62" y="82"/>
                  </a:lnTo>
                  <a:lnTo>
                    <a:pt x="60" y="86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6" y="90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6" y="88"/>
                  </a:lnTo>
                  <a:lnTo>
                    <a:pt x="54" y="90"/>
                  </a:lnTo>
                  <a:lnTo>
                    <a:pt x="51" y="90"/>
                  </a:lnTo>
                  <a:lnTo>
                    <a:pt x="49" y="90"/>
                  </a:lnTo>
                  <a:lnTo>
                    <a:pt x="45" y="88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7" y="92"/>
                  </a:lnTo>
                  <a:lnTo>
                    <a:pt x="49" y="94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54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8" y="105"/>
                  </a:lnTo>
                  <a:lnTo>
                    <a:pt x="58" y="105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62" y="109"/>
                  </a:lnTo>
                  <a:lnTo>
                    <a:pt x="62" y="109"/>
                  </a:lnTo>
                  <a:lnTo>
                    <a:pt x="66" y="109"/>
                  </a:lnTo>
                  <a:lnTo>
                    <a:pt x="68" y="109"/>
                  </a:lnTo>
                  <a:lnTo>
                    <a:pt x="70" y="107"/>
                  </a:lnTo>
                  <a:lnTo>
                    <a:pt x="70" y="105"/>
                  </a:lnTo>
                  <a:lnTo>
                    <a:pt x="70" y="109"/>
                  </a:lnTo>
                  <a:lnTo>
                    <a:pt x="70" y="109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6" y="117"/>
                  </a:lnTo>
                  <a:lnTo>
                    <a:pt x="78" y="119"/>
                  </a:lnTo>
                  <a:lnTo>
                    <a:pt x="80" y="125"/>
                  </a:lnTo>
                  <a:lnTo>
                    <a:pt x="80" y="127"/>
                  </a:lnTo>
                  <a:lnTo>
                    <a:pt x="80" y="129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0" y="135"/>
                  </a:lnTo>
                  <a:lnTo>
                    <a:pt x="78" y="139"/>
                  </a:lnTo>
                  <a:lnTo>
                    <a:pt x="78" y="142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80" y="148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82" y="150"/>
                  </a:lnTo>
                  <a:lnTo>
                    <a:pt x="82" y="150"/>
                  </a:lnTo>
                  <a:lnTo>
                    <a:pt x="84" y="152"/>
                  </a:lnTo>
                  <a:lnTo>
                    <a:pt x="86" y="154"/>
                  </a:lnTo>
                  <a:lnTo>
                    <a:pt x="90" y="158"/>
                  </a:lnTo>
                  <a:lnTo>
                    <a:pt x="93" y="160"/>
                  </a:lnTo>
                  <a:lnTo>
                    <a:pt x="95" y="162"/>
                  </a:lnTo>
                  <a:lnTo>
                    <a:pt x="97" y="164"/>
                  </a:lnTo>
                  <a:lnTo>
                    <a:pt x="99" y="166"/>
                  </a:lnTo>
                  <a:lnTo>
                    <a:pt x="101" y="168"/>
                  </a:lnTo>
                  <a:lnTo>
                    <a:pt x="101" y="170"/>
                  </a:lnTo>
                  <a:lnTo>
                    <a:pt x="101" y="172"/>
                  </a:lnTo>
                  <a:lnTo>
                    <a:pt x="101" y="179"/>
                  </a:lnTo>
                  <a:lnTo>
                    <a:pt x="103" y="181"/>
                  </a:lnTo>
                  <a:lnTo>
                    <a:pt x="105" y="181"/>
                  </a:lnTo>
                  <a:lnTo>
                    <a:pt x="105" y="179"/>
                  </a:lnTo>
                  <a:lnTo>
                    <a:pt x="107" y="179"/>
                  </a:lnTo>
                  <a:lnTo>
                    <a:pt x="109" y="176"/>
                  </a:lnTo>
                  <a:lnTo>
                    <a:pt x="111" y="174"/>
                  </a:lnTo>
                  <a:lnTo>
                    <a:pt x="113" y="174"/>
                  </a:lnTo>
                  <a:lnTo>
                    <a:pt x="113" y="170"/>
                  </a:lnTo>
                  <a:lnTo>
                    <a:pt x="113" y="168"/>
                  </a:lnTo>
                  <a:lnTo>
                    <a:pt x="113" y="166"/>
                  </a:lnTo>
                  <a:lnTo>
                    <a:pt x="111" y="166"/>
                  </a:lnTo>
                  <a:lnTo>
                    <a:pt x="111" y="164"/>
                  </a:lnTo>
                  <a:lnTo>
                    <a:pt x="109" y="162"/>
                  </a:lnTo>
                  <a:lnTo>
                    <a:pt x="109" y="160"/>
                  </a:lnTo>
                  <a:lnTo>
                    <a:pt x="109" y="158"/>
                  </a:lnTo>
                  <a:lnTo>
                    <a:pt x="107" y="158"/>
                  </a:lnTo>
                  <a:lnTo>
                    <a:pt x="107" y="156"/>
                  </a:lnTo>
                  <a:lnTo>
                    <a:pt x="105" y="154"/>
                  </a:lnTo>
                  <a:lnTo>
                    <a:pt x="103" y="154"/>
                  </a:lnTo>
                  <a:lnTo>
                    <a:pt x="103" y="154"/>
                  </a:lnTo>
                  <a:lnTo>
                    <a:pt x="103" y="154"/>
                  </a:lnTo>
                  <a:lnTo>
                    <a:pt x="103" y="156"/>
                  </a:lnTo>
                  <a:lnTo>
                    <a:pt x="103" y="158"/>
                  </a:lnTo>
                  <a:lnTo>
                    <a:pt x="101" y="158"/>
                  </a:lnTo>
                  <a:lnTo>
                    <a:pt x="101" y="158"/>
                  </a:lnTo>
                  <a:lnTo>
                    <a:pt x="101" y="156"/>
                  </a:lnTo>
                  <a:lnTo>
                    <a:pt x="101" y="156"/>
                  </a:lnTo>
                  <a:lnTo>
                    <a:pt x="99" y="156"/>
                  </a:lnTo>
                  <a:lnTo>
                    <a:pt x="99" y="154"/>
                  </a:lnTo>
                  <a:lnTo>
                    <a:pt x="97" y="148"/>
                  </a:lnTo>
                  <a:lnTo>
                    <a:pt x="99" y="148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9" y="142"/>
                  </a:lnTo>
                  <a:lnTo>
                    <a:pt x="97" y="139"/>
                  </a:lnTo>
                  <a:lnTo>
                    <a:pt x="97" y="133"/>
                  </a:lnTo>
                  <a:lnTo>
                    <a:pt x="97" y="131"/>
                  </a:lnTo>
                  <a:lnTo>
                    <a:pt x="95" y="131"/>
                  </a:lnTo>
                  <a:lnTo>
                    <a:pt x="95" y="127"/>
                  </a:lnTo>
                  <a:lnTo>
                    <a:pt x="95" y="123"/>
                  </a:lnTo>
                  <a:lnTo>
                    <a:pt x="95" y="121"/>
                  </a:lnTo>
                  <a:lnTo>
                    <a:pt x="95" y="119"/>
                  </a:lnTo>
                  <a:lnTo>
                    <a:pt x="95" y="117"/>
                  </a:lnTo>
                  <a:lnTo>
                    <a:pt x="95" y="115"/>
                  </a:lnTo>
                  <a:lnTo>
                    <a:pt x="95" y="113"/>
                  </a:lnTo>
                  <a:lnTo>
                    <a:pt x="95" y="113"/>
                  </a:lnTo>
                  <a:lnTo>
                    <a:pt x="95" y="111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88" y="111"/>
                  </a:lnTo>
                  <a:lnTo>
                    <a:pt x="90" y="107"/>
                  </a:lnTo>
                  <a:lnTo>
                    <a:pt x="88" y="105"/>
                  </a:lnTo>
                  <a:lnTo>
                    <a:pt x="88" y="105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6" y="100"/>
                  </a:lnTo>
                  <a:lnTo>
                    <a:pt x="86" y="98"/>
                  </a:lnTo>
                  <a:lnTo>
                    <a:pt x="86" y="94"/>
                  </a:lnTo>
                  <a:lnTo>
                    <a:pt x="84" y="92"/>
                  </a:lnTo>
                  <a:lnTo>
                    <a:pt x="82" y="90"/>
                  </a:lnTo>
                  <a:lnTo>
                    <a:pt x="82" y="88"/>
                  </a:lnTo>
                  <a:lnTo>
                    <a:pt x="82" y="86"/>
                  </a:lnTo>
                  <a:lnTo>
                    <a:pt x="82" y="84"/>
                  </a:lnTo>
                  <a:lnTo>
                    <a:pt x="82" y="82"/>
                  </a:lnTo>
                  <a:lnTo>
                    <a:pt x="82" y="80"/>
                  </a:lnTo>
                  <a:lnTo>
                    <a:pt x="82" y="80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0" y="78"/>
                  </a:lnTo>
                  <a:lnTo>
                    <a:pt x="80" y="76"/>
                  </a:lnTo>
                  <a:lnTo>
                    <a:pt x="80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6" y="70"/>
                  </a:lnTo>
                  <a:lnTo>
                    <a:pt x="76" y="68"/>
                  </a:lnTo>
                  <a:lnTo>
                    <a:pt x="76" y="65"/>
                  </a:lnTo>
                  <a:lnTo>
                    <a:pt x="74" y="61"/>
                  </a:lnTo>
                  <a:lnTo>
                    <a:pt x="74" y="59"/>
                  </a:lnTo>
                  <a:lnTo>
                    <a:pt x="70" y="57"/>
                  </a:lnTo>
                  <a:lnTo>
                    <a:pt x="70" y="55"/>
                  </a:lnTo>
                  <a:lnTo>
                    <a:pt x="68" y="53"/>
                  </a:lnTo>
                  <a:lnTo>
                    <a:pt x="68" y="51"/>
                  </a:lnTo>
                  <a:lnTo>
                    <a:pt x="66" y="49"/>
                  </a:lnTo>
                  <a:lnTo>
                    <a:pt x="66" y="47"/>
                  </a:lnTo>
                  <a:lnTo>
                    <a:pt x="66" y="45"/>
                  </a:lnTo>
                  <a:lnTo>
                    <a:pt x="68" y="41"/>
                  </a:lnTo>
                  <a:lnTo>
                    <a:pt x="68" y="39"/>
                  </a:lnTo>
                  <a:lnTo>
                    <a:pt x="68" y="35"/>
                  </a:lnTo>
                  <a:lnTo>
                    <a:pt x="68" y="33"/>
                  </a:lnTo>
                  <a:lnTo>
                    <a:pt x="68" y="30"/>
                  </a:lnTo>
                  <a:lnTo>
                    <a:pt x="68" y="28"/>
                  </a:lnTo>
                  <a:lnTo>
                    <a:pt x="70" y="22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4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80" y="20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4" y="22"/>
                  </a:lnTo>
                  <a:lnTo>
                    <a:pt x="84" y="20"/>
                  </a:lnTo>
                  <a:lnTo>
                    <a:pt x="86" y="20"/>
                  </a:lnTo>
                  <a:lnTo>
                    <a:pt x="88" y="20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8" y="24"/>
                  </a:lnTo>
                  <a:lnTo>
                    <a:pt x="90" y="26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7" y="26"/>
                  </a:lnTo>
                  <a:lnTo>
                    <a:pt x="97" y="28"/>
                  </a:lnTo>
                  <a:lnTo>
                    <a:pt x="97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3"/>
                  </a:lnTo>
                  <a:lnTo>
                    <a:pt x="93" y="35"/>
                  </a:lnTo>
                  <a:lnTo>
                    <a:pt x="93" y="37"/>
                  </a:lnTo>
                  <a:lnTo>
                    <a:pt x="95" y="41"/>
                  </a:lnTo>
                  <a:lnTo>
                    <a:pt x="95" y="45"/>
                  </a:lnTo>
                  <a:lnTo>
                    <a:pt x="95" y="47"/>
                  </a:lnTo>
                  <a:lnTo>
                    <a:pt x="95" y="49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5"/>
                  </a:lnTo>
                  <a:lnTo>
                    <a:pt x="97" y="57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5" y="61"/>
                  </a:lnTo>
                  <a:lnTo>
                    <a:pt x="97" y="61"/>
                  </a:lnTo>
                  <a:lnTo>
                    <a:pt x="97" y="63"/>
                  </a:lnTo>
                  <a:lnTo>
                    <a:pt x="97" y="65"/>
                  </a:lnTo>
                  <a:lnTo>
                    <a:pt x="97" y="68"/>
                  </a:lnTo>
                  <a:lnTo>
                    <a:pt x="99" y="70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1" y="74"/>
                  </a:lnTo>
                  <a:lnTo>
                    <a:pt x="101" y="76"/>
                  </a:lnTo>
                  <a:lnTo>
                    <a:pt x="101" y="78"/>
                  </a:lnTo>
                  <a:lnTo>
                    <a:pt x="105" y="80"/>
                  </a:lnTo>
                  <a:lnTo>
                    <a:pt x="105" y="84"/>
                  </a:lnTo>
                  <a:lnTo>
                    <a:pt x="107" y="86"/>
                  </a:lnTo>
                  <a:lnTo>
                    <a:pt x="109" y="88"/>
                  </a:lnTo>
                  <a:lnTo>
                    <a:pt x="111" y="88"/>
                  </a:lnTo>
                  <a:lnTo>
                    <a:pt x="111" y="88"/>
                  </a:lnTo>
                  <a:lnTo>
                    <a:pt x="113" y="88"/>
                  </a:lnTo>
                  <a:lnTo>
                    <a:pt x="115" y="88"/>
                  </a:lnTo>
                  <a:lnTo>
                    <a:pt x="115" y="90"/>
                  </a:lnTo>
                  <a:lnTo>
                    <a:pt x="113" y="92"/>
                  </a:lnTo>
                  <a:lnTo>
                    <a:pt x="113" y="94"/>
                  </a:lnTo>
                  <a:lnTo>
                    <a:pt x="113" y="96"/>
                  </a:lnTo>
                  <a:lnTo>
                    <a:pt x="113" y="96"/>
                  </a:lnTo>
                  <a:lnTo>
                    <a:pt x="115" y="98"/>
                  </a:lnTo>
                  <a:lnTo>
                    <a:pt x="115" y="100"/>
                  </a:lnTo>
                  <a:lnTo>
                    <a:pt x="117" y="100"/>
                  </a:lnTo>
                  <a:lnTo>
                    <a:pt x="121" y="102"/>
                  </a:lnTo>
                  <a:lnTo>
                    <a:pt x="121" y="105"/>
                  </a:lnTo>
                  <a:lnTo>
                    <a:pt x="121" y="105"/>
                  </a:lnTo>
                  <a:lnTo>
                    <a:pt x="121" y="107"/>
                  </a:lnTo>
                  <a:lnTo>
                    <a:pt x="121" y="109"/>
                  </a:lnTo>
                  <a:lnTo>
                    <a:pt x="123" y="111"/>
                  </a:lnTo>
                  <a:lnTo>
                    <a:pt x="123" y="111"/>
                  </a:lnTo>
                  <a:lnTo>
                    <a:pt x="127" y="111"/>
                  </a:lnTo>
                  <a:lnTo>
                    <a:pt x="129" y="113"/>
                  </a:lnTo>
                  <a:lnTo>
                    <a:pt x="129" y="115"/>
                  </a:lnTo>
                  <a:lnTo>
                    <a:pt x="129" y="115"/>
                  </a:lnTo>
                  <a:lnTo>
                    <a:pt x="129" y="117"/>
                  </a:lnTo>
                  <a:lnTo>
                    <a:pt x="129" y="117"/>
                  </a:lnTo>
                  <a:lnTo>
                    <a:pt x="129" y="119"/>
                  </a:lnTo>
                  <a:lnTo>
                    <a:pt x="129" y="119"/>
                  </a:lnTo>
                  <a:lnTo>
                    <a:pt x="129" y="117"/>
                  </a:lnTo>
                  <a:lnTo>
                    <a:pt x="127" y="119"/>
                  </a:lnTo>
                  <a:lnTo>
                    <a:pt x="125" y="121"/>
                  </a:lnTo>
                  <a:lnTo>
                    <a:pt x="125" y="123"/>
                  </a:lnTo>
                  <a:lnTo>
                    <a:pt x="123" y="127"/>
                  </a:lnTo>
                  <a:lnTo>
                    <a:pt x="125" y="129"/>
                  </a:lnTo>
                  <a:lnTo>
                    <a:pt x="125" y="129"/>
                  </a:lnTo>
                  <a:lnTo>
                    <a:pt x="125" y="131"/>
                  </a:lnTo>
                  <a:lnTo>
                    <a:pt x="127" y="129"/>
                  </a:lnTo>
                  <a:lnTo>
                    <a:pt x="129" y="129"/>
                  </a:lnTo>
                  <a:lnTo>
                    <a:pt x="132" y="129"/>
                  </a:lnTo>
                  <a:lnTo>
                    <a:pt x="132" y="127"/>
                  </a:lnTo>
                  <a:lnTo>
                    <a:pt x="132" y="129"/>
                  </a:lnTo>
                  <a:lnTo>
                    <a:pt x="129" y="131"/>
                  </a:lnTo>
                  <a:lnTo>
                    <a:pt x="127" y="131"/>
                  </a:lnTo>
                  <a:lnTo>
                    <a:pt x="127" y="131"/>
                  </a:lnTo>
                  <a:lnTo>
                    <a:pt x="127" y="133"/>
                  </a:lnTo>
                  <a:lnTo>
                    <a:pt x="129" y="131"/>
                  </a:lnTo>
                  <a:lnTo>
                    <a:pt x="132" y="131"/>
                  </a:lnTo>
                  <a:lnTo>
                    <a:pt x="132" y="131"/>
                  </a:lnTo>
                  <a:lnTo>
                    <a:pt x="132" y="133"/>
                  </a:lnTo>
                  <a:lnTo>
                    <a:pt x="134" y="133"/>
                  </a:lnTo>
                  <a:lnTo>
                    <a:pt x="136" y="135"/>
                  </a:lnTo>
                  <a:lnTo>
                    <a:pt x="138" y="137"/>
                  </a:lnTo>
                  <a:lnTo>
                    <a:pt x="142" y="139"/>
                  </a:lnTo>
                  <a:lnTo>
                    <a:pt x="142" y="139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0" y="142"/>
                  </a:lnTo>
                  <a:lnTo>
                    <a:pt x="140" y="142"/>
                  </a:lnTo>
                  <a:lnTo>
                    <a:pt x="140" y="139"/>
                  </a:lnTo>
                  <a:lnTo>
                    <a:pt x="138" y="139"/>
                  </a:lnTo>
                  <a:lnTo>
                    <a:pt x="140" y="142"/>
                  </a:lnTo>
                  <a:lnTo>
                    <a:pt x="142" y="146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4" y="150"/>
                  </a:lnTo>
                  <a:lnTo>
                    <a:pt x="146" y="150"/>
                  </a:lnTo>
                  <a:lnTo>
                    <a:pt x="146" y="150"/>
                  </a:lnTo>
                  <a:lnTo>
                    <a:pt x="146" y="150"/>
                  </a:lnTo>
                  <a:lnTo>
                    <a:pt x="148" y="150"/>
                  </a:lnTo>
                  <a:lnTo>
                    <a:pt x="148" y="150"/>
                  </a:lnTo>
                  <a:lnTo>
                    <a:pt x="148" y="152"/>
                  </a:lnTo>
                  <a:lnTo>
                    <a:pt x="148" y="152"/>
                  </a:lnTo>
                  <a:lnTo>
                    <a:pt x="148" y="154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152" y="160"/>
                  </a:lnTo>
                  <a:lnTo>
                    <a:pt x="154" y="162"/>
                  </a:lnTo>
                  <a:lnTo>
                    <a:pt x="156" y="166"/>
                  </a:lnTo>
                  <a:lnTo>
                    <a:pt x="158" y="170"/>
                  </a:lnTo>
                  <a:lnTo>
                    <a:pt x="160" y="174"/>
                  </a:lnTo>
                  <a:lnTo>
                    <a:pt x="162" y="176"/>
                  </a:lnTo>
                  <a:lnTo>
                    <a:pt x="164" y="181"/>
                  </a:lnTo>
                  <a:lnTo>
                    <a:pt x="166" y="183"/>
                  </a:lnTo>
                  <a:lnTo>
                    <a:pt x="168" y="185"/>
                  </a:lnTo>
                  <a:lnTo>
                    <a:pt x="171" y="191"/>
                  </a:lnTo>
                  <a:lnTo>
                    <a:pt x="168" y="197"/>
                  </a:lnTo>
                  <a:lnTo>
                    <a:pt x="171" y="199"/>
                  </a:lnTo>
                  <a:lnTo>
                    <a:pt x="171" y="203"/>
                  </a:lnTo>
                  <a:lnTo>
                    <a:pt x="171" y="203"/>
                  </a:lnTo>
                  <a:lnTo>
                    <a:pt x="175" y="205"/>
                  </a:lnTo>
                  <a:lnTo>
                    <a:pt x="173" y="207"/>
                  </a:lnTo>
                  <a:lnTo>
                    <a:pt x="173" y="209"/>
                  </a:lnTo>
                  <a:lnTo>
                    <a:pt x="173" y="211"/>
                  </a:lnTo>
                  <a:lnTo>
                    <a:pt x="171" y="213"/>
                  </a:lnTo>
                  <a:lnTo>
                    <a:pt x="168" y="216"/>
                  </a:lnTo>
                  <a:lnTo>
                    <a:pt x="168" y="218"/>
                  </a:lnTo>
                  <a:lnTo>
                    <a:pt x="166" y="218"/>
                  </a:lnTo>
                  <a:lnTo>
                    <a:pt x="166" y="220"/>
                  </a:lnTo>
                  <a:lnTo>
                    <a:pt x="168" y="220"/>
                  </a:lnTo>
                  <a:lnTo>
                    <a:pt x="171" y="220"/>
                  </a:lnTo>
                  <a:lnTo>
                    <a:pt x="171" y="220"/>
                  </a:lnTo>
                  <a:lnTo>
                    <a:pt x="171" y="222"/>
                  </a:lnTo>
                  <a:lnTo>
                    <a:pt x="171" y="222"/>
                  </a:lnTo>
                  <a:lnTo>
                    <a:pt x="168" y="224"/>
                  </a:lnTo>
                  <a:lnTo>
                    <a:pt x="164" y="224"/>
                  </a:lnTo>
                  <a:lnTo>
                    <a:pt x="164" y="226"/>
                  </a:lnTo>
                  <a:lnTo>
                    <a:pt x="162" y="226"/>
                  </a:lnTo>
                  <a:lnTo>
                    <a:pt x="164" y="228"/>
                  </a:lnTo>
                  <a:lnTo>
                    <a:pt x="164" y="228"/>
                  </a:lnTo>
                  <a:lnTo>
                    <a:pt x="164" y="232"/>
                  </a:lnTo>
                  <a:lnTo>
                    <a:pt x="164" y="234"/>
                  </a:lnTo>
                  <a:lnTo>
                    <a:pt x="166" y="238"/>
                  </a:lnTo>
                  <a:lnTo>
                    <a:pt x="168" y="240"/>
                  </a:lnTo>
                  <a:lnTo>
                    <a:pt x="171" y="242"/>
                  </a:lnTo>
                  <a:lnTo>
                    <a:pt x="171" y="246"/>
                  </a:lnTo>
                  <a:lnTo>
                    <a:pt x="177" y="248"/>
                  </a:lnTo>
                  <a:lnTo>
                    <a:pt x="179" y="250"/>
                  </a:lnTo>
                  <a:lnTo>
                    <a:pt x="181" y="250"/>
                  </a:lnTo>
                  <a:lnTo>
                    <a:pt x="185" y="253"/>
                  </a:lnTo>
                  <a:lnTo>
                    <a:pt x="187" y="255"/>
                  </a:lnTo>
                  <a:lnTo>
                    <a:pt x="189" y="259"/>
                  </a:lnTo>
                  <a:lnTo>
                    <a:pt x="191" y="261"/>
                  </a:lnTo>
                  <a:lnTo>
                    <a:pt x="191" y="263"/>
                  </a:lnTo>
                  <a:lnTo>
                    <a:pt x="199" y="267"/>
                  </a:lnTo>
                  <a:lnTo>
                    <a:pt x="203" y="269"/>
                  </a:lnTo>
                  <a:lnTo>
                    <a:pt x="205" y="269"/>
                  </a:lnTo>
                  <a:lnTo>
                    <a:pt x="210" y="271"/>
                  </a:lnTo>
                  <a:lnTo>
                    <a:pt x="214" y="271"/>
                  </a:lnTo>
                  <a:lnTo>
                    <a:pt x="216" y="271"/>
                  </a:lnTo>
                  <a:lnTo>
                    <a:pt x="216" y="271"/>
                  </a:lnTo>
                  <a:lnTo>
                    <a:pt x="218" y="273"/>
                  </a:lnTo>
                  <a:lnTo>
                    <a:pt x="220" y="275"/>
                  </a:lnTo>
                  <a:lnTo>
                    <a:pt x="222" y="277"/>
                  </a:lnTo>
                  <a:lnTo>
                    <a:pt x="222" y="279"/>
                  </a:lnTo>
                  <a:lnTo>
                    <a:pt x="226" y="281"/>
                  </a:lnTo>
                  <a:lnTo>
                    <a:pt x="228" y="283"/>
                  </a:lnTo>
                  <a:lnTo>
                    <a:pt x="230" y="283"/>
                  </a:lnTo>
                  <a:lnTo>
                    <a:pt x="236" y="288"/>
                  </a:lnTo>
                  <a:lnTo>
                    <a:pt x="238" y="288"/>
                  </a:lnTo>
                  <a:lnTo>
                    <a:pt x="242" y="290"/>
                  </a:lnTo>
                  <a:lnTo>
                    <a:pt x="246" y="294"/>
                  </a:lnTo>
                  <a:lnTo>
                    <a:pt x="253" y="294"/>
                  </a:lnTo>
                  <a:lnTo>
                    <a:pt x="259" y="296"/>
                  </a:lnTo>
                  <a:lnTo>
                    <a:pt x="259" y="296"/>
                  </a:lnTo>
                  <a:lnTo>
                    <a:pt x="261" y="296"/>
                  </a:lnTo>
                  <a:lnTo>
                    <a:pt x="265" y="300"/>
                  </a:lnTo>
                  <a:lnTo>
                    <a:pt x="271" y="302"/>
                  </a:lnTo>
                  <a:lnTo>
                    <a:pt x="277" y="306"/>
                  </a:lnTo>
                  <a:lnTo>
                    <a:pt x="286" y="308"/>
                  </a:lnTo>
                  <a:lnTo>
                    <a:pt x="292" y="312"/>
                  </a:lnTo>
                  <a:lnTo>
                    <a:pt x="296" y="312"/>
                  </a:lnTo>
                  <a:lnTo>
                    <a:pt x="298" y="312"/>
                  </a:lnTo>
                  <a:lnTo>
                    <a:pt x="300" y="312"/>
                  </a:lnTo>
                  <a:lnTo>
                    <a:pt x="308" y="308"/>
                  </a:lnTo>
                  <a:lnTo>
                    <a:pt x="312" y="306"/>
                  </a:lnTo>
                  <a:lnTo>
                    <a:pt x="318" y="304"/>
                  </a:lnTo>
                  <a:lnTo>
                    <a:pt x="322" y="302"/>
                  </a:lnTo>
                  <a:lnTo>
                    <a:pt x="325" y="302"/>
                  </a:lnTo>
                  <a:lnTo>
                    <a:pt x="325" y="302"/>
                  </a:lnTo>
                  <a:lnTo>
                    <a:pt x="325" y="302"/>
                  </a:lnTo>
                  <a:lnTo>
                    <a:pt x="320" y="302"/>
                  </a:lnTo>
                  <a:lnTo>
                    <a:pt x="320" y="300"/>
                  </a:lnTo>
                  <a:lnTo>
                    <a:pt x="322" y="300"/>
                  </a:lnTo>
                  <a:lnTo>
                    <a:pt x="322" y="298"/>
                  </a:lnTo>
                  <a:lnTo>
                    <a:pt x="325" y="298"/>
                  </a:lnTo>
                  <a:lnTo>
                    <a:pt x="325" y="300"/>
                  </a:lnTo>
                  <a:lnTo>
                    <a:pt x="325" y="300"/>
                  </a:lnTo>
                  <a:lnTo>
                    <a:pt x="325" y="302"/>
                  </a:lnTo>
                  <a:lnTo>
                    <a:pt x="325" y="302"/>
                  </a:lnTo>
                  <a:lnTo>
                    <a:pt x="327" y="300"/>
                  </a:lnTo>
                  <a:lnTo>
                    <a:pt x="327" y="300"/>
                  </a:lnTo>
                  <a:lnTo>
                    <a:pt x="329" y="300"/>
                  </a:lnTo>
                  <a:lnTo>
                    <a:pt x="327" y="302"/>
                  </a:lnTo>
                  <a:lnTo>
                    <a:pt x="327" y="302"/>
                  </a:lnTo>
                  <a:lnTo>
                    <a:pt x="329" y="304"/>
                  </a:lnTo>
                  <a:lnTo>
                    <a:pt x="337" y="306"/>
                  </a:lnTo>
                  <a:lnTo>
                    <a:pt x="337" y="306"/>
                  </a:lnTo>
                  <a:lnTo>
                    <a:pt x="333" y="304"/>
                  </a:lnTo>
                  <a:lnTo>
                    <a:pt x="333" y="304"/>
                  </a:lnTo>
                  <a:lnTo>
                    <a:pt x="333" y="304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3" y="302"/>
                  </a:lnTo>
                  <a:lnTo>
                    <a:pt x="333" y="302"/>
                  </a:lnTo>
                  <a:lnTo>
                    <a:pt x="335" y="304"/>
                  </a:lnTo>
                  <a:lnTo>
                    <a:pt x="339" y="306"/>
                  </a:lnTo>
                  <a:lnTo>
                    <a:pt x="341" y="308"/>
                  </a:lnTo>
                  <a:lnTo>
                    <a:pt x="343" y="310"/>
                  </a:lnTo>
                  <a:lnTo>
                    <a:pt x="349" y="316"/>
                  </a:lnTo>
                  <a:lnTo>
                    <a:pt x="351" y="318"/>
                  </a:lnTo>
                  <a:lnTo>
                    <a:pt x="351" y="320"/>
                  </a:lnTo>
                  <a:lnTo>
                    <a:pt x="353" y="322"/>
                  </a:lnTo>
                  <a:lnTo>
                    <a:pt x="357" y="329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61" y="331"/>
                  </a:lnTo>
                  <a:lnTo>
                    <a:pt x="364" y="331"/>
                  </a:lnTo>
                  <a:lnTo>
                    <a:pt x="364" y="329"/>
                  </a:lnTo>
                  <a:lnTo>
                    <a:pt x="364" y="329"/>
                  </a:lnTo>
                  <a:lnTo>
                    <a:pt x="364" y="327"/>
                  </a:lnTo>
                  <a:lnTo>
                    <a:pt x="364" y="325"/>
                  </a:lnTo>
                  <a:lnTo>
                    <a:pt x="364" y="325"/>
                  </a:lnTo>
                  <a:lnTo>
                    <a:pt x="366" y="325"/>
                  </a:lnTo>
                  <a:lnTo>
                    <a:pt x="366" y="322"/>
                  </a:lnTo>
                  <a:lnTo>
                    <a:pt x="364" y="320"/>
                  </a:lnTo>
                  <a:lnTo>
                    <a:pt x="364" y="320"/>
                  </a:lnTo>
                  <a:lnTo>
                    <a:pt x="364" y="318"/>
                  </a:lnTo>
                  <a:lnTo>
                    <a:pt x="366" y="316"/>
                  </a:lnTo>
                  <a:lnTo>
                    <a:pt x="368" y="312"/>
                  </a:lnTo>
                  <a:lnTo>
                    <a:pt x="372" y="308"/>
                  </a:lnTo>
                  <a:lnTo>
                    <a:pt x="374" y="306"/>
                  </a:lnTo>
                  <a:lnTo>
                    <a:pt x="378" y="306"/>
                  </a:lnTo>
                  <a:lnTo>
                    <a:pt x="380" y="306"/>
                  </a:lnTo>
                  <a:lnTo>
                    <a:pt x="384" y="306"/>
                  </a:lnTo>
                  <a:lnTo>
                    <a:pt x="390" y="306"/>
                  </a:lnTo>
                  <a:lnTo>
                    <a:pt x="392" y="306"/>
                  </a:lnTo>
                  <a:lnTo>
                    <a:pt x="394" y="306"/>
                  </a:lnTo>
                  <a:lnTo>
                    <a:pt x="394" y="304"/>
                  </a:lnTo>
                  <a:lnTo>
                    <a:pt x="394" y="302"/>
                  </a:lnTo>
                  <a:lnTo>
                    <a:pt x="394" y="300"/>
                  </a:lnTo>
                  <a:lnTo>
                    <a:pt x="394" y="300"/>
                  </a:lnTo>
                  <a:lnTo>
                    <a:pt x="394" y="298"/>
                  </a:lnTo>
                  <a:lnTo>
                    <a:pt x="392" y="298"/>
                  </a:lnTo>
                  <a:lnTo>
                    <a:pt x="392" y="298"/>
                  </a:lnTo>
                  <a:lnTo>
                    <a:pt x="392" y="296"/>
                  </a:lnTo>
                  <a:lnTo>
                    <a:pt x="392" y="296"/>
                  </a:lnTo>
                  <a:lnTo>
                    <a:pt x="390" y="294"/>
                  </a:lnTo>
                  <a:lnTo>
                    <a:pt x="390" y="292"/>
                  </a:lnTo>
                  <a:lnTo>
                    <a:pt x="386" y="290"/>
                  </a:lnTo>
                  <a:lnTo>
                    <a:pt x="386" y="288"/>
                  </a:lnTo>
                  <a:lnTo>
                    <a:pt x="384" y="285"/>
                  </a:lnTo>
                  <a:lnTo>
                    <a:pt x="382" y="283"/>
                  </a:lnTo>
                  <a:lnTo>
                    <a:pt x="382" y="283"/>
                  </a:lnTo>
                  <a:lnTo>
                    <a:pt x="382" y="283"/>
                  </a:lnTo>
                  <a:lnTo>
                    <a:pt x="384" y="283"/>
                  </a:lnTo>
                  <a:lnTo>
                    <a:pt x="388" y="283"/>
                  </a:lnTo>
                  <a:lnTo>
                    <a:pt x="388" y="279"/>
                  </a:lnTo>
                  <a:lnTo>
                    <a:pt x="388" y="277"/>
                  </a:lnTo>
                  <a:lnTo>
                    <a:pt x="390" y="273"/>
                  </a:lnTo>
                  <a:lnTo>
                    <a:pt x="394" y="273"/>
                  </a:lnTo>
                  <a:lnTo>
                    <a:pt x="403" y="273"/>
                  </a:lnTo>
                  <a:lnTo>
                    <a:pt x="409" y="273"/>
                  </a:lnTo>
                  <a:lnTo>
                    <a:pt x="415" y="273"/>
                  </a:lnTo>
                  <a:lnTo>
                    <a:pt x="419" y="273"/>
                  </a:lnTo>
                  <a:lnTo>
                    <a:pt x="419" y="271"/>
                  </a:lnTo>
                  <a:lnTo>
                    <a:pt x="419" y="271"/>
                  </a:lnTo>
                  <a:lnTo>
                    <a:pt x="421" y="269"/>
                  </a:lnTo>
                  <a:lnTo>
                    <a:pt x="423" y="271"/>
                  </a:lnTo>
                  <a:lnTo>
                    <a:pt x="423" y="271"/>
                  </a:lnTo>
                  <a:lnTo>
                    <a:pt x="423" y="271"/>
                  </a:lnTo>
                  <a:lnTo>
                    <a:pt x="425" y="271"/>
                  </a:lnTo>
                  <a:lnTo>
                    <a:pt x="425" y="269"/>
                  </a:lnTo>
                  <a:lnTo>
                    <a:pt x="429" y="265"/>
                  </a:lnTo>
                  <a:lnTo>
                    <a:pt x="431" y="261"/>
                  </a:lnTo>
                  <a:lnTo>
                    <a:pt x="431" y="261"/>
                  </a:lnTo>
                  <a:lnTo>
                    <a:pt x="433" y="261"/>
                  </a:lnTo>
                  <a:lnTo>
                    <a:pt x="433" y="261"/>
                  </a:lnTo>
                  <a:lnTo>
                    <a:pt x="435" y="261"/>
                  </a:lnTo>
                  <a:lnTo>
                    <a:pt x="435" y="259"/>
                  </a:lnTo>
                  <a:lnTo>
                    <a:pt x="435" y="257"/>
                  </a:lnTo>
                  <a:lnTo>
                    <a:pt x="437" y="255"/>
                  </a:lnTo>
                  <a:lnTo>
                    <a:pt x="439" y="255"/>
                  </a:lnTo>
                  <a:lnTo>
                    <a:pt x="439" y="255"/>
                  </a:lnTo>
                  <a:lnTo>
                    <a:pt x="439" y="257"/>
                  </a:lnTo>
                  <a:lnTo>
                    <a:pt x="437" y="261"/>
                  </a:lnTo>
                  <a:lnTo>
                    <a:pt x="437" y="261"/>
                  </a:lnTo>
                  <a:lnTo>
                    <a:pt x="439" y="261"/>
                  </a:lnTo>
                  <a:lnTo>
                    <a:pt x="439" y="265"/>
                  </a:lnTo>
                  <a:lnTo>
                    <a:pt x="442" y="265"/>
                  </a:lnTo>
                  <a:lnTo>
                    <a:pt x="442" y="263"/>
                  </a:lnTo>
                  <a:lnTo>
                    <a:pt x="442" y="261"/>
                  </a:lnTo>
                  <a:lnTo>
                    <a:pt x="444" y="257"/>
                  </a:lnTo>
                  <a:lnTo>
                    <a:pt x="446" y="255"/>
                  </a:lnTo>
                  <a:lnTo>
                    <a:pt x="448" y="250"/>
                  </a:lnTo>
                  <a:lnTo>
                    <a:pt x="450" y="246"/>
                  </a:lnTo>
                  <a:lnTo>
                    <a:pt x="450" y="246"/>
                  </a:lnTo>
                  <a:lnTo>
                    <a:pt x="448" y="246"/>
                  </a:lnTo>
                  <a:lnTo>
                    <a:pt x="448" y="246"/>
                  </a:lnTo>
                  <a:lnTo>
                    <a:pt x="446" y="246"/>
                  </a:lnTo>
                  <a:lnTo>
                    <a:pt x="446" y="244"/>
                  </a:lnTo>
                  <a:lnTo>
                    <a:pt x="448" y="244"/>
                  </a:lnTo>
                  <a:lnTo>
                    <a:pt x="448" y="244"/>
                  </a:lnTo>
                  <a:lnTo>
                    <a:pt x="450" y="244"/>
                  </a:lnTo>
                  <a:lnTo>
                    <a:pt x="450" y="242"/>
                  </a:lnTo>
                  <a:lnTo>
                    <a:pt x="450" y="242"/>
                  </a:lnTo>
                  <a:lnTo>
                    <a:pt x="452" y="240"/>
                  </a:lnTo>
                  <a:lnTo>
                    <a:pt x="450" y="240"/>
                  </a:lnTo>
                  <a:lnTo>
                    <a:pt x="450" y="240"/>
                  </a:lnTo>
                  <a:lnTo>
                    <a:pt x="448" y="240"/>
                  </a:lnTo>
                  <a:lnTo>
                    <a:pt x="448" y="240"/>
                  </a:lnTo>
                  <a:lnTo>
                    <a:pt x="446" y="240"/>
                  </a:lnTo>
                  <a:lnTo>
                    <a:pt x="448" y="240"/>
                  </a:lnTo>
                  <a:lnTo>
                    <a:pt x="450" y="236"/>
                  </a:lnTo>
                  <a:lnTo>
                    <a:pt x="450" y="236"/>
                  </a:lnTo>
                  <a:lnTo>
                    <a:pt x="452" y="236"/>
                  </a:lnTo>
                  <a:lnTo>
                    <a:pt x="452" y="236"/>
                  </a:lnTo>
                  <a:lnTo>
                    <a:pt x="452" y="234"/>
                  </a:lnTo>
                  <a:lnTo>
                    <a:pt x="452" y="232"/>
                  </a:lnTo>
                  <a:lnTo>
                    <a:pt x="452" y="232"/>
                  </a:lnTo>
                  <a:lnTo>
                    <a:pt x="452" y="228"/>
                  </a:lnTo>
                  <a:lnTo>
                    <a:pt x="456" y="224"/>
                  </a:lnTo>
                  <a:lnTo>
                    <a:pt x="460" y="222"/>
                  </a:lnTo>
                  <a:lnTo>
                    <a:pt x="462" y="218"/>
                  </a:lnTo>
                  <a:lnTo>
                    <a:pt x="464" y="218"/>
                  </a:lnTo>
                  <a:lnTo>
                    <a:pt x="464" y="213"/>
                  </a:lnTo>
                  <a:lnTo>
                    <a:pt x="466" y="211"/>
                  </a:lnTo>
                  <a:lnTo>
                    <a:pt x="464" y="211"/>
                  </a:lnTo>
                  <a:lnTo>
                    <a:pt x="464" y="20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8" name="Freeform 141">
              <a:extLst>
                <a:ext uri="{FF2B5EF4-FFF2-40B4-BE49-F238E27FC236}">
                  <a16:creationId xmlns:a16="http://schemas.microsoft.com/office/drawing/2014/main" id="{C74FDDC0-7627-0F4C-9B74-8D9A0993C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062" y="3130937"/>
              <a:ext cx="41594" cy="16637"/>
            </a:xfrm>
            <a:custGeom>
              <a:avLst/>
              <a:gdLst>
                <a:gd name="T0" fmla="*/ 33 w 35"/>
                <a:gd name="T1" fmla="*/ 10 h 14"/>
                <a:gd name="T2" fmla="*/ 33 w 35"/>
                <a:gd name="T3" fmla="*/ 6 h 14"/>
                <a:gd name="T4" fmla="*/ 27 w 35"/>
                <a:gd name="T5" fmla="*/ 4 h 14"/>
                <a:gd name="T6" fmla="*/ 27 w 35"/>
                <a:gd name="T7" fmla="*/ 4 h 14"/>
                <a:gd name="T8" fmla="*/ 25 w 35"/>
                <a:gd name="T9" fmla="*/ 2 h 14"/>
                <a:gd name="T10" fmla="*/ 23 w 35"/>
                <a:gd name="T11" fmla="*/ 2 h 14"/>
                <a:gd name="T12" fmla="*/ 23 w 35"/>
                <a:gd name="T13" fmla="*/ 2 h 14"/>
                <a:gd name="T14" fmla="*/ 21 w 35"/>
                <a:gd name="T15" fmla="*/ 2 h 14"/>
                <a:gd name="T16" fmla="*/ 19 w 35"/>
                <a:gd name="T17" fmla="*/ 0 h 14"/>
                <a:gd name="T18" fmla="*/ 17 w 35"/>
                <a:gd name="T19" fmla="*/ 0 h 14"/>
                <a:gd name="T20" fmla="*/ 17 w 35"/>
                <a:gd name="T21" fmla="*/ 0 h 14"/>
                <a:gd name="T22" fmla="*/ 9 w 35"/>
                <a:gd name="T23" fmla="*/ 0 h 14"/>
                <a:gd name="T24" fmla="*/ 9 w 35"/>
                <a:gd name="T25" fmla="*/ 0 h 14"/>
                <a:gd name="T26" fmla="*/ 7 w 35"/>
                <a:gd name="T27" fmla="*/ 0 h 14"/>
                <a:gd name="T28" fmla="*/ 7 w 35"/>
                <a:gd name="T29" fmla="*/ 0 h 14"/>
                <a:gd name="T30" fmla="*/ 5 w 35"/>
                <a:gd name="T31" fmla="*/ 0 h 14"/>
                <a:gd name="T32" fmla="*/ 2 w 35"/>
                <a:gd name="T33" fmla="*/ 2 h 14"/>
                <a:gd name="T34" fmla="*/ 2 w 35"/>
                <a:gd name="T35" fmla="*/ 2 h 14"/>
                <a:gd name="T36" fmla="*/ 0 w 35"/>
                <a:gd name="T37" fmla="*/ 4 h 14"/>
                <a:gd name="T38" fmla="*/ 2 w 35"/>
                <a:gd name="T39" fmla="*/ 4 h 14"/>
                <a:gd name="T40" fmla="*/ 5 w 35"/>
                <a:gd name="T41" fmla="*/ 6 h 14"/>
                <a:gd name="T42" fmla="*/ 7 w 35"/>
                <a:gd name="T43" fmla="*/ 6 h 14"/>
                <a:gd name="T44" fmla="*/ 7 w 35"/>
                <a:gd name="T45" fmla="*/ 8 h 14"/>
                <a:gd name="T46" fmla="*/ 9 w 35"/>
                <a:gd name="T47" fmla="*/ 8 h 14"/>
                <a:gd name="T48" fmla="*/ 9 w 35"/>
                <a:gd name="T49" fmla="*/ 8 h 14"/>
                <a:gd name="T50" fmla="*/ 9 w 35"/>
                <a:gd name="T51" fmla="*/ 10 h 14"/>
                <a:gd name="T52" fmla="*/ 11 w 35"/>
                <a:gd name="T53" fmla="*/ 12 h 14"/>
                <a:gd name="T54" fmla="*/ 15 w 35"/>
                <a:gd name="T55" fmla="*/ 12 h 14"/>
                <a:gd name="T56" fmla="*/ 17 w 35"/>
                <a:gd name="T57" fmla="*/ 12 h 14"/>
                <a:gd name="T58" fmla="*/ 17 w 35"/>
                <a:gd name="T59" fmla="*/ 12 h 14"/>
                <a:gd name="T60" fmla="*/ 19 w 35"/>
                <a:gd name="T61" fmla="*/ 14 h 14"/>
                <a:gd name="T62" fmla="*/ 19 w 35"/>
                <a:gd name="T63" fmla="*/ 12 h 14"/>
                <a:gd name="T64" fmla="*/ 19 w 35"/>
                <a:gd name="T65" fmla="*/ 10 h 14"/>
                <a:gd name="T66" fmla="*/ 21 w 35"/>
                <a:gd name="T67" fmla="*/ 10 h 14"/>
                <a:gd name="T68" fmla="*/ 21 w 35"/>
                <a:gd name="T69" fmla="*/ 12 h 14"/>
                <a:gd name="T70" fmla="*/ 23 w 35"/>
                <a:gd name="T71" fmla="*/ 12 h 14"/>
                <a:gd name="T72" fmla="*/ 23 w 35"/>
                <a:gd name="T73" fmla="*/ 10 h 14"/>
                <a:gd name="T74" fmla="*/ 25 w 35"/>
                <a:gd name="T75" fmla="*/ 10 h 14"/>
                <a:gd name="T76" fmla="*/ 25 w 35"/>
                <a:gd name="T77" fmla="*/ 10 h 14"/>
                <a:gd name="T78" fmla="*/ 25 w 35"/>
                <a:gd name="T79" fmla="*/ 10 h 14"/>
                <a:gd name="T80" fmla="*/ 25 w 35"/>
                <a:gd name="T81" fmla="*/ 10 h 14"/>
                <a:gd name="T82" fmla="*/ 27 w 35"/>
                <a:gd name="T83" fmla="*/ 10 h 14"/>
                <a:gd name="T84" fmla="*/ 27 w 35"/>
                <a:gd name="T85" fmla="*/ 10 h 14"/>
                <a:gd name="T86" fmla="*/ 29 w 35"/>
                <a:gd name="T87" fmla="*/ 12 h 14"/>
                <a:gd name="T88" fmla="*/ 31 w 35"/>
                <a:gd name="T89" fmla="*/ 10 h 14"/>
                <a:gd name="T90" fmla="*/ 33 w 35"/>
                <a:gd name="T91" fmla="*/ 10 h 14"/>
                <a:gd name="T92" fmla="*/ 35 w 35"/>
                <a:gd name="T93" fmla="*/ 10 h 14"/>
                <a:gd name="T94" fmla="*/ 33 w 35"/>
                <a:gd name="T9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" h="14">
                  <a:moveTo>
                    <a:pt x="33" y="10"/>
                  </a:moveTo>
                  <a:lnTo>
                    <a:pt x="33" y="6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10"/>
                  </a:lnTo>
                  <a:lnTo>
                    <a:pt x="11" y="12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9" y="14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21" y="10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3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9" y="12"/>
                  </a:lnTo>
                  <a:lnTo>
                    <a:pt x="31" y="10"/>
                  </a:lnTo>
                  <a:lnTo>
                    <a:pt x="33" y="10"/>
                  </a:lnTo>
                  <a:lnTo>
                    <a:pt x="35" y="10"/>
                  </a:lnTo>
                  <a:lnTo>
                    <a:pt x="33" y="1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9" name="Freeform 154">
              <a:extLst>
                <a:ext uri="{FF2B5EF4-FFF2-40B4-BE49-F238E27FC236}">
                  <a16:creationId xmlns:a16="http://schemas.microsoft.com/office/drawing/2014/main" id="{F513645C-062E-EE45-B3CA-6D7900454E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5398" y="3174908"/>
              <a:ext cx="118839" cy="76057"/>
            </a:xfrm>
            <a:custGeom>
              <a:avLst/>
              <a:gdLst>
                <a:gd name="T0" fmla="*/ 94 w 100"/>
                <a:gd name="T1" fmla="*/ 20 h 64"/>
                <a:gd name="T2" fmla="*/ 96 w 100"/>
                <a:gd name="T3" fmla="*/ 22 h 64"/>
                <a:gd name="T4" fmla="*/ 92 w 100"/>
                <a:gd name="T5" fmla="*/ 22 h 64"/>
                <a:gd name="T6" fmla="*/ 88 w 100"/>
                <a:gd name="T7" fmla="*/ 18 h 64"/>
                <a:gd name="T8" fmla="*/ 86 w 100"/>
                <a:gd name="T9" fmla="*/ 18 h 64"/>
                <a:gd name="T10" fmla="*/ 92 w 100"/>
                <a:gd name="T11" fmla="*/ 18 h 64"/>
                <a:gd name="T12" fmla="*/ 82 w 100"/>
                <a:gd name="T13" fmla="*/ 12 h 64"/>
                <a:gd name="T14" fmla="*/ 80 w 100"/>
                <a:gd name="T15" fmla="*/ 10 h 64"/>
                <a:gd name="T16" fmla="*/ 65 w 100"/>
                <a:gd name="T17" fmla="*/ 10 h 64"/>
                <a:gd name="T18" fmla="*/ 59 w 100"/>
                <a:gd name="T19" fmla="*/ 10 h 64"/>
                <a:gd name="T20" fmla="*/ 49 w 100"/>
                <a:gd name="T21" fmla="*/ 12 h 64"/>
                <a:gd name="T22" fmla="*/ 35 w 100"/>
                <a:gd name="T23" fmla="*/ 12 h 64"/>
                <a:gd name="T24" fmla="*/ 30 w 100"/>
                <a:gd name="T25" fmla="*/ 10 h 64"/>
                <a:gd name="T26" fmla="*/ 24 w 100"/>
                <a:gd name="T27" fmla="*/ 12 h 64"/>
                <a:gd name="T28" fmla="*/ 18 w 100"/>
                <a:gd name="T29" fmla="*/ 16 h 64"/>
                <a:gd name="T30" fmla="*/ 8 w 100"/>
                <a:gd name="T31" fmla="*/ 24 h 64"/>
                <a:gd name="T32" fmla="*/ 4 w 100"/>
                <a:gd name="T33" fmla="*/ 29 h 64"/>
                <a:gd name="T34" fmla="*/ 4 w 100"/>
                <a:gd name="T35" fmla="*/ 35 h 64"/>
                <a:gd name="T36" fmla="*/ 0 w 100"/>
                <a:gd name="T37" fmla="*/ 37 h 64"/>
                <a:gd name="T38" fmla="*/ 6 w 100"/>
                <a:gd name="T39" fmla="*/ 39 h 64"/>
                <a:gd name="T40" fmla="*/ 10 w 100"/>
                <a:gd name="T41" fmla="*/ 43 h 64"/>
                <a:gd name="T42" fmla="*/ 12 w 100"/>
                <a:gd name="T43" fmla="*/ 45 h 64"/>
                <a:gd name="T44" fmla="*/ 14 w 100"/>
                <a:gd name="T45" fmla="*/ 47 h 64"/>
                <a:gd name="T46" fmla="*/ 20 w 100"/>
                <a:gd name="T47" fmla="*/ 45 h 64"/>
                <a:gd name="T48" fmla="*/ 24 w 100"/>
                <a:gd name="T49" fmla="*/ 47 h 64"/>
                <a:gd name="T50" fmla="*/ 24 w 100"/>
                <a:gd name="T51" fmla="*/ 53 h 64"/>
                <a:gd name="T52" fmla="*/ 24 w 100"/>
                <a:gd name="T53" fmla="*/ 55 h 64"/>
                <a:gd name="T54" fmla="*/ 26 w 100"/>
                <a:gd name="T55" fmla="*/ 57 h 64"/>
                <a:gd name="T56" fmla="*/ 28 w 100"/>
                <a:gd name="T57" fmla="*/ 59 h 64"/>
                <a:gd name="T58" fmla="*/ 35 w 100"/>
                <a:gd name="T59" fmla="*/ 64 h 64"/>
                <a:gd name="T60" fmla="*/ 37 w 100"/>
                <a:gd name="T61" fmla="*/ 59 h 64"/>
                <a:gd name="T62" fmla="*/ 41 w 100"/>
                <a:gd name="T63" fmla="*/ 57 h 64"/>
                <a:gd name="T64" fmla="*/ 41 w 100"/>
                <a:gd name="T65" fmla="*/ 51 h 64"/>
                <a:gd name="T66" fmla="*/ 47 w 100"/>
                <a:gd name="T67" fmla="*/ 49 h 64"/>
                <a:gd name="T68" fmla="*/ 51 w 100"/>
                <a:gd name="T69" fmla="*/ 45 h 64"/>
                <a:gd name="T70" fmla="*/ 57 w 100"/>
                <a:gd name="T71" fmla="*/ 47 h 64"/>
                <a:gd name="T72" fmla="*/ 59 w 100"/>
                <a:gd name="T73" fmla="*/ 45 h 64"/>
                <a:gd name="T74" fmla="*/ 65 w 100"/>
                <a:gd name="T75" fmla="*/ 39 h 64"/>
                <a:gd name="T76" fmla="*/ 67 w 100"/>
                <a:gd name="T77" fmla="*/ 37 h 64"/>
                <a:gd name="T78" fmla="*/ 69 w 100"/>
                <a:gd name="T79" fmla="*/ 35 h 64"/>
                <a:gd name="T80" fmla="*/ 74 w 100"/>
                <a:gd name="T81" fmla="*/ 31 h 64"/>
                <a:gd name="T82" fmla="*/ 78 w 100"/>
                <a:gd name="T83" fmla="*/ 33 h 64"/>
                <a:gd name="T84" fmla="*/ 82 w 100"/>
                <a:gd name="T85" fmla="*/ 33 h 64"/>
                <a:gd name="T86" fmla="*/ 84 w 100"/>
                <a:gd name="T87" fmla="*/ 33 h 64"/>
                <a:gd name="T88" fmla="*/ 86 w 100"/>
                <a:gd name="T89" fmla="*/ 31 h 64"/>
                <a:gd name="T90" fmla="*/ 92 w 100"/>
                <a:gd name="T91" fmla="*/ 29 h 64"/>
                <a:gd name="T92" fmla="*/ 94 w 100"/>
                <a:gd name="T93" fmla="*/ 27 h 64"/>
                <a:gd name="T94" fmla="*/ 51 w 100"/>
                <a:gd name="T95" fmla="*/ 2 h 64"/>
                <a:gd name="T96" fmla="*/ 49 w 100"/>
                <a:gd name="T97" fmla="*/ 2 h 64"/>
                <a:gd name="T98" fmla="*/ 61 w 100"/>
                <a:gd name="T99" fmla="*/ 0 h 64"/>
                <a:gd name="T100" fmla="*/ 59 w 100"/>
                <a:gd name="T10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0" h="64">
                  <a:moveTo>
                    <a:pt x="100" y="27"/>
                  </a:moveTo>
                  <a:lnTo>
                    <a:pt x="98" y="24"/>
                  </a:lnTo>
                  <a:lnTo>
                    <a:pt x="98" y="22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6" y="20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88" y="18"/>
                  </a:lnTo>
                  <a:lnTo>
                    <a:pt x="88" y="20"/>
                  </a:lnTo>
                  <a:lnTo>
                    <a:pt x="86" y="20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6" y="12"/>
                  </a:lnTo>
                  <a:lnTo>
                    <a:pt x="82" y="10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0" y="12"/>
                  </a:lnTo>
                  <a:lnTo>
                    <a:pt x="80" y="10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2" y="10"/>
                  </a:lnTo>
                  <a:lnTo>
                    <a:pt x="65" y="10"/>
                  </a:lnTo>
                  <a:lnTo>
                    <a:pt x="61" y="8"/>
                  </a:lnTo>
                  <a:lnTo>
                    <a:pt x="57" y="8"/>
                  </a:lnTo>
                  <a:lnTo>
                    <a:pt x="59" y="8"/>
                  </a:lnTo>
                  <a:lnTo>
                    <a:pt x="59" y="10"/>
                  </a:lnTo>
                  <a:lnTo>
                    <a:pt x="57" y="10"/>
                  </a:lnTo>
                  <a:lnTo>
                    <a:pt x="55" y="10"/>
                  </a:lnTo>
                  <a:lnTo>
                    <a:pt x="51" y="12"/>
                  </a:lnTo>
                  <a:lnTo>
                    <a:pt x="49" y="12"/>
                  </a:lnTo>
                  <a:lnTo>
                    <a:pt x="45" y="12"/>
                  </a:lnTo>
                  <a:lnTo>
                    <a:pt x="43" y="12"/>
                  </a:lnTo>
                  <a:lnTo>
                    <a:pt x="37" y="12"/>
                  </a:lnTo>
                  <a:lnTo>
                    <a:pt x="35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6"/>
                  </a:lnTo>
                  <a:lnTo>
                    <a:pt x="16" y="18"/>
                  </a:lnTo>
                  <a:lnTo>
                    <a:pt x="14" y="20"/>
                  </a:lnTo>
                  <a:lnTo>
                    <a:pt x="10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6" y="24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2" y="35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41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0" y="43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4" y="45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6" y="47"/>
                  </a:lnTo>
                  <a:lnTo>
                    <a:pt x="18" y="45"/>
                  </a:lnTo>
                  <a:lnTo>
                    <a:pt x="20" y="45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2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6" y="49"/>
                  </a:lnTo>
                  <a:lnTo>
                    <a:pt x="24" y="51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2" y="55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6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8" y="61"/>
                  </a:lnTo>
                  <a:lnTo>
                    <a:pt x="30" y="61"/>
                  </a:lnTo>
                  <a:lnTo>
                    <a:pt x="30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3" y="49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9" y="47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61" y="43"/>
                  </a:lnTo>
                  <a:lnTo>
                    <a:pt x="63" y="41"/>
                  </a:lnTo>
                  <a:lnTo>
                    <a:pt x="65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7"/>
                  </a:lnTo>
                  <a:lnTo>
                    <a:pt x="67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72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8" y="33"/>
                  </a:lnTo>
                  <a:lnTo>
                    <a:pt x="80" y="33"/>
                  </a:lnTo>
                  <a:lnTo>
                    <a:pt x="80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1"/>
                  </a:lnTo>
                  <a:lnTo>
                    <a:pt x="84" y="31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6" y="33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4" y="29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100" y="27"/>
                  </a:lnTo>
                  <a:lnTo>
                    <a:pt x="100" y="27"/>
                  </a:lnTo>
                  <a:close/>
                  <a:moveTo>
                    <a:pt x="51" y="2"/>
                  </a:moveTo>
                  <a:lnTo>
                    <a:pt x="55" y="0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1" y="2"/>
                  </a:lnTo>
                  <a:close/>
                  <a:moveTo>
                    <a:pt x="61" y="0"/>
                  </a:move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2"/>
                  </a:lnTo>
                  <a:lnTo>
                    <a:pt x="61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0" name="Freeform 156">
              <a:extLst>
                <a:ext uri="{FF2B5EF4-FFF2-40B4-BE49-F238E27FC236}">
                  <a16:creationId xmlns:a16="http://schemas.microsoft.com/office/drawing/2014/main" id="{E762E023-8AA1-7241-B880-6250BDB4E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0119" y="3096474"/>
              <a:ext cx="53477" cy="43970"/>
            </a:xfrm>
            <a:custGeom>
              <a:avLst/>
              <a:gdLst>
                <a:gd name="T0" fmla="*/ 25 w 45"/>
                <a:gd name="T1" fmla="*/ 23 h 37"/>
                <a:gd name="T2" fmla="*/ 21 w 45"/>
                <a:gd name="T3" fmla="*/ 21 h 37"/>
                <a:gd name="T4" fmla="*/ 19 w 45"/>
                <a:gd name="T5" fmla="*/ 21 h 37"/>
                <a:gd name="T6" fmla="*/ 27 w 45"/>
                <a:gd name="T7" fmla="*/ 25 h 37"/>
                <a:gd name="T8" fmla="*/ 45 w 45"/>
                <a:gd name="T9" fmla="*/ 14 h 37"/>
                <a:gd name="T10" fmla="*/ 45 w 45"/>
                <a:gd name="T11" fmla="*/ 12 h 37"/>
                <a:gd name="T12" fmla="*/ 45 w 45"/>
                <a:gd name="T13" fmla="*/ 6 h 37"/>
                <a:gd name="T14" fmla="*/ 45 w 45"/>
                <a:gd name="T15" fmla="*/ 6 h 37"/>
                <a:gd name="T16" fmla="*/ 39 w 45"/>
                <a:gd name="T17" fmla="*/ 6 h 37"/>
                <a:gd name="T18" fmla="*/ 33 w 45"/>
                <a:gd name="T19" fmla="*/ 2 h 37"/>
                <a:gd name="T20" fmla="*/ 25 w 45"/>
                <a:gd name="T21" fmla="*/ 2 h 37"/>
                <a:gd name="T22" fmla="*/ 21 w 45"/>
                <a:gd name="T23" fmla="*/ 4 h 37"/>
                <a:gd name="T24" fmla="*/ 19 w 45"/>
                <a:gd name="T25" fmla="*/ 6 h 37"/>
                <a:gd name="T26" fmla="*/ 21 w 45"/>
                <a:gd name="T27" fmla="*/ 8 h 37"/>
                <a:gd name="T28" fmla="*/ 27 w 45"/>
                <a:gd name="T29" fmla="*/ 10 h 37"/>
                <a:gd name="T30" fmla="*/ 29 w 45"/>
                <a:gd name="T31" fmla="*/ 12 h 37"/>
                <a:gd name="T32" fmla="*/ 29 w 45"/>
                <a:gd name="T33" fmla="*/ 16 h 37"/>
                <a:gd name="T34" fmla="*/ 29 w 45"/>
                <a:gd name="T35" fmla="*/ 21 h 37"/>
                <a:gd name="T36" fmla="*/ 33 w 45"/>
                <a:gd name="T37" fmla="*/ 25 h 37"/>
                <a:gd name="T38" fmla="*/ 33 w 45"/>
                <a:gd name="T39" fmla="*/ 27 h 37"/>
                <a:gd name="T40" fmla="*/ 29 w 45"/>
                <a:gd name="T41" fmla="*/ 27 h 37"/>
                <a:gd name="T42" fmla="*/ 29 w 45"/>
                <a:gd name="T43" fmla="*/ 29 h 37"/>
                <a:gd name="T44" fmla="*/ 27 w 45"/>
                <a:gd name="T45" fmla="*/ 29 h 37"/>
                <a:gd name="T46" fmla="*/ 14 w 45"/>
                <a:gd name="T47" fmla="*/ 29 h 37"/>
                <a:gd name="T48" fmla="*/ 10 w 45"/>
                <a:gd name="T49" fmla="*/ 27 h 37"/>
                <a:gd name="T50" fmla="*/ 6 w 45"/>
                <a:gd name="T51" fmla="*/ 27 h 37"/>
                <a:gd name="T52" fmla="*/ 2 w 45"/>
                <a:gd name="T53" fmla="*/ 25 h 37"/>
                <a:gd name="T54" fmla="*/ 0 w 45"/>
                <a:gd name="T55" fmla="*/ 29 h 37"/>
                <a:gd name="T56" fmla="*/ 0 w 45"/>
                <a:gd name="T57" fmla="*/ 31 h 37"/>
                <a:gd name="T58" fmla="*/ 4 w 45"/>
                <a:gd name="T59" fmla="*/ 33 h 37"/>
                <a:gd name="T60" fmla="*/ 8 w 45"/>
                <a:gd name="T61" fmla="*/ 37 h 37"/>
                <a:gd name="T62" fmla="*/ 8 w 45"/>
                <a:gd name="T63" fmla="*/ 35 h 37"/>
                <a:gd name="T64" fmla="*/ 12 w 45"/>
                <a:gd name="T65" fmla="*/ 33 h 37"/>
                <a:gd name="T66" fmla="*/ 16 w 45"/>
                <a:gd name="T67" fmla="*/ 33 h 37"/>
                <a:gd name="T68" fmla="*/ 21 w 45"/>
                <a:gd name="T69" fmla="*/ 33 h 37"/>
                <a:gd name="T70" fmla="*/ 27 w 45"/>
                <a:gd name="T71" fmla="*/ 35 h 37"/>
                <a:gd name="T72" fmla="*/ 29 w 45"/>
                <a:gd name="T73" fmla="*/ 35 h 37"/>
                <a:gd name="T74" fmla="*/ 31 w 45"/>
                <a:gd name="T75" fmla="*/ 33 h 37"/>
                <a:gd name="T76" fmla="*/ 39 w 45"/>
                <a:gd name="T77" fmla="*/ 33 h 37"/>
                <a:gd name="T78" fmla="*/ 41 w 45"/>
                <a:gd name="T79" fmla="*/ 35 h 37"/>
                <a:gd name="T80" fmla="*/ 41 w 45"/>
                <a:gd name="T81" fmla="*/ 33 h 37"/>
                <a:gd name="T82" fmla="*/ 43 w 45"/>
                <a:gd name="T83" fmla="*/ 31 h 37"/>
                <a:gd name="T84" fmla="*/ 39 w 45"/>
                <a:gd name="T85" fmla="*/ 29 h 37"/>
                <a:gd name="T86" fmla="*/ 39 w 45"/>
                <a:gd name="T87" fmla="*/ 27 h 37"/>
                <a:gd name="T88" fmla="*/ 41 w 45"/>
                <a:gd name="T89" fmla="*/ 27 h 37"/>
                <a:gd name="T90" fmla="*/ 43 w 45"/>
                <a:gd name="T91" fmla="*/ 23 h 37"/>
                <a:gd name="T92" fmla="*/ 43 w 45"/>
                <a:gd name="T93" fmla="*/ 21 h 37"/>
                <a:gd name="T94" fmla="*/ 45 w 45"/>
                <a:gd name="T95" fmla="*/ 18 h 37"/>
                <a:gd name="T96" fmla="*/ 45 w 45"/>
                <a:gd name="T97" fmla="*/ 16 h 37"/>
                <a:gd name="T98" fmla="*/ 45 w 45"/>
                <a:gd name="T99" fmla="*/ 14 h 37"/>
                <a:gd name="T100" fmla="*/ 29 w 45"/>
                <a:gd name="T101" fmla="*/ 0 h 37"/>
                <a:gd name="T102" fmla="*/ 33 w 45"/>
                <a:gd name="T103" fmla="*/ 2 h 37"/>
                <a:gd name="T104" fmla="*/ 31 w 45"/>
                <a:gd name="T105" fmla="*/ 0 h 37"/>
                <a:gd name="T106" fmla="*/ 29 w 45"/>
                <a:gd name="T107" fmla="*/ 0 h 37"/>
                <a:gd name="T108" fmla="*/ 27 w 45"/>
                <a:gd name="T109" fmla="*/ 0 h 37"/>
                <a:gd name="T110" fmla="*/ 29 w 45"/>
                <a:gd name="T11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" h="37">
                  <a:moveTo>
                    <a:pt x="27" y="23"/>
                  </a:moveTo>
                  <a:lnTo>
                    <a:pt x="25" y="23"/>
                  </a:lnTo>
                  <a:lnTo>
                    <a:pt x="23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9" y="21"/>
                  </a:lnTo>
                  <a:lnTo>
                    <a:pt x="23" y="23"/>
                  </a:lnTo>
                  <a:lnTo>
                    <a:pt x="27" y="25"/>
                  </a:lnTo>
                  <a:lnTo>
                    <a:pt x="27" y="23"/>
                  </a:lnTo>
                  <a:close/>
                  <a:moveTo>
                    <a:pt x="45" y="14"/>
                  </a:moveTo>
                  <a:lnTo>
                    <a:pt x="45" y="12"/>
                  </a:lnTo>
                  <a:lnTo>
                    <a:pt x="45" y="12"/>
                  </a:lnTo>
                  <a:lnTo>
                    <a:pt x="45" y="10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5" y="4"/>
                  </a:lnTo>
                  <a:lnTo>
                    <a:pt x="33" y="2"/>
                  </a:lnTo>
                  <a:lnTo>
                    <a:pt x="29" y="2"/>
                  </a:lnTo>
                  <a:lnTo>
                    <a:pt x="25" y="2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5" y="8"/>
                  </a:lnTo>
                  <a:lnTo>
                    <a:pt x="27" y="10"/>
                  </a:lnTo>
                  <a:lnTo>
                    <a:pt x="31" y="10"/>
                  </a:lnTo>
                  <a:lnTo>
                    <a:pt x="29" y="12"/>
                  </a:lnTo>
                  <a:lnTo>
                    <a:pt x="29" y="14"/>
                  </a:lnTo>
                  <a:lnTo>
                    <a:pt x="29" y="16"/>
                  </a:lnTo>
                  <a:lnTo>
                    <a:pt x="27" y="18"/>
                  </a:lnTo>
                  <a:lnTo>
                    <a:pt x="29" y="21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29" y="27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14" y="29"/>
                  </a:lnTo>
                  <a:lnTo>
                    <a:pt x="12" y="27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4" y="25"/>
                  </a:lnTo>
                  <a:lnTo>
                    <a:pt x="2" y="25"/>
                  </a:lnTo>
                  <a:lnTo>
                    <a:pt x="2" y="27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6" y="35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5"/>
                  </a:lnTo>
                  <a:lnTo>
                    <a:pt x="10" y="35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6" y="33"/>
                  </a:lnTo>
                  <a:lnTo>
                    <a:pt x="19" y="33"/>
                  </a:lnTo>
                  <a:lnTo>
                    <a:pt x="21" y="33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7" y="33"/>
                  </a:lnTo>
                  <a:lnTo>
                    <a:pt x="39" y="33"/>
                  </a:lnTo>
                  <a:lnTo>
                    <a:pt x="39" y="35"/>
                  </a:lnTo>
                  <a:lnTo>
                    <a:pt x="41" y="35"/>
                  </a:lnTo>
                  <a:lnTo>
                    <a:pt x="41" y="37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3" y="31"/>
                  </a:lnTo>
                  <a:lnTo>
                    <a:pt x="41" y="31"/>
                  </a:lnTo>
                  <a:lnTo>
                    <a:pt x="39" y="29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3" y="25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5" y="18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4"/>
                  </a:lnTo>
                  <a:close/>
                  <a:moveTo>
                    <a:pt x="29" y="0"/>
                  </a:moveTo>
                  <a:lnTo>
                    <a:pt x="29" y="0"/>
                  </a:lnTo>
                  <a:lnTo>
                    <a:pt x="31" y="0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1" name="Freeform 157">
              <a:extLst>
                <a:ext uri="{FF2B5EF4-FFF2-40B4-BE49-F238E27FC236}">
                  <a16:creationId xmlns:a16="http://schemas.microsoft.com/office/drawing/2014/main" id="{C8BA031E-69B8-C34D-86A9-86E12461D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9478" y="3348412"/>
              <a:ext cx="90317" cy="158056"/>
            </a:xfrm>
            <a:custGeom>
              <a:avLst/>
              <a:gdLst>
                <a:gd name="T0" fmla="*/ 72 w 76"/>
                <a:gd name="T1" fmla="*/ 117 h 133"/>
                <a:gd name="T2" fmla="*/ 70 w 76"/>
                <a:gd name="T3" fmla="*/ 111 h 133"/>
                <a:gd name="T4" fmla="*/ 68 w 76"/>
                <a:gd name="T5" fmla="*/ 107 h 133"/>
                <a:gd name="T6" fmla="*/ 66 w 76"/>
                <a:gd name="T7" fmla="*/ 105 h 133"/>
                <a:gd name="T8" fmla="*/ 66 w 76"/>
                <a:gd name="T9" fmla="*/ 101 h 133"/>
                <a:gd name="T10" fmla="*/ 64 w 76"/>
                <a:gd name="T11" fmla="*/ 94 h 133"/>
                <a:gd name="T12" fmla="*/ 60 w 76"/>
                <a:gd name="T13" fmla="*/ 94 h 133"/>
                <a:gd name="T14" fmla="*/ 58 w 76"/>
                <a:gd name="T15" fmla="*/ 90 h 133"/>
                <a:gd name="T16" fmla="*/ 51 w 76"/>
                <a:gd name="T17" fmla="*/ 80 h 133"/>
                <a:gd name="T18" fmla="*/ 56 w 76"/>
                <a:gd name="T19" fmla="*/ 74 h 133"/>
                <a:gd name="T20" fmla="*/ 56 w 76"/>
                <a:gd name="T21" fmla="*/ 68 h 133"/>
                <a:gd name="T22" fmla="*/ 58 w 76"/>
                <a:gd name="T23" fmla="*/ 64 h 133"/>
                <a:gd name="T24" fmla="*/ 66 w 76"/>
                <a:gd name="T25" fmla="*/ 64 h 133"/>
                <a:gd name="T26" fmla="*/ 66 w 76"/>
                <a:gd name="T27" fmla="*/ 59 h 133"/>
                <a:gd name="T28" fmla="*/ 66 w 76"/>
                <a:gd name="T29" fmla="*/ 57 h 133"/>
                <a:gd name="T30" fmla="*/ 68 w 76"/>
                <a:gd name="T31" fmla="*/ 47 h 133"/>
                <a:gd name="T32" fmla="*/ 62 w 76"/>
                <a:gd name="T33" fmla="*/ 37 h 133"/>
                <a:gd name="T34" fmla="*/ 49 w 76"/>
                <a:gd name="T35" fmla="*/ 31 h 133"/>
                <a:gd name="T36" fmla="*/ 43 w 76"/>
                <a:gd name="T37" fmla="*/ 39 h 133"/>
                <a:gd name="T38" fmla="*/ 47 w 76"/>
                <a:gd name="T39" fmla="*/ 22 h 133"/>
                <a:gd name="T40" fmla="*/ 37 w 76"/>
                <a:gd name="T41" fmla="*/ 8 h 133"/>
                <a:gd name="T42" fmla="*/ 27 w 76"/>
                <a:gd name="T43" fmla="*/ 4 h 133"/>
                <a:gd name="T44" fmla="*/ 27 w 76"/>
                <a:gd name="T45" fmla="*/ 4 h 133"/>
                <a:gd name="T46" fmla="*/ 21 w 76"/>
                <a:gd name="T47" fmla="*/ 10 h 133"/>
                <a:gd name="T48" fmla="*/ 14 w 76"/>
                <a:gd name="T49" fmla="*/ 14 h 133"/>
                <a:gd name="T50" fmla="*/ 12 w 76"/>
                <a:gd name="T51" fmla="*/ 20 h 133"/>
                <a:gd name="T52" fmla="*/ 14 w 76"/>
                <a:gd name="T53" fmla="*/ 24 h 133"/>
                <a:gd name="T54" fmla="*/ 16 w 76"/>
                <a:gd name="T55" fmla="*/ 27 h 133"/>
                <a:gd name="T56" fmla="*/ 10 w 76"/>
                <a:gd name="T57" fmla="*/ 33 h 133"/>
                <a:gd name="T58" fmla="*/ 6 w 76"/>
                <a:gd name="T59" fmla="*/ 33 h 133"/>
                <a:gd name="T60" fmla="*/ 4 w 76"/>
                <a:gd name="T61" fmla="*/ 37 h 133"/>
                <a:gd name="T62" fmla="*/ 2 w 76"/>
                <a:gd name="T63" fmla="*/ 43 h 133"/>
                <a:gd name="T64" fmla="*/ 6 w 76"/>
                <a:gd name="T65" fmla="*/ 55 h 133"/>
                <a:gd name="T66" fmla="*/ 14 w 76"/>
                <a:gd name="T67" fmla="*/ 61 h 133"/>
                <a:gd name="T68" fmla="*/ 21 w 76"/>
                <a:gd name="T69" fmla="*/ 61 h 133"/>
                <a:gd name="T70" fmla="*/ 21 w 76"/>
                <a:gd name="T71" fmla="*/ 68 h 133"/>
                <a:gd name="T72" fmla="*/ 19 w 76"/>
                <a:gd name="T73" fmla="*/ 74 h 133"/>
                <a:gd name="T74" fmla="*/ 25 w 76"/>
                <a:gd name="T75" fmla="*/ 74 h 133"/>
                <a:gd name="T76" fmla="*/ 25 w 76"/>
                <a:gd name="T77" fmla="*/ 78 h 133"/>
                <a:gd name="T78" fmla="*/ 29 w 76"/>
                <a:gd name="T79" fmla="*/ 84 h 133"/>
                <a:gd name="T80" fmla="*/ 27 w 76"/>
                <a:gd name="T81" fmla="*/ 88 h 133"/>
                <a:gd name="T82" fmla="*/ 23 w 76"/>
                <a:gd name="T83" fmla="*/ 94 h 133"/>
                <a:gd name="T84" fmla="*/ 21 w 76"/>
                <a:gd name="T85" fmla="*/ 107 h 133"/>
                <a:gd name="T86" fmla="*/ 25 w 76"/>
                <a:gd name="T87" fmla="*/ 117 h 133"/>
                <a:gd name="T88" fmla="*/ 25 w 76"/>
                <a:gd name="T89" fmla="*/ 123 h 133"/>
                <a:gd name="T90" fmla="*/ 29 w 76"/>
                <a:gd name="T91" fmla="*/ 125 h 133"/>
                <a:gd name="T92" fmla="*/ 35 w 76"/>
                <a:gd name="T93" fmla="*/ 131 h 133"/>
                <a:gd name="T94" fmla="*/ 39 w 76"/>
                <a:gd name="T95" fmla="*/ 133 h 133"/>
                <a:gd name="T96" fmla="*/ 45 w 76"/>
                <a:gd name="T97" fmla="*/ 131 h 133"/>
                <a:gd name="T98" fmla="*/ 45 w 76"/>
                <a:gd name="T99" fmla="*/ 127 h 133"/>
                <a:gd name="T100" fmla="*/ 49 w 76"/>
                <a:gd name="T101" fmla="*/ 127 h 133"/>
                <a:gd name="T102" fmla="*/ 51 w 76"/>
                <a:gd name="T103" fmla="*/ 127 h 133"/>
                <a:gd name="T104" fmla="*/ 56 w 76"/>
                <a:gd name="T105" fmla="*/ 125 h 133"/>
                <a:gd name="T106" fmla="*/ 62 w 76"/>
                <a:gd name="T107" fmla="*/ 121 h 133"/>
                <a:gd name="T108" fmla="*/ 66 w 76"/>
                <a:gd name="T109" fmla="*/ 119 h 133"/>
                <a:gd name="T110" fmla="*/ 72 w 76"/>
                <a:gd name="T111" fmla="*/ 121 h 133"/>
                <a:gd name="T112" fmla="*/ 76 w 76"/>
                <a:gd name="T113" fmla="*/ 12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6" h="133">
                  <a:moveTo>
                    <a:pt x="76" y="119"/>
                  </a:moveTo>
                  <a:lnTo>
                    <a:pt x="76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2" y="117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0" y="109"/>
                  </a:lnTo>
                  <a:lnTo>
                    <a:pt x="68" y="109"/>
                  </a:lnTo>
                  <a:lnTo>
                    <a:pt x="68" y="107"/>
                  </a:lnTo>
                  <a:lnTo>
                    <a:pt x="68" y="107"/>
                  </a:lnTo>
                  <a:lnTo>
                    <a:pt x="68" y="107"/>
                  </a:lnTo>
                  <a:lnTo>
                    <a:pt x="68" y="105"/>
                  </a:lnTo>
                  <a:lnTo>
                    <a:pt x="68" y="105"/>
                  </a:lnTo>
                  <a:lnTo>
                    <a:pt x="68" y="105"/>
                  </a:lnTo>
                  <a:lnTo>
                    <a:pt x="66" y="105"/>
                  </a:lnTo>
                  <a:lnTo>
                    <a:pt x="66" y="10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6" y="98"/>
                  </a:lnTo>
                  <a:lnTo>
                    <a:pt x="66" y="98"/>
                  </a:lnTo>
                  <a:lnTo>
                    <a:pt x="64" y="98"/>
                  </a:lnTo>
                  <a:lnTo>
                    <a:pt x="64" y="96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2" y="94"/>
                  </a:lnTo>
                  <a:lnTo>
                    <a:pt x="62" y="94"/>
                  </a:lnTo>
                  <a:lnTo>
                    <a:pt x="62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58" y="92"/>
                  </a:lnTo>
                  <a:lnTo>
                    <a:pt x="60" y="92"/>
                  </a:lnTo>
                  <a:lnTo>
                    <a:pt x="58" y="90"/>
                  </a:lnTo>
                  <a:lnTo>
                    <a:pt x="56" y="88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3" y="82"/>
                  </a:lnTo>
                  <a:lnTo>
                    <a:pt x="51" y="80"/>
                  </a:lnTo>
                  <a:lnTo>
                    <a:pt x="53" y="80"/>
                  </a:lnTo>
                  <a:lnTo>
                    <a:pt x="53" y="78"/>
                  </a:lnTo>
                  <a:lnTo>
                    <a:pt x="53" y="76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60" y="64"/>
                  </a:lnTo>
                  <a:lnTo>
                    <a:pt x="62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6" y="64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59"/>
                  </a:lnTo>
                  <a:lnTo>
                    <a:pt x="66" y="59"/>
                  </a:lnTo>
                  <a:lnTo>
                    <a:pt x="66" y="59"/>
                  </a:lnTo>
                  <a:lnTo>
                    <a:pt x="66" y="59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55"/>
                  </a:lnTo>
                  <a:lnTo>
                    <a:pt x="66" y="55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47"/>
                  </a:lnTo>
                  <a:lnTo>
                    <a:pt x="68" y="45"/>
                  </a:lnTo>
                  <a:lnTo>
                    <a:pt x="68" y="43"/>
                  </a:lnTo>
                  <a:lnTo>
                    <a:pt x="66" y="41"/>
                  </a:lnTo>
                  <a:lnTo>
                    <a:pt x="62" y="41"/>
                  </a:lnTo>
                  <a:lnTo>
                    <a:pt x="62" y="37"/>
                  </a:lnTo>
                  <a:lnTo>
                    <a:pt x="58" y="35"/>
                  </a:lnTo>
                  <a:lnTo>
                    <a:pt x="56" y="31"/>
                  </a:lnTo>
                  <a:lnTo>
                    <a:pt x="53" y="31"/>
                  </a:lnTo>
                  <a:lnTo>
                    <a:pt x="51" y="31"/>
                  </a:lnTo>
                  <a:lnTo>
                    <a:pt x="49" y="31"/>
                  </a:lnTo>
                  <a:lnTo>
                    <a:pt x="47" y="31"/>
                  </a:lnTo>
                  <a:lnTo>
                    <a:pt x="47" y="33"/>
                  </a:lnTo>
                  <a:lnTo>
                    <a:pt x="45" y="35"/>
                  </a:lnTo>
                  <a:lnTo>
                    <a:pt x="45" y="37"/>
                  </a:lnTo>
                  <a:lnTo>
                    <a:pt x="43" y="39"/>
                  </a:lnTo>
                  <a:lnTo>
                    <a:pt x="45" y="37"/>
                  </a:lnTo>
                  <a:lnTo>
                    <a:pt x="45" y="33"/>
                  </a:lnTo>
                  <a:lnTo>
                    <a:pt x="45" y="31"/>
                  </a:lnTo>
                  <a:lnTo>
                    <a:pt x="47" y="27"/>
                  </a:lnTo>
                  <a:lnTo>
                    <a:pt x="47" y="22"/>
                  </a:lnTo>
                  <a:lnTo>
                    <a:pt x="47" y="20"/>
                  </a:lnTo>
                  <a:lnTo>
                    <a:pt x="45" y="18"/>
                  </a:lnTo>
                  <a:lnTo>
                    <a:pt x="43" y="16"/>
                  </a:lnTo>
                  <a:lnTo>
                    <a:pt x="43" y="14"/>
                  </a:lnTo>
                  <a:lnTo>
                    <a:pt x="37" y="8"/>
                  </a:lnTo>
                  <a:lnTo>
                    <a:pt x="33" y="4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2"/>
                  </a:lnTo>
                  <a:lnTo>
                    <a:pt x="25" y="0"/>
                  </a:lnTo>
                  <a:lnTo>
                    <a:pt x="23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5" y="6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7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0" y="33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2" y="35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4" y="39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0" y="45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51"/>
                  </a:lnTo>
                  <a:lnTo>
                    <a:pt x="6" y="55"/>
                  </a:lnTo>
                  <a:lnTo>
                    <a:pt x="10" y="61"/>
                  </a:lnTo>
                  <a:lnTo>
                    <a:pt x="10" y="59"/>
                  </a:lnTo>
                  <a:lnTo>
                    <a:pt x="12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6" y="61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6"/>
                  </a:lnTo>
                  <a:lnTo>
                    <a:pt x="21" y="68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21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5" y="74"/>
                  </a:lnTo>
                  <a:lnTo>
                    <a:pt x="25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5" y="80"/>
                  </a:lnTo>
                  <a:lnTo>
                    <a:pt x="27" y="80"/>
                  </a:lnTo>
                  <a:lnTo>
                    <a:pt x="27" y="82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7" y="84"/>
                  </a:lnTo>
                  <a:lnTo>
                    <a:pt x="27" y="86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5" y="88"/>
                  </a:lnTo>
                  <a:lnTo>
                    <a:pt x="23" y="90"/>
                  </a:lnTo>
                  <a:lnTo>
                    <a:pt x="23" y="92"/>
                  </a:lnTo>
                  <a:lnTo>
                    <a:pt x="23" y="94"/>
                  </a:lnTo>
                  <a:lnTo>
                    <a:pt x="23" y="94"/>
                  </a:lnTo>
                  <a:lnTo>
                    <a:pt x="23" y="96"/>
                  </a:lnTo>
                  <a:lnTo>
                    <a:pt x="21" y="98"/>
                  </a:lnTo>
                  <a:lnTo>
                    <a:pt x="21" y="101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21" y="109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5" y="115"/>
                  </a:lnTo>
                  <a:lnTo>
                    <a:pt x="25" y="117"/>
                  </a:lnTo>
                  <a:lnTo>
                    <a:pt x="25" y="121"/>
                  </a:lnTo>
                  <a:lnTo>
                    <a:pt x="25" y="121"/>
                  </a:lnTo>
                  <a:lnTo>
                    <a:pt x="25" y="121"/>
                  </a:lnTo>
                  <a:lnTo>
                    <a:pt x="25" y="121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9" y="125"/>
                  </a:lnTo>
                  <a:lnTo>
                    <a:pt x="31" y="127"/>
                  </a:lnTo>
                  <a:lnTo>
                    <a:pt x="31" y="129"/>
                  </a:lnTo>
                  <a:lnTo>
                    <a:pt x="31" y="129"/>
                  </a:lnTo>
                  <a:lnTo>
                    <a:pt x="33" y="131"/>
                  </a:lnTo>
                  <a:lnTo>
                    <a:pt x="35" y="131"/>
                  </a:lnTo>
                  <a:lnTo>
                    <a:pt x="37" y="131"/>
                  </a:lnTo>
                  <a:lnTo>
                    <a:pt x="37" y="133"/>
                  </a:lnTo>
                  <a:lnTo>
                    <a:pt x="39" y="133"/>
                  </a:lnTo>
                  <a:lnTo>
                    <a:pt x="39" y="133"/>
                  </a:lnTo>
                  <a:lnTo>
                    <a:pt x="39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3" y="133"/>
                  </a:lnTo>
                  <a:lnTo>
                    <a:pt x="43" y="133"/>
                  </a:lnTo>
                  <a:lnTo>
                    <a:pt x="45" y="131"/>
                  </a:lnTo>
                  <a:lnTo>
                    <a:pt x="45" y="131"/>
                  </a:lnTo>
                  <a:lnTo>
                    <a:pt x="43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7"/>
                  </a:lnTo>
                  <a:lnTo>
                    <a:pt x="47" y="127"/>
                  </a:lnTo>
                  <a:lnTo>
                    <a:pt x="47" y="127"/>
                  </a:lnTo>
                  <a:lnTo>
                    <a:pt x="47" y="127"/>
                  </a:lnTo>
                  <a:lnTo>
                    <a:pt x="47" y="127"/>
                  </a:lnTo>
                  <a:lnTo>
                    <a:pt x="49" y="127"/>
                  </a:lnTo>
                  <a:lnTo>
                    <a:pt x="49" y="127"/>
                  </a:lnTo>
                  <a:lnTo>
                    <a:pt x="49" y="127"/>
                  </a:lnTo>
                  <a:lnTo>
                    <a:pt x="51" y="129"/>
                  </a:lnTo>
                  <a:lnTo>
                    <a:pt x="51" y="127"/>
                  </a:lnTo>
                  <a:lnTo>
                    <a:pt x="51" y="127"/>
                  </a:lnTo>
                  <a:lnTo>
                    <a:pt x="53" y="127"/>
                  </a:lnTo>
                  <a:lnTo>
                    <a:pt x="53" y="125"/>
                  </a:lnTo>
                  <a:lnTo>
                    <a:pt x="53" y="125"/>
                  </a:lnTo>
                  <a:lnTo>
                    <a:pt x="53" y="125"/>
                  </a:lnTo>
                  <a:lnTo>
                    <a:pt x="56" y="125"/>
                  </a:lnTo>
                  <a:lnTo>
                    <a:pt x="58" y="125"/>
                  </a:lnTo>
                  <a:lnTo>
                    <a:pt x="60" y="125"/>
                  </a:lnTo>
                  <a:lnTo>
                    <a:pt x="60" y="125"/>
                  </a:lnTo>
                  <a:lnTo>
                    <a:pt x="60" y="123"/>
                  </a:lnTo>
                  <a:lnTo>
                    <a:pt x="62" y="121"/>
                  </a:lnTo>
                  <a:lnTo>
                    <a:pt x="64" y="121"/>
                  </a:lnTo>
                  <a:lnTo>
                    <a:pt x="64" y="119"/>
                  </a:lnTo>
                  <a:lnTo>
                    <a:pt x="64" y="121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19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70" y="121"/>
                  </a:lnTo>
                  <a:lnTo>
                    <a:pt x="72" y="121"/>
                  </a:lnTo>
                  <a:lnTo>
                    <a:pt x="72" y="121"/>
                  </a:lnTo>
                  <a:lnTo>
                    <a:pt x="74" y="121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6" y="11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2" name="Freeform 161">
              <a:extLst>
                <a:ext uri="{FF2B5EF4-FFF2-40B4-BE49-F238E27FC236}">
                  <a16:creationId xmlns:a16="http://schemas.microsoft.com/office/drawing/2014/main" id="{809B62D7-6785-A146-87B0-E7F271B1F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733" y="3145198"/>
              <a:ext cx="80810" cy="87941"/>
            </a:xfrm>
            <a:custGeom>
              <a:avLst/>
              <a:gdLst>
                <a:gd name="T0" fmla="*/ 62 w 68"/>
                <a:gd name="T1" fmla="*/ 35 h 74"/>
                <a:gd name="T2" fmla="*/ 62 w 68"/>
                <a:gd name="T3" fmla="*/ 37 h 74"/>
                <a:gd name="T4" fmla="*/ 60 w 68"/>
                <a:gd name="T5" fmla="*/ 37 h 74"/>
                <a:gd name="T6" fmla="*/ 58 w 68"/>
                <a:gd name="T7" fmla="*/ 35 h 74"/>
                <a:gd name="T8" fmla="*/ 56 w 68"/>
                <a:gd name="T9" fmla="*/ 35 h 74"/>
                <a:gd name="T10" fmla="*/ 52 w 68"/>
                <a:gd name="T11" fmla="*/ 35 h 74"/>
                <a:gd name="T12" fmla="*/ 52 w 68"/>
                <a:gd name="T13" fmla="*/ 31 h 74"/>
                <a:gd name="T14" fmla="*/ 54 w 68"/>
                <a:gd name="T15" fmla="*/ 19 h 74"/>
                <a:gd name="T16" fmla="*/ 56 w 68"/>
                <a:gd name="T17" fmla="*/ 10 h 74"/>
                <a:gd name="T18" fmla="*/ 58 w 68"/>
                <a:gd name="T19" fmla="*/ 0 h 74"/>
                <a:gd name="T20" fmla="*/ 48 w 68"/>
                <a:gd name="T21" fmla="*/ 0 h 74"/>
                <a:gd name="T22" fmla="*/ 33 w 68"/>
                <a:gd name="T23" fmla="*/ 0 h 74"/>
                <a:gd name="T24" fmla="*/ 27 w 68"/>
                <a:gd name="T25" fmla="*/ 4 h 74"/>
                <a:gd name="T26" fmla="*/ 27 w 68"/>
                <a:gd name="T27" fmla="*/ 10 h 74"/>
                <a:gd name="T28" fmla="*/ 21 w 68"/>
                <a:gd name="T29" fmla="*/ 10 h 74"/>
                <a:gd name="T30" fmla="*/ 21 w 68"/>
                <a:gd name="T31" fmla="*/ 10 h 74"/>
                <a:gd name="T32" fmla="*/ 25 w 68"/>
                <a:gd name="T33" fmla="*/ 15 h 74"/>
                <a:gd name="T34" fmla="*/ 29 w 68"/>
                <a:gd name="T35" fmla="*/ 19 h 74"/>
                <a:gd name="T36" fmla="*/ 31 w 68"/>
                <a:gd name="T37" fmla="*/ 23 h 74"/>
                <a:gd name="T38" fmla="*/ 31 w 68"/>
                <a:gd name="T39" fmla="*/ 25 h 74"/>
                <a:gd name="T40" fmla="*/ 33 w 68"/>
                <a:gd name="T41" fmla="*/ 25 h 74"/>
                <a:gd name="T42" fmla="*/ 33 w 68"/>
                <a:gd name="T43" fmla="*/ 27 h 74"/>
                <a:gd name="T44" fmla="*/ 33 w 68"/>
                <a:gd name="T45" fmla="*/ 31 h 74"/>
                <a:gd name="T46" fmla="*/ 31 w 68"/>
                <a:gd name="T47" fmla="*/ 33 h 74"/>
                <a:gd name="T48" fmla="*/ 23 w 68"/>
                <a:gd name="T49" fmla="*/ 33 h 74"/>
                <a:gd name="T50" fmla="*/ 17 w 68"/>
                <a:gd name="T51" fmla="*/ 33 h 74"/>
                <a:gd name="T52" fmla="*/ 11 w 68"/>
                <a:gd name="T53" fmla="*/ 35 h 74"/>
                <a:gd name="T54" fmla="*/ 5 w 68"/>
                <a:gd name="T55" fmla="*/ 43 h 74"/>
                <a:gd name="T56" fmla="*/ 3 w 68"/>
                <a:gd name="T57" fmla="*/ 47 h 74"/>
                <a:gd name="T58" fmla="*/ 5 w 68"/>
                <a:gd name="T59" fmla="*/ 49 h 74"/>
                <a:gd name="T60" fmla="*/ 3 w 68"/>
                <a:gd name="T61" fmla="*/ 52 h 74"/>
                <a:gd name="T62" fmla="*/ 3 w 68"/>
                <a:gd name="T63" fmla="*/ 54 h 74"/>
                <a:gd name="T64" fmla="*/ 3 w 68"/>
                <a:gd name="T65" fmla="*/ 56 h 74"/>
                <a:gd name="T66" fmla="*/ 0 w 68"/>
                <a:gd name="T67" fmla="*/ 58 h 74"/>
                <a:gd name="T68" fmla="*/ 0 w 68"/>
                <a:gd name="T69" fmla="*/ 60 h 74"/>
                <a:gd name="T70" fmla="*/ 9 w 68"/>
                <a:gd name="T71" fmla="*/ 68 h 74"/>
                <a:gd name="T72" fmla="*/ 17 w 68"/>
                <a:gd name="T73" fmla="*/ 72 h 74"/>
                <a:gd name="T74" fmla="*/ 27 w 68"/>
                <a:gd name="T75" fmla="*/ 72 h 74"/>
                <a:gd name="T76" fmla="*/ 33 w 68"/>
                <a:gd name="T77" fmla="*/ 74 h 74"/>
                <a:gd name="T78" fmla="*/ 33 w 68"/>
                <a:gd name="T79" fmla="*/ 72 h 74"/>
                <a:gd name="T80" fmla="*/ 37 w 68"/>
                <a:gd name="T81" fmla="*/ 70 h 74"/>
                <a:gd name="T82" fmla="*/ 39 w 68"/>
                <a:gd name="T83" fmla="*/ 70 h 74"/>
                <a:gd name="T84" fmla="*/ 39 w 68"/>
                <a:gd name="T85" fmla="*/ 68 h 74"/>
                <a:gd name="T86" fmla="*/ 42 w 68"/>
                <a:gd name="T87" fmla="*/ 66 h 74"/>
                <a:gd name="T88" fmla="*/ 44 w 68"/>
                <a:gd name="T89" fmla="*/ 66 h 74"/>
                <a:gd name="T90" fmla="*/ 44 w 68"/>
                <a:gd name="T91" fmla="*/ 64 h 74"/>
                <a:gd name="T92" fmla="*/ 44 w 68"/>
                <a:gd name="T93" fmla="*/ 62 h 74"/>
                <a:gd name="T94" fmla="*/ 46 w 68"/>
                <a:gd name="T95" fmla="*/ 62 h 74"/>
                <a:gd name="T96" fmla="*/ 46 w 68"/>
                <a:gd name="T97" fmla="*/ 62 h 74"/>
                <a:gd name="T98" fmla="*/ 50 w 68"/>
                <a:gd name="T99" fmla="*/ 60 h 74"/>
                <a:gd name="T100" fmla="*/ 50 w 68"/>
                <a:gd name="T101" fmla="*/ 56 h 74"/>
                <a:gd name="T102" fmla="*/ 50 w 68"/>
                <a:gd name="T103" fmla="*/ 54 h 74"/>
                <a:gd name="T104" fmla="*/ 52 w 68"/>
                <a:gd name="T105" fmla="*/ 49 h 74"/>
                <a:gd name="T106" fmla="*/ 54 w 68"/>
                <a:gd name="T107" fmla="*/ 49 h 74"/>
                <a:gd name="T108" fmla="*/ 60 w 68"/>
                <a:gd name="T109" fmla="*/ 45 h 74"/>
                <a:gd name="T110" fmla="*/ 64 w 68"/>
                <a:gd name="T111" fmla="*/ 41 h 74"/>
                <a:gd name="T112" fmla="*/ 68 w 68"/>
                <a:gd name="T113" fmla="*/ 3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8" h="74">
                  <a:moveTo>
                    <a:pt x="62" y="35"/>
                  </a:moveTo>
                  <a:lnTo>
                    <a:pt x="62" y="35"/>
                  </a:lnTo>
                  <a:lnTo>
                    <a:pt x="62" y="35"/>
                  </a:lnTo>
                  <a:lnTo>
                    <a:pt x="62" y="37"/>
                  </a:lnTo>
                  <a:lnTo>
                    <a:pt x="62" y="37"/>
                  </a:lnTo>
                  <a:lnTo>
                    <a:pt x="60" y="37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6" y="35"/>
                  </a:lnTo>
                  <a:lnTo>
                    <a:pt x="54" y="35"/>
                  </a:lnTo>
                  <a:lnTo>
                    <a:pt x="52" y="35"/>
                  </a:lnTo>
                  <a:lnTo>
                    <a:pt x="52" y="35"/>
                  </a:lnTo>
                  <a:lnTo>
                    <a:pt x="52" y="31"/>
                  </a:lnTo>
                  <a:lnTo>
                    <a:pt x="54" y="23"/>
                  </a:lnTo>
                  <a:lnTo>
                    <a:pt x="54" y="19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6" y="4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3" y="0"/>
                  </a:lnTo>
                  <a:lnTo>
                    <a:pt x="29" y="0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7" y="10"/>
                  </a:lnTo>
                  <a:lnTo>
                    <a:pt x="23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3" y="12"/>
                  </a:lnTo>
                  <a:lnTo>
                    <a:pt x="25" y="15"/>
                  </a:lnTo>
                  <a:lnTo>
                    <a:pt x="25" y="17"/>
                  </a:lnTo>
                  <a:lnTo>
                    <a:pt x="29" y="19"/>
                  </a:lnTo>
                  <a:lnTo>
                    <a:pt x="29" y="21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3" y="33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3" y="33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5" y="43"/>
                  </a:lnTo>
                  <a:lnTo>
                    <a:pt x="3" y="45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5" y="49"/>
                  </a:lnTo>
                  <a:lnTo>
                    <a:pt x="5" y="52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3" y="54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8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7" y="66"/>
                  </a:lnTo>
                  <a:lnTo>
                    <a:pt x="9" y="68"/>
                  </a:lnTo>
                  <a:lnTo>
                    <a:pt x="13" y="70"/>
                  </a:lnTo>
                  <a:lnTo>
                    <a:pt x="17" y="72"/>
                  </a:lnTo>
                  <a:lnTo>
                    <a:pt x="25" y="72"/>
                  </a:lnTo>
                  <a:lnTo>
                    <a:pt x="27" y="72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3" y="72"/>
                  </a:lnTo>
                  <a:lnTo>
                    <a:pt x="35" y="70"/>
                  </a:lnTo>
                  <a:lnTo>
                    <a:pt x="37" y="70"/>
                  </a:lnTo>
                  <a:lnTo>
                    <a:pt x="37" y="70"/>
                  </a:lnTo>
                  <a:lnTo>
                    <a:pt x="39" y="70"/>
                  </a:lnTo>
                  <a:lnTo>
                    <a:pt x="39" y="68"/>
                  </a:lnTo>
                  <a:lnTo>
                    <a:pt x="39" y="68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2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8" y="60"/>
                  </a:lnTo>
                  <a:lnTo>
                    <a:pt x="50" y="60"/>
                  </a:lnTo>
                  <a:lnTo>
                    <a:pt x="50" y="58"/>
                  </a:lnTo>
                  <a:lnTo>
                    <a:pt x="50" y="56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2"/>
                  </a:lnTo>
                  <a:lnTo>
                    <a:pt x="52" y="49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6" y="47"/>
                  </a:lnTo>
                  <a:lnTo>
                    <a:pt x="60" y="45"/>
                  </a:lnTo>
                  <a:lnTo>
                    <a:pt x="62" y="43"/>
                  </a:lnTo>
                  <a:lnTo>
                    <a:pt x="64" y="41"/>
                  </a:lnTo>
                  <a:lnTo>
                    <a:pt x="66" y="39"/>
                  </a:lnTo>
                  <a:lnTo>
                    <a:pt x="68" y="39"/>
                  </a:lnTo>
                  <a:lnTo>
                    <a:pt x="62" y="3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3" name="Freeform 163">
              <a:extLst>
                <a:ext uri="{FF2B5EF4-FFF2-40B4-BE49-F238E27FC236}">
                  <a16:creationId xmlns:a16="http://schemas.microsoft.com/office/drawing/2014/main" id="{94784AAD-66F5-294D-915B-62EC86865A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231" y="3174908"/>
              <a:ext cx="11884" cy="11884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2 h 10"/>
                <a:gd name="T4" fmla="*/ 0 w 10"/>
                <a:gd name="T5" fmla="*/ 2 h 10"/>
                <a:gd name="T6" fmla="*/ 0 w 10"/>
                <a:gd name="T7" fmla="*/ 2 h 10"/>
                <a:gd name="T8" fmla="*/ 0 w 10"/>
                <a:gd name="T9" fmla="*/ 8 h 10"/>
                <a:gd name="T10" fmla="*/ 2 w 10"/>
                <a:gd name="T11" fmla="*/ 8 h 10"/>
                <a:gd name="T12" fmla="*/ 2 w 10"/>
                <a:gd name="T13" fmla="*/ 10 h 10"/>
                <a:gd name="T14" fmla="*/ 4 w 10"/>
                <a:gd name="T15" fmla="*/ 8 h 10"/>
                <a:gd name="T16" fmla="*/ 4 w 10"/>
                <a:gd name="T17" fmla="*/ 8 h 10"/>
                <a:gd name="T18" fmla="*/ 4 w 10"/>
                <a:gd name="T19" fmla="*/ 4 h 10"/>
                <a:gd name="T20" fmla="*/ 4 w 10"/>
                <a:gd name="T21" fmla="*/ 4 h 10"/>
                <a:gd name="T22" fmla="*/ 4 w 10"/>
                <a:gd name="T23" fmla="*/ 4 h 10"/>
                <a:gd name="T24" fmla="*/ 2 w 10"/>
                <a:gd name="T25" fmla="*/ 2 h 10"/>
                <a:gd name="T26" fmla="*/ 8 w 10"/>
                <a:gd name="T27" fmla="*/ 8 h 10"/>
                <a:gd name="T28" fmla="*/ 8 w 10"/>
                <a:gd name="T29" fmla="*/ 8 h 10"/>
                <a:gd name="T30" fmla="*/ 8 w 10"/>
                <a:gd name="T31" fmla="*/ 10 h 10"/>
                <a:gd name="T32" fmla="*/ 8 w 10"/>
                <a:gd name="T33" fmla="*/ 10 h 10"/>
                <a:gd name="T34" fmla="*/ 8 w 10"/>
                <a:gd name="T35" fmla="*/ 10 h 10"/>
                <a:gd name="T36" fmla="*/ 8 w 10"/>
                <a:gd name="T37" fmla="*/ 10 h 10"/>
                <a:gd name="T38" fmla="*/ 10 w 10"/>
                <a:gd name="T39" fmla="*/ 10 h 10"/>
                <a:gd name="T40" fmla="*/ 10 w 10"/>
                <a:gd name="T41" fmla="*/ 10 h 10"/>
                <a:gd name="T42" fmla="*/ 8 w 10"/>
                <a:gd name="T43" fmla="*/ 8 h 10"/>
                <a:gd name="T44" fmla="*/ 10 w 10"/>
                <a:gd name="T45" fmla="*/ 4 h 10"/>
                <a:gd name="T46" fmla="*/ 8 w 10"/>
                <a:gd name="T47" fmla="*/ 2 h 10"/>
                <a:gd name="T48" fmla="*/ 6 w 10"/>
                <a:gd name="T49" fmla="*/ 0 h 10"/>
                <a:gd name="T50" fmla="*/ 6 w 10"/>
                <a:gd name="T51" fmla="*/ 0 h 10"/>
                <a:gd name="T52" fmla="*/ 6 w 10"/>
                <a:gd name="T53" fmla="*/ 0 h 10"/>
                <a:gd name="T54" fmla="*/ 6 w 10"/>
                <a:gd name="T55" fmla="*/ 0 h 10"/>
                <a:gd name="T56" fmla="*/ 4 w 10"/>
                <a:gd name="T57" fmla="*/ 0 h 10"/>
                <a:gd name="T58" fmla="*/ 6 w 10"/>
                <a:gd name="T59" fmla="*/ 2 h 10"/>
                <a:gd name="T60" fmla="*/ 4 w 10"/>
                <a:gd name="T61" fmla="*/ 4 h 10"/>
                <a:gd name="T62" fmla="*/ 4 w 10"/>
                <a:gd name="T63" fmla="*/ 4 h 10"/>
                <a:gd name="T64" fmla="*/ 6 w 10"/>
                <a:gd name="T65" fmla="*/ 4 h 10"/>
                <a:gd name="T66" fmla="*/ 8 w 10"/>
                <a:gd name="T67" fmla="*/ 4 h 10"/>
                <a:gd name="T68" fmla="*/ 10 w 10"/>
                <a:gd name="T6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close/>
                  <a:moveTo>
                    <a:pt x="8" y="8"/>
                  </a:moveTo>
                  <a:lnTo>
                    <a:pt x="8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8" y="8"/>
                  </a:lnTo>
                  <a:close/>
                  <a:moveTo>
                    <a:pt x="10" y="4"/>
                  </a:moveTo>
                  <a:lnTo>
                    <a:pt x="8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4" name="Freeform 164">
              <a:extLst>
                <a:ext uri="{FF2B5EF4-FFF2-40B4-BE49-F238E27FC236}">
                  <a16:creationId xmlns:a16="http://schemas.microsoft.com/office/drawing/2014/main" id="{3BF8C804-7798-8248-95F0-30B3A3F949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86487" y="1833218"/>
              <a:ext cx="780771" cy="412371"/>
            </a:xfrm>
            <a:custGeom>
              <a:avLst/>
              <a:gdLst>
                <a:gd name="T0" fmla="*/ 149 w 657"/>
                <a:gd name="T1" fmla="*/ 189 h 347"/>
                <a:gd name="T2" fmla="*/ 141 w 657"/>
                <a:gd name="T3" fmla="*/ 187 h 347"/>
                <a:gd name="T4" fmla="*/ 457 w 657"/>
                <a:gd name="T5" fmla="*/ 171 h 347"/>
                <a:gd name="T6" fmla="*/ 457 w 657"/>
                <a:gd name="T7" fmla="*/ 171 h 347"/>
                <a:gd name="T8" fmla="*/ 123 w 657"/>
                <a:gd name="T9" fmla="*/ 142 h 347"/>
                <a:gd name="T10" fmla="*/ 10 w 657"/>
                <a:gd name="T11" fmla="*/ 74 h 347"/>
                <a:gd name="T12" fmla="*/ 577 w 657"/>
                <a:gd name="T13" fmla="*/ 41 h 347"/>
                <a:gd name="T14" fmla="*/ 655 w 657"/>
                <a:gd name="T15" fmla="*/ 21 h 347"/>
                <a:gd name="T16" fmla="*/ 540 w 657"/>
                <a:gd name="T17" fmla="*/ 31 h 347"/>
                <a:gd name="T18" fmla="*/ 484 w 657"/>
                <a:gd name="T19" fmla="*/ 14 h 347"/>
                <a:gd name="T20" fmla="*/ 525 w 657"/>
                <a:gd name="T21" fmla="*/ 2 h 347"/>
                <a:gd name="T22" fmla="*/ 410 w 657"/>
                <a:gd name="T23" fmla="*/ 4 h 347"/>
                <a:gd name="T24" fmla="*/ 375 w 657"/>
                <a:gd name="T25" fmla="*/ 8 h 347"/>
                <a:gd name="T26" fmla="*/ 287 w 657"/>
                <a:gd name="T27" fmla="*/ 18 h 347"/>
                <a:gd name="T28" fmla="*/ 199 w 657"/>
                <a:gd name="T29" fmla="*/ 18 h 347"/>
                <a:gd name="T30" fmla="*/ 149 w 657"/>
                <a:gd name="T31" fmla="*/ 25 h 347"/>
                <a:gd name="T32" fmla="*/ 115 w 657"/>
                <a:gd name="T33" fmla="*/ 39 h 347"/>
                <a:gd name="T34" fmla="*/ 39 w 657"/>
                <a:gd name="T35" fmla="*/ 58 h 347"/>
                <a:gd name="T36" fmla="*/ 28 w 657"/>
                <a:gd name="T37" fmla="*/ 72 h 347"/>
                <a:gd name="T38" fmla="*/ 14 w 657"/>
                <a:gd name="T39" fmla="*/ 78 h 347"/>
                <a:gd name="T40" fmla="*/ 26 w 657"/>
                <a:gd name="T41" fmla="*/ 93 h 347"/>
                <a:gd name="T42" fmla="*/ 88 w 657"/>
                <a:gd name="T43" fmla="*/ 90 h 347"/>
                <a:gd name="T44" fmla="*/ 137 w 657"/>
                <a:gd name="T45" fmla="*/ 115 h 347"/>
                <a:gd name="T46" fmla="*/ 135 w 657"/>
                <a:gd name="T47" fmla="*/ 132 h 347"/>
                <a:gd name="T48" fmla="*/ 125 w 657"/>
                <a:gd name="T49" fmla="*/ 148 h 347"/>
                <a:gd name="T50" fmla="*/ 145 w 657"/>
                <a:gd name="T51" fmla="*/ 154 h 347"/>
                <a:gd name="T52" fmla="*/ 160 w 657"/>
                <a:gd name="T53" fmla="*/ 156 h 347"/>
                <a:gd name="T54" fmla="*/ 162 w 657"/>
                <a:gd name="T55" fmla="*/ 175 h 347"/>
                <a:gd name="T56" fmla="*/ 156 w 657"/>
                <a:gd name="T57" fmla="*/ 181 h 347"/>
                <a:gd name="T58" fmla="*/ 145 w 657"/>
                <a:gd name="T59" fmla="*/ 204 h 347"/>
                <a:gd name="T60" fmla="*/ 131 w 657"/>
                <a:gd name="T61" fmla="*/ 212 h 347"/>
                <a:gd name="T62" fmla="*/ 125 w 657"/>
                <a:gd name="T63" fmla="*/ 218 h 347"/>
                <a:gd name="T64" fmla="*/ 98 w 657"/>
                <a:gd name="T65" fmla="*/ 243 h 347"/>
                <a:gd name="T66" fmla="*/ 108 w 657"/>
                <a:gd name="T67" fmla="*/ 251 h 347"/>
                <a:gd name="T68" fmla="*/ 108 w 657"/>
                <a:gd name="T69" fmla="*/ 267 h 347"/>
                <a:gd name="T70" fmla="*/ 100 w 657"/>
                <a:gd name="T71" fmla="*/ 276 h 347"/>
                <a:gd name="T72" fmla="*/ 115 w 657"/>
                <a:gd name="T73" fmla="*/ 292 h 347"/>
                <a:gd name="T74" fmla="*/ 110 w 657"/>
                <a:gd name="T75" fmla="*/ 317 h 347"/>
                <a:gd name="T76" fmla="*/ 137 w 657"/>
                <a:gd name="T77" fmla="*/ 329 h 347"/>
                <a:gd name="T78" fmla="*/ 166 w 657"/>
                <a:gd name="T79" fmla="*/ 339 h 347"/>
                <a:gd name="T80" fmla="*/ 176 w 657"/>
                <a:gd name="T81" fmla="*/ 333 h 347"/>
                <a:gd name="T82" fmla="*/ 211 w 657"/>
                <a:gd name="T83" fmla="*/ 298 h 347"/>
                <a:gd name="T84" fmla="*/ 236 w 657"/>
                <a:gd name="T85" fmla="*/ 273 h 347"/>
                <a:gd name="T86" fmla="*/ 277 w 657"/>
                <a:gd name="T87" fmla="*/ 245 h 347"/>
                <a:gd name="T88" fmla="*/ 299 w 657"/>
                <a:gd name="T89" fmla="*/ 245 h 347"/>
                <a:gd name="T90" fmla="*/ 347 w 657"/>
                <a:gd name="T91" fmla="*/ 222 h 347"/>
                <a:gd name="T92" fmla="*/ 394 w 657"/>
                <a:gd name="T93" fmla="*/ 208 h 347"/>
                <a:gd name="T94" fmla="*/ 470 w 657"/>
                <a:gd name="T95" fmla="*/ 189 h 347"/>
                <a:gd name="T96" fmla="*/ 429 w 657"/>
                <a:gd name="T97" fmla="*/ 181 h 347"/>
                <a:gd name="T98" fmla="*/ 453 w 657"/>
                <a:gd name="T99" fmla="*/ 167 h 347"/>
                <a:gd name="T100" fmla="*/ 492 w 657"/>
                <a:gd name="T101" fmla="*/ 169 h 347"/>
                <a:gd name="T102" fmla="*/ 492 w 657"/>
                <a:gd name="T103" fmla="*/ 152 h 347"/>
                <a:gd name="T104" fmla="*/ 480 w 657"/>
                <a:gd name="T105" fmla="*/ 142 h 347"/>
                <a:gd name="T106" fmla="*/ 447 w 657"/>
                <a:gd name="T107" fmla="*/ 136 h 347"/>
                <a:gd name="T108" fmla="*/ 484 w 657"/>
                <a:gd name="T109" fmla="*/ 127 h 347"/>
                <a:gd name="T110" fmla="*/ 515 w 657"/>
                <a:gd name="T111" fmla="*/ 119 h 347"/>
                <a:gd name="T112" fmla="*/ 523 w 657"/>
                <a:gd name="T113" fmla="*/ 109 h 347"/>
                <a:gd name="T114" fmla="*/ 538 w 657"/>
                <a:gd name="T115" fmla="*/ 90 h 347"/>
                <a:gd name="T116" fmla="*/ 568 w 657"/>
                <a:gd name="T117" fmla="*/ 76 h 347"/>
                <a:gd name="T118" fmla="*/ 546 w 657"/>
                <a:gd name="T119" fmla="*/ 62 h 347"/>
                <a:gd name="T120" fmla="*/ 564 w 657"/>
                <a:gd name="T121" fmla="*/ 43 h 347"/>
                <a:gd name="T122" fmla="*/ 632 w 657"/>
                <a:gd name="T123" fmla="*/ 29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7" h="347">
                  <a:moveTo>
                    <a:pt x="141" y="329"/>
                  </a:moveTo>
                  <a:lnTo>
                    <a:pt x="135" y="331"/>
                  </a:lnTo>
                  <a:lnTo>
                    <a:pt x="135" y="331"/>
                  </a:lnTo>
                  <a:lnTo>
                    <a:pt x="137" y="331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9" y="333"/>
                  </a:lnTo>
                  <a:lnTo>
                    <a:pt x="143" y="331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5" y="327"/>
                  </a:lnTo>
                  <a:lnTo>
                    <a:pt x="141" y="329"/>
                  </a:lnTo>
                  <a:close/>
                  <a:moveTo>
                    <a:pt x="289" y="251"/>
                  </a:moveTo>
                  <a:lnTo>
                    <a:pt x="287" y="251"/>
                  </a:lnTo>
                  <a:lnTo>
                    <a:pt x="289" y="253"/>
                  </a:lnTo>
                  <a:lnTo>
                    <a:pt x="289" y="253"/>
                  </a:lnTo>
                  <a:lnTo>
                    <a:pt x="291" y="251"/>
                  </a:lnTo>
                  <a:lnTo>
                    <a:pt x="291" y="251"/>
                  </a:lnTo>
                  <a:lnTo>
                    <a:pt x="291" y="249"/>
                  </a:lnTo>
                  <a:lnTo>
                    <a:pt x="289" y="251"/>
                  </a:lnTo>
                  <a:close/>
                  <a:moveTo>
                    <a:pt x="152" y="189"/>
                  </a:moveTo>
                  <a:lnTo>
                    <a:pt x="154" y="189"/>
                  </a:lnTo>
                  <a:lnTo>
                    <a:pt x="154" y="189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8" y="185"/>
                  </a:lnTo>
                  <a:lnTo>
                    <a:pt x="158" y="185"/>
                  </a:lnTo>
                  <a:lnTo>
                    <a:pt x="158" y="185"/>
                  </a:lnTo>
                  <a:lnTo>
                    <a:pt x="156" y="183"/>
                  </a:lnTo>
                  <a:lnTo>
                    <a:pt x="154" y="183"/>
                  </a:lnTo>
                  <a:lnTo>
                    <a:pt x="154" y="183"/>
                  </a:lnTo>
                  <a:lnTo>
                    <a:pt x="152" y="185"/>
                  </a:lnTo>
                  <a:lnTo>
                    <a:pt x="152" y="185"/>
                  </a:lnTo>
                  <a:lnTo>
                    <a:pt x="149" y="187"/>
                  </a:lnTo>
                  <a:lnTo>
                    <a:pt x="149" y="187"/>
                  </a:lnTo>
                  <a:lnTo>
                    <a:pt x="149" y="189"/>
                  </a:lnTo>
                  <a:lnTo>
                    <a:pt x="149" y="189"/>
                  </a:lnTo>
                  <a:lnTo>
                    <a:pt x="149" y="189"/>
                  </a:lnTo>
                  <a:lnTo>
                    <a:pt x="152" y="189"/>
                  </a:lnTo>
                  <a:close/>
                  <a:moveTo>
                    <a:pt x="113" y="183"/>
                  </a:moveTo>
                  <a:lnTo>
                    <a:pt x="113" y="183"/>
                  </a:lnTo>
                  <a:lnTo>
                    <a:pt x="110" y="183"/>
                  </a:lnTo>
                  <a:lnTo>
                    <a:pt x="108" y="187"/>
                  </a:lnTo>
                  <a:lnTo>
                    <a:pt x="108" y="187"/>
                  </a:lnTo>
                  <a:lnTo>
                    <a:pt x="108" y="187"/>
                  </a:lnTo>
                  <a:lnTo>
                    <a:pt x="108" y="189"/>
                  </a:lnTo>
                  <a:lnTo>
                    <a:pt x="113" y="189"/>
                  </a:lnTo>
                  <a:lnTo>
                    <a:pt x="117" y="189"/>
                  </a:lnTo>
                  <a:lnTo>
                    <a:pt x="117" y="189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21" y="189"/>
                  </a:lnTo>
                  <a:lnTo>
                    <a:pt x="121" y="191"/>
                  </a:lnTo>
                  <a:lnTo>
                    <a:pt x="117" y="191"/>
                  </a:lnTo>
                  <a:lnTo>
                    <a:pt x="117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17" y="193"/>
                  </a:lnTo>
                  <a:lnTo>
                    <a:pt x="117" y="193"/>
                  </a:lnTo>
                  <a:lnTo>
                    <a:pt x="119" y="193"/>
                  </a:lnTo>
                  <a:lnTo>
                    <a:pt x="127" y="193"/>
                  </a:lnTo>
                  <a:lnTo>
                    <a:pt x="129" y="191"/>
                  </a:lnTo>
                  <a:lnTo>
                    <a:pt x="139" y="191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3" y="187"/>
                  </a:lnTo>
                  <a:lnTo>
                    <a:pt x="141" y="187"/>
                  </a:lnTo>
                  <a:lnTo>
                    <a:pt x="141" y="187"/>
                  </a:lnTo>
                  <a:lnTo>
                    <a:pt x="141" y="187"/>
                  </a:lnTo>
                  <a:lnTo>
                    <a:pt x="143" y="187"/>
                  </a:lnTo>
                  <a:lnTo>
                    <a:pt x="143" y="187"/>
                  </a:lnTo>
                  <a:lnTo>
                    <a:pt x="143" y="185"/>
                  </a:lnTo>
                  <a:lnTo>
                    <a:pt x="141" y="185"/>
                  </a:lnTo>
                  <a:lnTo>
                    <a:pt x="139" y="185"/>
                  </a:lnTo>
                  <a:lnTo>
                    <a:pt x="135" y="183"/>
                  </a:lnTo>
                  <a:lnTo>
                    <a:pt x="133" y="181"/>
                  </a:lnTo>
                  <a:lnTo>
                    <a:pt x="131" y="179"/>
                  </a:lnTo>
                  <a:lnTo>
                    <a:pt x="131" y="179"/>
                  </a:lnTo>
                  <a:lnTo>
                    <a:pt x="123" y="177"/>
                  </a:lnTo>
                  <a:lnTo>
                    <a:pt x="121" y="177"/>
                  </a:lnTo>
                  <a:lnTo>
                    <a:pt x="115" y="179"/>
                  </a:lnTo>
                  <a:lnTo>
                    <a:pt x="115" y="179"/>
                  </a:lnTo>
                  <a:lnTo>
                    <a:pt x="113" y="179"/>
                  </a:lnTo>
                  <a:lnTo>
                    <a:pt x="113" y="179"/>
                  </a:lnTo>
                  <a:lnTo>
                    <a:pt x="113" y="181"/>
                  </a:lnTo>
                  <a:lnTo>
                    <a:pt x="113" y="181"/>
                  </a:lnTo>
                  <a:lnTo>
                    <a:pt x="113" y="181"/>
                  </a:lnTo>
                  <a:lnTo>
                    <a:pt x="115" y="183"/>
                  </a:lnTo>
                  <a:lnTo>
                    <a:pt x="117" y="183"/>
                  </a:lnTo>
                  <a:lnTo>
                    <a:pt x="117" y="183"/>
                  </a:lnTo>
                  <a:lnTo>
                    <a:pt x="113" y="183"/>
                  </a:lnTo>
                  <a:close/>
                  <a:moveTo>
                    <a:pt x="156" y="169"/>
                  </a:moveTo>
                  <a:lnTo>
                    <a:pt x="156" y="169"/>
                  </a:lnTo>
                  <a:lnTo>
                    <a:pt x="156" y="169"/>
                  </a:lnTo>
                  <a:lnTo>
                    <a:pt x="156" y="169"/>
                  </a:lnTo>
                  <a:lnTo>
                    <a:pt x="154" y="167"/>
                  </a:lnTo>
                  <a:lnTo>
                    <a:pt x="152" y="169"/>
                  </a:lnTo>
                  <a:lnTo>
                    <a:pt x="152" y="169"/>
                  </a:lnTo>
                  <a:lnTo>
                    <a:pt x="152" y="169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6" y="169"/>
                  </a:lnTo>
                  <a:close/>
                  <a:moveTo>
                    <a:pt x="457" y="171"/>
                  </a:moveTo>
                  <a:lnTo>
                    <a:pt x="457" y="171"/>
                  </a:lnTo>
                  <a:lnTo>
                    <a:pt x="460" y="169"/>
                  </a:lnTo>
                  <a:lnTo>
                    <a:pt x="457" y="169"/>
                  </a:lnTo>
                  <a:lnTo>
                    <a:pt x="457" y="169"/>
                  </a:lnTo>
                  <a:lnTo>
                    <a:pt x="457" y="167"/>
                  </a:lnTo>
                  <a:lnTo>
                    <a:pt x="455" y="167"/>
                  </a:lnTo>
                  <a:lnTo>
                    <a:pt x="455" y="167"/>
                  </a:lnTo>
                  <a:lnTo>
                    <a:pt x="455" y="167"/>
                  </a:lnTo>
                  <a:lnTo>
                    <a:pt x="447" y="169"/>
                  </a:lnTo>
                  <a:lnTo>
                    <a:pt x="445" y="169"/>
                  </a:lnTo>
                  <a:lnTo>
                    <a:pt x="441" y="169"/>
                  </a:lnTo>
                  <a:lnTo>
                    <a:pt x="437" y="169"/>
                  </a:lnTo>
                  <a:lnTo>
                    <a:pt x="435" y="169"/>
                  </a:lnTo>
                  <a:lnTo>
                    <a:pt x="433" y="169"/>
                  </a:lnTo>
                  <a:lnTo>
                    <a:pt x="433" y="169"/>
                  </a:lnTo>
                  <a:lnTo>
                    <a:pt x="431" y="171"/>
                  </a:lnTo>
                  <a:lnTo>
                    <a:pt x="431" y="171"/>
                  </a:lnTo>
                  <a:lnTo>
                    <a:pt x="429" y="173"/>
                  </a:lnTo>
                  <a:lnTo>
                    <a:pt x="429" y="173"/>
                  </a:lnTo>
                  <a:lnTo>
                    <a:pt x="427" y="173"/>
                  </a:lnTo>
                  <a:lnTo>
                    <a:pt x="427" y="175"/>
                  </a:lnTo>
                  <a:lnTo>
                    <a:pt x="427" y="175"/>
                  </a:lnTo>
                  <a:lnTo>
                    <a:pt x="427" y="175"/>
                  </a:lnTo>
                  <a:lnTo>
                    <a:pt x="427" y="175"/>
                  </a:lnTo>
                  <a:lnTo>
                    <a:pt x="431" y="175"/>
                  </a:lnTo>
                  <a:lnTo>
                    <a:pt x="437" y="175"/>
                  </a:lnTo>
                  <a:lnTo>
                    <a:pt x="443" y="175"/>
                  </a:lnTo>
                  <a:lnTo>
                    <a:pt x="445" y="175"/>
                  </a:lnTo>
                  <a:lnTo>
                    <a:pt x="447" y="175"/>
                  </a:lnTo>
                  <a:lnTo>
                    <a:pt x="447" y="175"/>
                  </a:lnTo>
                  <a:lnTo>
                    <a:pt x="449" y="175"/>
                  </a:lnTo>
                  <a:lnTo>
                    <a:pt x="451" y="173"/>
                  </a:lnTo>
                  <a:lnTo>
                    <a:pt x="453" y="173"/>
                  </a:lnTo>
                  <a:lnTo>
                    <a:pt x="457" y="173"/>
                  </a:lnTo>
                  <a:lnTo>
                    <a:pt x="457" y="173"/>
                  </a:lnTo>
                  <a:lnTo>
                    <a:pt x="457" y="171"/>
                  </a:lnTo>
                  <a:lnTo>
                    <a:pt x="457" y="171"/>
                  </a:lnTo>
                  <a:lnTo>
                    <a:pt x="457" y="171"/>
                  </a:lnTo>
                  <a:lnTo>
                    <a:pt x="457" y="171"/>
                  </a:lnTo>
                  <a:lnTo>
                    <a:pt x="457" y="171"/>
                  </a:lnTo>
                  <a:close/>
                  <a:moveTo>
                    <a:pt x="135" y="167"/>
                  </a:moveTo>
                  <a:lnTo>
                    <a:pt x="135" y="167"/>
                  </a:lnTo>
                  <a:lnTo>
                    <a:pt x="137" y="167"/>
                  </a:lnTo>
                  <a:lnTo>
                    <a:pt x="137" y="167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9" y="164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3" y="164"/>
                  </a:lnTo>
                  <a:lnTo>
                    <a:pt x="133" y="164"/>
                  </a:lnTo>
                  <a:lnTo>
                    <a:pt x="131" y="164"/>
                  </a:lnTo>
                  <a:lnTo>
                    <a:pt x="131" y="167"/>
                  </a:lnTo>
                  <a:lnTo>
                    <a:pt x="133" y="167"/>
                  </a:lnTo>
                  <a:lnTo>
                    <a:pt x="135" y="167"/>
                  </a:lnTo>
                  <a:close/>
                  <a:moveTo>
                    <a:pt x="125" y="144"/>
                  </a:moveTo>
                  <a:lnTo>
                    <a:pt x="127" y="144"/>
                  </a:lnTo>
                  <a:lnTo>
                    <a:pt x="127" y="144"/>
                  </a:lnTo>
                  <a:lnTo>
                    <a:pt x="127" y="144"/>
                  </a:lnTo>
                  <a:lnTo>
                    <a:pt x="127" y="144"/>
                  </a:lnTo>
                  <a:lnTo>
                    <a:pt x="131" y="142"/>
                  </a:lnTo>
                  <a:lnTo>
                    <a:pt x="133" y="142"/>
                  </a:lnTo>
                  <a:lnTo>
                    <a:pt x="135" y="140"/>
                  </a:lnTo>
                  <a:lnTo>
                    <a:pt x="135" y="140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31" y="140"/>
                  </a:lnTo>
                  <a:lnTo>
                    <a:pt x="129" y="140"/>
                  </a:lnTo>
                  <a:lnTo>
                    <a:pt x="129" y="140"/>
                  </a:lnTo>
                  <a:lnTo>
                    <a:pt x="129" y="140"/>
                  </a:lnTo>
                  <a:lnTo>
                    <a:pt x="125" y="140"/>
                  </a:lnTo>
                  <a:lnTo>
                    <a:pt x="123" y="142"/>
                  </a:lnTo>
                  <a:lnTo>
                    <a:pt x="121" y="142"/>
                  </a:lnTo>
                  <a:lnTo>
                    <a:pt x="121" y="142"/>
                  </a:lnTo>
                  <a:lnTo>
                    <a:pt x="123" y="142"/>
                  </a:lnTo>
                  <a:lnTo>
                    <a:pt x="125" y="142"/>
                  </a:lnTo>
                  <a:lnTo>
                    <a:pt x="125" y="142"/>
                  </a:lnTo>
                  <a:lnTo>
                    <a:pt x="125" y="142"/>
                  </a:lnTo>
                  <a:lnTo>
                    <a:pt x="125" y="142"/>
                  </a:lnTo>
                  <a:lnTo>
                    <a:pt x="125" y="144"/>
                  </a:lnTo>
                  <a:close/>
                  <a:moveTo>
                    <a:pt x="564" y="107"/>
                  </a:moveTo>
                  <a:lnTo>
                    <a:pt x="564" y="105"/>
                  </a:lnTo>
                  <a:lnTo>
                    <a:pt x="564" y="105"/>
                  </a:lnTo>
                  <a:lnTo>
                    <a:pt x="564" y="103"/>
                  </a:lnTo>
                  <a:lnTo>
                    <a:pt x="560" y="103"/>
                  </a:lnTo>
                  <a:lnTo>
                    <a:pt x="558" y="103"/>
                  </a:lnTo>
                  <a:lnTo>
                    <a:pt x="556" y="103"/>
                  </a:lnTo>
                  <a:lnTo>
                    <a:pt x="554" y="103"/>
                  </a:lnTo>
                  <a:lnTo>
                    <a:pt x="552" y="105"/>
                  </a:lnTo>
                  <a:lnTo>
                    <a:pt x="552" y="107"/>
                  </a:lnTo>
                  <a:lnTo>
                    <a:pt x="554" y="109"/>
                  </a:lnTo>
                  <a:lnTo>
                    <a:pt x="558" y="109"/>
                  </a:lnTo>
                  <a:lnTo>
                    <a:pt x="566" y="109"/>
                  </a:lnTo>
                  <a:lnTo>
                    <a:pt x="568" y="107"/>
                  </a:lnTo>
                  <a:lnTo>
                    <a:pt x="568" y="107"/>
                  </a:lnTo>
                  <a:lnTo>
                    <a:pt x="564" y="107"/>
                  </a:lnTo>
                  <a:close/>
                  <a:moveTo>
                    <a:pt x="560" y="93"/>
                  </a:moveTo>
                  <a:lnTo>
                    <a:pt x="562" y="88"/>
                  </a:lnTo>
                  <a:lnTo>
                    <a:pt x="562" y="84"/>
                  </a:lnTo>
                  <a:lnTo>
                    <a:pt x="560" y="84"/>
                  </a:lnTo>
                  <a:lnTo>
                    <a:pt x="558" y="84"/>
                  </a:lnTo>
                  <a:lnTo>
                    <a:pt x="558" y="86"/>
                  </a:lnTo>
                  <a:lnTo>
                    <a:pt x="556" y="88"/>
                  </a:lnTo>
                  <a:lnTo>
                    <a:pt x="558" y="95"/>
                  </a:lnTo>
                  <a:lnTo>
                    <a:pt x="560" y="93"/>
                  </a:lnTo>
                  <a:close/>
                  <a:moveTo>
                    <a:pt x="12" y="74"/>
                  </a:moveTo>
                  <a:lnTo>
                    <a:pt x="10" y="74"/>
                  </a:lnTo>
                  <a:lnTo>
                    <a:pt x="10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4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4"/>
                  </a:lnTo>
                  <a:lnTo>
                    <a:pt x="2" y="76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10" y="76"/>
                  </a:lnTo>
                  <a:lnTo>
                    <a:pt x="12" y="74"/>
                  </a:lnTo>
                  <a:close/>
                  <a:moveTo>
                    <a:pt x="577" y="68"/>
                  </a:moveTo>
                  <a:lnTo>
                    <a:pt x="577" y="68"/>
                  </a:lnTo>
                  <a:lnTo>
                    <a:pt x="572" y="70"/>
                  </a:lnTo>
                  <a:lnTo>
                    <a:pt x="572" y="70"/>
                  </a:lnTo>
                  <a:lnTo>
                    <a:pt x="572" y="72"/>
                  </a:lnTo>
                  <a:lnTo>
                    <a:pt x="574" y="72"/>
                  </a:lnTo>
                  <a:lnTo>
                    <a:pt x="577" y="70"/>
                  </a:lnTo>
                  <a:lnTo>
                    <a:pt x="579" y="70"/>
                  </a:lnTo>
                  <a:lnTo>
                    <a:pt x="579" y="68"/>
                  </a:lnTo>
                  <a:lnTo>
                    <a:pt x="577" y="68"/>
                  </a:lnTo>
                  <a:close/>
                  <a:moveTo>
                    <a:pt x="568" y="62"/>
                  </a:moveTo>
                  <a:lnTo>
                    <a:pt x="568" y="60"/>
                  </a:lnTo>
                  <a:lnTo>
                    <a:pt x="566" y="62"/>
                  </a:lnTo>
                  <a:lnTo>
                    <a:pt x="564" y="62"/>
                  </a:lnTo>
                  <a:lnTo>
                    <a:pt x="564" y="64"/>
                  </a:lnTo>
                  <a:lnTo>
                    <a:pt x="564" y="66"/>
                  </a:lnTo>
                  <a:lnTo>
                    <a:pt x="564" y="68"/>
                  </a:lnTo>
                  <a:lnTo>
                    <a:pt x="566" y="66"/>
                  </a:lnTo>
                  <a:lnTo>
                    <a:pt x="568" y="66"/>
                  </a:lnTo>
                  <a:lnTo>
                    <a:pt x="566" y="64"/>
                  </a:lnTo>
                  <a:lnTo>
                    <a:pt x="568" y="62"/>
                  </a:lnTo>
                  <a:lnTo>
                    <a:pt x="568" y="62"/>
                  </a:lnTo>
                  <a:close/>
                  <a:moveTo>
                    <a:pt x="587" y="39"/>
                  </a:moveTo>
                  <a:lnTo>
                    <a:pt x="581" y="41"/>
                  </a:lnTo>
                  <a:lnTo>
                    <a:pt x="577" y="41"/>
                  </a:lnTo>
                  <a:lnTo>
                    <a:pt x="574" y="43"/>
                  </a:lnTo>
                  <a:lnTo>
                    <a:pt x="574" y="43"/>
                  </a:lnTo>
                  <a:lnTo>
                    <a:pt x="579" y="43"/>
                  </a:lnTo>
                  <a:lnTo>
                    <a:pt x="585" y="43"/>
                  </a:lnTo>
                  <a:lnTo>
                    <a:pt x="589" y="43"/>
                  </a:lnTo>
                  <a:lnTo>
                    <a:pt x="591" y="41"/>
                  </a:lnTo>
                  <a:lnTo>
                    <a:pt x="591" y="39"/>
                  </a:lnTo>
                  <a:lnTo>
                    <a:pt x="587" y="39"/>
                  </a:lnTo>
                  <a:close/>
                  <a:moveTo>
                    <a:pt x="585" y="18"/>
                  </a:moveTo>
                  <a:lnTo>
                    <a:pt x="587" y="18"/>
                  </a:lnTo>
                  <a:lnTo>
                    <a:pt x="589" y="18"/>
                  </a:lnTo>
                  <a:lnTo>
                    <a:pt x="587" y="16"/>
                  </a:lnTo>
                  <a:lnTo>
                    <a:pt x="585" y="16"/>
                  </a:lnTo>
                  <a:lnTo>
                    <a:pt x="583" y="14"/>
                  </a:lnTo>
                  <a:lnTo>
                    <a:pt x="581" y="14"/>
                  </a:lnTo>
                  <a:lnTo>
                    <a:pt x="581" y="16"/>
                  </a:lnTo>
                  <a:lnTo>
                    <a:pt x="581" y="16"/>
                  </a:lnTo>
                  <a:lnTo>
                    <a:pt x="583" y="18"/>
                  </a:lnTo>
                  <a:lnTo>
                    <a:pt x="585" y="18"/>
                  </a:lnTo>
                  <a:close/>
                  <a:moveTo>
                    <a:pt x="324" y="14"/>
                  </a:moveTo>
                  <a:lnTo>
                    <a:pt x="330" y="14"/>
                  </a:lnTo>
                  <a:lnTo>
                    <a:pt x="332" y="16"/>
                  </a:lnTo>
                  <a:lnTo>
                    <a:pt x="334" y="16"/>
                  </a:lnTo>
                  <a:lnTo>
                    <a:pt x="336" y="14"/>
                  </a:lnTo>
                  <a:lnTo>
                    <a:pt x="338" y="12"/>
                  </a:lnTo>
                  <a:lnTo>
                    <a:pt x="338" y="12"/>
                  </a:lnTo>
                  <a:lnTo>
                    <a:pt x="334" y="10"/>
                  </a:lnTo>
                  <a:lnTo>
                    <a:pt x="326" y="8"/>
                  </a:lnTo>
                  <a:lnTo>
                    <a:pt x="322" y="10"/>
                  </a:lnTo>
                  <a:lnTo>
                    <a:pt x="316" y="10"/>
                  </a:lnTo>
                  <a:lnTo>
                    <a:pt x="316" y="10"/>
                  </a:lnTo>
                  <a:lnTo>
                    <a:pt x="316" y="10"/>
                  </a:lnTo>
                  <a:lnTo>
                    <a:pt x="320" y="12"/>
                  </a:lnTo>
                  <a:lnTo>
                    <a:pt x="324" y="14"/>
                  </a:lnTo>
                  <a:close/>
                  <a:moveTo>
                    <a:pt x="657" y="23"/>
                  </a:moveTo>
                  <a:lnTo>
                    <a:pt x="655" y="21"/>
                  </a:lnTo>
                  <a:lnTo>
                    <a:pt x="650" y="21"/>
                  </a:lnTo>
                  <a:lnTo>
                    <a:pt x="648" y="21"/>
                  </a:lnTo>
                  <a:lnTo>
                    <a:pt x="644" y="21"/>
                  </a:lnTo>
                  <a:lnTo>
                    <a:pt x="636" y="18"/>
                  </a:lnTo>
                  <a:lnTo>
                    <a:pt x="632" y="18"/>
                  </a:lnTo>
                  <a:lnTo>
                    <a:pt x="622" y="18"/>
                  </a:lnTo>
                  <a:lnTo>
                    <a:pt x="620" y="18"/>
                  </a:lnTo>
                  <a:lnTo>
                    <a:pt x="618" y="18"/>
                  </a:lnTo>
                  <a:lnTo>
                    <a:pt x="613" y="18"/>
                  </a:lnTo>
                  <a:lnTo>
                    <a:pt x="613" y="18"/>
                  </a:lnTo>
                  <a:lnTo>
                    <a:pt x="611" y="18"/>
                  </a:lnTo>
                  <a:lnTo>
                    <a:pt x="609" y="21"/>
                  </a:lnTo>
                  <a:lnTo>
                    <a:pt x="607" y="21"/>
                  </a:lnTo>
                  <a:lnTo>
                    <a:pt x="603" y="23"/>
                  </a:lnTo>
                  <a:lnTo>
                    <a:pt x="601" y="23"/>
                  </a:lnTo>
                  <a:lnTo>
                    <a:pt x="601" y="23"/>
                  </a:lnTo>
                  <a:lnTo>
                    <a:pt x="597" y="23"/>
                  </a:lnTo>
                  <a:lnTo>
                    <a:pt x="595" y="23"/>
                  </a:lnTo>
                  <a:lnTo>
                    <a:pt x="593" y="23"/>
                  </a:lnTo>
                  <a:lnTo>
                    <a:pt x="591" y="23"/>
                  </a:lnTo>
                  <a:lnTo>
                    <a:pt x="589" y="23"/>
                  </a:lnTo>
                  <a:lnTo>
                    <a:pt x="587" y="23"/>
                  </a:lnTo>
                  <a:lnTo>
                    <a:pt x="583" y="23"/>
                  </a:lnTo>
                  <a:lnTo>
                    <a:pt x="583" y="21"/>
                  </a:lnTo>
                  <a:lnTo>
                    <a:pt x="579" y="21"/>
                  </a:lnTo>
                  <a:lnTo>
                    <a:pt x="574" y="23"/>
                  </a:lnTo>
                  <a:lnTo>
                    <a:pt x="564" y="25"/>
                  </a:lnTo>
                  <a:lnTo>
                    <a:pt x="564" y="25"/>
                  </a:lnTo>
                  <a:lnTo>
                    <a:pt x="560" y="25"/>
                  </a:lnTo>
                  <a:lnTo>
                    <a:pt x="558" y="27"/>
                  </a:lnTo>
                  <a:lnTo>
                    <a:pt x="552" y="27"/>
                  </a:lnTo>
                  <a:lnTo>
                    <a:pt x="550" y="29"/>
                  </a:lnTo>
                  <a:lnTo>
                    <a:pt x="542" y="29"/>
                  </a:lnTo>
                  <a:lnTo>
                    <a:pt x="542" y="29"/>
                  </a:lnTo>
                  <a:lnTo>
                    <a:pt x="542" y="31"/>
                  </a:lnTo>
                  <a:lnTo>
                    <a:pt x="540" y="31"/>
                  </a:lnTo>
                  <a:lnTo>
                    <a:pt x="538" y="31"/>
                  </a:lnTo>
                  <a:lnTo>
                    <a:pt x="538" y="31"/>
                  </a:lnTo>
                  <a:lnTo>
                    <a:pt x="540" y="29"/>
                  </a:lnTo>
                  <a:lnTo>
                    <a:pt x="546" y="27"/>
                  </a:lnTo>
                  <a:lnTo>
                    <a:pt x="548" y="27"/>
                  </a:lnTo>
                  <a:lnTo>
                    <a:pt x="554" y="25"/>
                  </a:lnTo>
                  <a:lnTo>
                    <a:pt x="556" y="25"/>
                  </a:lnTo>
                  <a:lnTo>
                    <a:pt x="558" y="23"/>
                  </a:lnTo>
                  <a:lnTo>
                    <a:pt x="562" y="21"/>
                  </a:lnTo>
                  <a:lnTo>
                    <a:pt x="564" y="21"/>
                  </a:lnTo>
                  <a:lnTo>
                    <a:pt x="564" y="18"/>
                  </a:lnTo>
                  <a:lnTo>
                    <a:pt x="564" y="18"/>
                  </a:lnTo>
                  <a:lnTo>
                    <a:pt x="564" y="16"/>
                  </a:lnTo>
                  <a:lnTo>
                    <a:pt x="564" y="16"/>
                  </a:lnTo>
                  <a:lnTo>
                    <a:pt x="564" y="16"/>
                  </a:lnTo>
                  <a:lnTo>
                    <a:pt x="560" y="16"/>
                  </a:lnTo>
                  <a:lnTo>
                    <a:pt x="552" y="16"/>
                  </a:lnTo>
                  <a:lnTo>
                    <a:pt x="548" y="16"/>
                  </a:lnTo>
                  <a:lnTo>
                    <a:pt x="546" y="16"/>
                  </a:lnTo>
                  <a:lnTo>
                    <a:pt x="546" y="16"/>
                  </a:lnTo>
                  <a:lnTo>
                    <a:pt x="544" y="16"/>
                  </a:lnTo>
                  <a:lnTo>
                    <a:pt x="544" y="18"/>
                  </a:lnTo>
                  <a:lnTo>
                    <a:pt x="542" y="18"/>
                  </a:lnTo>
                  <a:lnTo>
                    <a:pt x="542" y="18"/>
                  </a:lnTo>
                  <a:lnTo>
                    <a:pt x="540" y="21"/>
                  </a:lnTo>
                  <a:lnTo>
                    <a:pt x="533" y="21"/>
                  </a:lnTo>
                  <a:lnTo>
                    <a:pt x="531" y="18"/>
                  </a:lnTo>
                  <a:lnTo>
                    <a:pt x="525" y="16"/>
                  </a:lnTo>
                  <a:lnTo>
                    <a:pt x="509" y="16"/>
                  </a:lnTo>
                  <a:lnTo>
                    <a:pt x="501" y="16"/>
                  </a:lnTo>
                  <a:lnTo>
                    <a:pt x="488" y="16"/>
                  </a:lnTo>
                  <a:lnTo>
                    <a:pt x="482" y="16"/>
                  </a:lnTo>
                  <a:lnTo>
                    <a:pt x="480" y="16"/>
                  </a:lnTo>
                  <a:lnTo>
                    <a:pt x="480" y="16"/>
                  </a:lnTo>
                  <a:lnTo>
                    <a:pt x="482" y="14"/>
                  </a:lnTo>
                  <a:lnTo>
                    <a:pt x="484" y="14"/>
                  </a:lnTo>
                  <a:lnTo>
                    <a:pt x="540" y="14"/>
                  </a:lnTo>
                  <a:lnTo>
                    <a:pt x="548" y="12"/>
                  </a:lnTo>
                  <a:lnTo>
                    <a:pt x="554" y="12"/>
                  </a:lnTo>
                  <a:lnTo>
                    <a:pt x="560" y="12"/>
                  </a:lnTo>
                  <a:lnTo>
                    <a:pt x="564" y="10"/>
                  </a:lnTo>
                  <a:lnTo>
                    <a:pt x="564" y="10"/>
                  </a:lnTo>
                  <a:lnTo>
                    <a:pt x="564" y="10"/>
                  </a:lnTo>
                  <a:lnTo>
                    <a:pt x="562" y="8"/>
                  </a:lnTo>
                  <a:lnTo>
                    <a:pt x="562" y="8"/>
                  </a:lnTo>
                  <a:lnTo>
                    <a:pt x="556" y="8"/>
                  </a:lnTo>
                  <a:lnTo>
                    <a:pt x="548" y="8"/>
                  </a:lnTo>
                  <a:lnTo>
                    <a:pt x="544" y="8"/>
                  </a:lnTo>
                  <a:lnTo>
                    <a:pt x="544" y="8"/>
                  </a:lnTo>
                  <a:lnTo>
                    <a:pt x="544" y="6"/>
                  </a:lnTo>
                  <a:lnTo>
                    <a:pt x="540" y="6"/>
                  </a:lnTo>
                  <a:lnTo>
                    <a:pt x="538" y="6"/>
                  </a:lnTo>
                  <a:lnTo>
                    <a:pt x="535" y="6"/>
                  </a:lnTo>
                  <a:lnTo>
                    <a:pt x="533" y="4"/>
                  </a:lnTo>
                  <a:lnTo>
                    <a:pt x="523" y="4"/>
                  </a:lnTo>
                  <a:lnTo>
                    <a:pt x="515" y="4"/>
                  </a:lnTo>
                  <a:lnTo>
                    <a:pt x="507" y="4"/>
                  </a:lnTo>
                  <a:lnTo>
                    <a:pt x="503" y="4"/>
                  </a:lnTo>
                  <a:lnTo>
                    <a:pt x="494" y="4"/>
                  </a:lnTo>
                  <a:lnTo>
                    <a:pt x="486" y="4"/>
                  </a:lnTo>
                  <a:lnTo>
                    <a:pt x="482" y="4"/>
                  </a:lnTo>
                  <a:lnTo>
                    <a:pt x="470" y="6"/>
                  </a:lnTo>
                  <a:lnTo>
                    <a:pt x="468" y="6"/>
                  </a:lnTo>
                  <a:lnTo>
                    <a:pt x="466" y="6"/>
                  </a:lnTo>
                  <a:lnTo>
                    <a:pt x="468" y="4"/>
                  </a:lnTo>
                  <a:lnTo>
                    <a:pt x="472" y="4"/>
                  </a:lnTo>
                  <a:lnTo>
                    <a:pt x="486" y="4"/>
                  </a:lnTo>
                  <a:lnTo>
                    <a:pt x="509" y="4"/>
                  </a:lnTo>
                  <a:lnTo>
                    <a:pt x="523" y="4"/>
                  </a:lnTo>
                  <a:lnTo>
                    <a:pt x="525" y="4"/>
                  </a:lnTo>
                  <a:lnTo>
                    <a:pt x="527" y="2"/>
                  </a:lnTo>
                  <a:lnTo>
                    <a:pt x="525" y="2"/>
                  </a:lnTo>
                  <a:lnTo>
                    <a:pt x="515" y="2"/>
                  </a:lnTo>
                  <a:lnTo>
                    <a:pt x="511" y="2"/>
                  </a:lnTo>
                  <a:lnTo>
                    <a:pt x="503" y="2"/>
                  </a:lnTo>
                  <a:lnTo>
                    <a:pt x="503" y="2"/>
                  </a:lnTo>
                  <a:lnTo>
                    <a:pt x="499" y="0"/>
                  </a:lnTo>
                  <a:lnTo>
                    <a:pt x="490" y="0"/>
                  </a:lnTo>
                  <a:lnTo>
                    <a:pt x="482" y="0"/>
                  </a:lnTo>
                  <a:lnTo>
                    <a:pt x="462" y="0"/>
                  </a:lnTo>
                  <a:lnTo>
                    <a:pt x="457" y="0"/>
                  </a:lnTo>
                  <a:lnTo>
                    <a:pt x="451" y="0"/>
                  </a:lnTo>
                  <a:lnTo>
                    <a:pt x="449" y="0"/>
                  </a:lnTo>
                  <a:lnTo>
                    <a:pt x="447" y="0"/>
                  </a:lnTo>
                  <a:lnTo>
                    <a:pt x="445" y="0"/>
                  </a:lnTo>
                  <a:lnTo>
                    <a:pt x="443" y="0"/>
                  </a:lnTo>
                  <a:lnTo>
                    <a:pt x="439" y="0"/>
                  </a:lnTo>
                  <a:lnTo>
                    <a:pt x="437" y="0"/>
                  </a:lnTo>
                  <a:lnTo>
                    <a:pt x="427" y="0"/>
                  </a:lnTo>
                  <a:lnTo>
                    <a:pt x="425" y="0"/>
                  </a:lnTo>
                  <a:lnTo>
                    <a:pt x="425" y="0"/>
                  </a:lnTo>
                  <a:lnTo>
                    <a:pt x="425" y="0"/>
                  </a:lnTo>
                  <a:lnTo>
                    <a:pt x="425" y="0"/>
                  </a:lnTo>
                  <a:lnTo>
                    <a:pt x="421" y="0"/>
                  </a:lnTo>
                  <a:lnTo>
                    <a:pt x="416" y="0"/>
                  </a:lnTo>
                  <a:lnTo>
                    <a:pt x="414" y="0"/>
                  </a:lnTo>
                  <a:lnTo>
                    <a:pt x="414" y="0"/>
                  </a:lnTo>
                  <a:lnTo>
                    <a:pt x="412" y="2"/>
                  </a:lnTo>
                  <a:lnTo>
                    <a:pt x="410" y="2"/>
                  </a:lnTo>
                  <a:lnTo>
                    <a:pt x="410" y="2"/>
                  </a:lnTo>
                  <a:lnTo>
                    <a:pt x="406" y="2"/>
                  </a:lnTo>
                  <a:lnTo>
                    <a:pt x="406" y="2"/>
                  </a:lnTo>
                  <a:lnTo>
                    <a:pt x="404" y="2"/>
                  </a:lnTo>
                  <a:lnTo>
                    <a:pt x="404" y="2"/>
                  </a:lnTo>
                  <a:lnTo>
                    <a:pt x="404" y="2"/>
                  </a:lnTo>
                  <a:lnTo>
                    <a:pt x="406" y="2"/>
                  </a:lnTo>
                  <a:lnTo>
                    <a:pt x="410" y="4"/>
                  </a:lnTo>
                  <a:lnTo>
                    <a:pt x="410" y="4"/>
                  </a:lnTo>
                  <a:lnTo>
                    <a:pt x="410" y="4"/>
                  </a:lnTo>
                  <a:lnTo>
                    <a:pt x="408" y="6"/>
                  </a:lnTo>
                  <a:lnTo>
                    <a:pt x="408" y="6"/>
                  </a:lnTo>
                  <a:lnTo>
                    <a:pt x="408" y="6"/>
                  </a:lnTo>
                  <a:lnTo>
                    <a:pt x="406" y="6"/>
                  </a:lnTo>
                  <a:lnTo>
                    <a:pt x="402" y="4"/>
                  </a:lnTo>
                  <a:lnTo>
                    <a:pt x="398" y="4"/>
                  </a:lnTo>
                  <a:lnTo>
                    <a:pt x="396" y="4"/>
                  </a:lnTo>
                  <a:lnTo>
                    <a:pt x="394" y="2"/>
                  </a:lnTo>
                  <a:lnTo>
                    <a:pt x="390" y="2"/>
                  </a:lnTo>
                  <a:lnTo>
                    <a:pt x="386" y="2"/>
                  </a:lnTo>
                  <a:lnTo>
                    <a:pt x="381" y="4"/>
                  </a:lnTo>
                  <a:lnTo>
                    <a:pt x="377" y="4"/>
                  </a:lnTo>
                  <a:lnTo>
                    <a:pt x="375" y="4"/>
                  </a:lnTo>
                  <a:lnTo>
                    <a:pt x="375" y="4"/>
                  </a:lnTo>
                  <a:lnTo>
                    <a:pt x="373" y="4"/>
                  </a:lnTo>
                  <a:lnTo>
                    <a:pt x="371" y="4"/>
                  </a:lnTo>
                  <a:lnTo>
                    <a:pt x="369" y="4"/>
                  </a:lnTo>
                  <a:lnTo>
                    <a:pt x="365" y="2"/>
                  </a:lnTo>
                  <a:lnTo>
                    <a:pt x="363" y="2"/>
                  </a:lnTo>
                  <a:lnTo>
                    <a:pt x="361" y="4"/>
                  </a:lnTo>
                  <a:lnTo>
                    <a:pt x="351" y="4"/>
                  </a:lnTo>
                  <a:lnTo>
                    <a:pt x="347" y="4"/>
                  </a:lnTo>
                  <a:lnTo>
                    <a:pt x="340" y="4"/>
                  </a:lnTo>
                  <a:lnTo>
                    <a:pt x="338" y="6"/>
                  </a:lnTo>
                  <a:lnTo>
                    <a:pt x="334" y="4"/>
                  </a:lnTo>
                  <a:lnTo>
                    <a:pt x="330" y="4"/>
                  </a:lnTo>
                  <a:lnTo>
                    <a:pt x="328" y="6"/>
                  </a:lnTo>
                  <a:lnTo>
                    <a:pt x="330" y="8"/>
                  </a:lnTo>
                  <a:lnTo>
                    <a:pt x="332" y="8"/>
                  </a:lnTo>
                  <a:lnTo>
                    <a:pt x="338" y="8"/>
                  </a:lnTo>
                  <a:lnTo>
                    <a:pt x="340" y="6"/>
                  </a:lnTo>
                  <a:lnTo>
                    <a:pt x="342" y="6"/>
                  </a:lnTo>
                  <a:lnTo>
                    <a:pt x="349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3" y="8"/>
                  </a:lnTo>
                  <a:lnTo>
                    <a:pt x="369" y="8"/>
                  </a:lnTo>
                  <a:lnTo>
                    <a:pt x="367" y="8"/>
                  </a:lnTo>
                  <a:lnTo>
                    <a:pt x="367" y="8"/>
                  </a:lnTo>
                  <a:lnTo>
                    <a:pt x="365" y="8"/>
                  </a:lnTo>
                  <a:lnTo>
                    <a:pt x="363" y="8"/>
                  </a:lnTo>
                  <a:lnTo>
                    <a:pt x="338" y="8"/>
                  </a:lnTo>
                  <a:lnTo>
                    <a:pt x="336" y="8"/>
                  </a:lnTo>
                  <a:lnTo>
                    <a:pt x="334" y="8"/>
                  </a:lnTo>
                  <a:lnTo>
                    <a:pt x="334" y="8"/>
                  </a:lnTo>
                  <a:lnTo>
                    <a:pt x="342" y="10"/>
                  </a:lnTo>
                  <a:lnTo>
                    <a:pt x="345" y="12"/>
                  </a:lnTo>
                  <a:lnTo>
                    <a:pt x="342" y="12"/>
                  </a:lnTo>
                  <a:lnTo>
                    <a:pt x="342" y="12"/>
                  </a:lnTo>
                  <a:lnTo>
                    <a:pt x="340" y="14"/>
                  </a:lnTo>
                  <a:lnTo>
                    <a:pt x="336" y="16"/>
                  </a:lnTo>
                  <a:lnTo>
                    <a:pt x="336" y="16"/>
                  </a:lnTo>
                  <a:lnTo>
                    <a:pt x="336" y="16"/>
                  </a:lnTo>
                  <a:lnTo>
                    <a:pt x="336" y="18"/>
                  </a:lnTo>
                  <a:lnTo>
                    <a:pt x="336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32" y="18"/>
                  </a:lnTo>
                  <a:lnTo>
                    <a:pt x="328" y="18"/>
                  </a:lnTo>
                  <a:lnTo>
                    <a:pt x="318" y="16"/>
                  </a:lnTo>
                  <a:lnTo>
                    <a:pt x="312" y="14"/>
                  </a:lnTo>
                  <a:lnTo>
                    <a:pt x="299" y="12"/>
                  </a:lnTo>
                  <a:lnTo>
                    <a:pt x="289" y="12"/>
                  </a:lnTo>
                  <a:lnTo>
                    <a:pt x="281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4"/>
                  </a:lnTo>
                  <a:lnTo>
                    <a:pt x="281" y="14"/>
                  </a:lnTo>
                  <a:lnTo>
                    <a:pt x="287" y="16"/>
                  </a:lnTo>
                  <a:lnTo>
                    <a:pt x="287" y="18"/>
                  </a:lnTo>
                  <a:lnTo>
                    <a:pt x="287" y="18"/>
                  </a:lnTo>
                  <a:lnTo>
                    <a:pt x="285" y="18"/>
                  </a:lnTo>
                  <a:lnTo>
                    <a:pt x="279" y="18"/>
                  </a:lnTo>
                  <a:lnTo>
                    <a:pt x="275" y="18"/>
                  </a:lnTo>
                  <a:lnTo>
                    <a:pt x="271" y="16"/>
                  </a:lnTo>
                  <a:lnTo>
                    <a:pt x="269" y="16"/>
                  </a:lnTo>
                  <a:lnTo>
                    <a:pt x="260" y="12"/>
                  </a:lnTo>
                  <a:lnTo>
                    <a:pt x="258" y="12"/>
                  </a:lnTo>
                  <a:lnTo>
                    <a:pt x="256" y="14"/>
                  </a:lnTo>
                  <a:lnTo>
                    <a:pt x="254" y="14"/>
                  </a:lnTo>
                  <a:lnTo>
                    <a:pt x="256" y="16"/>
                  </a:lnTo>
                  <a:lnTo>
                    <a:pt x="254" y="16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0" y="18"/>
                  </a:lnTo>
                  <a:lnTo>
                    <a:pt x="248" y="21"/>
                  </a:lnTo>
                  <a:lnTo>
                    <a:pt x="246" y="21"/>
                  </a:lnTo>
                  <a:lnTo>
                    <a:pt x="246" y="21"/>
                  </a:lnTo>
                  <a:lnTo>
                    <a:pt x="246" y="21"/>
                  </a:lnTo>
                  <a:lnTo>
                    <a:pt x="250" y="16"/>
                  </a:lnTo>
                  <a:lnTo>
                    <a:pt x="250" y="14"/>
                  </a:lnTo>
                  <a:lnTo>
                    <a:pt x="250" y="14"/>
                  </a:lnTo>
                  <a:lnTo>
                    <a:pt x="248" y="14"/>
                  </a:lnTo>
                  <a:lnTo>
                    <a:pt x="246" y="12"/>
                  </a:lnTo>
                  <a:lnTo>
                    <a:pt x="244" y="12"/>
                  </a:lnTo>
                  <a:lnTo>
                    <a:pt x="242" y="12"/>
                  </a:lnTo>
                  <a:lnTo>
                    <a:pt x="236" y="12"/>
                  </a:lnTo>
                  <a:lnTo>
                    <a:pt x="234" y="14"/>
                  </a:lnTo>
                  <a:lnTo>
                    <a:pt x="234" y="14"/>
                  </a:lnTo>
                  <a:lnTo>
                    <a:pt x="225" y="14"/>
                  </a:lnTo>
                  <a:lnTo>
                    <a:pt x="223" y="14"/>
                  </a:lnTo>
                  <a:lnTo>
                    <a:pt x="211" y="14"/>
                  </a:lnTo>
                  <a:lnTo>
                    <a:pt x="201" y="16"/>
                  </a:lnTo>
                  <a:lnTo>
                    <a:pt x="195" y="16"/>
                  </a:lnTo>
                  <a:lnTo>
                    <a:pt x="195" y="16"/>
                  </a:lnTo>
                  <a:lnTo>
                    <a:pt x="197" y="18"/>
                  </a:lnTo>
                  <a:lnTo>
                    <a:pt x="199" y="18"/>
                  </a:lnTo>
                  <a:lnTo>
                    <a:pt x="201" y="18"/>
                  </a:lnTo>
                  <a:lnTo>
                    <a:pt x="203" y="21"/>
                  </a:lnTo>
                  <a:lnTo>
                    <a:pt x="209" y="23"/>
                  </a:lnTo>
                  <a:lnTo>
                    <a:pt x="211" y="23"/>
                  </a:lnTo>
                  <a:lnTo>
                    <a:pt x="213" y="23"/>
                  </a:lnTo>
                  <a:lnTo>
                    <a:pt x="213" y="25"/>
                  </a:lnTo>
                  <a:lnTo>
                    <a:pt x="211" y="25"/>
                  </a:lnTo>
                  <a:lnTo>
                    <a:pt x="211" y="25"/>
                  </a:lnTo>
                  <a:lnTo>
                    <a:pt x="209" y="23"/>
                  </a:lnTo>
                  <a:lnTo>
                    <a:pt x="205" y="23"/>
                  </a:lnTo>
                  <a:lnTo>
                    <a:pt x="203" y="21"/>
                  </a:lnTo>
                  <a:lnTo>
                    <a:pt x="201" y="21"/>
                  </a:lnTo>
                  <a:lnTo>
                    <a:pt x="199" y="21"/>
                  </a:lnTo>
                  <a:lnTo>
                    <a:pt x="195" y="18"/>
                  </a:lnTo>
                  <a:lnTo>
                    <a:pt x="193" y="18"/>
                  </a:lnTo>
                  <a:lnTo>
                    <a:pt x="188" y="18"/>
                  </a:lnTo>
                  <a:lnTo>
                    <a:pt x="186" y="16"/>
                  </a:lnTo>
                  <a:lnTo>
                    <a:pt x="184" y="16"/>
                  </a:lnTo>
                  <a:lnTo>
                    <a:pt x="182" y="18"/>
                  </a:lnTo>
                  <a:lnTo>
                    <a:pt x="176" y="18"/>
                  </a:lnTo>
                  <a:lnTo>
                    <a:pt x="174" y="18"/>
                  </a:lnTo>
                  <a:lnTo>
                    <a:pt x="172" y="21"/>
                  </a:lnTo>
                  <a:lnTo>
                    <a:pt x="172" y="21"/>
                  </a:lnTo>
                  <a:lnTo>
                    <a:pt x="170" y="21"/>
                  </a:lnTo>
                  <a:lnTo>
                    <a:pt x="170" y="23"/>
                  </a:lnTo>
                  <a:lnTo>
                    <a:pt x="168" y="23"/>
                  </a:lnTo>
                  <a:lnTo>
                    <a:pt x="168" y="25"/>
                  </a:lnTo>
                  <a:lnTo>
                    <a:pt x="164" y="27"/>
                  </a:lnTo>
                  <a:lnTo>
                    <a:pt x="162" y="27"/>
                  </a:lnTo>
                  <a:lnTo>
                    <a:pt x="162" y="27"/>
                  </a:lnTo>
                  <a:lnTo>
                    <a:pt x="160" y="27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56" y="27"/>
                  </a:lnTo>
                  <a:lnTo>
                    <a:pt x="152" y="25"/>
                  </a:lnTo>
                  <a:lnTo>
                    <a:pt x="149" y="25"/>
                  </a:lnTo>
                  <a:lnTo>
                    <a:pt x="147" y="27"/>
                  </a:lnTo>
                  <a:lnTo>
                    <a:pt x="145" y="27"/>
                  </a:lnTo>
                  <a:lnTo>
                    <a:pt x="143" y="27"/>
                  </a:lnTo>
                  <a:lnTo>
                    <a:pt x="143" y="29"/>
                  </a:lnTo>
                  <a:lnTo>
                    <a:pt x="143" y="29"/>
                  </a:lnTo>
                  <a:lnTo>
                    <a:pt x="143" y="29"/>
                  </a:lnTo>
                  <a:lnTo>
                    <a:pt x="141" y="29"/>
                  </a:lnTo>
                  <a:lnTo>
                    <a:pt x="141" y="27"/>
                  </a:lnTo>
                  <a:lnTo>
                    <a:pt x="139" y="27"/>
                  </a:lnTo>
                  <a:lnTo>
                    <a:pt x="137" y="27"/>
                  </a:lnTo>
                  <a:lnTo>
                    <a:pt x="131" y="29"/>
                  </a:lnTo>
                  <a:lnTo>
                    <a:pt x="129" y="29"/>
                  </a:lnTo>
                  <a:lnTo>
                    <a:pt x="123" y="31"/>
                  </a:lnTo>
                  <a:lnTo>
                    <a:pt x="119" y="31"/>
                  </a:lnTo>
                  <a:lnTo>
                    <a:pt x="115" y="33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0" y="33"/>
                  </a:lnTo>
                  <a:lnTo>
                    <a:pt x="106" y="33"/>
                  </a:lnTo>
                  <a:lnTo>
                    <a:pt x="104" y="33"/>
                  </a:lnTo>
                  <a:lnTo>
                    <a:pt x="98" y="35"/>
                  </a:lnTo>
                  <a:lnTo>
                    <a:pt x="98" y="35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6" y="39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4" y="39"/>
                  </a:lnTo>
                  <a:lnTo>
                    <a:pt x="104" y="39"/>
                  </a:lnTo>
                  <a:lnTo>
                    <a:pt x="108" y="39"/>
                  </a:lnTo>
                  <a:lnTo>
                    <a:pt x="110" y="39"/>
                  </a:lnTo>
                  <a:lnTo>
                    <a:pt x="113" y="39"/>
                  </a:lnTo>
                  <a:lnTo>
                    <a:pt x="115" y="39"/>
                  </a:lnTo>
                  <a:lnTo>
                    <a:pt x="117" y="39"/>
                  </a:lnTo>
                  <a:lnTo>
                    <a:pt x="119" y="39"/>
                  </a:lnTo>
                  <a:lnTo>
                    <a:pt x="121" y="39"/>
                  </a:lnTo>
                  <a:lnTo>
                    <a:pt x="121" y="39"/>
                  </a:lnTo>
                  <a:lnTo>
                    <a:pt x="123" y="39"/>
                  </a:lnTo>
                  <a:lnTo>
                    <a:pt x="123" y="39"/>
                  </a:lnTo>
                  <a:lnTo>
                    <a:pt x="119" y="39"/>
                  </a:lnTo>
                  <a:lnTo>
                    <a:pt x="117" y="39"/>
                  </a:lnTo>
                  <a:lnTo>
                    <a:pt x="115" y="41"/>
                  </a:lnTo>
                  <a:lnTo>
                    <a:pt x="115" y="41"/>
                  </a:lnTo>
                  <a:lnTo>
                    <a:pt x="113" y="41"/>
                  </a:lnTo>
                  <a:lnTo>
                    <a:pt x="110" y="43"/>
                  </a:lnTo>
                  <a:lnTo>
                    <a:pt x="106" y="45"/>
                  </a:lnTo>
                  <a:lnTo>
                    <a:pt x="102" y="47"/>
                  </a:lnTo>
                  <a:lnTo>
                    <a:pt x="100" y="49"/>
                  </a:lnTo>
                  <a:lnTo>
                    <a:pt x="98" y="49"/>
                  </a:lnTo>
                  <a:lnTo>
                    <a:pt x="94" y="51"/>
                  </a:lnTo>
                  <a:lnTo>
                    <a:pt x="92" y="51"/>
                  </a:lnTo>
                  <a:lnTo>
                    <a:pt x="90" y="51"/>
                  </a:lnTo>
                  <a:lnTo>
                    <a:pt x="88" y="51"/>
                  </a:lnTo>
                  <a:lnTo>
                    <a:pt x="86" y="51"/>
                  </a:lnTo>
                  <a:lnTo>
                    <a:pt x="78" y="51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1" y="51"/>
                  </a:lnTo>
                  <a:lnTo>
                    <a:pt x="69" y="51"/>
                  </a:lnTo>
                  <a:lnTo>
                    <a:pt x="65" y="53"/>
                  </a:lnTo>
                  <a:lnTo>
                    <a:pt x="61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9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47" y="56"/>
                  </a:lnTo>
                  <a:lnTo>
                    <a:pt x="41" y="58"/>
                  </a:lnTo>
                  <a:lnTo>
                    <a:pt x="39" y="58"/>
                  </a:lnTo>
                  <a:lnTo>
                    <a:pt x="37" y="58"/>
                  </a:lnTo>
                  <a:lnTo>
                    <a:pt x="35" y="58"/>
                  </a:lnTo>
                  <a:lnTo>
                    <a:pt x="30" y="58"/>
                  </a:lnTo>
                  <a:lnTo>
                    <a:pt x="28" y="58"/>
                  </a:lnTo>
                  <a:lnTo>
                    <a:pt x="26" y="58"/>
                  </a:lnTo>
                  <a:lnTo>
                    <a:pt x="22" y="60"/>
                  </a:lnTo>
                  <a:lnTo>
                    <a:pt x="18" y="60"/>
                  </a:lnTo>
                  <a:lnTo>
                    <a:pt x="16" y="60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0" y="66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20" y="68"/>
                  </a:lnTo>
                  <a:lnTo>
                    <a:pt x="22" y="70"/>
                  </a:lnTo>
                  <a:lnTo>
                    <a:pt x="24" y="70"/>
                  </a:lnTo>
                  <a:lnTo>
                    <a:pt x="26" y="70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70"/>
                  </a:lnTo>
                  <a:lnTo>
                    <a:pt x="24" y="70"/>
                  </a:lnTo>
                  <a:lnTo>
                    <a:pt x="26" y="70"/>
                  </a:lnTo>
                  <a:lnTo>
                    <a:pt x="28" y="70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5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9" y="74"/>
                  </a:lnTo>
                  <a:lnTo>
                    <a:pt x="41" y="72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7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53" y="72"/>
                  </a:lnTo>
                  <a:lnTo>
                    <a:pt x="55" y="72"/>
                  </a:lnTo>
                  <a:lnTo>
                    <a:pt x="59" y="72"/>
                  </a:lnTo>
                  <a:lnTo>
                    <a:pt x="61" y="70"/>
                  </a:lnTo>
                  <a:lnTo>
                    <a:pt x="63" y="70"/>
                  </a:lnTo>
                  <a:lnTo>
                    <a:pt x="65" y="70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5" y="74"/>
                  </a:lnTo>
                  <a:lnTo>
                    <a:pt x="63" y="74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1" y="76"/>
                  </a:lnTo>
                  <a:lnTo>
                    <a:pt x="59" y="74"/>
                  </a:lnTo>
                  <a:lnTo>
                    <a:pt x="53" y="74"/>
                  </a:lnTo>
                  <a:lnTo>
                    <a:pt x="47" y="74"/>
                  </a:lnTo>
                  <a:lnTo>
                    <a:pt x="41" y="76"/>
                  </a:lnTo>
                  <a:lnTo>
                    <a:pt x="39" y="76"/>
                  </a:lnTo>
                  <a:lnTo>
                    <a:pt x="35" y="78"/>
                  </a:lnTo>
                  <a:lnTo>
                    <a:pt x="28" y="76"/>
                  </a:lnTo>
                  <a:lnTo>
                    <a:pt x="18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2" y="78"/>
                  </a:lnTo>
                  <a:lnTo>
                    <a:pt x="10" y="78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2" y="80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7" y="84"/>
                  </a:lnTo>
                  <a:lnTo>
                    <a:pt x="37" y="84"/>
                  </a:lnTo>
                  <a:lnTo>
                    <a:pt x="37" y="84"/>
                  </a:lnTo>
                  <a:lnTo>
                    <a:pt x="35" y="84"/>
                  </a:lnTo>
                  <a:lnTo>
                    <a:pt x="30" y="86"/>
                  </a:lnTo>
                  <a:lnTo>
                    <a:pt x="28" y="86"/>
                  </a:lnTo>
                  <a:lnTo>
                    <a:pt x="20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20" y="90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6" y="93"/>
                  </a:lnTo>
                  <a:lnTo>
                    <a:pt x="28" y="93"/>
                  </a:lnTo>
                  <a:lnTo>
                    <a:pt x="41" y="95"/>
                  </a:lnTo>
                  <a:lnTo>
                    <a:pt x="43" y="95"/>
                  </a:lnTo>
                  <a:lnTo>
                    <a:pt x="43" y="93"/>
                  </a:lnTo>
                  <a:lnTo>
                    <a:pt x="41" y="93"/>
                  </a:lnTo>
                  <a:lnTo>
                    <a:pt x="41" y="90"/>
                  </a:lnTo>
                  <a:lnTo>
                    <a:pt x="43" y="90"/>
                  </a:lnTo>
                  <a:lnTo>
                    <a:pt x="45" y="90"/>
                  </a:lnTo>
                  <a:lnTo>
                    <a:pt x="45" y="93"/>
                  </a:lnTo>
                  <a:lnTo>
                    <a:pt x="47" y="93"/>
                  </a:lnTo>
                  <a:lnTo>
                    <a:pt x="47" y="93"/>
                  </a:lnTo>
                  <a:lnTo>
                    <a:pt x="49" y="93"/>
                  </a:lnTo>
                  <a:lnTo>
                    <a:pt x="53" y="90"/>
                  </a:lnTo>
                  <a:lnTo>
                    <a:pt x="55" y="90"/>
                  </a:lnTo>
                  <a:lnTo>
                    <a:pt x="55" y="90"/>
                  </a:lnTo>
                  <a:lnTo>
                    <a:pt x="55" y="90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63" y="93"/>
                  </a:lnTo>
                  <a:lnTo>
                    <a:pt x="65" y="93"/>
                  </a:lnTo>
                  <a:lnTo>
                    <a:pt x="67" y="90"/>
                  </a:lnTo>
                  <a:lnTo>
                    <a:pt x="69" y="90"/>
                  </a:lnTo>
                  <a:lnTo>
                    <a:pt x="71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80" y="90"/>
                  </a:lnTo>
                  <a:lnTo>
                    <a:pt x="82" y="88"/>
                  </a:lnTo>
                  <a:lnTo>
                    <a:pt x="84" y="88"/>
                  </a:lnTo>
                  <a:lnTo>
                    <a:pt x="86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92" y="90"/>
                  </a:lnTo>
                  <a:lnTo>
                    <a:pt x="96" y="90"/>
                  </a:lnTo>
                  <a:lnTo>
                    <a:pt x="100" y="90"/>
                  </a:lnTo>
                  <a:lnTo>
                    <a:pt x="102" y="90"/>
                  </a:lnTo>
                  <a:lnTo>
                    <a:pt x="104" y="93"/>
                  </a:lnTo>
                  <a:lnTo>
                    <a:pt x="106" y="93"/>
                  </a:lnTo>
                  <a:lnTo>
                    <a:pt x="113" y="95"/>
                  </a:lnTo>
                  <a:lnTo>
                    <a:pt x="117" y="95"/>
                  </a:lnTo>
                  <a:lnTo>
                    <a:pt x="119" y="97"/>
                  </a:lnTo>
                  <a:lnTo>
                    <a:pt x="121" y="97"/>
                  </a:lnTo>
                  <a:lnTo>
                    <a:pt x="123" y="97"/>
                  </a:lnTo>
                  <a:lnTo>
                    <a:pt x="125" y="99"/>
                  </a:lnTo>
                  <a:lnTo>
                    <a:pt x="127" y="99"/>
                  </a:lnTo>
                  <a:lnTo>
                    <a:pt x="127" y="99"/>
                  </a:lnTo>
                  <a:lnTo>
                    <a:pt x="129" y="99"/>
                  </a:lnTo>
                  <a:lnTo>
                    <a:pt x="129" y="101"/>
                  </a:lnTo>
                  <a:lnTo>
                    <a:pt x="127" y="101"/>
                  </a:lnTo>
                  <a:lnTo>
                    <a:pt x="123" y="103"/>
                  </a:lnTo>
                  <a:lnTo>
                    <a:pt x="123" y="103"/>
                  </a:lnTo>
                  <a:lnTo>
                    <a:pt x="125" y="105"/>
                  </a:lnTo>
                  <a:lnTo>
                    <a:pt x="127" y="105"/>
                  </a:lnTo>
                  <a:lnTo>
                    <a:pt x="127" y="105"/>
                  </a:lnTo>
                  <a:lnTo>
                    <a:pt x="127" y="107"/>
                  </a:lnTo>
                  <a:lnTo>
                    <a:pt x="127" y="107"/>
                  </a:lnTo>
                  <a:lnTo>
                    <a:pt x="131" y="109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5" y="111"/>
                  </a:lnTo>
                  <a:lnTo>
                    <a:pt x="135" y="111"/>
                  </a:lnTo>
                  <a:lnTo>
                    <a:pt x="135" y="113"/>
                  </a:lnTo>
                  <a:lnTo>
                    <a:pt x="135" y="113"/>
                  </a:lnTo>
                  <a:lnTo>
                    <a:pt x="137" y="113"/>
                  </a:lnTo>
                  <a:lnTo>
                    <a:pt x="139" y="115"/>
                  </a:lnTo>
                  <a:lnTo>
                    <a:pt x="137" y="115"/>
                  </a:lnTo>
                  <a:lnTo>
                    <a:pt x="137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17"/>
                  </a:lnTo>
                  <a:lnTo>
                    <a:pt x="133" y="117"/>
                  </a:lnTo>
                  <a:lnTo>
                    <a:pt x="133" y="119"/>
                  </a:lnTo>
                  <a:lnTo>
                    <a:pt x="131" y="119"/>
                  </a:lnTo>
                  <a:lnTo>
                    <a:pt x="129" y="119"/>
                  </a:lnTo>
                  <a:lnTo>
                    <a:pt x="127" y="121"/>
                  </a:lnTo>
                  <a:lnTo>
                    <a:pt x="125" y="121"/>
                  </a:lnTo>
                  <a:lnTo>
                    <a:pt x="125" y="121"/>
                  </a:lnTo>
                  <a:lnTo>
                    <a:pt x="127" y="121"/>
                  </a:lnTo>
                  <a:lnTo>
                    <a:pt x="131" y="121"/>
                  </a:lnTo>
                  <a:lnTo>
                    <a:pt x="133" y="119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21"/>
                  </a:lnTo>
                  <a:lnTo>
                    <a:pt x="135" y="121"/>
                  </a:lnTo>
                  <a:lnTo>
                    <a:pt x="135" y="123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5" y="123"/>
                  </a:lnTo>
                  <a:lnTo>
                    <a:pt x="137" y="123"/>
                  </a:lnTo>
                  <a:lnTo>
                    <a:pt x="137" y="125"/>
                  </a:lnTo>
                  <a:lnTo>
                    <a:pt x="135" y="125"/>
                  </a:lnTo>
                  <a:lnTo>
                    <a:pt x="135" y="125"/>
                  </a:lnTo>
                  <a:lnTo>
                    <a:pt x="135" y="125"/>
                  </a:lnTo>
                  <a:lnTo>
                    <a:pt x="133" y="127"/>
                  </a:lnTo>
                  <a:lnTo>
                    <a:pt x="131" y="127"/>
                  </a:lnTo>
                  <a:lnTo>
                    <a:pt x="131" y="130"/>
                  </a:lnTo>
                  <a:lnTo>
                    <a:pt x="131" y="130"/>
                  </a:lnTo>
                  <a:lnTo>
                    <a:pt x="133" y="130"/>
                  </a:lnTo>
                  <a:lnTo>
                    <a:pt x="133" y="130"/>
                  </a:lnTo>
                  <a:lnTo>
                    <a:pt x="133" y="130"/>
                  </a:lnTo>
                  <a:lnTo>
                    <a:pt x="133" y="132"/>
                  </a:lnTo>
                  <a:lnTo>
                    <a:pt x="133" y="132"/>
                  </a:lnTo>
                  <a:lnTo>
                    <a:pt x="135" y="132"/>
                  </a:lnTo>
                  <a:lnTo>
                    <a:pt x="137" y="130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4"/>
                  </a:lnTo>
                  <a:lnTo>
                    <a:pt x="135" y="134"/>
                  </a:lnTo>
                  <a:lnTo>
                    <a:pt x="135" y="136"/>
                  </a:lnTo>
                  <a:lnTo>
                    <a:pt x="133" y="136"/>
                  </a:lnTo>
                  <a:lnTo>
                    <a:pt x="131" y="136"/>
                  </a:lnTo>
                  <a:lnTo>
                    <a:pt x="131" y="136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33" y="138"/>
                  </a:lnTo>
                  <a:lnTo>
                    <a:pt x="133" y="138"/>
                  </a:lnTo>
                  <a:lnTo>
                    <a:pt x="133" y="138"/>
                  </a:lnTo>
                  <a:lnTo>
                    <a:pt x="135" y="138"/>
                  </a:lnTo>
                  <a:lnTo>
                    <a:pt x="135" y="138"/>
                  </a:lnTo>
                  <a:lnTo>
                    <a:pt x="137" y="138"/>
                  </a:lnTo>
                  <a:lnTo>
                    <a:pt x="139" y="138"/>
                  </a:lnTo>
                  <a:lnTo>
                    <a:pt x="139" y="138"/>
                  </a:lnTo>
                  <a:lnTo>
                    <a:pt x="139" y="140"/>
                  </a:lnTo>
                  <a:lnTo>
                    <a:pt x="139" y="140"/>
                  </a:lnTo>
                  <a:lnTo>
                    <a:pt x="139" y="140"/>
                  </a:lnTo>
                  <a:lnTo>
                    <a:pt x="139" y="142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35" y="144"/>
                  </a:lnTo>
                  <a:lnTo>
                    <a:pt x="133" y="144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25" y="146"/>
                  </a:lnTo>
                  <a:lnTo>
                    <a:pt x="127" y="146"/>
                  </a:lnTo>
                  <a:lnTo>
                    <a:pt x="127" y="146"/>
                  </a:lnTo>
                  <a:lnTo>
                    <a:pt x="129" y="146"/>
                  </a:lnTo>
                  <a:lnTo>
                    <a:pt x="127" y="148"/>
                  </a:lnTo>
                  <a:lnTo>
                    <a:pt x="125" y="148"/>
                  </a:lnTo>
                  <a:lnTo>
                    <a:pt x="125" y="148"/>
                  </a:lnTo>
                  <a:lnTo>
                    <a:pt x="123" y="148"/>
                  </a:lnTo>
                  <a:lnTo>
                    <a:pt x="123" y="150"/>
                  </a:lnTo>
                  <a:lnTo>
                    <a:pt x="127" y="150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8"/>
                  </a:lnTo>
                  <a:lnTo>
                    <a:pt x="131" y="148"/>
                  </a:lnTo>
                  <a:lnTo>
                    <a:pt x="125" y="150"/>
                  </a:lnTo>
                  <a:lnTo>
                    <a:pt x="123" y="152"/>
                  </a:lnTo>
                  <a:lnTo>
                    <a:pt x="119" y="156"/>
                  </a:lnTo>
                  <a:lnTo>
                    <a:pt x="119" y="156"/>
                  </a:lnTo>
                  <a:lnTo>
                    <a:pt x="117" y="156"/>
                  </a:lnTo>
                  <a:lnTo>
                    <a:pt x="117" y="158"/>
                  </a:lnTo>
                  <a:lnTo>
                    <a:pt x="117" y="158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23" y="160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31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5" y="160"/>
                  </a:lnTo>
                  <a:lnTo>
                    <a:pt x="135" y="158"/>
                  </a:lnTo>
                  <a:lnTo>
                    <a:pt x="137" y="158"/>
                  </a:lnTo>
                  <a:lnTo>
                    <a:pt x="135" y="156"/>
                  </a:lnTo>
                  <a:lnTo>
                    <a:pt x="137" y="156"/>
                  </a:lnTo>
                  <a:lnTo>
                    <a:pt x="137" y="158"/>
                  </a:lnTo>
                  <a:lnTo>
                    <a:pt x="139" y="156"/>
                  </a:lnTo>
                  <a:lnTo>
                    <a:pt x="139" y="156"/>
                  </a:lnTo>
                  <a:lnTo>
                    <a:pt x="141" y="156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5" y="154"/>
                  </a:lnTo>
                  <a:lnTo>
                    <a:pt x="145" y="152"/>
                  </a:lnTo>
                  <a:lnTo>
                    <a:pt x="143" y="152"/>
                  </a:lnTo>
                  <a:lnTo>
                    <a:pt x="143" y="150"/>
                  </a:lnTo>
                  <a:lnTo>
                    <a:pt x="143" y="150"/>
                  </a:lnTo>
                  <a:lnTo>
                    <a:pt x="143" y="150"/>
                  </a:lnTo>
                  <a:lnTo>
                    <a:pt x="143" y="148"/>
                  </a:lnTo>
                  <a:lnTo>
                    <a:pt x="143" y="148"/>
                  </a:lnTo>
                  <a:lnTo>
                    <a:pt x="143" y="148"/>
                  </a:lnTo>
                  <a:lnTo>
                    <a:pt x="143" y="148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50"/>
                  </a:lnTo>
                  <a:lnTo>
                    <a:pt x="145" y="150"/>
                  </a:lnTo>
                  <a:lnTo>
                    <a:pt x="145" y="150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4"/>
                  </a:lnTo>
                  <a:lnTo>
                    <a:pt x="145" y="154"/>
                  </a:lnTo>
                  <a:lnTo>
                    <a:pt x="145" y="156"/>
                  </a:lnTo>
                  <a:lnTo>
                    <a:pt x="147" y="154"/>
                  </a:lnTo>
                  <a:lnTo>
                    <a:pt x="147" y="156"/>
                  </a:lnTo>
                  <a:lnTo>
                    <a:pt x="145" y="156"/>
                  </a:lnTo>
                  <a:lnTo>
                    <a:pt x="145" y="156"/>
                  </a:lnTo>
                  <a:lnTo>
                    <a:pt x="141" y="158"/>
                  </a:lnTo>
                  <a:lnTo>
                    <a:pt x="141" y="158"/>
                  </a:lnTo>
                  <a:lnTo>
                    <a:pt x="141" y="158"/>
                  </a:lnTo>
                  <a:lnTo>
                    <a:pt x="143" y="158"/>
                  </a:lnTo>
                  <a:lnTo>
                    <a:pt x="145" y="158"/>
                  </a:lnTo>
                  <a:lnTo>
                    <a:pt x="147" y="158"/>
                  </a:lnTo>
                  <a:lnTo>
                    <a:pt x="152" y="156"/>
                  </a:lnTo>
                  <a:lnTo>
                    <a:pt x="152" y="156"/>
                  </a:lnTo>
                  <a:lnTo>
                    <a:pt x="156" y="158"/>
                  </a:lnTo>
                  <a:lnTo>
                    <a:pt x="158" y="158"/>
                  </a:lnTo>
                  <a:lnTo>
                    <a:pt x="160" y="156"/>
                  </a:lnTo>
                  <a:lnTo>
                    <a:pt x="162" y="156"/>
                  </a:lnTo>
                  <a:lnTo>
                    <a:pt x="162" y="156"/>
                  </a:lnTo>
                  <a:lnTo>
                    <a:pt x="160" y="158"/>
                  </a:lnTo>
                  <a:lnTo>
                    <a:pt x="149" y="160"/>
                  </a:lnTo>
                  <a:lnTo>
                    <a:pt x="147" y="160"/>
                  </a:lnTo>
                  <a:lnTo>
                    <a:pt x="145" y="160"/>
                  </a:lnTo>
                  <a:lnTo>
                    <a:pt x="145" y="162"/>
                  </a:lnTo>
                  <a:lnTo>
                    <a:pt x="143" y="162"/>
                  </a:lnTo>
                  <a:lnTo>
                    <a:pt x="143" y="162"/>
                  </a:lnTo>
                  <a:lnTo>
                    <a:pt x="143" y="164"/>
                  </a:lnTo>
                  <a:lnTo>
                    <a:pt x="145" y="164"/>
                  </a:lnTo>
                  <a:lnTo>
                    <a:pt x="145" y="164"/>
                  </a:lnTo>
                  <a:lnTo>
                    <a:pt x="149" y="164"/>
                  </a:lnTo>
                  <a:lnTo>
                    <a:pt x="149" y="164"/>
                  </a:lnTo>
                  <a:lnTo>
                    <a:pt x="152" y="164"/>
                  </a:lnTo>
                  <a:lnTo>
                    <a:pt x="154" y="164"/>
                  </a:lnTo>
                  <a:lnTo>
                    <a:pt x="158" y="164"/>
                  </a:lnTo>
                  <a:lnTo>
                    <a:pt x="162" y="164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2" y="167"/>
                  </a:lnTo>
                  <a:lnTo>
                    <a:pt x="160" y="167"/>
                  </a:lnTo>
                  <a:lnTo>
                    <a:pt x="158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8" y="169"/>
                  </a:lnTo>
                  <a:lnTo>
                    <a:pt x="160" y="169"/>
                  </a:lnTo>
                  <a:lnTo>
                    <a:pt x="160" y="169"/>
                  </a:lnTo>
                  <a:lnTo>
                    <a:pt x="160" y="171"/>
                  </a:lnTo>
                  <a:lnTo>
                    <a:pt x="160" y="171"/>
                  </a:lnTo>
                  <a:lnTo>
                    <a:pt x="158" y="173"/>
                  </a:lnTo>
                  <a:lnTo>
                    <a:pt x="158" y="173"/>
                  </a:lnTo>
                  <a:lnTo>
                    <a:pt x="158" y="175"/>
                  </a:lnTo>
                  <a:lnTo>
                    <a:pt x="162" y="175"/>
                  </a:lnTo>
                  <a:lnTo>
                    <a:pt x="164" y="175"/>
                  </a:lnTo>
                  <a:lnTo>
                    <a:pt x="164" y="177"/>
                  </a:lnTo>
                  <a:lnTo>
                    <a:pt x="164" y="177"/>
                  </a:lnTo>
                  <a:lnTo>
                    <a:pt x="160" y="177"/>
                  </a:lnTo>
                  <a:lnTo>
                    <a:pt x="160" y="177"/>
                  </a:lnTo>
                  <a:lnTo>
                    <a:pt x="156" y="175"/>
                  </a:lnTo>
                  <a:lnTo>
                    <a:pt x="154" y="175"/>
                  </a:lnTo>
                  <a:lnTo>
                    <a:pt x="152" y="175"/>
                  </a:lnTo>
                  <a:lnTo>
                    <a:pt x="145" y="173"/>
                  </a:lnTo>
                  <a:lnTo>
                    <a:pt x="143" y="171"/>
                  </a:lnTo>
                  <a:lnTo>
                    <a:pt x="141" y="171"/>
                  </a:lnTo>
                  <a:lnTo>
                    <a:pt x="139" y="171"/>
                  </a:lnTo>
                  <a:lnTo>
                    <a:pt x="135" y="171"/>
                  </a:lnTo>
                  <a:lnTo>
                    <a:pt x="133" y="171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71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3" y="173"/>
                  </a:lnTo>
                  <a:lnTo>
                    <a:pt x="125" y="175"/>
                  </a:lnTo>
                  <a:lnTo>
                    <a:pt x="125" y="177"/>
                  </a:lnTo>
                  <a:lnTo>
                    <a:pt x="127" y="177"/>
                  </a:lnTo>
                  <a:lnTo>
                    <a:pt x="131" y="177"/>
                  </a:lnTo>
                  <a:lnTo>
                    <a:pt x="135" y="177"/>
                  </a:lnTo>
                  <a:lnTo>
                    <a:pt x="137" y="179"/>
                  </a:lnTo>
                  <a:lnTo>
                    <a:pt x="139" y="179"/>
                  </a:lnTo>
                  <a:lnTo>
                    <a:pt x="141" y="181"/>
                  </a:lnTo>
                  <a:lnTo>
                    <a:pt x="141" y="181"/>
                  </a:lnTo>
                  <a:lnTo>
                    <a:pt x="149" y="183"/>
                  </a:lnTo>
                  <a:lnTo>
                    <a:pt x="149" y="183"/>
                  </a:lnTo>
                  <a:lnTo>
                    <a:pt x="152" y="183"/>
                  </a:lnTo>
                  <a:lnTo>
                    <a:pt x="154" y="181"/>
                  </a:lnTo>
                  <a:lnTo>
                    <a:pt x="156" y="181"/>
                  </a:lnTo>
                  <a:lnTo>
                    <a:pt x="158" y="181"/>
                  </a:lnTo>
                  <a:lnTo>
                    <a:pt x="158" y="183"/>
                  </a:lnTo>
                  <a:lnTo>
                    <a:pt x="162" y="183"/>
                  </a:lnTo>
                  <a:lnTo>
                    <a:pt x="164" y="181"/>
                  </a:lnTo>
                  <a:lnTo>
                    <a:pt x="164" y="181"/>
                  </a:lnTo>
                  <a:lnTo>
                    <a:pt x="164" y="183"/>
                  </a:lnTo>
                  <a:lnTo>
                    <a:pt x="164" y="183"/>
                  </a:lnTo>
                  <a:lnTo>
                    <a:pt x="162" y="183"/>
                  </a:lnTo>
                  <a:lnTo>
                    <a:pt x="162" y="183"/>
                  </a:lnTo>
                  <a:lnTo>
                    <a:pt x="162" y="185"/>
                  </a:lnTo>
                  <a:lnTo>
                    <a:pt x="162" y="185"/>
                  </a:lnTo>
                  <a:lnTo>
                    <a:pt x="160" y="185"/>
                  </a:lnTo>
                  <a:lnTo>
                    <a:pt x="158" y="187"/>
                  </a:lnTo>
                  <a:lnTo>
                    <a:pt x="156" y="187"/>
                  </a:lnTo>
                  <a:lnTo>
                    <a:pt x="156" y="189"/>
                  </a:lnTo>
                  <a:lnTo>
                    <a:pt x="154" y="191"/>
                  </a:lnTo>
                  <a:lnTo>
                    <a:pt x="152" y="191"/>
                  </a:lnTo>
                  <a:lnTo>
                    <a:pt x="149" y="193"/>
                  </a:lnTo>
                  <a:lnTo>
                    <a:pt x="149" y="195"/>
                  </a:lnTo>
                  <a:lnTo>
                    <a:pt x="152" y="195"/>
                  </a:lnTo>
                  <a:lnTo>
                    <a:pt x="154" y="193"/>
                  </a:lnTo>
                  <a:lnTo>
                    <a:pt x="156" y="193"/>
                  </a:lnTo>
                  <a:lnTo>
                    <a:pt x="156" y="195"/>
                  </a:lnTo>
                  <a:lnTo>
                    <a:pt x="158" y="195"/>
                  </a:lnTo>
                  <a:lnTo>
                    <a:pt x="158" y="195"/>
                  </a:lnTo>
                  <a:lnTo>
                    <a:pt x="156" y="195"/>
                  </a:lnTo>
                  <a:lnTo>
                    <a:pt x="152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5" y="199"/>
                  </a:lnTo>
                  <a:lnTo>
                    <a:pt x="143" y="201"/>
                  </a:lnTo>
                  <a:lnTo>
                    <a:pt x="143" y="201"/>
                  </a:lnTo>
                  <a:lnTo>
                    <a:pt x="145" y="201"/>
                  </a:lnTo>
                  <a:lnTo>
                    <a:pt x="147" y="201"/>
                  </a:lnTo>
                  <a:lnTo>
                    <a:pt x="147" y="201"/>
                  </a:lnTo>
                  <a:lnTo>
                    <a:pt x="145" y="204"/>
                  </a:lnTo>
                  <a:lnTo>
                    <a:pt x="143" y="204"/>
                  </a:lnTo>
                  <a:lnTo>
                    <a:pt x="143" y="204"/>
                  </a:lnTo>
                  <a:lnTo>
                    <a:pt x="137" y="206"/>
                  </a:lnTo>
                  <a:lnTo>
                    <a:pt x="137" y="206"/>
                  </a:lnTo>
                  <a:lnTo>
                    <a:pt x="135" y="206"/>
                  </a:lnTo>
                  <a:lnTo>
                    <a:pt x="129" y="201"/>
                  </a:lnTo>
                  <a:lnTo>
                    <a:pt x="127" y="201"/>
                  </a:lnTo>
                  <a:lnTo>
                    <a:pt x="123" y="204"/>
                  </a:lnTo>
                  <a:lnTo>
                    <a:pt x="121" y="204"/>
                  </a:lnTo>
                  <a:lnTo>
                    <a:pt x="117" y="208"/>
                  </a:lnTo>
                  <a:lnTo>
                    <a:pt x="115" y="208"/>
                  </a:lnTo>
                  <a:lnTo>
                    <a:pt x="113" y="210"/>
                  </a:lnTo>
                  <a:lnTo>
                    <a:pt x="115" y="210"/>
                  </a:lnTo>
                  <a:lnTo>
                    <a:pt x="117" y="208"/>
                  </a:lnTo>
                  <a:lnTo>
                    <a:pt x="121" y="208"/>
                  </a:lnTo>
                  <a:lnTo>
                    <a:pt x="121" y="210"/>
                  </a:lnTo>
                  <a:lnTo>
                    <a:pt x="121" y="210"/>
                  </a:lnTo>
                  <a:lnTo>
                    <a:pt x="125" y="210"/>
                  </a:lnTo>
                  <a:lnTo>
                    <a:pt x="127" y="210"/>
                  </a:lnTo>
                  <a:lnTo>
                    <a:pt x="131" y="210"/>
                  </a:lnTo>
                  <a:lnTo>
                    <a:pt x="133" y="210"/>
                  </a:lnTo>
                  <a:lnTo>
                    <a:pt x="137" y="208"/>
                  </a:lnTo>
                  <a:lnTo>
                    <a:pt x="137" y="208"/>
                  </a:lnTo>
                  <a:lnTo>
                    <a:pt x="137" y="208"/>
                  </a:lnTo>
                  <a:lnTo>
                    <a:pt x="139" y="208"/>
                  </a:lnTo>
                  <a:lnTo>
                    <a:pt x="141" y="208"/>
                  </a:lnTo>
                  <a:lnTo>
                    <a:pt x="141" y="208"/>
                  </a:lnTo>
                  <a:lnTo>
                    <a:pt x="139" y="208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5" y="210"/>
                  </a:lnTo>
                  <a:lnTo>
                    <a:pt x="135" y="212"/>
                  </a:lnTo>
                  <a:lnTo>
                    <a:pt x="135" y="212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1" y="212"/>
                  </a:lnTo>
                  <a:lnTo>
                    <a:pt x="127" y="212"/>
                  </a:lnTo>
                  <a:lnTo>
                    <a:pt x="123" y="212"/>
                  </a:lnTo>
                  <a:lnTo>
                    <a:pt x="119" y="210"/>
                  </a:lnTo>
                  <a:lnTo>
                    <a:pt x="117" y="210"/>
                  </a:lnTo>
                  <a:lnTo>
                    <a:pt x="115" y="210"/>
                  </a:lnTo>
                  <a:lnTo>
                    <a:pt x="115" y="212"/>
                  </a:lnTo>
                  <a:lnTo>
                    <a:pt x="110" y="214"/>
                  </a:lnTo>
                  <a:lnTo>
                    <a:pt x="106" y="216"/>
                  </a:lnTo>
                  <a:lnTo>
                    <a:pt x="106" y="218"/>
                  </a:lnTo>
                  <a:lnTo>
                    <a:pt x="106" y="218"/>
                  </a:lnTo>
                  <a:lnTo>
                    <a:pt x="104" y="218"/>
                  </a:lnTo>
                  <a:lnTo>
                    <a:pt x="102" y="220"/>
                  </a:lnTo>
                  <a:lnTo>
                    <a:pt x="104" y="220"/>
                  </a:lnTo>
                  <a:lnTo>
                    <a:pt x="106" y="220"/>
                  </a:lnTo>
                  <a:lnTo>
                    <a:pt x="115" y="218"/>
                  </a:lnTo>
                  <a:lnTo>
                    <a:pt x="115" y="216"/>
                  </a:lnTo>
                  <a:lnTo>
                    <a:pt x="117" y="216"/>
                  </a:lnTo>
                  <a:lnTo>
                    <a:pt x="119" y="216"/>
                  </a:lnTo>
                  <a:lnTo>
                    <a:pt x="123" y="216"/>
                  </a:lnTo>
                  <a:lnTo>
                    <a:pt x="125" y="216"/>
                  </a:lnTo>
                  <a:lnTo>
                    <a:pt x="127" y="218"/>
                  </a:lnTo>
                  <a:lnTo>
                    <a:pt x="129" y="218"/>
                  </a:lnTo>
                  <a:lnTo>
                    <a:pt x="133" y="218"/>
                  </a:lnTo>
                  <a:lnTo>
                    <a:pt x="133" y="216"/>
                  </a:lnTo>
                  <a:lnTo>
                    <a:pt x="137" y="216"/>
                  </a:lnTo>
                  <a:lnTo>
                    <a:pt x="139" y="216"/>
                  </a:lnTo>
                  <a:lnTo>
                    <a:pt x="137" y="218"/>
                  </a:lnTo>
                  <a:lnTo>
                    <a:pt x="135" y="218"/>
                  </a:lnTo>
                  <a:lnTo>
                    <a:pt x="135" y="218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9" y="222"/>
                  </a:lnTo>
                  <a:lnTo>
                    <a:pt x="135" y="220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5" y="218"/>
                  </a:lnTo>
                  <a:lnTo>
                    <a:pt x="121" y="218"/>
                  </a:lnTo>
                  <a:lnTo>
                    <a:pt x="119" y="218"/>
                  </a:lnTo>
                  <a:lnTo>
                    <a:pt x="117" y="218"/>
                  </a:lnTo>
                  <a:lnTo>
                    <a:pt x="113" y="218"/>
                  </a:lnTo>
                  <a:lnTo>
                    <a:pt x="108" y="220"/>
                  </a:lnTo>
                  <a:lnTo>
                    <a:pt x="106" y="220"/>
                  </a:lnTo>
                  <a:lnTo>
                    <a:pt x="104" y="222"/>
                  </a:lnTo>
                  <a:lnTo>
                    <a:pt x="100" y="222"/>
                  </a:lnTo>
                  <a:lnTo>
                    <a:pt x="100" y="224"/>
                  </a:lnTo>
                  <a:lnTo>
                    <a:pt x="98" y="226"/>
                  </a:lnTo>
                  <a:lnTo>
                    <a:pt x="98" y="230"/>
                  </a:lnTo>
                  <a:lnTo>
                    <a:pt x="100" y="230"/>
                  </a:lnTo>
                  <a:lnTo>
                    <a:pt x="100" y="230"/>
                  </a:lnTo>
                  <a:lnTo>
                    <a:pt x="102" y="230"/>
                  </a:lnTo>
                  <a:lnTo>
                    <a:pt x="104" y="230"/>
                  </a:lnTo>
                  <a:lnTo>
                    <a:pt x="106" y="230"/>
                  </a:lnTo>
                  <a:lnTo>
                    <a:pt x="113" y="230"/>
                  </a:lnTo>
                  <a:lnTo>
                    <a:pt x="113" y="230"/>
                  </a:lnTo>
                  <a:lnTo>
                    <a:pt x="113" y="230"/>
                  </a:lnTo>
                  <a:lnTo>
                    <a:pt x="113" y="232"/>
                  </a:lnTo>
                  <a:lnTo>
                    <a:pt x="113" y="232"/>
                  </a:lnTo>
                  <a:lnTo>
                    <a:pt x="110" y="232"/>
                  </a:lnTo>
                  <a:lnTo>
                    <a:pt x="104" y="232"/>
                  </a:lnTo>
                  <a:lnTo>
                    <a:pt x="104" y="232"/>
                  </a:lnTo>
                  <a:lnTo>
                    <a:pt x="102" y="234"/>
                  </a:lnTo>
                  <a:lnTo>
                    <a:pt x="98" y="234"/>
                  </a:lnTo>
                  <a:lnTo>
                    <a:pt x="98" y="234"/>
                  </a:lnTo>
                  <a:lnTo>
                    <a:pt x="98" y="236"/>
                  </a:lnTo>
                  <a:lnTo>
                    <a:pt x="96" y="236"/>
                  </a:lnTo>
                  <a:lnTo>
                    <a:pt x="94" y="238"/>
                  </a:lnTo>
                  <a:lnTo>
                    <a:pt x="94" y="241"/>
                  </a:lnTo>
                  <a:lnTo>
                    <a:pt x="92" y="241"/>
                  </a:lnTo>
                  <a:lnTo>
                    <a:pt x="92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8" y="243"/>
                  </a:lnTo>
                  <a:lnTo>
                    <a:pt x="100" y="243"/>
                  </a:lnTo>
                  <a:lnTo>
                    <a:pt x="102" y="241"/>
                  </a:lnTo>
                  <a:lnTo>
                    <a:pt x="104" y="241"/>
                  </a:lnTo>
                  <a:lnTo>
                    <a:pt x="106" y="238"/>
                  </a:lnTo>
                  <a:lnTo>
                    <a:pt x="108" y="238"/>
                  </a:lnTo>
                  <a:lnTo>
                    <a:pt x="119" y="234"/>
                  </a:lnTo>
                  <a:lnTo>
                    <a:pt x="121" y="232"/>
                  </a:lnTo>
                  <a:lnTo>
                    <a:pt x="125" y="232"/>
                  </a:lnTo>
                  <a:lnTo>
                    <a:pt x="127" y="230"/>
                  </a:lnTo>
                  <a:lnTo>
                    <a:pt x="127" y="230"/>
                  </a:lnTo>
                  <a:lnTo>
                    <a:pt x="127" y="232"/>
                  </a:lnTo>
                  <a:lnTo>
                    <a:pt x="123" y="232"/>
                  </a:lnTo>
                  <a:lnTo>
                    <a:pt x="121" y="234"/>
                  </a:lnTo>
                  <a:lnTo>
                    <a:pt x="119" y="234"/>
                  </a:lnTo>
                  <a:lnTo>
                    <a:pt x="117" y="234"/>
                  </a:lnTo>
                  <a:lnTo>
                    <a:pt x="117" y="236"/>
                  </a:lnTo>
                  <a:lnTo>
                    <a:pt x="115" y="236"/>
                  </a:lnTo>
                  <a:lnTo>
                    <a:pt x="113" y="238"/>
                  </a:lnTo>
                  <a:lnTo>
                    <a:pt x="110" y="238"/>
                  </a:lnTo>
                  <a:lnTo>
                    <a:pt x="108" y="238"/>
                  </a:lnTo>
                  <a:lnTo>
                    <a:pt x="100" y="243"/>
                  </a:lnTo>
                  <a:lnTo>
                    <a:pt x="94" y="245"/>
                  </a:lnTo>
                  <a:lnTo>
                    <a:pt x="94" y="245"/>
                  </a:lnTo>
                  <a:lnTo>
                    <a:pt x="94" y="245"/>
                  </a:lnTo>
                  <a:lnTo>
                    <a:pt x="96" y="245"/>
                  </a:lnTo>
                  <a:lnTo>
                    <a:pt x="96" y="245"/>
                  </a:lnTo>
                  <a:lnTo>
                    <a:pt x="96" y="245"/>
                  </a:lnTo>
                  <a:lnTo>
                    <a:pt x="94" y="249"/>
                  </a:lnTo>
                  <a:lnTo>
                    <a:pt x="92" y="251"/>
                  </a:lnTo>
                  <a:lnTo>
                    <a:pt x="94" y="251"/>
                  </a:lnTo>
                  <a:lnTo>
                    <a:pt x="94" y="253"/>
                  </a:lnTo>
                  <a:lnTo>
                    <a:pt x="98" y="251"/>
                  </a:lnTo>
                  <a:lnTo>
                    <a:pt x="100" y="253"/>
                  </a:lnTo>
                  <a:lnTo>
                    <a:pt x="102" y="253"/>
                  </a:lnTo>
                  <a:lnTo>
                    <a:pt x="106" y="253"/>
                  </a:lnTo>
                  <a:lnTo>
                    <a:pt x="108" y="251"/>
                  </a:lnTo>
                  <a:lnTo>
                    <a:pt x="110" y="249"/>
                  </a:lnTo>
                  <a:lnTo>
                    <a:pt x="113" y="249"/>
                  </a:lnTo>
                  <a:lnTo>
                    <a:pt x="117" y="249"/>
                  </a:lnTo>
                  <a:lnTo>
                    <a:pt x="119" y="249"/>
                  </a:lnTo>
                  <a:lnTo>
                    <a:pt x="121" y="249"/>
                  </a:lnTo>
                  <a:lnTo>
                    <a:pt x="121" y="249"/>
                  </a:lnTo>
                  <a:lnTo>
                    <a:pt x="119" y="249"/>
                  </a:lnTo>
                  <a:lnTo>
                    <a:pt x="113" y="249"/>
                  </a:lnTo>
                  <a:lnTo>
                    <a:pt x="110" y="251"/>
                  </a:lnTo>
                  <a:lnTo>
                    <a:pt x="106" y="253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5"/>
                  </a:lnTo>
                  <a:lnTo>
                    <a:pt x="98" y="255"/>
                  </a:lnTo>
                  <a:lnTo>
                    <a:pt x="98" y="257"/>
                  </a:lnTo>
                  <a:lnTo>
                    <a:pt x="98" y="257"/>
                  </a:lnTo>
                  <a:lnTo>
                    <a:pt x="98" y="257"/>
                  </a:lnTo>
                  <a:lnTo>
                    <a:pt x="100" y="259"/>
                  </a:lnTo>
                  <a:lnTo>
                    <a:pt x="100" y="261"/>
                  </a:lnTo>
                  <a:lnTo>
                    <a:pt x="100" y="265"/>
                  </a:lnTo>
                  <a:lnTo>
                    <a:pt x="98" y="265"/>
                  </a:lnTo>
                  <a:lnTo>
                    <a:pt x="98" y="267"/>
                  </a:lnTo>
                  <a:lnTo>
                    <a:pt x="96" y="271"/>
                  </a:lnTo>
                  <a:lnTo>
                    <a:pt x="96" y="271"/>
                  </a:lnTo>
                  <a:lnTo>
                    <a:pt x="96" y="273"/>
                  </a:lnTo>
                  <a:lnTo>
                    <a:pt x="98" y="273"/>
                  </a:lnTo>
                  <a:lnTo>
                    <a:pt x="98" y="273"/>
                  </a:lnTo>
                  <a:lnTo>
                    <a:pt x="100" y="273"/>
                  </a:lnTo>
                  <a:lnTo>
                    <a:pt x="102" y="271"/>
                  </a:lnTo>
                  <a:lnTo>
                    <a:pt x="106" y="269"/>
                  </a:lnTo>
                  <a:lnTo>
                    <a:pt x="106" y="267"/>
                  </a:lnTo>
                  <a:lnTo>
                    <a:pt x="108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08" y="267"/>
                  </a:lnTo>
                  <a:lnTo>
                    <a:pt x="113" y="267"/>
                  </a:lnTo>
                  <a:lnTo>
                    <a:pt x="115" y="265"/>
                  </a:lnTo>
                  <a:lnTo>
                    <a:pt x="115" y="265"/>
                  </a:lnTo>
                  <a:lnTo>
                    <a:pt x="117" y="265"/>
                  </a:lnTo>
                  <a:lnTo>
                    <a:pt x="117" y="263"/>
                  </a:lnTo>
                  <a:lnTo>
                    <a:pt x="117" y="261"/>
                  </a:lnTo>
                  <a:lnTo>
                    <a:pt x="117" y="259"/>
                  </a:lnTo>
                  <a:lnTo>
                    <a:pt x="117" y="257"/>
                  </a:lnTo>
                  <a:lnTo>
                    <a:pt x="117" y="257"/>
                  </a:lnTo>
                  <a:lnTo>
                    <a:pt x="117" y="259"/>
                  </a:lnTo>
                  <a:lnTo>
                    <a:pt x="117" y="261"/>
                  </a:lnTo>
                  <a:lnTo>
                    <a:pt x="119" y="263"/>
                  </a:lnTo>
                  <a:lnTo>
                    <a:pt x="119" y="263"/>
                  </a:lnTo>
                  <a:lnTo>
                    <a:pt x="119" y="263"/>
                  </a:lnTo>
                  <a:lnTo>
                    <a:pt x="119" y="265"/>
                  </a:lnTo>
                  <a:lnTo>
                    <a:pt x="121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7"/>
                  </a:lnTo>
                  <a:lnTo>
                    <a:pt x="123" y="269"/>
                  </a:lnTo>
                  <a:lnTo>
                    <a:pt x="123" y="269"/>
                  </a:lnTo>
                  <a:lnTo>
                    <a:pt x="121" y="269"/>
                  </a:lnTo>
                  <a:lnTo>
                    <a:pt x="121" y="267"/>
                  </a:lnTo>
                  <a:lnTo>
                    <a:pt x="121" y="265"/>
                  </a:lnTo>
                  <a:lnTo>
                    <a:pt x="119" y="265"/>
                  </a:lnTo>
                  <a:lnTo>
                    <a:pt x="117" y="267"/>
                  </a:lnTo>
                  <a:lnTo>
                    <a:pt x="115" y="267"/>
                  </a:lnTo>
                  <a:lnTo>
                    <a:pt x="113" y="267"/>
                  </a:lnTo>
                  <a:lnTo>
                    <a:pt x="113" y="267"/>
                  </a:lnTo>
                  <a:lnTo>
                    <a:pt x="113" y="267"/>
                  </a:lnTo>
                  <a:lnTo>
                    <a:pt x="110" y="267"/>
                  </a:lnTo>
                  <a:lnTo>
                    <a:pt x="108" y="267"/>
                  </a:lnTo>
                  <a:lnTo>
                    <a:pt x="106" y="269"/>
                  </a:lnTo>
                  <a:lnTo>
                    <a:pt x="102" y="271"/>
                  </a:lnTo>
                  <a:lnTo>
                    <a:pt x="100" y="273"/>
                  </a:lnTo>
                  <a:lnTo>
                    <a:pt x="100" y="276"/>
                  </a:lnTo>
                  <a:lnTo>
                    <a:pt x="100" y="276"/>
                  </a:lnTo>
                  <a:lnTo>
                    <a:pt x="100" y="276"/>
                  </a:lnTo>
                  <a:lnTo>
                    <a:pt x="102" y="276"/>
                  </a:lnTo>
                  <a:lnTo>
                    <a:pt x="102" y="276"/>
                  </a:lnTo>
                  <a:lnTo>
                    <a:pt x="104" y="276"/>
                  </a:lnTo>
                  <a:lnTo>
                    <a:pt x="106" y="276"/>
                  </a:lnTo>
                  <a:lnTo>
                    <a:pt x="113" y="273"/>
                  </a:lnTo>
                  <a:lnTo>
                    <a:pt x="117" y="271"/>
                  </a:lnTo>
                  <a:lnTo>
                    <a:pt x="117" y="271"/>
                  </a:lnTo>
                  <a:lnTo>
                    <a:pt x="117" y="273"/>
                  </a:lnTo>
                  <a:lnTo>
                    <a:pt x="115" y="273"/>
                  </a:lnTo>
                  <a:lnTo>
                    <a:pt x="115" y="273"/>
                  </a:lnTo>
                  <a:lnTo>
                    <a:pt x="117" y="273"/>
                  </a:lnTo>
                  <a:lnTo>
                    <a:pt x="119" y="273"/>
                  </a:lnTo>
                  <a:lnTo>
                    <a:pt x="117" y="276"/>
                  </a:lnTo>
                  <a:lnTo>
                    <a:pt x="113" y="276"/>
                  </a:lnTo>
                  <a:lnTo>
                    <a:pt x="113" y="276"/>
                  </a:lnTo>
                  <a:lnTo>
                    <a:pt x="108" y="276"/>
                  </a:lnTo>
                  <a:lnTo>
                    <a:pt x="104" y="276"/>
                  </a:lnTo>
                  <a:lnTo>
                    <a:pt x="100" y="278"/>
                  </a:lnTo>
                  <a:lnTo>
                    <a:pt x="100" y="280"/>
                  </a:lnTo>
                  <a:lnTo>
                    <a:pt x="98" y="282"/>
                  </a:lnTo>
                  <a:lnTo>
                    <a:pt x="98" y="284"/>
                  </a:lnTo>
                  <a:lnTo>
                    <a:pt x="100" y="286"/>
                  </a:lnTo>
                  <a:lnTo>
                    <a:pt x="100" y="290"/>
                  </a:lnTo>
                  <a:lnTo>
                    <a:pt x="102" y="292"/>
                  </a:lnTo>
                  <a:lnTo>
                    <a:pt x="102" y="292"/>
                  </a:lnTo>
                  <a:lnTo>
                    <a:pt x="102" y="292"/>
                  </a:lnTo>
                  <a:lnTo>
                    <a:pt x="104" y="294"/>
                  </a:lnTo>
                  <a:lnTo>
                    <a:pt x="104" y="294"/>
                  </a:lnTo>
                  <a:lnTo>
                    <a:pt x="104" y="294"/>
                  </a:lnTo>
                  <a:lnTo>
                    <a:pt x="104" y="296"/>
                  </a:lnTo>
                  <a:lnTo>
                    <a:pt x="104" y="296"/>
                  </a:lnTo>
                  <a:lnTo>
                    <a:pt x="106" y="296"/>
                  </a:lnTo>
                  <a:lnTo>
                    <a:pt x="110" y="294"/>
                  </a:lnTo>
                  <a:lnTo>
                    <a:pt x="115" y="292"/>
                  </a:lnTo>
                  <a:lnTo>
                    <a:pt x="110" y="296"/>
                  </a:lnTo>
                  <a:lnTo>
                    <a:pt x="108" y="296"/>
                  </a:lnTo>
                  <a:lnTo>
                    <a:pt x="106" y="298"/>
                  </a:lnTo>
                  <a:lnTo>
                    <a:pt x="106" y="298"/>
                  </a:lnTo>
                  <a:lnTo>
                    <a:pt x="104" y="300"/>
                  </a:lnTo>
                  <a:lnTo>
                    <a:pt x="104" y="302"/>
                  </a:lnTo>
                  <a:lnTo>
                    <a:pt x="104" y="302"/>
                  </a:lnTo>
                  <a:lnTo>
                    <a:pt x="104" y="302"/>
                  </a:lnTo>
                  <a:lnTo>
                    <a:pt x="104" y="304"/>
                  </a:lnTo>
                  <a:lnTo>
                    <a:pt x="106" y="304"/>
                  </a:lnTo>
                  <a:lnTo>
                    <a:pt x="106" y="304"/>
                  </a:lnTo>
                  <a:lnTo>
                    <a:pt x="108" y="306"/>
                  </a:lnTo>
                  <a:lnTo>
                    <a:pt x="110" y="306"/>
                  </a:lnTo>
                  <a:lnTo>
                    <a:pt x="110" y="306"/>
                  </a:lnTo>
                  <a:lnTo>
                    <a:pt x="108" y="308"/>
                  </a:lnTo>
                  <a:lnTo>
                    <a:pt x="108" y="308"/>
                  </a:lnTo>
                  <a:lnTo>
                    <a:pt x="108" y="310"/>
                  </a:lnTo>
                  <a:lnTo>
                    <a:pt x="108" y="310"/>
                  </a:lnTo>
                  <a:lnTo>
                    <a:pt x="113" y="310"/>
                  </a:lnTo>
                  <a:lnTo>
                    <a:pt x="113" y="308"/>
                  </a:lnTo>
                  <a:lnTo>
                    <a:pt x="115" y="308"/>
                  </a:lnTo>
                  <a:lnTo>
                    <a:pt x="117" y="308"/>
                  </a:lnTo>
                  <a:lnTo>
                    <a:pt x="117" y="308"/>
                  </a:lnTo>
                  <a:lnTo>
                    <a:pt x="119" y="308"/>
                  </a:lnTo>
                  <a:lnTo>
                    <a:pt x="117" y="310"/>
                  </a:lnTo>
                  <a:lnTo>
                    <a:pt x="117" y="310"/>
                  </a:lnTo>
                  <a:lnTo>
                    <a:pt x="115" y="310"/>
                  </a:lnTo>
                  <a:lnTo>
                    <a:pt x="113" y="310"/>
                  </a:lnTo>
                  <a:lnTo>
                    <a:pt x="110" y="313"/>
                  </a:lnTo>
                  <a:lnTo>
                    <a:pt x="110" y="313"/>
                  </a:lnTo>
                  <a:lnTo>
                    <a:pt x="110" y="315"/>
                  </a:lnTo>
                  <a:lnTo>
                    <a:pt x="110" y="315"/>
                  </a:lnTo>
                  <a:lnTo>
                    <a:pt x="110" y="315"/>
                  </a:lnTo>
                  <a:lnTo>
                    <a:pt x="113" y="315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9"/>
                  </a:lnTo>
                  <a:lnTo>
                    <a:pt x="113" y="319"/>
                  </a:lnTo>
                  <a:lnTo>
                    <a:pt x="113" y="319"/>
                  </a:lnTo>
                  <a:lnTo>
                    <a:pt x="113" y="321"/>
                  </a:lnTo>
                  <a:lnTo>
                    <a:pt x="113" y="323"/>
                  </a:lnTo>
                  <a:lnTo>
                    <a:pt x="117" y="323"/>
                  </a:lnTo>
                  <a:lnTo>
                    <a:pt x="117" y="323"/>
                  </a:lnTo>
                  <a:lnTo>
                    <a:pt x="117" y="323"/>
                  </a:lnTo>
                  <a:lnTo>
                    <a:pt x="119" y="323"/>
                  </a:lnTo>
                  <a:lnTo>
                    <a:pt x="119" y="325"/>
                  </a:lnTo>
                  <a:lnTo>
                    <a:pt x="119" y="325"/>
                  </a:lnTo>
                  <a:lnTo>
                    <a:pt x="117" y="327"/>
                  </a:lnTo>
                  <a:lnTo>
                    <a:pt x="119" y="327"/>
                  </a:lnTo>
                  <a:lnTo>
                    <a:pt x="121" y="327"/>
                  </a:lnTo>
                  <a:lnTo>
                    <a:pt x="123" y="327"/>
                  </a:lnTo>
                  <a:lnTo>
                    <a:pt x="125" y="327"/>
                  </a:lnTo>
                  <a:lnTo>
                    <a:pt x="123" y="327"/>
                  </a:lnTo>
                  <a:lnTo>
                    <a:pt x="119" y="329"/>
                  </a:lnTo>
                  <a:lnTo>
                    <a:pt x="117" y="331"/>
                  </a:lnTo>
                  <a:lnTo>
                    <a:pt x="119" y="331"/>
                  </a:lnTo>
                  <a:lnTo>
                    <a:pt x="119" y="331"/>
                  </a:lnTo>
                  <a:lnTo>
                    <a:pt x="119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29"/>
                  </a:lnTo>
                  <a:lnTo>
                    <a:pt x="125" y="329"/>
                  </a:lnTo>
                  <a:lnTo>
                    <a:pt x="127" y="329"/>
                  </a:lnTo>
                  <a:lnTo>
                    <a:pt x="127" y="329"/>
                  </a:lnTo>
                  <a:lnTo>
                    <a:pt x="129" y="331"/>
                  </a:lnTo>
                  <a:lnTo>
                    <a:pt x="131" y="331"/>
                  </a:lnTo>
                  <a:lnTo>
                    <a:pt x="131" y="329"/>
                  </a:lnTo>
                  <a:lnTo>
                    <a:pt x="133" y="329"/>
                  </a:lnTo>
                  <a:lnTo>
                    <a:pt x="135" y="329"/>
                  </a:lnTo>
                  <a:lnTo>
                    <a:pt x="137" y="329"/>
                  </a:lnTo>
                  <a:lnTo>
                    <a:pt x="137" y="329"/>
                  </a:lnTo>
                  <a:lnTo>
                    <a:pt x="139" y="327"/>
                  </a:lnTo>
                  <a:lnTo>
                    <a:pt x="143" y="327"/>
                  </a:lnTo>
                  <a:lnTo>
                    <a:pt x="147" y="325"/>
                  </a:lnTo>
                  <a:lnTo>
                    <a:pt x="149" y="325"/>
                  </a:lnTo>
                  <a:lnTo>
                    <a:pt x="149" y="325"/>
                  </a:lnTo>
                  <a:lnTo>
                    <a:pt x="149" y="323"/>
                  </a:lnTo>
                  <a:lnTo>
                    <a:pt x="152" y="323"/>
                  </a:lnTo>
                  <a:lnTo>
                    <a:pt x="152" y="323"/>
                  </a:lnTo>
                  <a:lnTo>
                    <a:pt x="149" y="325"/>
                  </a:lnTo>
                  <a:lnTo>
                    <a:pt x="149" y="327"/>
                  </a:lnTo>
                  <a:lnTo>
                    <a:pt x="147" y="327"/>
                  </a:lnTo>
                  <a:lnTo>
                    <a:pt x="143" y="331"/>
                  </a:lnTo>
                  <a:lnTo>
                    <a:pt x="143" y="333"/>
                  </a:lnTo>
                  <a:lnTo>
                    <a:pt x="145" y="333"/>
                  </a:lnTo>
                  <a:lnTo>
                    <a:pt x="145" y="333"/>
                  </a:lnTo>
                  <a:lnTo>
                    <a:pt x="147" y="335"/>
                  </a:lnTo>
                  <a:lnTo>
                    <a:pt x="149" y="335"/>
                  </a:lnTo>
                  <a:lnTo>
                    <a:pt x="152" y="335"/>
                  </a:lnTo>
                  <a:lnTo>
                    <a:pt x="152" y="335"/>
                  </a:lnTo>
                  <a:lnTo>
                    <a:pt x="154" y="335"/>
                  </a:lnTo>
                  <a:lnTo>
                    <a:pt x="156" y="335"/>
                  </a:lnTo>
                  <a:lnTo>
                    <a:pt x="162" y="333"/>
                  </a:lnTo>
                  <a:lnTo>
                    <a:pt x="162" y="333"/>
                  </a:lnTo>
                  <a:lnTo>
                    <a:pt x="160" y="335"/>
                  </a:lnTo>
                  <a:lnTo>
                    <a:pt x="158" y="335"/>
                  </a:lnTo>
                  <a:lnTo>
                    <a:pt x="156" y="337"/>
                  </a:lnTo>
                  <a:lnTo>
                    <a:pt x="154" y="337"/>
                  </a:lnTo>
                  <a:lnTo>
                    <a:pt x="152" y="337"/>
                  </a:lnTo>
                  <a:lnTo>
                    <a:pt x="152" y="339"/>
                  </a:lnTo>
                  <a:lnTo>
                    <a:pt x="149" y="339"/>
                  </a:lnTo>
                  <a:lnTo>
                    <a:pt x="156" y="343"/>
                  </a:lnTo>
                  <a:lnTo>
                    <a:pt x="158" y="343"/>
                  </a:lnTo>
                  <a:lnTo>
                    <a:pt x="160" y="343"/>
                  </a:lnTo>
                  <a:lnTo>
                    <a:pt x="162" y="341"/>
                  </a:lnTo>
                  <a:lnTo>
                    <a:pt x="164" y="339"/>
                  </a:lnTo>
                  <a:lnTo>
                    <a:pt x="166" y="339"/>
                  </a:lnTo>
                  <a:lnTo>
                    <a:pt x="166" y="339"/>
                  </a:lnTo>
                  <a:lnTo>
                    <a:pt x="164" y="341"/>
                  </a:lnTo>
                  <a:lnTo>
                    <a:pt x="162" y="343"/>
                  </a:lnTo>
                  <a:lnTo>
                    <a:pt x="160" y="343"/>
                  </a:lnTo>
                  <a:lnTo>
                    <a:pt x="160" y="345"/>
                  </a:lnTo>
                  <a:lnTo>
                    <a:pt x="160" y="345"/>
                  </a:lnTo>
                  <a:lnTo>
                    <a:pt x="162" y="345"/>
                  </a:lnTo>
                  <a:lnTo>
                    <a:pt x="162" y="345"/>
                  </a:lnTo>
                  <a:lnTo>
                    <a:pt x="164" y="345"/>
                  </a:lnTo>
                  <a:lnTo>
                    <a:pt x="166" y="345"/>
                  </a:lnTo>
                  <a:lnTo>
                    <a:pt x="164" y="345"/>
                  </a:lnTo>
                  <a:lnTo>
                    <a:pt x="164" y="345"/>
                  </a:lnTo>
                  <a:lnTo>
                    <a:pt x="166" y="347"/>
                  </a:lnTo>
                  <a:lnTo>
                    <a:pt x="168" y="345"/>
                  </a:lnTo>
                  <a:lnTo>
                    <a:pt x="170" y="345"/>
                  </a:lnTo>
                  <a:lnTo>
                    <a:pt x="170" y="345"/>
                  </a:lnTo>
                  <a:lnTo>
                    <a:pt x="170" y="345"/>
                  </a:lnTo>
                  <a:lnTo>
                    <a:pt x="168" y="343"/>
                  </a:lnTo>
                  <a:lnTo>
                    <a:pt x="168" y="343"/>
                  </a:lnTo>
                  <a:lnTo>
                    <a:pt x="170" y="343"/>
                  </a:lnTo>
                  <a:lnTo>
                    <a:pt x="170" y="345"/>
                  </a:lnTo>
                  <a:lnTo>
                    <a:pt x="174" y="345"/>
                  </a:lnTo>
                  <a:lnTo>
                    <a:pt x="176" y="343"/>
                  </a:lnTo>
                  <a:lnTo>
                    <a:pt x="178" y="343"/>
                  </a:lnTo>
                  <a:lnTo>
                    <a:pt x="178" y="339"/>
                  </a:lnTo>
                  <a:lnTo>
                    <a:pt x="178" y="339"/>
                  </a:lnTo>
                  <a:lnTo>
                    <a:pt x="180" y="337"/>
                  </a:lnTo>
                  <a:lnTo>
                    <a:pt x="178" y="337"/>
                  </a:lnTo>
                  <a:lnTo>
                    <a:pt x="178" y="335"/>
                  </a:lnTo>
                  <a:lnTo>
                    <a:pt x="176" y="335"/>
                  </a:lnTo>
                  <a:lnTo>
                    <a:pt x="174" y="335"/>
                  </a:lnTo>
                  <a:lnTo>
                    <a:pt x="172" y="335"/>
                  </a:lnTo>
                  <a:lnTo>
                    <a:pt x="170" y="333"/>
                  </a:lnTo>
                  <a:lnTo>
                    <a:pt x="172" y="333"/>
                  </a:lnTo>
                  <a:lnTo>
                    <a:pt x="172" y="333"/>
                  </a:lnTo>
                  <a:lnTo>
                    <a:pt x="176" y="333"/>
                  </a:lnTo>
                  <a:lnTo>
                    <a:pt x="178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2" y="335"/>
                  </a:lnTo>
                  <a:lnTo>
                    <a:pt x="188" y="331"/>
                  </a:lnTo>
                  <a:lnTo>
                    <a:pt x="191" y="325"/>
                  </a:lnTo>
                  <a:lnTo>
                    <a:pt x="195" y="321"/>
                  </a:lnTo>
                  <a:lnTo>
                    <a:pt x="197" y="319"/>
                  </a:lnTo>
                  <a:lnTo>
                    <a:pt x="199" y="317"/>
                  </a:lnTo>
                  <a:lnTo>
                    <a:pt x="199" y="315"/>
                  </a:lnTo>
                  <a:lnTo>
                    <a:pt x="197" y="315"/>
                  </a:lnTo>
                  <a:lnTo>
                    <a:pt x="197" y="315"/>
                  </a:lnTo>
                  <a:lnTo>
                    <a:pt x="199" y="315"/>
                  </a:lnTo>
                  <a:lnTo>
                    <a:pt x="201" y="315"/>
                  </a:lnTo>
                  <a:lnTo>
                    <a:pt x="203" y="313"/>
                  </a:lnTo>
                  <a:lnTo>
                    <a:pt x="203" y="310"/>
                  </a:lnTo>
                  <a:lnTo>
                    <a:pt x="203" y="310"/>
                  </a:lnTo>
                  <a:lnTo>
                    <a:pt x="203" y="308"/>
                  </a:lnTo>
                  <a:lnTo>
                    <a:pt x="203" y="308"/>
                  </a:lnTo>
                  <a:lnTo>
                    <a:pt x="205" y="306"/>
                  </a:lnTo>
                  <a:lnTo>
                    <a:pt x="205" y="304"/>
                  </a:lnTo>
                  <a:lnTo>
                    <a:pt x="205" y="304"/>
                  </a:lnTo>
                  <a:lnTo>
                    <a:pt x="205" y="302"/>
                  </a:lnTo>
                  <a:lnTo>
                    <a:pt x="207" y="302"/>
                  </a:lnTo>
                  <a:lnTo>
                    <a:pt x="207" y="300"/>
                  </a:lnTo>
                  <a:lnTo>
                    <a:pt x="203" y="300"/>
                  </a:lnTo>
                  <a:lnTo>
                    <a:pt x="201" y="300"/>
                  </a:lnTo>
                  <a:lnTo>
                    <a:pt x="199" y="298"/>
                  </a:lnTo>
                  <a:lnTo>
                    <a:pt x="199" y="298"/>
                  </a:lnTo>
                  <a:lnTo>
                    <a:pt x="199" y="298"/>
                  </a:lnTo>
                  <a:lnTo>
                    <a:pt x="201" y="298"/>
                  </a:lnTo>
                  <a:lnTo>
                    <a:pt x="205" y="298"/>
                  </a:lnTo>
                  <a:lnTo>
                    <a:pt x="207" y="298"/>
                  </a:lnTo>
                  <a:lnTo>
                    <a:pt x="209" y="298"/>
                  </a:lnTo>
                  <a:lnTo>
                    <a:pt x="211" y="298"/>
                  </a:lnTo>
                  <a:lnTo>
                    <a:pt x="211" y="298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7" y="294"/>
                  </a:lnTo>
                  <a:lnTo>
                    <a:pt x="213" y="292"/>
                  </a:lnTo>
                  <a:lnTo>
                    <a:pt x="211" y="292"/>
                  </a:lnTo>
                  <a:lnTo>
                    <a:pt x="211" y="292"/>
                  </a:lnTo>
                  <a:lnTo>
                    <a:pt x="211" y="290"/>
                  </a:lnTo>
                  <a:lnTo>
                    <a:pt x="213" y="290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7" y="292"/>
                  </a:lnTo>
                  <a:lnTo>
                    <a:pt x="219" y="292"/>
                  </a:lnTo>
                  <a:lnTo>
                    <a:pt x="219" y="292"/>
                  </a:lnTo>
                  <a:lnTo>
                    <a:pt x="221" y="292"/>
                  </a:lnTo>
                  <a:lnTo>
                    <a:pt x="223" y="290"/>
                  </a:lnTo>
                  <a:lnTo>
                    <a:pt x="225" y="290"/>
                  </a:lnTo>
                  <a:lnTo>
                    <a:pt x="225" y="288"/>
                  </a:lnTo>
                  <a:lnTo>
                    <a:pt x="225" y="288"/>
                  </a:lnTo>
                  <a:lnTo>
                    <a:pt x="228" y="288"/>
                  </a:lnTo>
                  <a:lnTo>
                    <a:pt x="228" y="286"/>
                  </a:lnTo>
                  <a:lnTo>
                    <a:pt x="230" y="286"/>
                  </a:lnTo>
                  <a:lnTo>
                    <a:pt x="232" y="286"/>
                  </a:lnTo>
                  <a:lnTo>
                    <a:pt x="232" y="284"/>
                  </a:lnTo>
                  <a:lnTo>
                    <a:pt x="236" y="282"/>
                  </a:lnTo>
                  <a:lnTo>
                    <a:pt x="236" y="282"/>
                  </a:lnTo>
                  <a:lnTo>
                    <a:pt x="236" y="278"/>
                  </a:lnTo>
                  <a:lnTo>
                    <a:pt x="238" y="276"/>
                  </a:lnTo>
                  <a:lnTo>
                    <a:pt x="234" y="276"/>
                  </a:lnTo>
                  <a:lnTo>
                    <a:pt x="234" y="276"/>
                  </a:lnTo>
                  <a:lnTo>
                    <a:pt x="232" y="276"/>
                  </a:lnTo>
                  <a:lnTo>
                    <a:pt x="230" y="273"/>
                  </a:lnTo>
                  <a:lnTo>
                    <a:pt x="225" y="273"/>
                  </a:lnTo>
                  <a:lnTo>
                    <a:pt x="232" y="273"/>
                  </a:lnTo>
                  <a:lnTo>
                    <a:pt x="232" y="273"/>
                  </a:lnTo>
                  <a:lnTo>
                    <a:pt x="234" y="273"/>
                  </a:lnTo>
                  <a:lnTo>
                    <a:pt x="236" y="273"/>
                  </a:lnTo>
                  <a:lnTo>
                    <a:pt x="238" y="273"/>
                  </a:lnTo>
                  <a:lnTo>
                    <a:pt x="238" y="271"/>
                  </a:lnTo>
                  <a:lnTo>
                    <a:pt x="240" y="271"/>
                  </a:lnTo>
                  <a:lnTo>
                    <a:pt x="244" y="271"/>
                  </a:lnTo>
                  <a:lnTo>
                    <a:pt x="244" y="269"/>
                  </a:lnTo>
                  <a:lnTo>
                    <a:pt x="244" y="269"/>
                  </a:lnTo>
                  <a:lnTo>
                    <a:pt x="244" y="267"/>
                  </a:lnTo>
                  <a:lnTo>
                    <a:pt x="242" y="267"/>
                  </a:lnTo>
                  <a:lnTo>
                    <a:pt x="242" y="263"/>
                  </a:lnTo>
                  <a:lnTo>
                    <a:pt x="242" y="263"/>
                  </a:lnTo>
                  <a:lnTo>
                    <a:pt x="240" y="263"/>
                  </a:lnTo>
                  <a:lnTo>
                    <a:pt x="238" y="263"/>
                  </a:lnTo>
                  <a:lnTo>
                    <a:pt x="238" y="261"/>
                  </a:lnTo>
                  <a:lnTo>
                    <a:pt x="238" y="261"/>
                  </a:lnTo>
                  <a:lnTo>
                    <a:pt x="238" y="259"/>
                  </a:lnTo>
                  <a:lnTo>
                    <a:pt x="240" y="259"/>
                  </a:lnTo>
                  <a:lnTo>
                    <a:pt x="242" y="259"/>
                  </a:lnTo>
                  <a:lnTo>
                    <a:pt x="248" y="261"/>
                  </a:lnTo>
                  <a:lnTo>
                    <a:pt x="250" y="259"/>
                  </a:lnTo>
                  <a:lnTo>
                    <a:pt x="252" y="259"/>
                  </a:lnTo>
                  <a:lnTo>
                    <a:pt x="254" y="257"/>
                  </a:lnTo>
                  <a:lnTo>
                    <a:pt x="256" y="257"/>
                  </a:lnTo>
                  <a:lnTo>
                    <a:pt x="258" y="255"/>
                  </a:lnTo>
                  <a:lnTo>
                    <a:pt x="256" y="255"/>
                  </a:lnTo>
                  <a:lnTo>
                    <a:pt x="252" y="253"/>
                  </a:lnTo>
                  <a:lnTo>
                    <a:pt x="252" y="253"/>
                  </a:lnTo>
                  <a:lnTo>
                    <a:pt x="254" y="253"/>
                  </a:lnTo>
                  <a:lnTo>
                    <a:pt x="260" y="251"/>
                  </a:lnTo>
                  <a:lnTo>
                    <a:pt x="264" y="251"/>
                  </a:lnTo>
                  <a:lnTo>
                    <a:pt x="271" y="251"/>
                  </a:lnTo>
                  <a:lnTo>
                    <a:pt x="277" y="249"/>
                  </a:lnTo>
                  <a:lnTo>
                    <a:pt x="277" y="249"/>
                  </a:lnTo>
                  <a:lnTo>
                    <a:pt x="277" y="247"/>
                  </a:lnTo>
                  <a:lnTo>
                    <a:pt x="275" y="247"/>
                  </a:lnTo>
                  <a:lnTo>
                    <a:pt x="275" y="245"/>
                  </a:lnTo>
                  <a:lnTo>
                    <a:pt x="277" y="245"/>
                  </a:lnTo>
                  <a:lnTo>
                    <a:pt x="279" y="247"/>
                  </a:lnTo>
                  <a:lnTo>
                    <a:pt x="281" y="245"/>
                  </a:lnTo>
                  <a:lnTo>
                    <a:pt x="283" y="243"/>
                  </a:lnTo>
                  <a:lnTo>
                    <a:pt x="285" y="243"/>
                  </a:lnTo>
                  <a:lnTo>
                    <a:pt x="285" y="241"/>
                  </a:lnTo>
                  <a:lnTo>
                    <a:pt x="283" y="241"/>
                  </a:lnTo>
                  <a:lnTo>
                    <a:pt x="281" y="238"/>
                  </a:lnTo>
                  <a:lnTo>
                    <a:pt x="283" y="238"/>
                  </a:lnTo>
                  <a:lnTo>
                    <a:pt x="285" y="238"/>
                  </a:lnTo>
                  <a:lnTo>
                    <a:pt x="289" y="238"/>
                  </a:lnTo>
                  <a:lnTo>
                    <a:pt x="291" y="241"/>
                  </a:lnTo>
                  <a:lnTo>
                    <a:pt x="291" y="241"/>
                  </a:lnTo>
                  <a:lnTo>
                    <a:pt x="289" y="243"/>
                  </a:lnTo>
                  <a:lnTo>
                    <a:pt x="283" y="245"/>
                  </a:lnTo>
                  <a:lnTo>
                    <a:pt x="283" y="247"/>
                  </a:lnTo>
                  <a:lnTo>
                    <a:pt x="283" y="247"/>
                  </a:lnTo>
                  <a:lnTo>
                    <a:pt x="283" y="249"/>
                  </a:lnTo>
                  <a:lnTo>
                    <a:pt x="279" y="249"/>
                  </a:lnTo>
                  <a:lnTo>
                    <a:pt x="279" y="251"/>
                  </a:lnTo>
                  <a:lnTo>
                    <a:pt x="281" y="251"/>
                  </a:lnTo>
                  <a:lnTo>
                    <a:pt x="283" y="251"/>
                  </a:lnTo>
                  <a:lnTo>
                    <a:pt x="285" y="251"/>
                  </a:lnTo>
                  <a:lnTo>
                    <a:pt x="287" y="251"/>
                  </a:lnTo>
                  <a:lnTo>
                    <a:pt x="287" y="249"/>
                  </a:lnTo>
                  <a:lnTo>
                    <a:pt x="289" y="249"/>
                  </a:lnTo>
                  <a:lnTo>
                    <a:pt x="289" y="249"/>
                  </a:lnTo>
                  <a:lnTo>
                    <a:pt x="291" y="247"/>
                  </a:lnTo>
                  <a:lnTo>
                    <a:pt x="291" y="247"/>
                  </a:lnTo>
                  <a:lnTo>
                    <a:pt x="293" y="249"/>
                  </a:lnTo>
                  <a:lnTo>
                    <a:pt x="293" y="249"/>
                  </a:lnTo>
                  <a:lnTo>
                    <a:pt x="295" y="249"/>
                  </a:lnTo>
                  <a:lnTo>
                    <a:pt x="295" y="249"/>
                  </a:lnTo>
                  <a:lnTo>
                    <a:pt x="297" y="249"/>
                  </a:lnTo>
                  <a:lnTo>
                    <a:pt x="299" y="247"/>
                  </a:lnTo>
                  <a:lnTo>
                    <a:pt x="299" y="245"/>
                  </a:lnTo>
                  <a:lnTo>
                    <a:pt x="299" y="245"/>
                  </a:lnTo>
                  <a:lnTo>
                    <a:pt x="301" y="245"/>
                  </a:lnTo>
                  <a:lnTo>
                    <a:pt x="299" y="247"/>
                  </a:lnTo>
                  <a:lnTo>
                    <a:pt x="299" y="247"/>
                  </a:lnTo>
                  <a:lnTo>
                    <a:pt x="301" y="247"/>
                  </a:lnTo>
                  <a:lnTo>
                    <a:pt x="306" y="245"/>
                  </a:lnTo>
                  <a:lnTo>
                    <a:pt x="308" y="245"/>
                  </a:lnTo>
                  <a:lnTo>
                    <a:pt x="310" y="243"/>
                  </a:lnTo>
                  <a:lnTo>
                    <a:pt x="312" y="243"/>
                  </a:lnTo>
                  <a:lnTo>
                    <a:pt x="310" y="241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2" y="238"/>
                  </a:lnTo>
                  <a:lnTo>
                    <a:pt x="312" y="241"/>
                  </a:lnTo>
                  <a:lnTo>
                    <a:pt x="314" y="241"/>
                  </a:lnTo>
                  <a:lnTo>
                    <a:pt x="316" y="241"/>
                  </a:lnTo>
                  <a:lnTo>
                    <a:pt x="318" y="241"/>
                  </a:lnTo>
                  <a:lnTo>
                    <a:pt x="318" y="241"/>
                  </a:lnTo>
                  <a:lnTo>
                    <a:pt x="324" y="238"/>
                  </a:lnTo>
                  <a:lnTo>
                    <a:pt x="326" y="238"/>
                  </a:lnTo>
                  <a:lnTo>
                    <a:pt x="326" y="236"/>
                  </a:lnTo>
                  <a:lnTo>
                    <a:pt x="328" y="236"/>
                  </a:lnTo>
                  <a:lnTo>
                    <a:pt x="328" y="234"/>
                  </a:lnTo>
                  <a:lnTo>
                    <a:pt x="330" y="234"/>
                  </a:lnTo>
                  <a:lnTo>
                    <a:pt x="330" y="234"/>
                  </a:lnTo>
                  <a:lnTo>
                    <a:pt x="332" y="234"/>
                  </a:lnTo>
                  <a:lnTo>
                    <a:pt x="332" y="234"/>
                  </a:lnTo>
                  <a:lnTo>
                    <a:pt x="336" y="230"/>
                  </a:lnTo>
                  <a:lnTo>
                    <a:pt x="342" y="226"/>
                  </a:lnTo>
                  <a:lnTo>
                    <a:pt x="342" y="224"/>
                  </a:lnTo>
                  <a:lnTo>
                    <a:pt x="345" y="224"/>
                  </a:lnTo>
                  <a:lnTo>
                    <a:pt x="345" y="224"/>
                  </a:lnTo>
                  <a:lnTo>
                    <a:pt x="345" y="224"/>
                  </a:lnTo>
                  <a:lnTo>
                    <a:pt x="345" y="222"/>
                  </a:lnTo>
                  <a:lnTo>
                    <a:pt x="347" y="222"/>
                  </a:lnTo>
                  <a:lnTo>
                    <a:pt x="347" y="222"/>
                  </a:lnTo>
                  <a:lnTo>
                    <a:pt x="349" y="220"/>
                  </a:lnTo>
                  <a:lnTo>
                    <a:pt x="351" y="218"/>
                  </a:lnTo>
                  <a:lnTo>
                    <a:pt x="351" y="218"/>
                  </a:lnTo>
                  <a:lnTo>
                    <a:pt x="353" y="218"/>
                  </a:lnTo>
                  <a:lnTo>
                    <a:pt x="359" y="216"/>
                  </a:lnTo>
                  <a:lnTo>
                    <a:pt x="361" y="216"/>
                  </a:lnTo>
                  <a:lnTo>
                    <a:pt x="361" y="214"/>
                  </a:lnTo>
                  <a:lnTo>
                    <a:pt x="363" y="214"/>
                  </a:lnTo>
                  <a:lnTo>
                    <a:pt x="365" y="212"/>
                  </a:lnTo>
                  <a:lnTo>
                    <a:pt x="363" y="212"/>
                  </a:lnTo>
                  <a:lnTo>
                    <a:pt x="363" y="210"/>
                  </a:lnTo>
                  <a:lnTo>
                    <a:pt x="363" y="210"/>
                  </a:lnTo>
                  <a:lnTo>
                    <a:pt x="363" y="210"/>
                  </a:lnTo>
                  <a:lnTo>
                    <a:pt x="365" y="210"/>
                  </a:lnTo>
                  <a:lnTo>
                    <a:pt x="365" y="210"/>
                  </a:lnTo>
                  <a:lnTo>
                    <a:pt x="365" y="210"/>
                  </a:lnTo>
                  <a:lnTo>
                    <a:pt x="365" y="208"/>
                  </a:lnTo>
                  <a:lnTo>
                    <a:pt x="365" y="208"/>
                  </a:lnTo>
                  <a:lnTo>
                    <a:pt x="365" y="206"/>
                  </a:lnTo>
                  <a:lnTo>
                    <a:pt x="367" y="208"/>
                  </a:lnTo>
                  <a:lnTo>
                    <a:pt x="369" y="210"/>
                  </a:lnTo>
                  <a:lnTo>
                    <a:pt x="373" y="212"/>
                  </a:lnTo>
                  <a:lnTo>
                    <a:pt x="375" y="212"/>
                  </a:lnTo>
                  <a:lnTo>
                    <a:pt x="377" y="212"/>
                  </a:lnTo>
                  <a:lnTo>
                    <a:pt x="379" y="212"/>
                  </a:lnTo>
                  <a:lnTo>
                    <a:pt x="384" y="212"/>
                  </a:lnTo>
                  <a:lnTo>
                    <a:pt x="384" y="212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90" y="210"/>
                  </a:lnTo>
                  <a:lnTo>
                    <a:pt x="392" y="208"/>
                  </a:lnTo>
                  <a:lnTo>
                    <a:pt x="392" y="208"/>
                  </a:lnTo>
                  <a:lnTo>
                    <a:pt x="394" y="208"/>
                  </a:lnTo>
                  <a:lnTo>
                    <a:pt x="398" y="210"/>
                  </a:lnTo>
                  <a:lnTo>
                    <a:pt x="400" y="208"/>
                  </a:lnTo>
                  <a:lnTo>
                    <a:pt x="402" y="208"/>
                  </a:lnTo>
                  <a:lnTo>
                    <a:pt x="404" y="208"/>
                  </a:lnTo>
                  <a:lnTo>
                    <a:pt x="412" y="206"/>
                  </a:lnTo>
                  <a:lnTo>
                    <a:pt x="414" y="206"/>
                  </a:lnTo>
                  <a:lnTo>
                    <a:pt x="418" y="206"/>
                  </a:lnTo>
                  <a:lnTo>
                    <a:pt x="425" y="204"/>
                  </a:lnTo>
                  <a:lnTo>
                    <a:pt x="427" y="204"/>
                  </a:lnTo>
                  <a:lnTo>
                    <a:pt x="431" y="204"/>
                  </a:lnTo>
                  <a:lnTo>
                    <a:pt x="433" y="204"/>
                  </a:lnTo>
                  <a:lnTo>
                    <a:pt x="435" y="204"/>
                  </a:lnTo>
                  <a:lnTo>
                    <a:pt x="437" y="201"/>
                  </a:lnTo>
                  <a:lnTo>
                    <a:pt x="439" y="201"/>
                  </a:lnTo>
                  <a:lnTo>
                    <a:pt x="439" y="201"/>
                  </a:lnTo>
                  <a:lnTo>
                    <a:pt x="441" y="201"/>
                  </a:lnTo>
                  <a:lnTo>
                    <a:pt x="445" y="199"/>
                  </a:lnTo>
                  <a:lnTo>
                    <a:pt x="445" y="199"/>
                  </a:lnTo>
                  <a:lnTo>
                    <a:pt x="447" y="199"/>
                  </a:lnTo>
                  <a:lnTo>
                    <a:pt x="447" y="197"/>
                  </a:lnTo>
                  <a:lnTo>
                    <a:pt x="447" y="197"/>
                  </a:lnTo>
                  <a:lnTo>
                    <a:pt x="451" y="195"/>
                  </a:lnTo>
                  <a:lnTo>
                    <a:pt x="453" y="195"/>
                  </a:lnTo>
                  <a:lnTo>
                    <a:pt x="453" y="195"/>
                  </a:lnTo>
                  <a:lnTo>
                    <a:pt x="453" y="193"/>
                  </a:lnTo>
                  <a:lnTo>
                    <a:pt x="453" y="193"/>
                  </a:lnTo>
                  <a:lnTo>
                    <a:pt x="457" y="193"/>
                  </a:lnTo>
                  <a:lnTo>
                    <a:pt x="457" y="193"/>
                  </a:lnTo>
                  <a:lnTo>
                    <a:pt x="462" y="191"/>
                  </a:lnTo>
                  <a:lnTo>
                    <a:pt x="464" y="191"/>
                  </a:lnTo>
                  <a:lnTo>
                    <a:pt x="466" y="191"/>
                  </a:lnTo>
                  <a:lnTo>
                    <a:pt x="466" y="189"/>
                  </a:lnTo>
                  <a:lnTo>
                    <a:pt x="466" y="189"/>
                  </a:lnTo>
                  <a:lnTo>
                    <a:pt x="466" y="189"/>
                  </a:lnTo>
                  <a:lnTo>
                    <a:pt x="466" y="189"/>
                  </a:lnTo>
                  <a:lnTo>
                    <a:pt x="470" y="189"/>
                  </a:lnTo>
                  <a:lnTo>
                    <a:pt x="470" y="189"/>
                  </a:lnTo>
                  <a:lnTo>
                    <a:pt x="472" y="189"/>
                  </a:lnTo>
                  <a:lnTo>
                    <a:pt x="472" y="187"/>
                  </a:lnTo>
                  <a:lnTo>
                    <a:pt x="472" y="187"/>
                  </a:lnTo>
                  <a:lnTo>
                    <a:pt x="472" y="187"/>
                  </a:lnTo>
                  <a:lnTo>
                    <a:pt x="470" y="187"/>
                  </a:lnTo>
                  <a:lnTo>
                    <a:pt x="472" y="187"/>
                  </a:lnTo>
                  <a:lnTo>
                    <a:pt x="474" y="187"/>
                  </a:lnTo>
                  <a:lnTo>
                    <a:pt x="478" y="185"/>
                  </a:lnTo>
                  <a:lnTo>
                    <a:pt x="480" y="185"/>
                  </a:lnTo>
                  <a:lnTo>
                    <a:pt x="480" y="185"/>
                  </a:lnTo>
                  <a:lnTo>
                    <a:pt x="480" y="185"/>
                  </a:lnTo>
                  <a:lnTo>
                    <a:pt x="482" y="183"/>
                  </a:lnTo>
                  <a:lnTo>
                    <a:pt x="484" y="183"/>
                  </a:lnTo>
                  <a:lnTo>
                    <a:pt x="484" y="183"/>
                  </a:lnTo>
                  <a:lnTo>
                    <a:pt x="486" y="183"/>
                  </a:lnTo>
                  <a:lnTo>
                    <a:pt x="488" y="183"/>
                  </a:lnTo>
                  <a:lnTo>
                    <a:pt x="490" y="181"/>
                  </a:lnTo>
                  <a:lnTo>
                    <a:pt x="490" y="181"/>
                  </a:lnTo>
                  <a:lnTo>
                    <a:pt x="492" y="181"/>
                  </a:lnTo>
                  <a:lnTo>
                    <a:pt x="490" y="181"/>
                  </a:lnTo>
                  <a:lnTo>
                    <a:pt x="480" y="181"/>
                  </a:lnTo>
                  <a:lnTo>
                    <a:pt x="476" y="181"/>
                  </a:lnTo>
                  <a:lnTo>
                    <a:pt x="470" y="179"/>
                  </a:lnTo>
                  <a:lnTo>
                    <a:pt x="464" y="177"/>
                  </a:lnTo>
                  <a:lnTo>
                    <a:pt x="453" y="177"/>
                  </a:lnTo>
                  <a:lnTo>
                    <a:pt x="453" y="177"/>
                  </a:lnTo>
                  <a:lnTo>
                    <a:pt x="447" y="179"/>
                  </a:lnTo>
                  <a:lnTo>
                    <a:pt x="443" y="179"/>
                  </a:lnTo>
                  <a:lnTo>
                    <a:pt x="439" y="179"/>
                  </a:lnTo>
                  <a:lnTo>
                    <a:pt x="437" y="179"/>
                  </a:lnTo>
                  <a:lnTo>
                    <a:pt x="435" y="181"/>
                  </a:lnTo>
                  <a:lnTo>
                    <a:pt x="433" y="181"/>
                  </a:lnTo>
                  <a:lnTo>
                    <a:pt x="431" y="183"/>
                  </a:lnTo>
                  <a:lnTo>
                    <a:pt x="429" y="181"/>
                  </a:lnTo>
                  <a:lnTo>
                    <a:pt x="429" y="181"/>
                  </a:lnTo>
                  <a:lnTo>
                    <a:pt x="433" y="179"/>
                  </a:lnTo>
                  <a:lnTo>
                    <a:pt x="435" y="179"/>
                  </a:lnTo>
                  <a:lnTo>
                    <a:pt x="437" y="179"/>
                  </a:lnTo>
                  <a:lnTo>
                    <a:pt x="439" y="177"/>
                  </a:lnTo>
                  <a:lnTo>
                    <a:pt x="443" y="177"/>
                  </a:lnTo>
                  <a:lnTo>
                    <a:pt x="443" y="177"/>
                  </a:lnTo>
                  <a:lnTo>
                    <a:pt x="443" y="175"/>
                  </a:lnTo>
                  <a:lnTo>
                    <a:pt x="443" y="175"/>
                  </a:lnTo>
                  <a:lnTo>
                    <a:pt x="441" y="175"/>
                  </a:lnTo>
                  <a:lnTo>
                    <a:pt x="441" y="175"/>
                  </a:lnTo>
                  <a:lnTo>
                    <a:pt x="431" y="177"/>
                  </a:lnTo>
                  <a:lnTo>
                    <a:pt x="427" y="177"/>
                  </a:lnTo>
                  <a:lnTo>
                    <a:pt x="421" y="175"/>
                  </a:lnTo>
                  <a:lnTo>
                    <a:pt x="418" y="175"/>
                  </a:lnTo>
                  <a:lnTo>
                    <a:pt x="414" y="175"/>
                  </a:lnTo>
                  <a:lnTo>
                    <a:pt x="414" y="175"/>
                  </a:lnTo>
                  <a:lnTo>
                    <a:pt x="414" y="175"/>
                  </a:lnTo>
                  <a:lnTo>
                    <a:pt x="421" y="175"/>
                  </a:lnTo>
                  <a:lnTo>
                    <a:pt x="423" y="173"/>
                  </a:lnTo>
                  <a:lnTo>
                    <a:pt x="427" y="173"/>
                  </a:lnTo>
                  <a:lnTo>
                    <a:pt x="427" y="173"/>
                  </a:lnTo>
                  <a:lnTo>
                    <a:pt x="427" y="171"/>
                  </a:lnTo>
                  <a:lnTo>
                    <a:pt x="429" y="169"/>
                  </a:lnTo>
                  <a:lnTo>
                    <a:pt x="429" y="169"/>
                  </a:lnTo>
                  <a:lnTo>
                    <a:pt x="427" y="169"/>
                  </a:lnTo>
                  <a:lnTo>
                    <a:pt x="427" y="169"/>
                  </a:lnTo>
                  <a:lnTo>
                    <a:pt x="425" y="167"/>
                  </a:lnTo>
                  <a:lnTo>
                    <a:pt x="427" y="167"/>
                  </a:lnTo>
                  <a:lnTo>
                    <a:pt x="431" y="167"/>
                  </a:lnTo>
                  <a:lnTo>
                    <a:pt x="433" y="167"/>
                  </a:lnTo>
                  <a:lnTo>
                    <a:pt x="437" y="169"/>
                  </a:lnTo>
                  <a:lnTo>
                    <a:pt x="439" y="169"/>
                  </a:lnTo>
                  <a:lnTo>
                    <a:pt x="443" y="169"/>
                  </a:lnTo>
                  <a:lnTo>
                    <a:pt x="445" y="169"/>
                  </a:lnTo>
                  <a:lnTo>
                    <a:pt x="451" y="167"/>
                  </a:lnTo>
                  <a:lnTo>
                    <a:pt x="453" y="167"/>
                  </a:lnTo>
                  <a:lnTo>
                    <a:pt x="455" y="164"/>
                  </a:lnTo>
                  <a:lnTo>
                    <a:pt x="457" y="162"/>
                  </a:lnTo>
                  <a:lnTo>
                    <a:pt x="457" y="162"/>
                  </a:lnTo>
                  <a:lnTo>
                    <a:pt x="457" y="160"/>
                  </a:lnTo>
                  <a:lnTo>
                    <a:pt x="457" y="160"/>
                  </a:lnTo>
                  <a:lnTo>
                    <a:pt x="453" y="160"/>
                  </a:lnTo>
                  <a:lnTo>
                    <a:pt x="449" y="160"/>
                  </a:lnTo>
                  <a:lnTo>
                    <a:pt x="447" y="160"/>
                  </a:lnTo>
                  <a:lnTo>
                    <a:pt x="443" y="158"/>
                  </a:lnTo>
                  <a:lnTo>
                    <a:pt x="443" y="158"/>
                  </a:lnTo>
                  <a:lnTo>
                    <a:pt x="443" y="158"/>
                  </a:lnTo>
                  <a:lnTo>
                    <a:pt x="443" y="158"/>
                  </a:lnTo>
                  <a:lnTo>
                    <a:pt x="447" y="158"/>
                  </a:lnTo>
                  <a:lnTo>
                    <a:pt x="453" y="158"/>
                  </a:lnTo>
                  <a:lnTo>
                    <a:pt x="457" y="158"/>
                  </a:lnTo>
                  <a:lnTo>
                    <a:pt x="460" y="158"/>
                  </a:lnTo>
                  <a:lnTo>
                    <a:pt x="462" y="160"/>
                  </a:lnTo>
                  <a:lnTo>
                    <a:pt x="464" y="160"/>
                  </a:lnTo>
                  <a:lnTo>
                    <a:pt x="466" y="162"/>
                  </a:lnTo>
                  <a:lnTo>
                    <a:pt x="468" y="162"/>
                  </a:lnTo>
                  <a:lnTo>
                    <a:pt x="470" y="164"/>
                  </a:lnTo>
                  <a:lnTo>
                    <a:pt x="472" y="164"/>
                  </a:lnTo>
                  <a:lnTo>
                    <a:pt x="472" y="167"/>
                  </a:lnTo>
                  <a:lnTo>
                    <a:pt x="472" y="169"/>
                  </a:lnTo>
                  <a:lnTo>
                    <a:pt x="472" y="171"/>
                  </a:lnTo>
                  <a:lnTo>
                    <a:pt x="474" y="173"/>
                  </a:lnTo>
                  <a:lnTo>
                    <a:pt x="476" y="175"/>
                  </a:lnTo>
                  <a:lnTo>
                    <a:pt x="480" y="175"/>
                  </a:lnTo>
                  <a:lnTo>
                    <a:pt x="482" y="175"/>
                  </a:lnTo>
                  <a:lnTo>
                    <a:pt x="484" y="175"/>
                  </a:lnTo>
                  <a:lnTo>
                    <a:pt x="488" y="175"/>
                  </a:lnTo>
                  <a:lnTo>
                    <a:pt x="488" y="175"/>
                  </a:lnTo>
                  <a:lnTo>
                    <a:pt x="490" y="171"/>
                  </a:lnTo>
                  <a:lnTo>
                    <a:pt x="490" y="171"/>
                  </a:lnTo>
                  <a:lnTo>
                    <a:pt x="490" y="171"/>
                  </a:lnTo>
                  <a:lnTo>
                    <a:pt x="492" y="169"/>
                  </a:lnTo>
                  <a:lnTo>
                    <a:pt x="492" y="173"/>
                  </a:lnTo>
                  <a:lnTo>
                    <a:pt x="492" y="173"/>
                  </a:lnTo>
                  <a:lnTo>
                    <a:pt x="492" y="173"/>
                  </a:lnTo>
                  <a:lnTo>
                    <a:pt x="492" y="175"/>
                  </a:lnTo>
                  <a:lnTo>
                    <a:pt x="492" y="175"/>
                  </a:lnTo>
                  <a:lnTo>
                    <a:pt x="494" y="175"/>
                  </a:lnTo>
                  <a:lnTo>
                    <a:pt x="496" y="175"/>
                  </a:lnTo>
                  <a:lnTo>
                    <a:pt x="501" y="175"/>
                  </a:lnTo>
                  <a:lnTo>
                    <a:pt x="503" y="175"/>
                  </a:lnTo>
                  <a:lnTo>
                    <a:pt x="501" y="173"/>
                  </a:lnTo>
                  <a:lnTo>
                    <a:pt x="503" y="171"/>
                  </a:lnTo>
                  <a:lnTo>
                    <a:pt x="501" y="169"/>
                  </a:lnTo>
                  <a:lnTo>
                    <a:pt x="503" y="169"/>
                  </a:lnTo>
                  <a:lnTo>
                    <a:pt x="503" y="167"/>
                  </a:lnTo>
                  <a:lnTo>
                    <a:pt x="503" y="164"/>
                  </a:lnTo>
                  <a:lnTo>
                    <a:pt x="503" y="162"/>
                  </a:lnTo>
                  <a:lnTo>
                    <a:pt x="503" y="160"/>
                  </a:lnTo>
                  <a:lnTo>
                    <a:pt x="501" y="160"/>
                  </a:lnTo>
                  <a:lnTo>
                    <a:pt x="499" y="160"/>
                  </a:lnTo>
                  <a:lnTo>
                    <a:pt x="499" y="160"/>
                  </a:lnTo>
                  <a:lnTo>
                    <a:pt x="496" y="160"/>
                  </a:lnTo>
                  <a:lnTo>
                    <a:pt x="496" y="162"/>
                  </a:lnTo>
                  <a:lnTo>
                    <a:pt x="494" y="162"/>
                  </a:lnTo>
                  <a:lnTo>
                    <a:pt x="494" y="160"/>
                  </a:lnTo>
                  <a:lnTo>
                    <a:pt x="494" y="160"/>
                  </a:lnTo>
                  <a:lnTo>
                    <a:pt x="494" y="160"/>
                  </a:lnTo>
                  <a:lnTo>
                    <a:pt x="494" y="158"/>
                  </a:lnTo>
                  <a:lnTo>
                    <a:pt x="496" y="158"/>
                  </a:lnTo>
                  <a:lnTo>
                    <a:pt x="501" y="156"/>
                  </a:lnTo>
                  <a:lnTo>
                    <a:pt x="503" y="156"/>
                  </a:lnTo>
                  <a:lnTo>
                    <a:pt x="499" y="156"/>
                  </a:lnTo>
                  <a:lnTo>
                    <a:pt x="499" y="156"/>
                  </a:lnTo>
                  <a:lnTo>
                    <a:pt x="496" y="154"/>
                  </a:lnTo>
                  <a:lnTo>
                    <a:pt x="496" y="154"/>
                  </a:lnTo>
                  <a:lnTo>
                    <a:pt x="492" y="152"/>
                  </a:lnTo>
                  <a:lnTo>
                    <a:pt x="492" y="152"/>
                  </a:lnTo>
                  <a:lnTo>
                    <a:pt x="488" y="150"/>
                  </a:lnTo>
                  <a:lnTo>
                    <a:pt x="486" y="150"/>
                  </a:lnTo>
                  <a:lnTo>
                    <a:pt x="484" y="150"/>
                  </a:lnTo>
                  <a:lnTo>
                    <a:pt x="480" y="148"/>
                  </a:lnTo>
                  <a:lnTo>
                    <a:pt x="478" y="146"/>
                  </a:lnTo>
                  <a:lnTo>
                    <a:pt x="476" y="146"/>
                  </a:lnTo>
                  <a:lnTo>
                    <a:pt x="476" y="146"/>
                  </a:lnTo>
                  <a:lnTo>
                    <a:pt x="472" y="146"/>
                  </a:lnTo>
                  <a:lnTo>
                    <a:pt x="470" y="146"/>
                  </a:lnTo>
                  <a:lnTo>
                    <a:pt x="468" y="146"/>
                  </a:lnTo>
                  <a:lnTo>
                    <a:pt x="470" y="146"/>
                  </a:lnTo>
                  <a:lnTo>
                    <a:pt x="474" y="146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38"/>
                  </a:lnTo>
                  <a:lnTo>
                    <a:pt x="474" y="140"/>
                  </a:lnTo>
                  <a:lnTo>
                    <a:pt x="470" y="140"/>
                  </a:lnTo>
                  <a:lnTo>
                    <a:pt x="470" y="140"/>
                  </a:lnTo>
                  <a:lnTo>
                    <a:pt x="466" y="140"/>
                  </a:lnTo>
                  <a:lnTo>
                    <a:pt x="460" y="142"/>
                  </a:lnTo>
                  <a:lnTo>
                    <a:pt x="460" y="142"/>
                  </a:lnTo>
                  <a:lnTo>
                    <a:pt x="457" y="142"/>
                  </a:lnTo>
                  <a:lnTo>
                    <a:pt x="455" y="142"/>
                  </a:lnTo>
                  <a:lnTo>
                    <a:pt x="453" y="142"/>
                  </a:lnTo>
                  <a:lnTo>
                    <a:pt x="460" y="140"/>
                  </a:lnTo>
                  <a:lnTo>
                    <a:pt x="462" y="140"/>
                  </a:lnTo>
                  <a:lnTo>
                    <a:pt x="464" y="140"/>
                  </a:lnTo>
                  <a:lnTo>
                    <a:pt x="472" y="138"/>
                  </a:lnTo>
                  <a:lnTo>
                    <a:pt x="472" y="138"/>
                  </a:lnTo>
                  <a:lnTo>
                    <a:pt x="474" y="138"/>
                  </a:lnTo>
                  <a:lnTo>
                    <a:pt x="476" y="136"/>
                  </a:lnTo>
                  <a:lnTo>
                    <a:pt x="478" y="136"/>
                  </a:lnTo>
                  <a:lnTo>
                    <a:pt x="478" y="138"/>
                  </a:lnTo>
                  <a:lnTo>
                    <a:pt x="480" y="142"/>
                  </a:lnTo>
                  <a:lnTo>
                    <a:pt x="482" y="144"/>
                  </a:lnTo>
                  <a:lnTo>
                    <a:pt x="484" y="146"/>
                  </a:lnTo>
                  <a:lnTo>
                    <a:pt x="486" y="146"/>
                  </a:lnTo>
                  <a:lnTo>
                    <a:pt x="490" y="148"/>
                  </a:lnTo>
                  <a:lnTo>
                    <a:pt x="496" y="148"/>
                  </a:lnTo>
                  <a:lnTo>
                    <a:pt x="499" y="150"/>
                  </a:lnTo>
                  <a:lnTo>
                    <a:pt x="501" y="150"/>
                  </a:lnTo>
                  <a:lnTo>
                    <a:pt x="501" y="148"/>
                  </a:lnTo>
                  <a:lnTo>
                    <a:pt x="501" y="146"/>
                  </a:lnTo>
                  <a:lnTo>
                    <a:pt x="505" y="146"/>
                  </a:lnTo>
                  <a:lnTo>
                    <a:pt x="507" y="142"/>
                  </a:lnTo>
                  <a:lnTo>
                    <a:pt x="507" y="142"/>
                  </a:lnTo>
                  <a:lnTo>
                    <a:pt x="507" y="138"/>
                  </a:lnTo>
                  <a:lnTo>
                    <a:pt x="505" y="138"/>
                  </a:lnTo>
                  <a:lnTo>
                    <a:pt x="503" y="138"/>
                  </a:lnTo>
                  <a:lnTo>
                    <a:pt x="499" y="136"/>
                  </a:lnTo>
                  <a:lnTo>
                    <a:pt x="496" y="136"/>
                  </a:lnTo>
                  <a:lnTo>
                    <a:pt x="494" y="134"/>
                  </a:lnTo>
                  <a:lnTo>
                    <a:pt x="492" y="134"/>
                  </a:lnTo>
                  <a:lnTo>
                    <a:pt x="490" y="132"/>
                  </a:lnTo>
                  <a:lnTo>
                    <a:pt x="488" y="132"/>
                  </a:lnTo>
                  <a:lnTo>
                    <a:pt x="486" y="132"/>
                  </a:lnTo>
                  <a:lnTo>
                    <a:pt x="480" y="132"/>
                  </a:lnTo>
                  <a:lnTo>
                    <a:pt x="476" y="132"/>
                  </a:lnTo>
                  <a:lnTo>
                    <a:pt x="474" y="132"/>
                  </a:lnTo>
                  <a:lnTo>
                    <a:pt x="472" y="134"/>
                  </a:lnTo>
                  <a:lnTo>
                    <a:pt x="464" y="134"/>
                  </a:lnTo>
                  <a:lnTo>
                    <a:pt x="462" y="134"/>
                  </a:lnTo>
                  <a:lnTo>
                    <a:pt x="460" y="136"/>
                  </a:lnTo>
                  <a:lnTo>
                    <a:pt x="455" y="136"/>
                  </a:lnTo>
                  <a:lnTo>
                    <a:pt x="451" y="136"/>
                  </a:lnTo>
                  <a:lnTo>
                    <a:pt x="451" y="136"/>
                  </a:lnTo>
                  <a:lnTo>
                    <a:pt x="447" y="136"/>
                  </a:lnTo>
                  <a:lnTo>
                    <a:pt x="447" y="136"/>
                  </a:lnTo>
                  <a:lnTo>
                    <a:pt x="447" y="136"/>
                  </a:lnTo>
                  <a:lnTo>
                    <a:pt x="447" y="136"/>
                  </a:lnTo>
                  <a:lnTo>
                    <a:pt x="447" y="136"/>
                  </a:lnTo>
                  <a:lnTo>
                    <a:pt x="447" y="136"/>
                  </a:lnTo>
                  <a:lnTo>
                    <a:pt x="449" y="136"/>
                  </a:lnTo>
                  <a:lnTo>
                    <a:pt x="451" y="134"/>
                  </a:lnTo>
                  <a:lnTo>
                    <a:pt x="453" y="136"/>
                  </a:lnTo>
                  <a:lnTo>
                    <a:pt x="455" y="136"/>
                  </a:lnTo>
                  <a:lnTo>
                    <a:pt x="457" y="134"/>
                  </a:lnTo>
                  <a:lnTo>
                    <a:pt x="457" y="134"/>
                  </a:lnTo>
                  <a:lnTo>
                    <a:pt x="457" y="134"/>
                  </a:lnTo>
                  <a:lnTo>
                    <a:pt x="451" y="132"/>
                  </a:lnTo>
                  <a:lnTo>
                    <a:pt x="451" y="132"/>
                  </a:lnTo>
                  <a:lnTo>
                    <a:pt x="453" y="132"/>
                  </a:lnTo>
                  <a:lnTo>
                    <a:pt x="455" y="132"/>
                  </a:lnTo>
                  <a:lnTo>
                    <a:pt x="460" y="134"/>
                  </a:lnTo>
                  <a:lnTo>
                    <a:pt x="462" y="134"/>
                  </a:lnTo>
                  <a:lnTo>
                    <a:pt x="464" y="134"/>
                  </a:lnTo>
                  <a:lnTo>
                    <a:pt x="468" y="134"/>
                  </a:lnTo>
                  <a:lnTo>
                    <a:pt x="468" y="134"/>
                  </a:lnTo>
                  <a:lnTo>
                    <a:pt x="472" y="132"/>
                  </a:lnTo>
                  <a:lnTo>
                    <a:pt x="474" y="132"/>
                  </a:lnTo>
                  <a:lnTo>
                    <a:pt x="476" y="130"/>
                  </a:lnTo>
                  <a:lnTo>
                    <a:pt x="480" y="130"/>
                  </a:lnTo>
                  <a:lnTo>
                    <a:pt x="480" y="130"/>
                  </a:lnTo>
                  <a:lnTo>
                    <a:pt x="478" y="130"/>
                  </a:lnTo>
                  <a:lnTo>
                    <a:pt x="476" y="125"/>
                  </a:lnTo>
                  <a:lnTo>
                    <a:pt x="474" y="125"/>
                  </a:lnTo>
                  <a:lnTo>
                    <a:pt x="474" y="125"/>
                  </a:lnTo>
                  <a:lnTo>
                    <a:pt x="474" y="125"/>
                  </a:lnTo>
                  <a:lnTo>
                    <a:pt x="474" y="125"/>
                  </a:lnTo>
                  <a:lnTo>
                    <a:pt x="476" y="127"/>
                  </a:lnTo>
                  <a:lnTo>
                    <a:pt x="478" y="127"/>
                  </a:lnTo>
                  <a:lnTo>
                    <a:pt x="480" y="127"/>
                  </a:lnTo>
                  <a:lnTo>
                    <a:pt x="480" y="127"/>
                  </a:lnTo>
                  <a:lnTo>
                    <a:pt x="482" y="127"/>
                  </a:lnTo>
                  <a:lnTo>
                    <a:pt x="484" y="127"/>
                  </a:lnTo>
                  <a:lnTo>
                    <a:pt x="484" y="127"/>
                  </a:lnTo>
                  <a:lnTo>
                    <a:pt x="488" y="125"/>
                  </a:lnTo>
                  <a:lnTo>
                    <a:pt x="490" y="130"/>
                  </a:lnTo>
                  <a:lnTo>
                    <a:pt x="496" y="132"/>
                  </a:lnTo>
                  <a:lnTo>
                    <a:pt x="499" y="132"/>
                  </a:lnTo>
                  <a:lnTo>
                    <a:pt x="505" y="134"/>
                  </a:lnTo>
                  <a:lnTo>
                    <a:pt x="507" y="134"/>
                  </a:lnTo>
                  <a:lnTo>
                    <a:pt x="511" y="132"/>
                  </a:lnTo>
                  <a:lnTo>
                    <a:pt x="515" y="132"/>
                  </a:lnTo>
                  <a:lnTo>
                    <a:pt x="517" y="132"/>
                  </a:lnTo>
                  <a:lnTo>
                    <a:pt x="525" y="130"/>
                  </a:lnTo>
                  <a:lnTo>
                    <a:pt x="527" y="130"/>
                  </a:lnTo>
                  <a:lnTo>
                    <a:pt x="527" y="127"/>
                  </a:lnTo>
                  <a:lnTo>
                    <a:pt x="529" y="125"/>
                  </a:lnTo>
                  <a:lnTo>
                    <a:pt x="529" y="125"/>
                  </a:lnTo>
                  <a:lnTo>
                    <a:pt x="523" y="123"/>
                  </a:lnTo>
                  <a:lnTo>
                    <a:pt x="521" y="123"/>
                  </a:lnTo>
                  <a:lnTo>
                    <a:pt x="513" y="123"/>
                  </a:lnTo>
                  <a:lnTo>
                    <a:pt x="511" y="123"/>
                  </a:lnTo>
                  <a:lnTo>
                    <a:pt x="511" y="121"/>
                  </a:lnTo>
                  <a:lnTo>
                    <a:pt x="509" y="121"/>
                  </a:lnTo>
                  <a:lnTo>
                    <a:pt x="509" y="121"/>
                  </a:lnTo>
                  <a:lnTo>
                    <a:pt x="511" y="121"/>
                  </a:lnTo>
                  <a:lnTo>
                    <a:pt x="511" y="119"/>
                  </a:lnTo>
                  <a:lnTo>
                    <a:pt x="511" y="119"/>
                  </a:lnTo>
                  <a:lnTo>
                    <a:pt x="511" y="119"/>
                  </a:lnTo>
                  <a:lnTo>
                    <a:pt x="511" y="119"/>
                  </a:lnTo>
                  <a:lnTo>
                    <a:pt x="511" y="119"/>
                  </a:lnTo>
                  <a:lnTo>
                    <a:pt x="511" y="119"/>
                  </a:lnTo>
                  <a:lnTo>
                    <a:pt x="513" y="117"/>
                  </a:lnTo>
                  <a:lnTo>
                    <a:pt x="515" y="117"/>
                  </a:lnTo>
                  <a:lnTo>
                    <a:pt x="515" y="117"/>
                  </a:lnTo>
                  <a:lnTo>
                    <a:pt x="515" y="115"/>
                  </a:lnTo>
                  <a:lnTo>
                    <a:pt x="517" y="115"/>
                  </a:lnTo>
                  <a:lnTo>
                    <a:pt x="517" y="115"/>
                  </a:lnTo>
                  <a:lnTo>
                    <a:pt x="517" y="117"/>
                  </a:lnTo>
                  <a:lnTo>
                    <a:pt x="515" y="119"/>
                  </a:lnTo>
                  <a:lnTo>
                    <a:pt x="519" y="119"/>
                  </a:lnTo>
                  <a:lnTo>
                    <a:pt x="523" y="121"/>
                  </a:lnTo>
                  <a:lnTo>
                    <a:pt x="529" y="121"/>
                  </a:lnTo>
                  <a:lnTo>
                    <a:pt x="533" y="119"/>
                  </a:lnTo>
                  <a:lnTo>
                    <a:pt x="533" y="119"/>
                  </a:lnTo>
                  <a:lnTo>
                    <a:pt x="535" y="119"/>
                  </a:lnTo>
                  <a:lnTo>
                    <a:pt x="540" y="119"/>
                  </a:lnTo>
                  <a:lnTo>
                    <a:pt x="542" y="119"/>
                  </a:lnTo>
                  <a:lnTo>
                    <a:pt x="544" y="119"/>
                  </a:lnTo>
                  <a:lnTo>
                    <a:pt x="544" y="117"/>
                  </a:lnTo>
                  <a:lnTo>
                    <a:pt x="544" y="117"/>
                  </a:lnTo>
                  <a:lnTo>
                    <a:pt x="546" y="117"/>
                  </a:lnTo>
                  <a:lnTo>
                    <a:pt x="546" y="115"/>
                  </a:lnTo>
                  <a:lnTo>
                    <a:pt x="546" y="115"/>
                  </a:lnTo>
                  <a:lnTo>
                    <a:pt x="544" y="113"/>
                  </a:lnTo>
                  <a:lnTo>
                    <a:pt x="544" y="113"/>
                  </a:lnTo>
                  <a:lnTo>
                    <a:pt x="542" y="111"/>
                  </a:lnTo>
                  <a:lnTo>
                    <a:pt x="540" y="109"/>
                  </a:lnTo>
                  <a:lnTo>
                    <a:pt x="538" y="107"/>
                  </a:lnTo>
                  <a:lnTo>
                    <a:pt x="535" y="109"/>
                  </a:lnTo>
                  <a:lnTo>
                    <a:pt x="533" y="111"/>
                  </a:lnTo>
                  <a:lnTo>
                    <a:pt x="531" y="113"/>
                  </a:lnTo>
                  <a:lnTo>
                    <a:pt x="529" y="113"/>
                  </a:lnTo>
                  <a:lnTo>
                    <a:pt x="527" y="113"/>
                  </a:lnTo>
                  <a:lnTo>
                    <a:pt x="527" y="113"/>
                  </a:lnTo>
                  <a:lnTo>
                    <a:pt x="527" y="113"/>
                  </a:lnTo>
                  <a:lnTo>
                    <a:pt x="529" y="111"/>
                  </a:lnTo>
                  <a:lnTo>
                    <a:pt x="529" y="111"/>
                  </a:lnTo>
                  <a:lnTo>
                    <a:pt x="531" y="109"/>
                  </a:lnTo>
                  <a:lnTo>
                    <a:pt x="529" y="109"/>
                  </a:lnTo>
                  <a:lnTo>
                    <a:pt x="529" y="107"/>
                  </a:lnTo>
                  <a:lnTo>
                    <a:pt x="529" y="107"/>
                  </a:lnTo>
                  <a:lnTo>
                    <a:pt x="529" y="107"/>
                  </a:lnTo>
                  <a:lnTo>
                    <a:pt x="527" y="107"/>
                  </a:lnTo>
                  <a:lnTo>
                    <a:pt x="523" y="109"/>
                  </a:lnTo>
                  <a:lnTo>
                    <a:pt x="523" y="109"/>
                  </a:lnTo>
                  <a:lnTo>
                    <a:pt x="521" y="109"/>
                  </a:lnTo>
                  <a:lnTo>
                    <a:pt x="521" y="109"/>
                  </a:lnTo>
                  <a:lnTo>
                    <a:pt x="519" y="109"/>
                  </a:lnTo>
                  <a:lnTo>
                    <a:pt x="517" y="107"/>
                  </a:lnTo>
                  <a:lnTo>
                    <a:pt x="517" y="107"/>
                  </a:lnTo>
                  <a:lnTo>
                    <a:pt x="519" y="107"/>
                  </a:lnTo>
                  <a:lnTo>
                    <a:pt x="521" y="107"/>
                  </a:lnTo>
                  <a:lnTo>
                    <a:pt x="525" y="107"/>
                  </a:lnTo>
                  <a:lnTo>
                    <a:pt x="527" y="107"/>
                  </a:lnTo>
                  <a:lnTo>
                    <a:pt x="529" y="107"/>
                  </a:lnTo>
                  <a:lnTo>
                    <a:pt x="531" y="107"/>
                  </a:lnTo>
                  <a:lnTo>
                    <a:pt x="535" y="103"/>
                  </a:lnTo>
                  <a:lnTo>
                    <a:pt x="540" y="103"/>
                  </a:lnTo>
                  <a:lnTo>
                    <a:pt x="542" y="105"/>
                  </a:lnTo>
                  <a:lnTo>
                    <a:pt x="542" y="105"/>
                  </a:lnTo>
                  <a:lnTo>
                    <a:pt x="544" y="107"/>
                  </a:lnTo>
                  <a:lnTo>
                    <a:pt x="544" y="107"/>
                  </a:lnTo>
                  <a:lnTo>
                    <a:pt x="546" y="105"/>
                  </a:lnTo>
                  <a:lnTo>
                    <a:pt x="548" y="105"/>
                  </a:lnTo>
                  <a:lnTo>
                    <a:pt x="548" y="105"/>
                  </a:lnTo>
                  <a:lnTo>
                    <a:pt x="548" y="103"/>
                  </a:lnTo>
                  <a:lnTo>
                    <a:pt x="548" y="101"/>
                  </a:lnTo>
                  <a:lnTo>
                    <a:pt x="548" y="101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50" y="97"/>
                  </a:lnTo>
                  <a:lnTo>
                    <a:pt x="548" y="97"/>
                  </a:lnTo>
                  <a:lnTo>
                    <a:pt x="546" y="95"/>
                  </a:lnTo>
                  <a:lnTo>
                    <a:pt x="546" y="95"/>
                  </a:lnTo>
                  <a:lnTo>
                    <a:pt x="548" y="93"/>
                  </a:lnTo>
                  <a:lnTo>
                    <a:pt x="546" y="90"/>
                  </a:lnTo>
                  <a:lnTo>
                    <a:pt x="544" y="90"/>
                  </a:lnTo>
                  <a:lnTo>
                    <a:pt x="542" y="90"/>
                  </a:lnTo>
                  <a:lnTo>
                    <a:pt x="540" y="90"/>
                  </a:lnTo>
                  <a:lnTo>
                    <a:pt x="538" y="90"/>
                  </a:lnTo>
                  <a:lnTo>
                    <a:pt x="538" y="90"/>
                  </a:lnTo>
                  <a:lnTo>
                    <a:pt x="533" y="90"/>
                  </a:lnTo>
                  <a:lnTo>
                    <a:pt x="531" y="90"/>
                  </a:lnTo>
                  <a:lnTo>
                    <a:pt x="529" y="90"/>
                  </a:lnTo>
                  <a:lnTo>
                    <a:pt x="529" y="90"/>
                  </a:lnTo>
                  <a:lnTo>
                    <a:pt x="527" y="88"/>
                  </a:lnTo>
                  <a:lnTo>
                    <a:pt x="527" y="86"/>
                  </a:lnTo>
                  <a:lnTo>
                    <a:pt x="527" y="86"/>
                  </a:lnTo>
                  <a:lnTo>
                    <a:pt x="523" y="86"/>
                  </a:lnTo>
                  <a:lnTo>
                    <a:pt x="523" y="86"/>
                  </a:lnTo>
                  <a:lnTo>
                    <a:pt x="521" y="84"/>
                  </a:lnTo>
                  <a:lnTo>
                    <a:pt x="521" y="84"/>
                  </a:lnTo>
                  <a:lnTo>
                    <a:pt x="521" y="84"/>
                  </a:lnTo>
                  <a:lnTo>
                    <a:pt x="521" y="84"/>
                  </a:lnTo>
                  <a:lnTo>
                    <a:pt x="523" y="82"/>
                  </a:lnTo>
                  <a:lnTo>
                    <a:pt x="525" y="82"/>
                  </a:lnTo>
                  <a:lnTo>
                    <a:pt x="527" y="84"/>
                  </a:lnTo>
                  <a:lnTo>
                    <a:pt x="529" y="84"/>
                  </a:lnTo>
                  <a:lnTo>
                    <a:pt x="531" y="84"/>
                  </a:lnTo>
                  <a:lnTo>
                    <a:pt x="540" y="82"/>
                  </a:lnTo>
                  <a:lnTo>
                    <a:pt x="540" y="82"/>
                  </a:lnTo>
                  <a:lnTo>
                    <a:pt x="544" y="80"/>
                  </a:lnTo>
                  <a:lnTo>
                    <a:pt x="550" y="80"/>
                  </a:lnTo>
                  <a:lnTo>
                    <a:pt x="552" y="80"/>
                  </a:lnTo>
                  <a:lnTo>
                    <a:pt x="554" y="82"/>
                  </a:lnTo>
                  <a:lnTo>
                    <a:pt x="558" y="82"/>
                  </a:lnTo>
                  <a:lnTo>
                    <a:pt x="560" y="82"/>
                  </a:lnTo>
                  <a:lnTo>
                    <a:pt x="560" y="82"/>
                  </a:lnTo>
                  <a:lnTo>
                    <a:pt x="562" y="82"/>
                  </a:lnTo>
                  <a:lnTo>
                    <a:pt x="564" y="82"/>
                  </a:lnTo>
                  <a:lnTo>
                    <a:pt x="564" y="82"/>
                  </a:lnTo>
                  <a:lnTo>
                    <a:pt x="566" y="82"/>
                  </a:lnTo>
                  <a:lnTo>
                    <a:pt x="566" y="80"/>
                  </a:lnTo>
                  <a:lnTo>
                    <a:pt x="568" y="80"/>
                  </a:lnTo>
                  <a:lnTo>
                    <a:pt x="568" y="78"/>
                  </a:lnTo>
                  <a:lnTo>
                    <a:pt x="568" y="76"/>
                  </a:lnTo>
                  <a:lnTo>
                    <a:pt x="568" y="76"/>
                  </a:lnTo>
                  <a:lnTo>
                    <a:pt x="566" y="76"/>
                  </a:lnTo>
                  <a:lnTo>
                    <a:pt x="562" y="76"/>
                  </a:lnTo>
                  <a:lnTo>
                    <a:pt x="560" y="76"/>
                  </a:lnTo>
                  <a:lnTo>
                    <a:pt x="558" y="76"/>
                  </a:lnTo>
                  <a:lnTo>
                    <a:pt x="558" y="76"/>
                  </a:lnTo>
                  <a:lnTo>
                    <a:pt x="556" y="76"/>
                  </a:lnTo>
                  <a:lnTo>
                    <a:pt x="554" y="76"/>
                  </a:lnTo>
                  <a:lnTo>
                    <a:pt x="550" y="74"/>
                  </a:lnTo>
                  <a:lnTo>
                    <a:pt x="548" y="74"/>
                  </a:lnTo>
                  <a:lnTo>
                    <a:pt x="546" y="72"/>
                  </a:lnTo>
                  <a:lnTo>
                    <a:pt x="550" y="70"/>
                  </a:lnTo>
                  <a:lnTo>
                    <a:pt x="552" y="70"/>
                  </a:lnTo>
                  <a:lnTo>
                    <a:pt x="554" y="70"/>
                  </a:lnTo>
                  <a:lnTo>
                    <a:pt x="558" y="72"/>
                  </a:lnTo>
                  <a:lnTo>
                    <a:pt x="558" y="72"/>
                  </a:lnTo>
                  <a:lnTo>
                    <a:pt x="560" y="72"/>
                  </a:lnTo>
                  <a:lnTo>
                    <a:pt x="560" y="72"/>
                  </a:lnTo>
                  <a:lnTo>
                    <a:pt x="560" y="70"/>
                  </a:lnTo>
                  <a:lnTo>
                    <a:pt x="558" y="70"/>
                  </a:lnTo>
                  <a:lnTo>
                    <a:pt x="556" y="70"/>
                  </a:lnTo>
                  <a:lnTo>
                    <a:pt x="554" y="70"/>
                  </a:lnTo>
                  <a:lnTo>
                    <a:pt x="552" y="68"/>
                  </a:lnTo>
                  <a:lnTo>
                    <a:pt x="548" y="68"/>
                  </a:lnTo>
                  <a:lnTo>
                    <a:pt x="546" y="68"/>
                  </a:lnTo>
                  <a:lnTo>
                    <a:pt x="542" y="68"/>
                  </a:lnTo>
                  <a:lnTo>
                    <a:pt x="540" y="70"/>
                  </a:lnTo>
                  <a:lnTo>
                    <a:pt x="538" y="72"/>
                  </a:lnTo>
                  <a:lnTo>
                    <a:pt x="535" y="70"/>
                  </a:lnTo>
                  <a:lnTo>
                    <a:pt x="535" y="70"/>
                  </a:lnTo>
                  <a:lnTo>
                    <a:pt x="538" y="68"/>
                  </a:lnTo>
                  <a:lnTo>
                    <a:pt x="540" y="66"/>
                  </a:lnTo>
                  <a:lnTo>
                    <a:pt x="542" y="66"/>
                  </a:lnTo>
                  <a:lnTo>
                    <a:pt x="542" y="64"/>
                  </a:lnTo>
                  <a:lnTo>
                    <a:pt x="544" y="62"/>
                  </a:lnTo>
                  <a:lnTo>
                    <a:pt x="546" y="62"/>
                  </a:lnTo>
                  <a:lnTo>
                    <a:pt x="548" y="60"/>
                  </a:lnTo>
                  <a:lnTo>
                    <a:pt x="548" y="58"/>
                  </a:lnTo>
                  <a:lnTo>
                    <a:pt x="548" y="58"/>
                  </a:lnTo>
                  <a:lnTo>
                    <a:pt x="548" y="58"/>
                  </a:lnTo>
                  <a:lnTo>
                    <a:pt x="554" y="56"/>
                  </a:lnTo>
                  <a:lnTo>
                    <a:pt x="556" y="56"/>
                  </a:lnTo>
                  <a:lnTo>
                    <a:pt x="558" y="56"/>
                  </a:lnTo>
                  <a:lnTo>
                    <a:pt x="560" y="56"/>
                  </a:lnTo>
                  <a:lnTo>
                    <a:pt x="560" y="56"/>
                  </a:lnTo>
                  <a:lnTo>
                    <a:pt x="562" y="53"/>
                  </a:lnTo>
                  <a:lnTo>
                    <a:pt x="562" y="53"/>
                  </a:lnTo>
                  <a:lnTo>
                    <a:pt x="562" y="53"/>
                  </a:lnTo>
                  <a:lnTo>
                    <a:pt x="562" y="53"/>
                  </a:lnTo>
                  <a:lnTo>
                    <a:pt x="564" y="51"/>
                  </a:lnTo>
                  <a:lnTo>
                    <a:pt x="568" y="51"/>
                  </a:lnTo>
                  <a:lnTo>
                    <a:pt x="570" y="51"/>
                  </a:lnTo>
                  <a:lnTo>
                    <a:pt x="572" y="51"/>
                  </a:lnTo>
                  <a:lnTo>
                    <a:pt x="572" y="49"/>
                  </a:lnTo>
                  <a:lnTo>
                    <a:pt x="572" y="49"/>
                  </a:lnTo>
                  <a:lnTo>
                    <a:pt x="572" y="49"/>
                  </a:lnTo>
                  <a:lnTo>
                    <a:pt x="570" y="49"/>
                  </a:lnTo>
                  <a:lnTo>
                    <a:pt x="570" y="49"/>
                  </a:lnTo>
                  <a:lnTo>
                    <a:pt x="570" y="49"/>
                  </a:lnTo>
                  <a:lnTo>
                    <a:pt x="568" y="49"/>
                  </a:lnTo>
                  <a:lnTo>
                    <a:pt x="568" y="47"/>
                  </a:lnTo>
                  <a:lnTo>
                    <a:pt x="568" y="47"/>
                  </a:lnTo>
                  <a:lnTo>
                    <a:pt x="570" y="45"/>
                  </a:lnTo>
                  <a:lnTo>
                    <a:pt x="570" y="45"/>
                  </a:lnTo>
                  <a:lnTo>
                    <a:pt x="570" y="45"/>
                  </a:lnTo>
                  <a:lnTo>
                    <a:pt x="570" y="43"/>
                  </a:lnTo>
                  <a:lnTo>
                    <a:pt x="570" y="43"/>
                  </a:lnTo>
                  <a:lnTo>
                    <a:pt x="570" y="43"/>
                  </a:lnTo>
                  <a:lnTo>
                    <a:pt x="566" y="43"/>
                  </a:lnTo>
                  <a:lnTo>
                    <a:pt x="564" y="43"/>
                  </a:lnTo>
                  <a:lnTo>
                    <a:pt x="564" y="43"/>
                  </a:lnTo>
                  <a:lnTo>
                    <a:pt x="564" y="43"/>
                  </a:lnTo>
                  <a:lnTo>
                    <a:pt x="564" y="43"/>
                  </a:lnTo>
                  <a:lnTo>
                    <a:pt x="564" y="41"/>
                  </a:lnTo>
                  <a:lnTo>
                    <a:pt x="564" y="41"/>
                  </a:lnTo>
                  <a:lnTo>
                    <a:pt x="566" y="39"/>
                  </a:lnTo>
                  <a:lnTo>
                    <a:pt x="568" y="39"/>
                  </a:lnTo>
                  <a:lnTo>
                    <a:pt x="572" y="37"/>
                  </a:lnTo>
                  <a:lnTo>
                    <a:pt x="572" y="37"/>
                  </a:lnTo>
                  <a:lnTo>
                    <a:pt x="574" y="37"/>
                  </a:lnTo>
                  <a:lnTo>
                    <a:pt x="577" y="37"/>
                  </a:lnTo>
                  <a:lnTo>
                    <a:pt x="581" y="37"/>
                  </a:lnTo>
                  <a:lnTo>
                    <a:pt x="587" y="39"/>
                  </a:lnTo>
                  <a:lnTo>
                    <a:pt x="589" y="39"/>
                  </a:lnTo>
                  <a:lnTo>
                    <a:pt x="593" y="37"/>
                  </a:lnTo>
                  <a:lnTo>
                    <a:pt x="595" y="37"/>
                  </a:lnTo>
                  <a:lnTo>
                    <a:pt x="597" y="37"/>
                  </a:lnTo>
                  <a:lnTo>
                    <a:pt x="599" y="37"/>
                  </a:lnTo>
                  <a:lnTo>
                    <a:pt x="603" y="37"/>
                  </a:lnTo>
                  <a:lnTo>
                    <a:pt x="605" y="37"/>
                  </a:lnTo>
                  <a:lnTo>
                    <a:pt x="609" y="35"/>
                  </a:lnTo>
                  <a:lnTo>
                    <a:pt x="609" y="35"/>
                  </a:lnTo>
                  <a:lnTo>
                    <a:pt x="603" y="35"/>
                  </a:lnTo>
                  <a:lnTo>
                    <a:pt x="603" y="35"/>
                  </a:lnTo>
                  <a:lnTo>
                    <a:pt x="601" y="33"/>
                  </a:lnTo>
                  <a:lnTo>
                    <a:pt x="605" y="33"/>
                  </a:lnTo>
                  <a:lnTo>
                    <a:pt x="609" y="33"/>
                  </a:lnTo>
                  <a:lnTo>
                    <a:pt x="613" y="33"/>
                  </a:lnTo>
                  <a:lnTo>
                    <a:pt x="618" y="31"/>
                  </a:lnTo>
                  <a:lnTo>
                    <a:pt x="624" y="31"/>
                  </a:lnTo>
                  <a:lnTo>
                    <a:pt x="626" y="31"/>
                  </a:lnTo>
                  <a:lnTo>
                    <a:pt x="628" y="31"/>
                  </a:lnTo>
                  <a:lnTo>
                    <a:pt x="628" y="29"/>
                  </a:lnTo>
                  <a:lnTo>
                    <a:pt x="628" y="29"/>
                  </a:lnTo>
                  <a:lnTo>
                    <a:pt x="626" y="29"/>
                  </a:lnTo>
                  <a:lnTo>
                    <a:pt x="626" y="29"/>
                  </a:lnTo>
                  <a:lnTo>
                    <a:pt x="628" y="29"/>
                  </a:lnTo>
                  <a:lnTo>
                    <a:pt x="632" y="29"/>
                  </a:lnTo>
                  <a:lnTo>
                    <a:pt x="636" y="29"/>
                  </a:lnTo>
                  <a:lnTo>
                    <a:pt x="640" y="27"/>
                  </a:lnTo>
                  <a:lnTo>
                    <a:pt x="646" y="25"/>
                  </a:lnTo>
                  <a:lnTo>
                    <a:pt x="648" y="25"/>
                  </a:lnTo>
                  <a:lnTo>
                    <a:pt x="657" y="23"/>
                  </a:lnTo>
                  <a:lnTo>
                    <a:pt x="657" y="23"/>
                  </a:lnTo>
                  <a:lnTo>
                    <a:pt x="657" y="23"/>
                  </a:lnTo>
                  <a:lnTo>
                    <a:pt x="657" y="2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5" name="Freeform 166">
              <a:extLst>
                <a:ext uri="{FF2B5EF4-FFF2-40B4-BE49-F238E27FC236}">
                  <a16:creationId xmlns:a16="http://schemas.microsoft.com/office/drawing/2014/main" id="{1399F54C-8CE5-784B-92B7-27365791B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7101" y="3267602"/>
              <a:ext cx="4754" cy="4754"/>
            </a:xfrm>
            <a:custGeom>
              <a:avLst/>
              <a:gdLst>
                <a:gd name="T0" fmla="*/ 2 w 4"/>
                <a:gd name="T1" fmla="*/ 0 h 4"/>
                <a:gd name="T2" fmla="*/ 2 w 4"/>
                <a:gd name="T3" fmla="*/ 0 h 4"/>
                <a:gd name="T4" fmla="*/ 2 w 4"/>
                <a:gd name="T5" fmla="*/ 2 h 4"/>
                <a:gd name="T6" fmla="*/ 0 w 4"/>
                <a:gd name="T7" fmla="*/ 2 h 4"/>
                <a:gd name="T8" fmla="*/ 0 w 4"/>
                <a:gd name="T9" fmla="*/ 4 h 4"/>
                <a:gd name="T10" fmla="*/ 2 w 4"/>
                <a:gd name="T11" fmla="*/ 4 h 4"/>
                <a:gd name="T12" fmla="*/ 2 w 4"/>
                <a:gd name="T13" fmla="*/ 2 h 4"/>
                <a:gd name="T14" fmla="*/ 4 w 4"/>
                <a:gd name="T15" fmla="*/ 0 h 4"/>
                <a:gd name="T16" fmla="*/ 2 w 4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6" name="Freeform 172">
              <a:extLst>
                <a:ext uri="{FF2B5EF4-FFF2-40B4-BE49-F238E27FC236}">
                  <a16:creationId xmlns:a16="http://schemas.microsoft.com/office/drawing/2014/main" id="{82CE4360-EB46-E249-9EBD-5FDCE3B312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105" y="3723943"/>
              <a:ext cx="300662" cy="263822"/>
            </a:xfrm>
            <a:custGeom>
              <a:avLst/>
              <a:gdLst>
                <a:gd name="T0" fmla="*/ 226 w 253"/>
                <a:gd name="T1" fmla="*/ 222 h 222"/>
                <a:gd name="T2" fmla="*/ 226 w 253"/>
                <a:gd name="T3" fmla="*/ 222 h 222"/>
                <a:gd name="T4" fmla="*/ 251 w 253"/>
                <a:gd name="T5" fmla="*/ 179 h 222"/>
                <a:gd name="T6" fmla="*/ 248 w 253"/>
                <a:gd name="T7" fmla="*/ 179 h 222"/>
                <a:gd name="T8" fmla="*/ 248 w 253"/>
                <a:gd name="T9" fmla="*/ 179 h 222"/>
                <a:gd name="T10" fmla="*/ 251 w 253"/>
                <a:gd name="T11" fmla="*/ 181 h 222"/>
                <a:gd name="T12" fmla="*/ 251 w 253"/>
                <a:gd name="T13" fmla="*/ 179 h 222"/>
                <a:gd name="T14" fmla="*/ 181 w 253"/>
                <a:gd name="T15" fmla="*/ 177 h 222"/>
                <a:gd name="T16" fmla="*/ 179 w 253"/>
                <a:gd name="T17" fmla="*/ 177 h 222"/>
                <a:gd name="T18" fmla="*/ 240 w 253"/>
                <a:gd name="T19" fmla="*/ 177 h 222"/>
                <a:gd name="T20" fmla="*/ 177 w 253"/>
                <a:gd name="T21" fmla="*/ 173 h 222"/>
                <a:gd name="T22" fmla="*/ 175 w 253"/>
                <a:gd name="T23" fmla="*/ 173 h 222"/>
                <a:gd name="T24" fmla="*/ 179 w 253"/>
                <a:gd name="T25" fmla="*/ 175 h 222"/>
                <a:gd name="T26" fmla="*/ 179 w 253"/>
                <a:gd name="T27" fmla="*/ 165 h 222"/>
                <a:gd name="T28" fmla="*/ 177 w 253"/>
                <a:gd name="T29" fmla="*/ 167 h 222"/>
                <a:gd name="T30" fmla="*/ 177 w 253"/>
                <a:gd name="T31" fmla="*/ 169 h 222"/>
                <a:gd name="T32" fmla="*/ 177 w 253"/>
                <a:gd name="T33" fmla="*/ 167 h 222"/>
                <a:gd name="T34" fmla="*/ 177 w 253"/>
                <a:gd name="T35" fmla="*/ 167 h 222"/>
                <a:gd name="T36" fmla="*/ 179 w 253"/>
                <a:gd name="T37" fmla="*/ 165 h 222"/>
                <a:gd name="T38" fmla="*/ 39 w 253"/>
                <a:gd name="T39" fmla="*/ 163 h 222"/>
                <a:gd name="T40" fmla="*/ 35 w 253"/>
                <a:gd name="T41" fmla="*/ 163 h 222"/>
                <a:gd name="T42" fmla="*/ 37 w 253"/>
                <a:gd name="T43" fmla="*/ 165 h 222"/>
                <a:gd name="T44" fmla="*/ 41 w 253"/>
                <a:gd name="T45" fmla="*/ 167 h 222"/>
                <a:gd name="T46" fmla="*/ 43 w 253"/>
                <a:gd name="T47" fmla="*/ 167 h 222"/>
                <a:gd name="T48" fmla="*/ 31 w 253"/>
                <a:gd name="T49" fmla="*/ 161 h 222"/>
                <a:gd name="T50" fmla="*/ 31 w 253"/>
                <a:gd name="T51" fmla="*/ 163 h 222"/>
                <a:gd name="T52" fmla="*/ 33 w 253"/>
                <a:gd name="T53" fmla="*/ 161 h 222"/>
                <a:gd name="T54" fmla="*/ 2 w 253"/>
                <a:gd name="T55" fmla="*/ 146 h 222"/>
                <a:gd name="T56" fmla="*/ 2 w 253"/>
                <a:gd name="T57" fmla="*/ 151 h 222"/>
                <a:gd name="T58" fmla="*/ 4 w 253"/>
                <a:gd name="T59" fmla="*/ 148 h 222"/>
                <a:gd name="T60" fmla="*/ 129 w 253"/>
                <a:gd name="T61" fmla="*/ 144 h 222"/>
                <a:gd name="T62" fmla="*/ 131 w 253"/>
                <a:gd name="T63" fmla="*/ 146 h 222"/>
                <a:gd name="T64" fmla="*/ 127 w 253"/>
                <a:gd name="T65" fmla="*/ 144 h 222"/>
                <a:gd name="T66" fmla="*/ 127 w 253"/>
                <a:gd name="T67" fmla="*/ 146 h 222"/>
                <a:gd name="T68" fmla="*/ 2 w 253"/>
                <a:gd name="T69" fmla="*/ 144 h 222"/>
                <a:gd name="T70" fmla="*/ 2 w 253"/>
                <a:gd name="T71" fmla="*/ 146 h 222"/>
                <a:gd name="T72" fmla="*/ 2 w 253"/>
                <a:gd name="T73" fmla="*/ 144 h 222"/>
                <a:gd name="T74" fmla="*/ 94 w 253"/>
                <a:gd name="T75" fmla="*/ 138 h 222"/>
                <a:gd name="T76" fmla="*/ 94 w 253"/>
                <a:gd name="T77" fmla="*/ 136 h 222"/>
                <a:gd name="T78" fmla="*/ 94 w 253"/>
                <a:gd name="T79" fmla="*/ 138 h 222"/>
                <a:gd name="T80" fmla="*/ 97 w 253"/>
                <a:gd name="T81" fmla="*/ 140 h 222"/>
                <a:gd name="T82" fmla="*/ 144 w 253"/>
                <a:gd name="T83" fmla="*/ 136 h 222"/>
                <a:gd name="T84" fmla="*/ 144 w 253"/>
                <a:gd name="T85" fmla="*/ 134 h 222"/>
                <a:gd name="T86" fmla="*/ 99 w 253"/>
                <a:gd name="T87" fmla="*/ 130 h 222"/>
                <a:gd name="T88" fmla="*/ 101 w 253"/>
                <a:gd name="T89" fmla="*/ 132 h 222"/>
                <a:gd name="T90" fmla="*/ 189 w 253"/>
                <a:gd name="T91" fmla="*/ 31 h 222"/>
                <a:gd name="T92" fmla="*/ 189 w 253"/>
                <a:gd name="T93" fmla="*/ 33 h 222"/>
                <a:gd name="T94" fmla="*/ 189 w 253"/>
                <a:gd name="T95" fmla="*/ 31 h 222"/>
                <a:gd name="T96" fmla="*/ 181 w 253"/>
                <a:gd name="T97" fmla="*/ 23 h 222"/>
                <a:gd name="T98" fmla="*/ 181 w 253"/>
                <a:gd name="T99" fmla="*/ 23 h 222"/>
                <a:gd name="T100" fmla="*/ 181 w 253"/>
                <a:gd name="T101" fmla="*/ 21 h 222"/>
                <a:gd name="T102" fmla="*/ 185 w 253"/>
                <a:gd name="T103" fmla="*/ 19 h 222"/>
                <a:gd name="T104" fmla="*/ 181 w 253"/>
                <a:gd name="T105" fmla="*/ 19 h 222"/>
                <a:gd name="T106" fmla="*/ 164 w 253"/>
                <a:gd name="T107" fmla="*/ 13 h 222"/>
                <a:gd name="T108" fmla="*/ 164 w 253"/>
                <a:gd name="T109" fmla="*/ 11 h 222"/>
                <a:gd name="T110" fmla="*/ 170 w 253"/>
                <a:gd name="T111" fmla="*/ 2 h 222"/>
                <a:gd name="T112" fmla="*/ 170 w 253"/>
                <a:gd name="T113" fmla="*/ 5 h 222"/>
                <a:gd name="T114" fmla="*/ 172 w 253"/>
                <a:gd name="T115" fmla="*/ 2 h 222"/>
                <a:gd name="T116" fmla="*/ 164 w 253"/>
                <a:gd name="T117" fmla="*/ 2 h 222"/>
                <a:gd name="T118" fmla="*/ 160 w 253"/>
                <a:gd name="T119" fmla="*/ 2 h 222"/>
                <a:gd name="T120" fmla="*/ 162 w 253"/>
                <a:gd name="T121" fmla="*/ 5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3" h="222">
                  <a:moveTo>
                    <a:pt x="224" y="220"/>
                  </a:moveTo>
                  <a:lnTo>
                    <a:pt x="224" y="222"/>
                  </a:lnTo>
                  <a:lnTo>
                    <a:pt x="226" y="222"/>
                  </a:lnTo>
                  <a:lnTo>
                    <a:pt x="226" y="222"/>
                  </a:lnTo>
                  <a:lnTo>
                    <a:pt x="226" y="222"/>
                  </a:lnTo>
                  <a:lnTo>
                    <a:pt x="226" y="222"/>
                  </a:lnTo>
                  <a:lnTo>
                    <a:pt x="226" y="222"/>
                  </a:lnTo>
                  <a:lnTo>
                    <a:pt x="224" y="220"/>
                  </a:lnTo>
                  <a:close/>
                  <a:moveTo>
                    <a:pt x="251" y="179"/>
                  </a:moveTo>
                  <a:lnTo>
                    <a:pt x="251" y="179"/>
                  </a:lnTo>
                  <a:lnTo>
                    <a:pt x="248" y="179"/>
                  </a:lnTo>
                  <a:lnTo>
                    <a:pt x="248" y="179"/>
                  </a:lnTo>
                  <a:lnTo>
                    <a:pt x="248" y="179"/>
                  </a:lnTo>
                  <a:lnTo>
                    <a:pt x="248" y="179"/>
                  </a:lnTo>
                  <a:lnTo>
                    <a:pt x="248" y="179"/>
                  </a:lnTo>
                  <a:lnTo>
                    <a:pt x="251" y="179"/>
                  </a:lnTo>
                  <a:lnTo>
                    <a:pt x="251" y="181"/>
                  </a:lnTo>
                  <a:lnTo>
                    <a:pt x="251" y="181"/>
                  </a:lnTo>
                  <a:lnTo>
                    <a:pt x="251" y="181"/>
                  </a:lnTo>
                  <a:lnTo>
                    <a:pt x="253" y="181"/>
                  </a:lnTo>
                  <a:lnTo>
                    <a:pt x="251" y="179"/>
                  </a:lnTo>
                  <a:close/>
                  <a:moveTo>
                    <a:pt x="179" y="177"/>
                  </a:moveTo>
                  <a:lnTo>
                    <a:pt x="179" y="177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179" y="177"/>
                  </a:lnTo>
                  <a:close/>
                  <a:moveTo>
                    <a:pt x="238" y="175"/>
                  </a:moveTo>
                  <a:lnTo>
                    <a:pt x="238" y="175"/>
                  </a:lnTo>
                  <a:lnTo>
                    <a:pt x="240" y="177"/>
                  </a:lnTo>
                  <a:lnTo>
                    <a:pt x="240" y="177"/>
                  </a:lnTo>
                  <a:lnTo>
                    <a:pt x="238" y="175"/>
                  </a:lnTo>
                  <a:close/>
                  <a:moveTo>
                    <a:pt x="177" y="173"/>
                  </a:moveTo>
                  <a:lnTo>
                    <a:pt x="177" y="171"/>
                  </a:lnTo>
                  <a:lnTo>
                    <a:pt x="175" y="171"/>
                  </a:lnTo>
                  <a:lnTo>
                    <a:pt x="175" y="173"/>
                  </a:lnTo>
                  <a:lnTo>
                    <a:pt x="177" y="173"/>
                  </a:lnTo>
                  <a:lnTo>
                    <a:pt x="177" y="175"/>
                  </a:lnTo>
                  <a:lnTo>
                    <a:pt x="179" y="175"/>
                  </a:lnTo>
                  <a:lnTo>
                    <a:pt x="179" y="173"/>
                  </a:lnTo>
                  <a:lnTo>
                    <a:pt x="177" y="173"/>
                  </a:lnTo>
                  <a:close/>
                  <a:moveTo>
                    <a:pt x="179" y="165"/>
                  </a:moveTo>
                  <a:lnTo>
                    <a:pt x="177" y="165"/>
                  </a:lnTo>
                  <a:lnTo>
                    <a:pt x="177" y="167"/>
                  </a:lnTo>
                  <a:lnTo>
                    <a:pt x="177" y="167"/>
                  </a:lnTo>
                  <a:lnTo>
                    <a:pt x="177" y="167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77" y="167"/>
                  </a:lnTo>
                  <a:lnTo>
                    <a:pt x="177" y="167"/>
                  </a:lnTo>
                  <a:lnTo>
                    <a:pt x="177" y="167"/>
                  </a:lnTo>
                  <a:lnTo>
                    <a:pt x="177" y="167"/>
                  </a:lnTo>
                  <a:lnTo>
                    <a:pt x="177" y="167"/>
                  </a:lnTo>
                  <a:lnTo>
                    <a:pt x="179" y="165"/>
                  </a:lnTo>
                  <a:lnTo>
                    <a:pt x="179" y="165"/>
                  </a:lnTo>
                  <a:lnTo>
                    <a:pt x="179" y="165"/>
                  </a:lnTo>
                  <a:lnTo>
                    <a:pt x="179" y="165"/>
                  </a:lnTo>
                  <a:close/>
                  <a:moveTo>
                    <a:pt x="41" y="165"/>
                  </a:moveTo>
                  <a:lnTo>
                    <a:pt x="39" y="163"/>
                  </a:lnTo>
                  <a:lnTo>
                    <a:pt x="39" y="161"/>
                  </a:lnTo>
                  <a:lnTo>
                    <a:pt x="37" y="161"/>
                  </a:lnTo>
                  <a:lnTo>
                    <a:pt x="35" y="163"/>
                  </a:lnTo>
                  <a:lnTo>
                    <a:pt x="35" y="163"/>
                  </a:lnTo>
                  <a:lnTo>
                    <a:pt x="35" y="163"/>
                  </a:lnTo>
                  <a:lnTo>
                    <a:pt x="37" y="165"/>
                  </a:lnTo>
                  <a:lnTo>
                    <a:pt x="39" y="167"/>
                  </a:lnTo>
                  <a:lnTo>
                    <a:pt x="41" y="165"/>
                  </a:lnTo>
                  <a:lnTo>
                    <a:pt x="41" y="167"/>
                  </a:lnTo>
                  <a:lnTo>
                    <a:pt x="43" y="167"/>
                  </a:lnTo>
                  <a:lnTo>
                    <a:pt x="43" y="169"/>
                  </a:lnTo>
                  <a:lnTo>
                    <a:pt x="43" y="167"/>
                  </a:lnTo>
                  <a:lnTo>
                    <a:pt x="43" y="165"/>
                  </a:lnTo>
                  <a:lnTo>
                    <a:pt x="41" y="165"/>
                  </a:lnTo>
                  <a:close/>
                  <a:moveTo>
                    <a:pt x="31" y="161"/>
                  </a:moveTo>
                  <a:lnTo>
                    <a:pt x="31" y="161"/>
                  </a:lnTo>
                  <a:lnTo>
                    <a:pt x="31" y="163"/>
                  </a:lnTo>
                  <a:lnTo>
                    <a:pt x="31" y="163"/>
                  </a:lnTo>
                  <a:lnTo>
                    <a:pt x="31" y="163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1"/>
                  </a:lnTo>
                  <a:close/>
                  <a:moveTo>
                    <a:pt x="2" y="146"/>
                  </a:moveTo>
                  <a:lnTo>
                    <a:pt x="2" y="148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4" y="148"/>
                  </a:lnTo>
                  <a:lnTo>
                    <a:pt x="2" y="146"/>
                  </a:lnTo>
                  <a:close/>
                  <a:moveTo>
                    <a:pt x="129" y="144"/>
                  </a:moveTo>
                  <a:lnTo>
                    <a:pt x="129" y="144"/>
                  </a:lnTo>
                  <a:lnTo>
                    <a:pt x="129" y="144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29" y="144"/>
                  </a:lnTo>
                  <a:lnTo>
                    <a:pt x="129" y="144"/>
                  </a:lnTo>
                  <a:close/>
                  <a:moveTo>
                    <a:pt x="127" y="144"/>
                  </a:moveTo>
                  <a:lnTo>
                    <a:pt x="125" y="144"/>
                  </a:lnTo>
                  <a:lnTo>
                    <a:pt x="127" y="146"/>
                  </a:lnTo>
                  <a:lnTo>
                    <a:pt x="127" y="146"/>
                  </a:lnTo>
                  <a:lnTo>
                    <a:pt x="127" y="144"/>
                  </a:lnTo>
                  <a:lnTo>
                    <a:pt x="127" y="144"/>
                  </a:lnTo>
                  <a:close/>
                  <a:moveTo>
                    <a:pt x="2" y="144"/>
                  </a:moveTo>
                  <a:lnTo>
                    <a:pt x="0" y="144"/>
                  </a:lnTo>
                  <a:lnTo>
                    <a:pt x="0" y="144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2" y="144"/>
                  </a:lnTo>
                  <a:lnTo>
                    <a:pt x="2" y="144"/>
                  </a:lnTo>
                  <a:close/>
                  <a:moveTo>
                    <a:pt x="97" y="138"/>
                  </a:moveTo>
                  <a:lnTo>
                    <a:pt x="94" y="138"/>
                  </a:lnTo>
                  <a:lnTo>
                    <a:pt x="94" y="136"/>
                  </a:lnTo>
                  <a:lnTo>
                    <a:pt x="92" y="136"/>
                  </a:lnTo>
                  <a:lnTo>
                    <a:pt x="94" y="136"/>
                  </a:lnTo>
                  <a:lnTo>
                    <a:pt x="94" y="136"/>
                  </a:lnTo>
                  <a:lnTo>
                    <a:pt x="94" y="138"/>
                  </a:lnTo>
                  <a:lnTo>
                    <a:pt x="94" y="138"/>
                  </a:lnTo>
                  <a:lnTo>
                    <a:pt x="94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38"/>
                  </a:lnTo>
                  <a:close/>
                  <a:moveTo>
                    <a:pt x="144" y="136"/>
                  </a:moveTo>
                  <a:lnTo>
                    <a:pt x="144" y="136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4" y="136"/>
                  </a:lnTo>
                  <a:close/>
                  <a:moveTo>
                    <a:pt x="101" y="130"/>
                  </a:moveTo>
                  <a:lnTo>
                    <a:pt x="99" y="130"/>
                  </a:lnTo>
                  <a:lnTo>
                    <a:pt x="101" y="130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1" y="130"/>
                  </a:lnTo>
                  <a:close/>
                  <a:moveTo>
                    <a:pt x="189" y="31"/>
                  </a:moveTo>
                  <a:lnTo>
                    <a:pt x="189" y="33"/>
                  </a:lnTo>
                  <a:lnTo>
                    <a:pt x="189" y="33"/>
                  </a:lnTo>
                  <a:lnTo>
                    <a:pt x="189" y="33"/>
                  </a:lnTo>
                  <a:lnTo>
                    <a:pt x="189" y="31"/>
                  </a:lnTo>
                  <a:lnTo>
                    <a:pt x="189" y="31"/>
                  </a:lnTo>
                  <a:lnTo>
                    <a:pt x="189" y="31"/>
                  </a:lnTo>
                  <a:close/>
                  <a:moveTo>
                    <a:pt x="181" y="23"/>
                  </a:moveTo>
                  <a:lnTo>
                    <a:pt x="181" y="23"/>
                  </a:lnTo>
                  <a:lnTo>
                    <a:pt x="181" y="23"/>
                  </a:lnTo>
                  <a:lnTo>
                    <a:pt x="181" y="23"/>
                  </a:lnTo>
                  <a:lnTo>
                    <a:pt x="181" y="23"/>
                  </a:lnTo>
                  <a:lnTo>
                    <a:pt x="181" y="23"/>
                  </a:lnTo>
                  <a:close/>
                  <a:moveTo>
                    <a:pt x="181" y="19"/>
                  </a:moveTo>
                  <a:lnTo>
                    <a:pt x="179" y="19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85" y="19"/>
                  </a:lnTo>
                  <a:lnTo>
                    <a:pt x="185" y="19"/>
                  </a:lnTo>
                  <a:lnTo>
                    <a:pt x="185" y="19"/>
                  </a:lnTo>
                  <a:lnTo>
                    <a:pt x="181" y="19"/>
                  </a:lnTo>
                  <a:close/>
                  <a:moveTo>
                    <a:pt x="162" y="13"/>
                  </a:moveTo>
                  <a:lnTo>
                    <a:pt x="162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1"/>
                  </a:lnTo>
                  <a:lnTo>
                    <a:pt x="164" y="11"/>
                  </a:lnTo>
                  <a:lnTo>
                    <a:pt x="162" y="13"/>
                  </a:lnTo>
                  <a:close/>
                  <a:moveTo>
                    <a:pt x="172" y="2"/>
                  </a:moveTo>
                  <a:lnTo>
                    <a:pt x="170" y="2"/>
                  </a:lnTo>
                  <a:lnTo>
                    <a:pt x="170" y="2"/>
                  </a:lnTo>
                  <a:lnTo>
                    <a:pt x="170" y="2"/>
                  </a:lnTo>
                  <a:lnTo>
                    <a:pt x="170" y="5"/>
                  </a:lnTo>
                  <a:lnTo>
                    <a:pt x="170" y="5"/>
                  </a:lnTo>
                  <a:lnTo>
                    <a:pt x="172" y="5"/>
                  </a:lnTo>
                  <a:lnTo>
                    <a:pt x="172" y="2"/>
                  </a:lnTo>
                  <a:lnTo>
                    <a:pt x="172" y="2"/>
                  </a:lnTo>
                  <a:close/>
                  <a:moveTo>
                    <a:pt x="164" y="2"/>
                  </a:moveTo>
                  <a:lnTo>
                    <a:pt x="164" y="2"/>
                  </a:lnTo>
                  <a:lnTo>
                    <a:pt x="162" y="2"/>
                  </a:lnTo>
                  <a:lnTo>
                    <a:pt x="160" y="0"/>
                  </a:lnTo>
                  <a:lnTo>
                    <a:pt x="160" y="2"/>
                  </a:lnTo>
                  <a:lnTo>
                    <a:pt x="160" y="2"/>
                  </a:lnTo>
                  <a:lnTo>
                    <a:pt x="160" y="5"/>
                  </a:lnTo>
                  <a:lnTo>
                    <a:pt x="162" y="5"/>
                  </a:lnTo>
                  <a:lnTo>
                    <a:pt x="162" y="5"/>
                  </a:lnTo>
                  <a:lnTo>
                    <a:pt x="164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7" name="Freeform 173">
              <a:extLst>
                <a:ext uri="{FF2B5EF4-FFF2-40B4-BE49-F238E27FC236}">
                  <a16:creationId xmlns:a16="http://schemas.microsoft.com/office/drawing/2014/main" id="{AD07445A-15BD-594F-911D-BDCB75BB6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6635" y="3406643"/>
              <a:ext cx="58231" cy="80810"/>
            </a:xfrm>
            <a:custGeom>
              <a:avLst/>
              <a:gdLst>
                <a:gd name="T0" fmla="*/ 49 w 49"/>
                <a:gd name="T1" fmla="*/ 29 h 68"/>
                <a:gd name="T2" fmla="*/ 47 w 49"/>
                <a:gd name="T3" fmla="*/ 23 h 68"/>
                <a:gd name="T4" fmla="*/ 45 w 49"/>
                <a:gd name="T5" fmla="*/ 23 h 68"/>
                <a:gd name="T6" fmla="*/ 45 w 49"/>
                <a:gd name="T7" fmla="*/ 25 h 68"/>
                <a:gd name="T8" fmla="*/ 43 w 49"/>
                <a:gd name="T9" fmla="*/ 27 h 68"/>
                <a:gd name="T10" fmla="*/ 43 w 49"/>
                <a:gd name="T11" fmla="*/ 25 h 68"/>
                <a:gd name="T12" fmla="*/ 43 w 49"/>
                <a:gd name="T13" fmla="*/ 23 h 68"/>
                <a:gd name="T14" fmla="*/ 41 w 49"/>
                <a:gd name="T15" fmla="*/ 19 h 68"/>
                <a:gd name="T16" fmla="*/ 39 w 49"/>
                <a:gd name="T17" fmla="*/ 17 h 68"/>
                <a:gd name="T18" fmla="*/ 37 w 49"/>
                <a:gd name="T19" fmla="*/ 15 h 68"/>
                <a:gd name="T20" fmla="*/ 29 w 49"/>
                <a:gd name="T21" fmla="*/ 8 h 68"/>
                <a:gd name="T22" fmla="*/ 20 w 49"/>
                <a:gd name="T23" fmla="*/ 4 h 68"/>
                <a:gd name="T24" fmla="*/ 12 w 49"/>
                <a:gd name="T25" fmla="*/ 2 h 68"/>
                <a:gd name="T26" fmla="*/ 10 w 49"/>
                <a:gd name="T27" fmla="*/ 8 h 68"/>
                <a:gd name="T28" fmla="*/ 8 w 49"/>
                <a:gd name="T29" fmla="*/ 10 h 68"/>
                <a:gd name="T30" fmla="*/ 4 w 49"/>
                <a:gd name="T31" fmla="*/ 15 h 68"/>
                <a:gd name="T32" fmla="*/ 4 w 49"/>
                <a:gd name="T33" fmla="*/ 17 h 68"/>
                <a:gd name="T34" fmla="*/ 4 w 49"/>
                <a:gd name="T35" fmla="*/ 21 h 68"/>
                <a:gd name="T36" fmla="*/ 4 w 49"/>
                <a:gd name="T37" fmla="*/ 23 h 68"/>
                <a:gd name="T38" fmla="*/ 4 w 49"/>
                <a:gd name="T39" fmla="*/ 25 h 68"/>
                <a:gd name="T40" fmla="*/ 4 w 49"/>
                <a:gd name="T41" fmla="*/ 29 h 68"/>
                <a:gd name="T42" fmla="*/ 6 w 49"/>
                <a:gd name="T43" fmla="*/ 31 h 68"/>
                <a:gd name="T44" fmla="*/ 6 w 49"/>
                <a:gd name="T45" fmla="*/ 33 h 68"/>
                <a:gd name="T46" fmla="*/ 8 w 49"/>
                <a:gd name="T47" fmla="*/ 37 h 68"/>
                <a:gd name="T48" fmla="*/ 10 w 49"/>
                <a:gd name="T49" fmla="*/ 39 h 68"/>
                <a:gd name="T50" fmla="*/ 10 w 49"/>
                <a:gd name="T51" fmla="*/ 41 h 68"/>
                <a:gd name="T52" fmla="*/ 10 w 49"/>
                <a:gd name="T53" fmla="*/ 43 h 68"/>
                <a:gd name="T54" fmla="*/ 10 w 49"/>
                <a:gd name="T55" fmla="*/ 45 h 68"/>
                <a:gd name="T56" fmla="*/ 8 w 49"/>
                <a:gd name="T57" fmla="*/ 49 h 68"/>
                <a:gd name="T58" fmla="*/ 8 w 49"/>
                <a:gd name="T59" fmla="*/ 54 h 68"/>
                <a:gd name="T60" fmla="*/ 6 w 49"/>
                <a:gd name="T61" fmla="*/ 58 h 68"/>
                <a:gd name="T62" fmla="*/ 2 w 49"/>
                <a:gd name="T63" fmla="*/ 62 h 68"/>
                <a:gd name="T64" fmla="*/ 2 w 49"/>
                <a:gd name="T65" fmla="*/ 64 h 68"/>
                <a:gd name="T66" fmla="*/ 0 w 49"/>
                <a:gd name="T67" fmla="*/ 64 h 68"/>
                <a:gd name="T68" fmla="*/ 2 w 49"/>
                <a:gd name="T69" fmla="*/ 66 h 68"/>
                <a:gd name="T70" fmla="*/ 4 w 49"/>
                <a:gd name="T71" fmla="*/ 66 h 68"/>
                <a:gd name="T72" fmla="*/ 6 w 49"/>
                <a:gd name="T73" fmla="*/ 68 h 68"/>
                <a:gd name="T74" fmla="*/ 8 w 49"/>
                <a:gd name="T75" fmla="*/ 68 h 68"/>
                <a:gd name="T76" fmla="*/ 12 w 49"/>
                <a:gd name="T77" fmla="*/ 66 h 68"/>
                <a:gd name="T78" fmla="*/ 12 w 49"/>
                <a:gd name="T79" fmla="*/ 64 h 68"/>
                <a:gd name="T80" fmla="*/ 14 w 49"/>
                <a:gd name="T81" fmla="*/ 64 h 68"/>
                <a:gd name="T82" fmla="*/ 14 w 49"/>
                <a:gd name="T83" fmla="*/ 64 h 68"/>
                <a:gd name="T84" fmla="*/ 18 w 49"/>
                <a:gd name="T85" fmla="*/ 66 h 68"/>
                <a:gd name="T86" fmla="*/ 20 w 49"/>
                <a:gd name="T87" fmla="*/ 66 h 68"/>
                <a:gd name="T88" fmla="*/ 20 w 49"/>
                <a:gd name="T89" fmla="*/ 64 h 68"/>
                <a:gd name="T90" fmla="*/ 22 w 49"/>
                <a:gd name="T91" fmla="*/ 66 h 68"/>
                <a:gd name="T92" fmla="*/ 24 w 49"/>
                <a:gd name="T93" fmla="*/ 66 h 68"/>
                <a:gd name="T94" fmla="*/ 27 w 49"/>
                <a:gd name="T95" fmla="*/ 68 h 68"/>
                <a:gd name="T96" fmla="*/ 29 w 49"/>
                <a:gd name="T97" fmla="*/ 66 h 68"/>
                <a:gd name="T98" fmla="*/ 31 w 49"/>
                <a:gd name="T99" fmla="*/ 64 h 68"/>
                <a:gd name="T100" fmla="*/ 33 w 49"/>
                <a:gd name="T101" fmla="*/ 62 h 68"/>
                <a:gd name="T102" fmla="*/ 35 w 49"/>
                <a:gd name="T103" fmla="*/ 60 h 68"/>
                <a:gd name="T104" fmla="*/ 35 w 49"/>
                <a:gd name="T105" fmla="*/ 54 h 68"/>
                <a:gd name="T106" fmla="*/ 37 w 49"/>
                <a:gd name="T107" fmla="*/ 52 h 68"/>
                <a:gd name="T108" fmla="*/ 37 w 49"/>
                <a:gd name="T109" fmla="*/ 49 h 68"/>
                <a:gd name="T110" fmla="*/ 39 w 49"/>
                <a:gd name="T111" fmla="*/ 47 h 68"/>
                <a:gd name="T112" fmla="*/ 41 w 49"/>
                <a:gd name="T113" fmla="*/ 45 h 68"/>
                <a:gd name="T114" fmla="*/ 43 w 49"/>
                <a:gd name="T115" fmla="*/ 39 h 68"/>
                <a:gd name="T116" fmla="*/ 45 w 49"/>
                <a:gd name="T117" fmla="*/ 39 h 68"/>
                <a:gd name="T118" fmla="*/ 45 w 49"/>
                <a:gd name="T119" fmla="*/ 37 h 68"/>
                <a:gd name="T120" fmla="*/ 47 w 49"/>
                <a:gd name="T121" fmla="*/ 35 h 68"/>
                <a:gd name="T122" fmla="*/ 49 w 49"/>
                <a:gd name="T123" fmla="*/ 33 h 68"/>
                <a:gd name="T124" fmla="*/ 49 w 49"/>
                <a:gd name="T125" fmla="*/ 3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" h="68">
                  <a:moveTo>
                    <a:pt x="49" y="31"/>
                  </a:moveTo>
                  <a:lnTo>
                    <a:pt x="49" y="29"/>
                  </a:lnTo>
                  <a:lnTo>
                    <a:pt x="49" y="29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5" y="23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5"/>
                  </a:lnTo>
                  <a:lnTo>
                    <a:pt x="45" y="25"/>
                  </a:lnTo>
                  <a:lnTo>
                    <a:pt x="43" y="23"/>
                  </a:lnTo>
                  <a:lnTo>
                    <a:pt x="43" y="21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7" y="15"/>
                  </a:lnTo>
                  <a:lnTo>
                    <a:pt x="31" y="10"/>
                  </a:lnTo>
                  <a:lnTo>
                    <a:pt x="29" y="8"/>
                  </a:lnTo>
                  <a:lnTo>
                    <a:pt x="24" y="6"/>
                  </a:lnTo>
                  <a:lnTo>
                    <a:pt x="20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10"/>
                  </a:lnTo>
                  <a:lnTo>
                    <a:pt x="6" y="12"/>
                  </a:lnTo>
                  <a:lnTo>
                    <a:pt x="4" y="15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3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4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3"/>
                  </a:lnTo>
                  <a:lnTo>
                    <a:pt x="6" y="35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10" y="39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5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8" y="52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6" y="58"/>
                  </a:lnTo>
                  <a:lnTo>
                    <a:pt x="4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6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20" y="66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3" y="62"/>
                  </a:lnTo>
                  <a:lnTo>
                    <a:pt x="33" y="60"/>
                  </a:lnTo>
                  <a:lnTo>
                    <a:pt x="35" y="60"/>
                  </a:lnTo>
                  <a:lnTo>
                    <a:pt x="35" y="58"/>
                  </a:lnTo>
                  <a:lnTo>
                    <a:pt x="35" y="54"/>
                  </a:lnTo>
                  <a:lnTo>
                    <a:pt x="37" y="54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49"/>
                  </a:lnTo>
                  <a:lnTo>
                    <a:pt x="37" y="49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1"/>
                  </a:lnTo>
                  <a:lnTo>
                    <a:pt x="49" y="31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8" name="Freeform 178">
              <a:extLst>
                <a:ext uri="{FF2B5EF4-FFF2-40B4-BE49-F238E27FC236}">
                  <a16:creationId xmlns:a16="http://schemas.microsoft.com/office/drawing/2014/main" id="{959AB306-BC45-4449-899C-90E66E0B15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9127" y="4648509"/>
              <a:ext cx="54666" cy="21391"/>
            </a:xfrm>
            <a:custGeom>
              <a:avLst/>
              <a:gdLst>
                <a:gd name="T0" fmla="*/ 23 w 46"/>
                <a:gd name="T1" fmla="*/ 14 h 18"/>
                <a:gd name="T2" fmla="*/ 23 w 46"/>
                <a:gd name="T3" fmla="*/ 16 h 18"/>
                <a:gd name="T4" fmla="*/ 23 w 46"/>
                <a:gd name="T5" fmla="*/ 14 h 18"/>
                <a:gd name="T6" fmla="*/ 39 w 46"/>
                <a:gd name="T7" fmla="*/ 12 h 18"/>
                <a:gd name="T8" fmla="*/ 39 w 46"/>
                <a:gd name="T9" fmla="*/ 12 h 18"/>
                <a:gd name="T10" fmla="*/ 2 w 46"/>
                <a:gd name="T11" fmla="*/ 8 h 18"/>
                <a:gd name="T12" fmla="*/ 2 w 46"/>
                <a:gd name="T13" fmla="*/ 10 h 18"/>
                <a:gd name="T14" fmla="*/ 5 w 46"/>
                <a:gd name="T15" fmla="*/ 10 h 18"/>
                <a:gd name="T16" fmla="*/ 23 w 46"/>
                <a:gd name="T17" fmla="*/ 4 h 18"/>
                <a:gd name="T18" fmla="*/ 25 w 46"/>
                <a:gd name="T19" fmla="*/ 2 h 18"/>
                <a:gd name="T20" fmla="*/ 21 w 46"/>
                <a:gd name="T21" fmla="*/ 0 h 18"/>
                <a:gd name="T22" fmla="*/ 19 w 46"/>
                <a:gd name="T23" fmla="*/ 2 h 18"/>
                <a:gd name="T24" fmla="*/ 15 w 46"/>
                <a:gd name="T25" fmla="*/ 2 h 18"/>
                <a:gd name="T26" fmla="*/ 11 w 46"/>
                <a:gd name="T27" fmla="*/ 2 h 18"/>
                <a:gd name="T28" fmla="*/ 5 w 46"/>
                <a:gd name="T29" fmla="*/ 0 h 18"/>
                <a:gd name="T30" fmla="*/ 7 w 46"/>
                <a:gd name="T31" fmla="*/ 4 h 18"/>
                <a:gd name="T32" fmla="*/ 13 w 46"/>
                <a:gd name="T33" fmla="*/ 6 h 18"/>
                <a:gd name="T34" fmla="*/ 9 w 46"/>
                <a:gd name="T35" fmla="*/ 6 h 18"/>
                <a:gd name="T36" fmla="*/ 11 w 46"/>
                <a:gd name="T37" fmla="*/ 8 h 18"/>
                <a:gd name="T38" fmla="*/ 13 w 46"/>
                <a:gd name="T39" fmla="*/ 8 h 18"/>
                <a:gd name="T40" fmla="*/ 13 w 46"/>
                <a:gd name="T41" fmla="*/ 10 h 18"/>
                <a:gd name="T42" fmla="*/ 7 w 46"/>
                <a:gd name="T43" fmla="*/ 10 h 18"/>
                <a:gd name="T44" fmla="*/ 11 w 46"/>
                <a:gd name="T45" fmla="*/ 16 h 18"/>
                <a:gd name="T46" fmla="*/ 13 w 46"/>
                <a:gd name="T47" fmla="*/ 14 h 18"/>
                <a:gd name="T48" fmla="*/ 15 w 46"/>
                <a:gd name="T49" fmla="*/ 14 h 18"/>
                <a:gd name="T50" fmla="*/ 17 w 46"/>
                <a:gd name="T51" fmla="*/ 12 h 18"/>
                <a:gd name="T52" fmla="*/ 21 w 46"/>
                <a:gd name="T53" fmla="*/ 8 h 18"/>
                <a:gd name="T54" fmla="*/ 23 w 46"/>
                <a:gd name="T55" fmla="*/ 4 h 18"/>
                <a:gd name="T56" fmla="*/ 13 w 46"/>
                <a:gd name="T57" fmla="*/ 0 h 18"/>
                <a:gd name="T58" fmla="*/ 9 w 46"/>
                <a:gd name="T59" fmla="*/ 0 h 18"/>
                <a:gd name="T60" fmla="*/ 46 w 46"/>
                <a:gd name="T61" fmla="*/ 6 h 18"/>
                <a:gd name="T62" fmla="*/ 44 w 46"/>
                <a:gd name="T63" fmla="*/ 4 h 18"/>
                <a:gd name="T64" fmla="*/ 41 w 46"/>
                <a:gd name="T65" fmla="*/ 2 h 18"/>
                <a:gd name="T66" fmla="*/ 37 w 46"/>
                <a:gd name="T67" fmla="*/ 2 h 18"/>
                <a:gd name="T68" fmla="*/ 39 w 46"/>
                <a:gd name="T69" fmla="*/ 4 h 18"/>
                <a:gd name="T70" fmla="*/ 35 w 46"/>
                <a:gd name="T71" fmla="*/ 4 h 18"/>
                <a:gd name="T72" fmla="*/ 35 w 46"/>
                <a:gd name="T73" fmla="*/ 2 h 18"/>
                <a:gd name="T74" fmla="*/ 33 w 46"/>
                <a:gd name="T75" fmla="*/ 0 h 18"/>
                <a:gd name="T76" fmla="*/ 27 w 46"/>
                <a:gd name="T77" fmla="*/ 0 h 18"/>
                <a:gd name="T78" fmla="*/ 27 w 46"/>
                <a:gd name="T79" fmla="*/ 4 h 18"/>
                <a:gd name="T80" fmla="*/ 29 w 46"/>
                <a:gd name="T81" fmla="*/ 6 h 18"/>
                <a:gd name="T82" fmla="*/ 27 w 46"/>
                <a:gd name="T83" fmla="*/ 8 h 18"/>
                <a:gd name="T84" fmla="*/ 23 w 46"/>
                <a:gd name="T85" fmla="*/ 14 h 18"/>
                <a:gd name="T86" fmla="*/ 29 w 46"/>
                <a:gd name="T87" fmla="*/ 18 h 18"/>
                <a:gd name="T88" fmla="*/ 31 w 46"/>
                <a:gd name="T89" fmla="*/ 16 h 18"/>
                <a:gd name="T90" fmla="*/ 31 w 46"/>
                <a:gd name="T91" fmla="*/ 12 h 18"/>
                <a:gd name="T92" fmla="*/ 37 w 46"/>
                <a:gd name="T93" fmla="*/ 12 h 18"/>
                <a:gd name="T94" fmla="*/ 41 w 46"/>
                <a:gd name="T95" fmla="*/ 8 h 18"/>
                <a:gd name="T96" fmla="*/ 46 w 46"/>
                <a:gd name="T9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" h="18">
                  <a:moveTo>
                    <a:pt x="23" y="14"/>
                  </a:moveTo>
                  <a:lnTo>
                    <a:pt x="23" y="14"/>
                  </a:lnTo>
                  <a:lnTo>
                    <a:pt x="23" y="14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5" y="16"/>
                  </a:lnTo>
                  <a:lnTo>
                    <a:pt x="23" y="14"/>
                  </a:lnTo>
                  <a:lnTo>
                    <a:pt x="23" y="14"/>
                  </a:lnTo>
                  <a:close/>
                  <a:moveTo>
                    <a:pt x="39" y="12"/>
                  </a:moveTo>
                  <a:lnTo>
                    <a:pt x="39" y="12"/>
                  </a:lnTo>
                  <a:lnTo>
                    <a:pt x="39" y="12"/>
                  </a:lnTo>
                  <a:lnTo>
                    <a:pt x="39" y="14"/>
                  </a:lnTo>
                  <a:lnTo>
                    <a:pt x="41" y="14"/>
                  </a:lnTo>
                  <a:lnTo>
                    <a:pt x="39" y="12"/>
                  </a:lnTo>
                  <a:lnTo>
                    <a:pt x="39" y="12"/>
                  </a:lnTo>
                  <a:close/>
                  <a:moveTo>
                    <a:pt x="5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8"/>
                  </a:lnTo>
                  <a:lnTo>
                    <a:pt x="5" y="8"/>
                  </a:lnTo>
                  <a:close/>
                  <a:moveTo>
                    <a:pt x="23" y="4"/>
                  </a:moveTo>
                  <a:lnTo>
                    <a:pt x="23" y="4"/>
                  </a:lnTo>
                  <a:lnTo>
                    <a:pt x="23" y="4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4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1" y="10"/>
                  </a:lnTo>
                  <a:lnTo>
                    <a:pt x="9" y="12"/>
                  </a:lnTo>
                  <a:lnTo>
                    <a:pt x="7" y="10"/>
                  </a:lnTo>
                  <a:lnTo>
                    <a:pt x="5" y="12"/>
                  </a:lnTo>
                  <a:lnTo>
                    <a:pt x="9" y="14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1" y="8"/>
                  </a:lnTo>
                  <a:lnTo>
                    <a:pt x="21" y="6"/>
                  </a:lnTo>
                  <a:lnTo>
                    <a:pt x="23" y="6"/>
                  </a:lnTo>
                  <a:lnTo>
                    <a:pt x="23" y="4"/>
                  </a:lnTo>
                  <a:close/>
                  <a:moveTo>
                    <a:pt x="11" y="2"/>
                  </a:move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1" y="2"/>
                  </a:lnTo>
                  <a:close/>
                  <a:moveTo>
                    <a:pt x="46" y="6"/>
                  </a:moveTo>
                  <a:lnTo>
                    <a:pt x="46" y="6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4" y="2"/>
                  </a:lnTo>
                  <a:lnTo>
                    <a:pt x="41" y="2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3" y="10"/>
                  </a:lnTo>
                  <a:lnTo>
                    <a:pt x="25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7" y="16"/>
                  </a:lnTo>
                  <a:lnTo>
                    <a:pt x="29" y="18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1" y="16"/>
                  </a:lnTo>
                  <a:lnTo>
                    <a:pt x="33" y="14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7" y="14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5" y="10"/>
                  </a:lnTo>
                  <a:lnTo>
                    <a:pt x="39" y="10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9" name="Freeform 183">
              <a:extLst>
                <a:ext uri="{FF2B5EF4-FFF2-40B4-BE49-F238E27FC236}">
                  <a16:creationId xmlns:a16="http://schemas.microsoft.com/office/drawing/2014/main" id="{8BB45E94-F6A9-9F4F-9ABA-03052D84D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9949" y="3218878"/>
              <a:ext cx="46347" cy="26145"/>
            </a:xfrm>
            <a:custGeom>
              <a:avLst/>
              <a:gdLst>
                <a:gd name="T0" fmla="*/ 37 w 39"/>
                <a:gd name="T1" fmla="*/ 16 h 22"/>
                <a:gd name="T2" fmla="*/ 39 w 39"/>
                <a:gd name="T3" fmla="*/ 12 h 22"/>
                <a:gd name="T4" fmla="*/ 37 w 39"/>
                <a:gd name="T5" fmla="*/ 10 h 22"/>
                <a:gd name="T6" fmla="*/ 33 w 39"/>
                <a:gd name="T7" fmla="*/ 10 h 22"/>
                <a:gd name="T8" fmla="*/ 33 w 39"/>
                <a:gd name="T9" fmla="*/ 8 h 22"/>
                <a:gd name="T10" fmla="*/ 29 w 39"/>
                <a:gd name="T11" fmla="*/ 10 h 22"/>
                <a:gd name="T12" fmla="*/ 27 w 39"/>
                <a:gd name="T13" fmla="*/ 10 h 22"/>
                <a:gd name="T14" fmla="*/ 27 w 39"/>
                <a:gd name="T15" fmla="*/ 10 h 22"/>
                <a:gd name="T16" fmla="*/ 25 w 39"/>
                <a:gd name="T17" fmla="*/ 8 h 22"/>
                <a:gd name="T18" fmla="*/ 23 w 39"/>
                <a:gd name="T19" fmla="*/ 8 h 22"/>
                <a:gd name="T20" fmla="*/ 23 w 39"/>
                <a:gd name="T21" fmla="*/ 6 h 22"/>
                <a:gd name="T22" fmla="*/ 21 w 39"/>
                <a:gd name="T23" fmla="*/ 6 h 22"/>
                <a:gd name="T24" fmla="*/ 19 w 39"/>
                <a:gd name="T25" fmla="*/ 2 h 22"/>
                <a:gd name="T26" fmla="*/ 17 w 39"/>
                <a:gd name="T27" fmla="*/ 2 h 22"/>
                <a:gd name="T28" fmla="*/ 13 w 39"/>
                <a:gd name="T29" fmla="*/ 0 h 22"/>
                <a:gd name="T30" fmla="*/ 13 w 39"/>
                <a:gd name="T31" fmla="*/ 0 h 22"/>
                <a:gd name="T32" fmla="*/ 11 w 39"/>
                <a:gd name="T33" fmla="*/ 0 h 22"/>
                <a:gd name="T34" fmla="*/ 11 w 39"/>
                <a:gd name="T35" fmla="*/ 2 h 22"/>
                <a:gd name="T36" fmla="*/ 11 w 39"/>
                <a:gd name="T37" fmla="*/ 4 h 22"/>
                <a:gd name="T38" fmla="*/ 9 w 39"/>
                <a:gd name="T39" fmla="*/ 4 h 22"/>
                <a:gd name="T40" fmla="*/ 6 w 39"/>
                <a:gd name="T41" fmla="*/ 6 h 22"/>
                <a:gd name="T42" fmla="*/ 6 w 39"/>
                <a:gd name="T43" fmla="*/ 8 h 22"/>
                <a:gd name="T44" fmla="*/ 4 w 39"/>
                <a:gd name="T45" fmla="*/ 8 h 22"/>
                <a:gd name="T46" fmla="*/ 0 w 39"/>
                <a:gd name="T47" fmla="*/ 10 h 22"/>
                <a:gd name="T48" fmla="*/ 0 w 39"/>
                <a:gd name="T49" fmla="*/ 12 h 22"/>
                <a:gd name="T50" fmla="*/ 2 w 39"/>
                <a:gd name="T51" fmla="*/ 14 h 22"/>
                <a:gd name="T52" fmla="*/ 9 w 39"/>
                <a:gd name="T53" fmla="*/ 16 h 22"/>
                <a:gd name="T54" fmla="*/ 19 w 39"/>
                <a:gd name="T55" fmla="*/ 20 h 22"/>
                <a:gd name="T56" fmla="*/ 25 w 39"/>
                <a:gd name="T57" fmla="*/ 22 h 22"/>
                <a:gd name="T58" fmla="*/ 23 w 39"/>
                <a:gd name="T59" fmla="*/ 22 h 22"/>
                <a:gd name="T60" fmla="*/ 23 w 39"/>
                <a:gd name="T61" fmla="*/ 20 h 22"/>
                <a:gd name="T62" fmla="*/ 29 w 39"/>
                <a:gd name="T63" fmla="*/ 22 h 22"/>
                <a:gd name="T64" fmla="*/ 33 w 39"/>
                <a:gd name="T65" fmla="*/ 22 h 22"/>
                <a:gd name="T66" fmla="*/ 35 w 39"/>
                <a:gd name="T67" fmla="*/ 20 h 22"/>
                <a:gd name="T68" fmla="*/ 35 w 39"/>
                <a:gd name="T69" fmla="*/ 18 h 22"/>
                <a:gd name="T70" fmla="*/ 37 w 39"/>
                <a:gd name="T71" fmla="*/ 18 h 22"/>
                <a:gd name="T72" fmla="*/ 37 w 39"/>
                <a:gd name="T73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22">
                  <a:moveTo>
                    <a:pt x="37" y="16"/>
                  </a:moveTo>
                  <a:lnTo>
                    <a:pt x="37" y="16"/>
                  </a:lnTo>
                  <a:lnTo>
                    <a:pt x="37" y="14"/>
                  </a:lnTo>
                  <a:lnTo>
                    <a:pt x="39" y="12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5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8"/>
                  </a:lnTo>
                  <a:lnTo>
                    <a:pt x="31" y="8"/>
                  </a:lnTo>
                  <a:lnTo>
                    <a:pt x="29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9" y="4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9" y="16"/>
                  </a:lnTo>
                  <a:lnTo>
                    <a:pt x="13" y="18"/>
                  </a:lnTo>
                  <a:lnTo>
                    <a:pt x="19" y="20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1" y="20"/>
                  </a:lnTo>
                  <a:lnTo>
                    <a:pt x="23" y="20"/>
                  </a:lnTo>
                  <a:lnTo>
                    <a:pt x="27" y="22"/>
                  </a:lnTo>
                  <a:lnTo>
                    <a:pt x="2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5" y="22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6"/>
                  </a:lnTo>
                  <a:lnTo>
                    <a:pt x="37" y="1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0" name="Freeform 185">
              <a:extLst>
                <a:ext uri="{FF2B5EF4-FFF2-40B4-BE49-F238E27FC236}">
                  <a16:creationId xmlns:a16="http://schemas.microsoft.com/office/drawing/2014/main" id="{52EDCE53-A3E8-1B42-8395-23E6BF4496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3602" y="3501714"/>
              <a:ext cx="314923" cy="142607"/>
            </a:xfrm>
            <a:custGeom>
              <a:avLst/>
              <a:gdLst>
                <a:gd name="T0" fmla="*/ 191 w 265"/>
                <a:gd name="T1" fmla="*/ 76 h 120"/>
                <a:gd name="T2" fmla="*/ 185 w 265"/>
                <a:gd name="T3" fmla="*/ 80 h 120"/>
                <a:gd name="T4" fmla="*/ 19 w 265"/>
                <a:gd name="T5" fmla="*/ 52 h 120"/>
                <a:gd name="T6" fmla="*/ 39 w 265"/>
                <a:gd name="T7" fmla="*/ 39 h 120"/>
                <a:gd name="T8" fmla="*/ 33 w 265"/>
                <a:gd name="T9" fmla="*/ 43 h 120"/>
                <a:gd name="T10" fmla="*/ 39 w 265"/>
                <a:gd name="T11" fmla="*/ 41 h 120"/>
                <a:gd name="T12" fmla="*/ 21 w 265"/>
                <a:gd name="T13" fmla="*/ 41 h 120"/>
                <a:gd name="T14" fmla="*/ 23 w 265"/>
                <a:gd name="T15" fmla="*/ 35 h 120"/>
                <a:gd name="T16" fmla="*/ 0 w 265"/>
                <a:gd name="T17" fmla="*/ 33 h 120"/>
                <a:gd name="T18" fmla="*/ 15 w 265"/>
                <a:gd name="T19" fmla="*/ 29 h 120"/>
                <a:gd name="T20" fmla="*/ 19 w 265"/>
                <a:gd name="T21" fmla="*/ 33 h 120"/>
                <a:gd name="T22" fmla="*/ 11 w 265"/>
                <a:gd name="T23" fmla="*/ 35 h 120"/>
                <a:gd name="T24" fmla="*/ 2 w 265"/>
                <a:gd name="T25" fmla="*/ 25 h 120"/>
                <a:gd name="T26" fmla="*/ 4 w 265"/>
                <a:gd name="T27" fmla="*/ 27 h 120"/>
                <a:gd name="T28" fmla="*/ 4 w 265"/>
                <a:gd name="T29" fmla="*/ 39 h 120"/>
                <a:gd name="T30" fmla="*/ 9 w 265"/>
                <a:gd name="T31" fmla="*/ 46 h 120"/>
                <a:gd name="T32" fmla="*/ 208 w 265"/>
                <a:gd name="T33" fmla="*/ 2 h 120"/>
                <a:gd name="T34" fmla="*/ 265 w 265"/>
                <a:gd name="T35" fmla="*/ 39 h 120"/>
                <a:gd name="T36" fmla="*/ 261 w 265"/>
                <a:gd name="T37" fmla="*/ 31 h 120"/>
                <a:gd name="T38" fmla="*/ 263 w 265"/>
                <a:gd name="T39" fmla="*/ 29 h 120"/>
                <a:gd name="T40" fmla="*/ 255 w 265"/>
                <a:gd name="T41" fmla="*/ 25 h 120"/>
                <a:gd name="T42" fmla="*/ 247 w 265"/>
                <a:gd name="T43" fmla="*/ 19 h 120"/>
                <a:gd name="T44" fmla="*/ 243 w 265"/>
                <a:gd name="T45" fmla="*/ 23 h 120"/>
                <a:gd name="T46" fmla="*/ 236 w 265"/>
                <a:gd name="T47" fmla="*/ 21 h 120"/>
                <a:gd name="T48" fmla="*/ 230 w 265"/>
                <a:gd name="T49" fmla="*/ 15 h 120"/>
                <a:gd name="T50" fmla="*/ 226 w 265"/>
                <a:gd name="T51" fmla="*/ 13 h 120"/>
                <a:gd name="T52" fmla="*/ 212 w 265"/>
                <a:gd name="T53" fmla="*/ 4 h 120"/>
                <a:gd name="T54" fmla="*/ 208 w 265"/>
                <a:gd name="T55" fmla="*/ 4 h 120"/>
                <a:gd name="T56" fmla="*/ 191 w 265"/>
                <a:gd name="T57" fmla="*/ 11 h 120"/>
                <a:gd name="T58" fmla="*/ 187 w 265"/>
                <a:gd name="T59" fmla="*/ 27 h 120"/>
                <a:gd name="T60" fmla="*/ 185 w 265"/>
                <a:gd name="T61" fmla="*/ 39 h 120"/>
                <a:gd name="T62" fmla="*/ 175 w 265"/>
                <a:gd name="T63" fmla="*/ 46 h 120"/>
                <a:gd name="T64" fmla="*/ 177 w 265"/>
                <a:gd name="T65" fmla="*/ 62 h 120"/>
                <a:gd name="T66" fmla="*/ 175 w 265"/>
                <a:gd name="T67" fmla="*/ 70 h 120"/>
                <a:gd name="T68" fmla="*/ 185 w 265"/>
                <a:gd name="T69" fmla="*/ 76 h 120"/>
                <a:gd name="T70" fmla="*/ 191 w 265"/>
                <a:gd name="T71" fmla="*/ 74 h 120"/>
                <a:gd name="T72" fmla="*/ 191 w 265"/>
                <a:gd name="T73" fmla="*/ 70 h 120"/>
                <a:gd name="T74" fmla="*/ 189 w 265"/>
                <a:gd name="T75" fmla="*/ 87 h 120"/>
                <a:gd name="T76" fmla="*/ 185 w 265"/>
                <a:gd name="T77" fmla="*/ 91 h 120"/>
                <a:gd name="T78" fmla="*/ 187 w 265"/>
                <a:gd name="T79" fmla="*/ 95 h 120"/>
                <a:gd name="T80" fmla="*/ 187 w 265"/>
                <a:gd name="T81" fmla="*/ 99 h 120"/>
                <a:gd name="T82" fmla="*/ 183 w 265"/>
                <a:gd name="T83" fmla="*/ 101 h 120"/>
                <a:gd name="T84" fmla="*/ 183 w 265"/>
                <a:gd name="T85" fmla="*/ 107 h 120"/>
                <a:gd name="T86" fmla="*/ 187 w 265"/>
                <a:gd name="T87" fmla="*/ 107 h 120"/>
                <a:gd name="T88" fmla="*/ 195 w 265"/>
                <a:gd name="T89" fmla="*/ 109 h 120"/>
                <a:gd name="T90" fmla="*/ 202 w 265"/>
                <a:gd name="T91" fmla="*/ 115 h 120"/>
                <a:gd name="T92" fmla="*/ 208 w 265"/>
                <a:gd name="T93" fmla="*/ 118 h 120"/>
                <a:gd name="T94" fmla="*/ 210 w 265"/>
                <a:gd name="T95" fmla="*/ 113 h 120"/>
                <a:gd name="T96" fmla="*/ 212 w 265"/>
                <a:gd name="T97" fmla="*/ 107 h 120"/>
                <a:gd name="T98" fmla="*/ 214 w 265"/>
                <a:gd name="T99" fmla="*/ 99 h 120"/>
                <a:gd name="T100" fmla="*/ 216 w 265"/>
                <a:gd name="T101" fmla="*/ 93 h 120"/>
                <a:gd name="T102" fmla="*/ 218 w 265"/>
                <a:gd name="T103" fmla="*/ 91 h 120"/>
                <a:gd name="T104" fmla="*/ 220 w 265"/>
                <a:gd name="T105" fmla="*/ 89 h 120"/>
                <a:gd name="T106" fmla="*/ 228 w 265"/>
                <a:gd name="T107" fmla="*/ 80 h 120"/>
                <a:gd name="T108" fmla="*/ 247 w 265"/>
                <a:gd name="T109" fmla="*/ 72 h 120"/>
                <a:gd name="T110" fmla="*/ 259 w 265"/>
                <a:gd name="T111" fmla="*/ 56 h 120"/>
                <a:gd name="T112" fmla="*/ 263 w 265"/>
                <a:gd name="T113" fmla="*/ 4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5" h="120">
                  <a:moveTo>
                    <a:pt x="187" y="83"/>
                  </a:moveTo>
                  <a:lnTo>
                    <a:pt x="187" y="83"/>
                  </a:lnTo>
                  <a:lnTo>
                    <a:pt x="187" y="78"/>
                  </a:lnTo>
                  <a:lnTo>
                    <a:pt x="189" y="78"/>
                  </a:lnTo>
                  <a:lnTo>
                    <a:pt x="189" y="78"/>
                  </a:lnTo>
                  <a:lnTo>
                    <a:pt x="191" y="76"/>
                  </a:lnTo>
                  <a:lnTo>
                    <a:pt x="189" y="76"/>
                  </a:lnTo>
                  <a:lnTo>
                    <a:pt x="189" y="76"/>
                  </a:lnTo>
                  <a:lnTo>
                    <a:pt x="187" y="76"/>
                  </a:lnTo>
                  <a:lnTo>
                    <a:pt x="185" y="78"/>
                  </a:lnTo>
                  <a:lnTo>
                    <a:pt x="185" y="78"/>
                  </a:lnTo>
                  <a:lnTo>
                    <a:pt x="185" y="80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7" y="83"/>
                  </a:lnTo>
                  <a:close/>
                  <a:moveTo>
                    <a:pt x="21" y="50"/>
                  </a:moveTo>
                  <a:lnTo>
                    <a:pt x="19" y="50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21" y="50"/>
                  </a:lnTo>
                  <a:close/>
                  <a:moveTo>
                    <a:pt x="39" y="39"/>
                  </a:moveTo>
                  <a:lnTo>
                    <a:pt x="37" y="39"/>
                  </a:lnTo>
                  <a:lnTo>
                    <a:pt x="37" y="39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5" y="46"/>
                  </a:lnTo>
                  <a:lnTo>
                    <a:pt x="37" y="43"/>
                  </a:lnTo>
                  <a:lnTo>
                    <a:pt x="37" y="41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39"/>
                  </a:lnTo>
                  <a:lnTo>
                    <a:pt x="39" y="39"/>
                  </a:lnTo>
                  <a:close/>
                  <a:moveTo>
                    <a:pt x="19" y="37"/>
                  </a:moveTo>
                  <a:lnTo>
                    <a:pt x="19" y="37"/>
                  </a:lnTo>
                  <a:lnTo>
                    <a:pt x="19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3" y="35"/>
                  </a:lnTo>
                  <a:lnTo>
                    <a:pt x="19" y="37"/>
                  </a:lnTo>
                  <a:close/>
                  <a:moveTo>
                    <a:pt x="4" y="35"/>
                  </a:moveTo>
                  <a:lnTo>
                    <a:pt x="4" y="33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15" y="29"/>
                  </a:moveTo>
                  <a:lnTo>
                    <a:pt x="13" y="31"/>
                  </a:lnTo>
                  <a:lnTo>
                    <a:pt x="13" y="31"/>
                  </a:lnTo>
                  <a:lnTo>
                    <a:pt x="15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17" y="31"/>
                  </a:lnTo>
                  <a:lnTo>
                    <a:pt x="15" y="29"/>
                  </a:lnTo>
                  <a:close/>
                  <a:moveTo>
                    <a:pt x="11" y="37"/>
                  </a:moveTo>
                  <a:lnTo>
                    <a:pt x="11" y="37"/>
                  </a:lnTo>
                  <a:lnTo>
                    <a:pt x="11" y="37"/>
                  </a:lnTo>
                  <a:lnTo>
                    <a:pt x="11" y="35"/>
                  </a:lnTo>
                  <a:lnTo>
                    <a:pt x="9" y="31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5"/>
                  </a:lnTo>
                  <a:lnTo>
                    <a:pt x="4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9" y="35"/>
                  </a:lnTo>
                  <a:lnTo>
                    <a:pt x="9" y="37"/>
                  </a:lnTo>
                  <a:lnTo>
                    <a:pt x="9" y="39"/>
                  </a:lnTo>
                  <a:lnTo>
                    <a:pt x="4" y="39"/>
                  </a:lnTo>
                  <a:lnTo>
                    <a:pt x="2" y="41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9" y="46"/>
                  </a:lnTo>
                  <a:lnTo>
                    <a:pt x="13" y="43"/>
                  </a:lnTo>
                  <a:lnTo>
                    <a:pt x="15" y="41"/>
                  </a:lnTo>
                  <a:lnTo>
                    <a:pt x="13" y="39"/>
                  </a:lnTo>
                  <a:lnTo>
                    <a:pt x="11" y="37"/>
                  </a:lnTo>
                  <a:close/>
                  <a:moveTo>
                    <a:pt x="208" y="4"/>
                  </a:moveTo>
                  <a:lnTo>
                    <a:pt x="208" y="2"/>
                  </a:lnTo>
                  <a:lnTo>
                    <a:pt x="206" y="2"/>
                  </a:lnTo>
                  <a:lnTo>
                    <a:pt x="206" y="2"/>
                  </a:lnTo>
                  <a:lnTo>
                    <a:pt x="206" y="4"/>
                  </a:lnTo>
                  <a:lnTo>
                    <a:pt x="208" y="4"/>
                  </a:lnTo>
                  <a:close/>
                  <a:moveTo>
                    <a:pt x="265" y="39"/>
                  </a:moveTo>
                  <a:lnTo>
                    <a:pt x="265" y="39"/>
                  </a:lnTo>
                  <a:lnTo>
                    <a:pt x="265" y="37"/>
                  </a:lnTo>
                  <a:lnTo>
                    <a:pt x="265" y="37"/>
                  </a:lnTo>
                  <a:lnTo>
                    <a:pt x="265" y="37"/>
                  </a:lnTo>
                  <a:lnTo>
                    <a:pt x="263" y="35"/>
                  </a:lnTo>
                  <a:lnTo>
                    <a:pt x="263" y="33"/>
                  </a:lnTo>
                  <a:lnTo>
                    <a:pt x="261" y="31"/>
                  </a:lnTo>
                  <a:lnTo>
                    <a:pt x="261" y="31"/>
                  </a:lnTo>
                  <a:lnTo>
                    <a:pt x="259" y="29"/>
                  </a:lnTo>
                  <a:lnTo>
                    <a:pt x="259" y="29"/>
                  </a:lnTo>
                  <a:lnTo>
                    <a:pt x="261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3" y="27"/>
                  </a:lnTo>
                  <a:lnTo>
                    <a:pt x="259" y="25"/>
                  </a:lnTo>
                  <a:lnTo>
                    <a:pt x="257" y="25"/>
                  </a:lnTo>
                  <a:lnTo>
                    <a:pt x="255" y="25"/>
                  </a:lnTo>
                  <a:lnTo>
                    <a:pt x="255" y="23"/>
                  </a:lnTo>
                  <a:lnTo>
                    <a:pt x="253" y="21"/>
                  </a:lnTo>
                  <a:lnTo>
                    <a:pt x="253" y="21"/>
                  </a:lnTo>
                  <a:lnTo>
                    <a:pt x="249" y="19"/>
                  </a:lnTo>
                  <a:lnTo>
                    <a:pt x="249" y="19"/>
                  </a:lnTo>
                  <a:lnTo>
                    <a:pt x="247" y="19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7" y="23"/>
                  </a:lnTo>
                  <a:lnTo>
                    <a:pt x="245" y="23"/>
                  </a:lnTo>
                  <a:lnTo>
                    <a:pt x="245" y="23"/>
                  </a:lnTo>
                  <a:lnTo>
                    <a:pt x="243" y="23"/>
                  </a:lnTo>
                  <a:lnTo>
                    <a:pt x="243" y="23"/>
                  </a:lnTo>
                  <a:lnTo>
                    <a:pt x="243" y="23"/>
                  </a:lnTo>
                  <a:lnTo>
                    <a:pt x="241" y="23"/>
                  </a:lnTo>
                  <a:lnTo>
                    <a:pt x="241" y="23"/>
                  </a:lnTo>
                  <a:lnTo>
                    <a:pt x="238" y="23"/>
                  </a:lnTo>
                  <a:lnTo>
                    <a:pt x="236" y="21"/>
                  </a:lnTo>
                  <a:lnTo>
                    <a:pt x="236" y="21"/>
                  </a:lnTo>
                  <a:lnTo>
                    <a:pt x="234" y="21"/>
                  </a:lnTo>
                  <a:lnTo>
                    <a:pt x="232" y="21"/>
                  </a:lnTo>
                  <a:lnTo>
                    <a:pt x="230" y="21"/>
                  </a:lnTo>
                  <a:lnTo>
                    <a:pt x="230" y="19"/>
                  </a:lnTo>
                  <a:lnTo>
                    <a:pt x="230" y="15"/>
                  </a:lnTo>
                  <a:lnTo>
                    <a:pt x="230" y="15"/>
                  </a:lnTo>
                  <a:lnTo>
                    <a:pt x="228" y="15"/>
                  </a:lnTo>
                  <a:lnTo>
                    <a:pt x="228" y="15"/>
                  </a:lnTo>
                  <a:lnTo>
                    <a:pt x="226" y="15"/>
                  </a:lnTo>
                  <a:lnTo>
                    <a:pt x="226" y="13"/>
                  </a:lnTo>
                  <a:lnTo>
                    <a:pt x="226" y="13"/>
                  </a:lnTo>
                  <a:lnTo>
                    <a:pt x="224" y="13"/>
                  </a:lnTo>
                  <a:lnTo>
                    <a:pt x="220" y="11"/>
                  </a:lnTo>
                  <a:lnTo>
                    <a:pt x="218" y="9"/>
                  </a:lnTo>
                  <a:lnTo>
                    <a:pt x="216" y="9"/>
                  </a:lnTo>
                  <a:lnTo>
                    <a:pt x="214" y="4"/>
                  </a:lnTo>
                  <a:lnTo>
                    <a:pt x="212" y="4"/>
                  </a:lnTo>
                  <a:lnTo>
                    <a:pt x="210" y="4"/>
                  </a:lnTo>
                  <a:lnTo>
                    <a:pt x="210" y="2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2"/>
                  </a:lnTo>
                  <a:lnTo>
                    <a:pt x="208" y="4"/>
                  </a:lnTo>
                  <a:lnTo>
                    <a:pt x="202" y="6"/>
                  </a:lnTo>
                  <a:lnTo>
                    <a:pt x="197" y="9"/>
                  </a:lnTo>
                  <a:lnTo>
                    <a:pt x="195" y="9"/>
                  </a:lnTo>
                  <a:lnTo>
                    <a:pt x="193" y="9"/>
                  </a:lnTo>
                  <a:lnTo>
                    <a:pt x="191" y="11"/>
                  </a:lnTo>
                  <a:lnTo>
                    <a:pt x="191" y="11"/>
                  </a:lnTo>
                  <a:lnTo>
                    <a:pt x="189" y="13"/>
                  </a:lnTo>
                  <a:lnTo>
                    <a:pt x="187" y="13"/>
                  </a:lnTo>
                  <a:lnTo>
                    <a:pt x="187" y="17"/>
                  </a:lnTo>
                  <a:lnTo>
                    <a:pt x="189" y="19"/>
                  </a:lnTo>
                  <a:lnTo>
                    <a:pt x="187" y="25"/>
                  </a:lnTo>
                  <a:lnTo>
                    <a:pt x="187" y="27"/>
                  </a:lnTo>
                  <a:lnTo>
                    <a:pt x="185" y="29"/>
                  </a:lnTo>
                  <a:lnTo>
                    <a:pt x="183" y="31"/>
                  </a:lnTo>
                  <a:lnTo>
                    <a:pt x="181" y="33"/>
                  </a:lnTo>
                  <a:lnTo>
                    <a:pt x="181" y="35"/>
                  </a:lnTo>
                  <a:lnTo>
                    <a:pt x="183" y="37"/>
                  </a:lnTo>
                  <a:lnTo>
                    <a:pt x="185" y="39"/>
                  </a:lnTo>
                  <a:lnTo>
                    <a:pt x="183" y="39"/>
                  </a:lnTo>
                  <a:lnTo>
                    <a:pt x="181" y="37"/>
                  </a:lnTo>
                  <a:lnTo>
                    <a:pt x="181" y="39"/>
                  </a:lnTo>
                  <a:lnTo>
                    <a:pt x="179" y="43"/>
                  </a:lnTo>
                  <a:lnTo>
                    <a:pt x="179" y="43"/>
                  </a:lnTo>
                  <a:lnTo>
                    <a:pt x="175" y="46"/>
                  </a:lnTo>
                  <a:lnTo>
                    <a:pt x="175" y="48"/>
                  </a:lnTo>
                  <a:lnTo>
                    <a:pt x="175" y="52"/>
                  </a:lnTo>
                  <a:lnTo>
                    <a:pt x="177" y="52"/>
                  </a:lnTo>
                  <a:lnTo>
                    <a:pt x="175" y="58"/>
                  </a:lnTo>
                  <a:lnTo>
                    <a:pt x="177" y="60"/>
                  </a:lnTo>
                  <a:lnTo>
                    <a:pt x="177" y="62"/>
                  </a:lnTo>
                  <a:lnTo>
                    <a:pt x="177" y="66"/>
                  </a:lnTo>
                  <a:lnTo>
                    <a:pt x="175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5" y="68"/>
                  </a:lnTo>
                  <a:lnTo>
                    <a:pt x="175" y="70"/>
                  </a:lnTo>
                  <a:lnTo>
                    <a:pt x="179" y="70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5" y="76"/>
                  </a:lnTo>
                  <a:lnTo>
                    <a:pt x="185" y="76"/>
                  </a:lnTo>
                  <a:lnTo>
                    <a:pt x="185" y="76"/>
                  </a:lnTo>
                  <a:lnTo>
                    <a:pt x="187" y="74"/>
                  </a:lnTo>
                  <a:lnTo>
                    <a:pt x="189" y="70"/>
                  </a:lnTo>
                  <a:lnTo>
                    <a:pt x="189" y="70"/>
                  </a:lnTo>
                  <a:lnTo>
                    <a:pt x="189" y="74"/>
                  </a:lnTo>
                  <a:lnTo>
                    <a:pt x="189" y="74"/>
                  </a:lnTo>
                  <a:lnTo>
                    <a:pt x="191" y="74"/>
                  </a:lnTo>
                  <a:lnTo>
                    <a:pt x="191" y="72"/>
                  </a:lnTo>
                  <a:lnTo>
                    <a:pt x="191" y="66"/>
                  </a:lnTo>
                  <a:lnTo>
                    <a:pt x="191" y="64"/>
                  </a:lnTo>
                  <a:lnTo>
                    <a:pt x="191" y="66"/>
                  </a:lnTo>
                  <a:lnTo>
                    <a:pt x="191" y="66"/>
                  </a:lnTo>
                  <a:lnTo>
                    <a:pt x="191" y="70"/>
                  </a:lnTo>
                  <a:lnTo>
                    <a:pt x="193" y="72"/>
                  </a:lnTo>
                  <a:lnTo>
                    <a:pt x="193" y="74"/>
                  </a:lnTo>
                  <a:lnTo>
                    <a:pt x="193" y="78"/>
                  </a:lnTo>
                  <a:lnTo>
                    <a:pt x="191" y="85"/>
                  </a:lnTo>
                  <a:lnTo>
                    <a:pt x="191" y="85"/>
                  </a:lnTo>
                  <a:lnTo>
                    <a:pt x="189" y="87"/>
                  </a:lnTo>
                  <a:lnTo>
                    <a:pt x="189" y="87"/>
                  </a:lnTo>
                  <a:lnTo>
                    <a:pt x="187" y="89"/>
                  </a:lnTo>
                  <a:lnTo>
                    <a:pt x="185" y="89"/>
                  </a:lnTo>
                  <a:lnTo>
                    <a:pt x="185" y="89"/>
                  </a:lnTo>
                  <a:lnTo>
                    <a:pt x="185" y="89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85" y="93"/>
                  </a:lnTo>
                  <a:lnTo>
                    <a:pt x="187" y="93"/>
                  </a:lnTo>
                  <a:lnTo>
                    <a:pt x="187" y="95"/>
                  </a:lnTo>
                  <a:lnTo>
                    <a:pt x="187" y="95"/>
                  </a:lnTo>
                  <a:lnTo>
                    <a:pt x="187" y="95"/>
                  </a:lnTo>
                  <a:lnTo>
                    <a:pt x="187" y="97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5" y="99"/>
                  </a:lnTo>
                  <a:lnTo>
                    <a:pt x="185" y="101"/>
                  </a:lnTo>
                  <a:lnTo>
                    <a:pt x="185" y="101"/>
                  </a:lnTo>
                  <a:lnTo>
                    <a:pt x="183" y="101"/>
                  </a:lnTo>
                  <a:lnTo>
                    <a:pt x="183" y="101"/>
                  </a:lnTo>
                  <a:lnTo>
                    <a:pt x="183" y="101"/>
                  </a:lnTo>
                  <a:lnTo>
                    <a:pt x="183" y="103"/>
                  </a:lnTo>
                  <a:lnTo>
                    <a:pt x="183" y="103"/>
                  </a:lnTo>
                  <a:lnTo>
                    <a:pt x="183" y="105"/>
                  </a:lnTo>
                  <a:lnTo>
                    <a:pt x="185" y="105"/>
                  </a:lnTo>
                  <a:lnTo>
                    <a:pt x="183" y="107"/>
                  </a:lnTo>
                  <a:lnTo>
                    <a:pt x="183" y="107"/>
                  </a:lnTo>
                  <a:lnTo>
                    <a:pt x="183" y="109"/>
                  </a:lnTo>
                  <a:lnTo>
                    <a:pt x="183" y="109"/>
                  </a:lnTo>
                  <a:lnTo>
                    <a:pt x="185" y="109"/>
                  </a:lnTo>
                  <a:lnTo>
                    <a:pt x="185" y="107"/>
                  </a:lnTo>
                  <a:lnTo>
                    <a:pt x="187" y="107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9" y="107"/>
                  </a:lnTo>
                  <a:lnTo>
                    <a:pt x="191" y="107"/>
                  </a:lnTo>
                  <a:lnTo>
                    <a:pt x="193" y="109"/>
                  </a:lnTo>
                  <a:lnTo>
                    <a:pt x="193" y="109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7" y="109"/>
                  </a:lnTo>
                  <a:lnTo>
                    <a:pt x="197" y="111"/>
                  </a:lnTo>
                  <a:lnTo>
                    <a:pt x="199" y="113"/>
                  </a:lnTo>
                  <a:lnTo>
                    <a:pt x="199" y="115"/>
                  </a:lnTo>
                  <a:lnTo>
                    <a:pt x="202" y="115"/>
                  </a:lnTo>
                  <a:lnTo>
                    <a:pt x="202" y="118"/>
                  </a:lnTo>
                  <a:lnTo>
                    <a:pt x="204" y="118"/>
                  </a:lnTo>
                  <a:lnTo>
                    <a:pt x="204" y="118"/>
                  </a:lnTo>
                  <a:lnTo>
                    <a:pt x="206" y="120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08" y="118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8" y="113"/>
                  </a:lnTo>
                  <a:lnTo>
                    <a:pt x="210" y="113"/>
                  </a:lnTo>
                  <a:lnTo>
                    <a:pt x="212" y="111"/>
                  </a:lnTo>
                  <a:lnTo>
                    <a:pt x="212" y="111"/>
                  </a:lnTo>
                  <a:lnTo>
                    <a:pt x="212" y="109"/>
                  </a:lnTo>
                  <a:lnTo>
                    <a:pt x="212" y="109"/>
                  </a:lnTo>
                  <a:lnTo>
                    <a:pt x="212" y="109"/>
                  </a:lnTo>
                  <a:lnTo>
                    <a:pt x="212" y="107"/>
                  </a:lnTo>
                  <a:lnTo>
                    <a:pt x="212" y="107"/>
                  </a:lnTo>
                  <a:lnTo>
                    <a:pt x="212" y="105"/>
                  </a:lnTo>
                  <a:lnTo>
                    <a:pt x="214" y="103"/>
                  </a:lnTo>
                  <a:lnTo>
                    <a:pt x="214" y="101"/>
                  </a:lnTo>
                  <a:lnTo>
                    <a:pt x="214" y="101"/>
                  </a:lnTo>
                  <a:lnTo>
                    <a:pt x="214" y="99"/>
                  </a:lnTo>
                  <a:lnTo>
                    <a:pt x="214" y="99"/>
                  </a:lnTo>
                  <a:lnTo>
                    <a:pt x="216" y="97"/>
                  </a:lnTo>
                  <a:lnTo>
                    <a:pt x="216" y="97"/>
                  </a:lnTo>
                  <a:lnTo>
                    <a:pt x="216" y="95"/>
                  </a:lnTo>
                  <a:lnTo>
                    <a:pt x="216" y="95"/>
                  </a:lnTo>
                  <a:lnTo>
                    <a:pt x="216" y="93"/>
                  </a:lnTo>
                  <a:lnTo>
                    <a:pt x="216" y="91"/>
                  </a:lnTo>
                  <a:lnTo>
                    <a:pt x="216" y="89"/>
                  </a:lnTo>
                  <a:lnTo>
                    <a:pt x="218" y="89"/>
                  </a:lnTo>
                  <a:lnTo>
                    <a:pt x="218" y="89"/>
                  </a:lnTo>
                  <a:lnTo>
                    <a:pt x="218" y="91"/>
                  </a:lnTo>
                  <a:lnTo>
                    <a:pt x="218" y="91"/>
                  </a:lnTo>
                  <a:lnTo>
                    <a:pt x="218" y="91"/>
                  </a:lnTo>
                  <a:lnTo>
                    <a:pt x="220" y="91"/>
                  </a:lnTo>
                  <a:lnTo>
                    <a:pt x="220" y="91"/>
                  </a:lnTo>
                  <a:lnTo>
                    <a:pt x="220" y="91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20" y="87"/>
                  </a:lnTo>
                  <a:lnTo>
                    <a:pt x="222" y="87"/>
                  </a:lnTo>
                  <a:lnTo>
                    <a:pt x="222" y="83"/>
                  </a:lnTo>
                  <a:lnTo>
                    <a:pt x="224" y="83"/>
                  </a:lnTo>
                  <a:lnTo>
                    <a:pt x="228" y="80"/>
                  </a:lnTo>
                  <a:lnTo>
                    <a:pt x="230" y="80"/>
                  </a:lnTo>
                  <a:lnTo>
                    <a:pt x="232" y="78"/>
                  </a:lnTo>
                  <a:lnTo>
                    <a:pt x="236" y="76"/>
                  </a:lnTo>
                  <a:lnTo>
                    <a:pt x="241" y="76"/>
                  </a:lnTo>
                  <a:lnTo>
                    <a:pt x="243" y="74"/>
                  </a:lnTo>
                  <a:lnTo>
                    <a:pt x="247" y="72"/>
                  </a:lnTo>
                  <a:lnTo>
                    <a:pt x="249" y="70"/>
                  </a:lnTo>
                  <a:lnTo>
                    <a:pt x="251" y="68"/>
                  </a:lnTo>
                  <a:lnTo>
                    <a:pt x="253" y="66"/>
                  </a:lnTo>
                  <a:lnTo>
                    <a:pt x="255" y="62"/>
                  </a:lnTo>
                  <a:lnTo>
                    <a:pt x="259" y="58"/>
                  </a:lnTo>
                  <a:lnTo>
                    <a:pt x="259" y="56"/>
                  </a:lnTo>
                  <a:lnTo>
                    <a:pt x="261" y="56"/>
                  </a:lnTo>
                  <a:lnTo>
                    <a:pt x="261" y="52"/>
                  </a:lnTo>
                  <a:lnTo>
                    <a:pt x="263" y="48"/>
                  </a:lnTo>
                  <a:lnTo>
                    <a:pt x="263" y="46"/>
                  </a:lnTo>
                  <a:lnTo>
                    <a:pt x="263" y="43"/>
                  </a:lnTo>
                  <a:lnTo>
                    <a:pt x="263" y="43"/>
                  </a:lnTo>
                  <a:lnTo>
                    <a:pt x="265" y="46"/>
                  </a:lnTo>
                  <a:lnTo>
                    <a:pt x="265" y="46"/>
                  </a:lnTo>
                  <a:lnTo>
                    <a:pt x="265" y="46"/>
                  </a:lnTo>
                  <a:lnTo>
                    <a:pt x="265" y="46"/>
                  </a:lnTo>
                  <a:lnTo>
                    <a:pt x="265" y="3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1" name="Freeform 187">
              <a:extLst>
                <a:ext uri="{FF2B5EF4-FFF2-40B4-BE49-F238E27FC236}">
                  <a16:creationId xmlns:a16="http://schemas.microsoft.com/office/drawing/2014/main" id="{F9FD0A3C-A1D3-774D-A2FC-144063AAE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466" y="3098851"/>
              <a:ext cx="71303" cy="51101"/>
            </a:xfrm>
            <a:custGeom>
              <a:avLst/>
              <a:gdLst>
                <a:gd name="T0" fmla="*/ 58 w 60"/>
                <a:gd name="T1" fmla="*/ 23 h 43"/>
                <a:gd name="T2" fmla="*/ 51 w 60"/>
                <a:gd name="T3" fmla="*/ 16 h 43"/>
                <a:gd name="T4" fmla="*/ 47 w 60"/>
                <a:gd name="T5" fmla="*/ 16 h 43"/>
                <a:gd name="T6" fmla="*/ 43 w 60"/>
                <a:gd name="T7" fmla="*/ 16 h 43"/>
                <a:gd name="T8" fmla="*/ 39 w 60"/>
                <a:gd name="T9" fmla="*/ 14 h 43"/>
                <a:gd name="T10" fmla="*/ 39 w 60"/>
                <a:gd name="T11" fmla="*/ 14 h 43"/>
                <a:gd name="T12" fmla="*/ 43 w 60"/>
                <a:gd name="T13" fmla="*/ 14 h 43"/>
                <a:gd name="T14" fmla="*/ 45 w 60"/>
                <a:gd name="T15" fmla="*/ 12 h 43"/>
                <a:gd name="T16" fmla="*/ 37 w 60"/>
                <a:gd name="T17" fmla="*/ 12 h 43"/>
                <a:gd name="T18" fmla="*/ 35 w 60"/>
                <a:gd name="T19" fmla="*/ 8 h 43"/>
                <a:gd name="T20" fmla="*/ 35 w 60"/>
                <a:gd name="T21" fmla="*/ 4 h 43"/>
                <a:gd name="T22" fmla="*/ 33 w 60"/>
                <a:gd name="T23" fmla="*/ 6 h 43"/>
                <a:gd name="T24" fmla="*/ 29 w 60"/>
                <a:gd name="T25" fmla="*/ 4 h 43"/>
                <a:gd name="T26" fmla="*/ 27 w 60"/>
                <a:gd name="T27" fmla="*/ 2 h 43"/>
                <a:gd name="T28" fmla="*/ 25 w 60"/>
                <a:gd name="T29" fmla="*/ 2 h 43"/>
                <a:gd name="T30" fmla="*/ 23 w 60"/>
                <a:gd name="T31" fmla="*/ 0 h 43"/>
                <a:gd name="T32" fmla="*/ 19 w 60"/>
                <a:gd name="T33" fmla="*/ 0 h 43"/>
                <a:gd name="T34" fmla="*/ 14 w 60"/>
                <a:gd name="T35" fmla="*/ 2 h 43"/>
                <a:gd name="T36" fmla="*/ 10 w 60"/>
                <a:gd name="T37" fmla="*/ 0 h 43"/>
                <a:gd name="T38" fmla="*/ 8 w 60"/>
                <a:gd name="T39" fmla="*/ 2 h 43"/>
                <a:gd name="T40" fmla="*/ 6 w 60"/>
                <a:gd name="T41" fmla="*/ 4 h 43"/>
                <a:gd name="T42" fmla="*/ 6 w 60"/>
                <a:gd name="T43" fmla="*/ 4 h 43"/>
                <a:gd name="T44" fmla="*/ 6 w 60"/>
                <a:gd name="T45" fmla="*/ 10 h 43"/>
                <a:gd name="T46" fmla="*/ 6 w 60"/>
                <a:gd name="T47" fmla="*/ 12 h 43"/>
                <a:gd name="T48" fmla="*/ 6 w 60"/>
                <a:gd name="T49" fmla="*/ 14 h 43"/>
                <a:gd name="T50" fmla="*/ 6 w 60"/>
                <a:gd name="T51" fmla="*/ 16 h 43"/>
                <a:gd name="T52" fmla="*/ 4 w 60"/>
                <a:gd name="T53" fmla="*/ 19 h 43"/>
                <a:gd name="T54" fmla="*/ 4 w 60"/>
                <a:gd name="T55" fmla="*/ 21 h 43"/>
                <a:gd name="T56" fmla="*/ 2 w 60"/>
                <a:gd name="T57" fmla="*/ 25 h 43"/>
                <a:gd name="T58" fmla="*/ 0 w 60"/>
                <a:gd name="T59" fmla="*/ 25 h 43"/>
                <a:gd name="T60" fmla="*/ 0 w 60"/>
                <a:gd name="T61" fmla="*/ 27 h 43"/>
                <a:gd name="T62" fmla="*/ 4 w 60"/>
                <a:gd name="T63" fmla="*/ 29 h 43"/>
                <a:gd name="T64" fmla="*/ 2 w 60"/>
                <a:gd name="T65" fmla="*/ 31 h 43"/>
                <a:gd name="T66" fmla="*/ 4 w 60"/>
                <a:gd name="T67" fmla="*/ 35 h 43"/>
                <a:gd name="T68" fmla="*/ 4 w 60"/>
                <a:gd name="T69" fmla="*/ 37 h 43"/>
                <a:gd name="T70" fmla="*/ 4 w 60"/>
                <a:gd name="T71" fmla="*/ 39 h 43"/>
                <a:gd name="T72" fmla="*/ 6 w 60"/>
                <a:gd name="T73" fmla="*/ 41 h 43"/>
                <a:gd name="T74" fmla="*/ 8 w 60"/>
                <a:gd name="T75" fmla="*/ 41 h 43"/>
                <a:gd name="T76" fmla="*/ 10 w 60"/>
                <a:gd name="T77" fmla="*/ 39 h 43"/>
                <a:gd name="T78" fmla="*/ 14 w 60"/>
                <a:gd name="T79" fmla="*/ 33 h 43"/>
                <a:gd name="T80" fmla="*/ 14 w 60"/>
                <a:gd name="T81" fmla="*/ 31 h 43"/>
                <a:gd name="T82" fmla="*/ 17 w 60"/>
                <a:gd name="T83" fmla="*/ 31 h 43"/>
                <a:gd name="T84" fmla="*/ 21 w 60"/>
                <a:gd name="T85" fmla="*/ 29 h 43"/>
                <a:gd name="T86" fmla="*/ 23 w 60"/>
                <a:gd name="T87" fmla="*/ 31 h 43"/>
                <a:gd name="T88" fmla="*/ 29 w 60"/>
                <a:gd name="T89" fmla="*/ 31 h 43"/>
                <a:gd name="T90" fmla="*/ 31 w 60"/>
                <a:gd name="T91" fmla="*/ 29 h 43"/>
                <a:gd name="T92" fmla="*/ 35 w 60"/>
                <a:gd name="T93" fmla="*/ 27 h 43"/>
                <a:gd name="T94" fmla="*/ 39 w 60"/>
                <a:gd name="T95" fmla="*/ 29 h 43"/>
                <a:gd name="T96" fmla="*/ 43 w 60"/>
                <a:gd name="T97" fmla="*/ 27 h 43"/>
                <a:gd name="T98" fmla="*/ 49 w 60"/>
                <a:gd name="T99" fmla="*/ 29 h 43"/>
                <a:gd name="T100" fmla="*/ 51 w 60"/>
                <a:gd name="T101" fmla="*/ 31 h 43"/>
                <a:gd name="T102" fmla="*/ 51 w 60"/>
                <a:gd name="T103" fmla="*/ 31 h 43"/>
                <a:gd name="T104" fmla="*/ 53 w 60"/>
                <a:gd name="T105" fmla="*/ 31 h 43"/>
                <a:gd name="T106" fmla="*/ 56 w 60"/>
                <a:gd name="T107" fmla="*/ 29 h 43"/>
                <a:gd name="T108" fmla="*/ 58 w 60"/>
                <a:gd name="T109" fmla="*/ 27 h 43"/>
                <a:gd name="T110" fmla="*/ 58 w 60"/>
                <a:gd name="T111" fmla="*/ 2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0" h="43">
                  <a:moveTo>
                    <a:pt x="58" y="23"/>
                  </a:moveTo>
                  <a:lnTo>
                    <a:pt x="58" y="23"/>
                  </a:lnTo>
                  <a:lnTo>
                    <a:pt x="53" y="19"/>
                  </a:lnTo>
                  <a:lnTo>
                    <a:pt x="51" y="16"/>
                  </a:lnTo>
                  <a:lnTo>
                    <a:pt x="49" y="16"/>
                  </a:lnTo>
                  <a:lnTo>
                    <a:pt x="47" y="16"/>
                  </a:lnTo>
                  <a:lnTo>
                    <a:pt x="45" y="16"/>
                  </a:lnTo>
                  <a:lnTo>
                    <a:pt x="43" y="16"/>
                  </a:lnTo>
                  <a:lnTo>
                    <a:pt x="41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1" y="12"/>
                  </a:lnTo>
                  <a:lnTo>
                    <a:pt x="43" y="14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0"/>
                  </a:lnTo>
                  <a:lnTo>
                    <a:pt x="37" y="12"/>
                  </a:lnTo>
                  <a:lnTo>
                    <a:pt x="37" y="10"/>
                  </a:lnTo>
                  <a:lnTo>
                    <a:pt x="35" y="8"/>
                  </a:lnTo>
                  <a:lnTo>
                    <a:pt x="35" y="6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3" y="6"/>
                  </a:lnTo>
                  <a:lnTo>
                    <a:pt x="31" y="6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8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6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3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6" y="39"/>
                  </a:lnTo>
                  <a:lnTo>
                    <a:pt x="6" y="41"/>
                  </a:lnTo>
                  <a:lnTo>
                    <a:pt x="6" y="43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10" y="39"/>
                  </a:lnTo>
                  <a:lnTo>
                    <a:pt x="12" y="35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7" y="31"/>
                  </a:lnTo>
                  <a:lnTo>
                    <a:pt x="19" y="29"/>
                  </a:lnTo>
                  <a:lnTo>
                    <a:pt x="21" y="29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3" y="29"/>
                  </a:lnTo>
                  <a:lnTo>
                    <a:pt x="35" y="27"/>
                  </a:lnTo>
                  <a:lnTo>
                    <a:pt x="37" y="27"/>
                  </a:lnTo>
                  <a:lnTo>
                    <a:pt x="39" y="29"/>
                  </a:lnTo>
                  <a:lnTo>
                    <a:pt x="41" y="29"/>
                  </a:lnTo>
                  <a:lnTo>
                    <a:pt x="43" y="27"/>
                  </a:lnTo>
                  <a:lnTo>
                    <a:pt x="47" y="29"/>
                  </a:lnTo>
                  <a:lnTo>
                    <a:pt x="49" y="29"/>
                  </a:lnTo>
                  <a:lnTo>
                    <a:pt x="51" y="29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8" y="27"/>
                  </a:lnTo>
                  <a:lnTo>
                    <a:pt x="60" y="25"/>
                  </a:lnTo>
                  <a:lnTo>
                    <a:pt x="58" y="2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2" name="Freeform 196">
              <a:extLst>
                <a:ext uri="{FF2B5EF4-FFF2-40B4-BE49-F238E27FC236}">
                  <a16:creationId xmlns:a16="http://schemas.microsoft.com/office/drawing/2014/main" id="{28F53197-7F3C-EB4F-8A42-F708DD2F1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2353" y="3027548"/>
              <a:ext cx="197272" cy="73680"/>
            </a:xfrm>
            <a:custGeom>
              <a:avLst/>
              <a:gdLst>
                <a:gd name="T0" fmla="*/ 29 w 166"/>
                <a:gd name="T1" fmla="*/ 25 h 62"/>
                <a:gd name="T2" fmla="*/ 27 w 166"/>
                <a:gd name="T3" fmla="*/ 29 h 62"/>
                <a:gd name="T4" fmla="*/ 29 w 166"/>
                <a:gd name="T5" fmla="*/ 33 h 62"/>
                <a:gd name="T6" fmla="*/ 35 w 166"/>
                <a:gd name="T7" fmla="*/ 27 h 62"/>
                <a:gd name="T8" fmla="*/ 113 w 166"/>
                <a:gd name="T9" fmla="*/ 23 h 62"/>
                <a:gd name="T10" fmla="*/ 115 w 166"/>
                <a:gd name="T11" fmla="*/ 21 h 62"/>
                <a:gd name="T12" fmla="*/ 111 w 166"/>
                <a:gd name="T13" fmla="*/ 19 h 62"/>
                <a:gd name="T14" fmla="*/ 111 w 166"/>
                <a:gd name="T15" fmla="*/ 17 h 62"/>
                <a:gd name="T16" fmla="*/ 111 w 166"/>
                <a:gd name="T17" fmla="*/ 19 h 62"/>
                <a:gd name="T18" fmla="*/ 111 w 166"/>
                <a:gd name="T19" fmla="*/ 17 h 62"/>
                <a:gd name="T20" fmla="*/ 107 w 166"/>
                <a:gd name="T21" fmla="*/ 15 h 62"/>
                <a:gd name="T22" fmla="*/ 105 w 166"/>
                <a:gd name="T23" fmla="*/ 15 h 62"/>
                <a:gd name="T24" fmla="*/ 105 w 166"/>
                <a:gd name="T25" fmla="*/ 13 h 62"/>
                <a:gd name="T26" fmla="*/ 101 w 166"/>
                <a:gd name="T27" fmla="*/ 13 h 62"/>
                <a:gd name="T28" fmla="*/ 90 w 166"/>
                <a:gd name="T29" fmla="*/ 11 h 62"/>
                <a:gd name="T30" fmla="*/ 166 w 166"/>
                <a:gd name="T31" fmla="*/ 54 h 62"/>
                <a:gd name="T32" fmla="*/ 162 w 166"/>
                <a:gd name="T33" fmla="*/ 52 h 62"/>
                <a:gd name="T34" fmla="*/ 152 w 166"/>
                <a:gd name="T35" fmla="*/ 46 h 62"/>
                <a:gd name="T36" fmla="*/ 142 w 166"/>
                <a:gd name="T37" fmla="*/ 46 h 62"/>
                <a:gd name="T38" fmla="*/ 144 w 166"/>
                <a:gd name="T39" fmla="*/ 42 h 62"/>
                <a:gd name="T40" fmla="*/ 138 w 166"/>
                <a:gd name="T41" fmla="*/ 37 h 62"/>
                <a:gd name="T42" fmla="*/ 129 w 166"/>
                <a:gd name="T43" fmla="*/ 33 h 62"/>
                <a:gd name="T44" fmla="*/ 127 w 166"/>
                <a:gd name="T45" fmla="*/ 33 h 62"/>
                <a:gd name="T46" fmla="*/ 121 w 166"/>
                <a:gd name="T47" fmla="*/ 31 h 62"/>
                <a:gd name="T48" fmla="*/ 123 w 166"/>
                <a:gd name="T49" fmla="*/ 29 h 62"/>
                <a:gd name="T50" fmla="*/ 117 w 166"/>
                <a:gd name="T51" fmla="*/ 25 h 62"/>
                <a:gd name="T52" fmla="*/ 115 w 166"/>
                <a:gd name="T53" fmla="*/ 25 h 62"/>
                <a:gd name="T54" fmla="*/ 99 w 166"/>
                <a:gd name="T55" fmla="*/ 15 h 62"/>
                <a:gd name="T56" fmla="*/ 90 w 166"/>
                <a:gd name="T57" fmla="*/ 15 h 62"/>
                <a:gd name="T58" fmla="*/ 82 w 166"/>
                <a:gd name="T59" fmla="*/ 7 h 62"/>
                <a:gd name="T60" fmla="*/ 78 w 166"/>
                <a:gd name="T61" fmla="*/ 5 h 62"/>
                <a:gd name="T62" fmla="*/ 72 w 166"/>
                <a:gd name="T63" fmla="*/ 2 h 62"/>
                <a:gd name="T64" fmla="*/ 62 w 166"/>
                <a:gd name="T65" fmla="*/ 2 h 62"/>
                <a:gd name="T66" fmla="*/ 47 w 166"/>
                <a:gd name="T67" fmla="*/ 0 h 62"/>
                <a:gd name="T68" fmla="*/ 29 w 166"/>
                <a:gd name="T69" fmla="*/ 5 h 62"/>
                <a:gd name="T70" fmla="*/ 10 w 166"/>
                <a:gd name="T71" fmla="*/ 17 h 62"/>
                <a:gd name="T72" fmla="*/ 6 w 166"/>
                <a:gd name="T73" fmla="*/ 21 h 62"/>
                <a:gd name="T74" fmla="*/ 4 w 166"/>
                <a:gd name="T75" fmla="*/ 25 h 62"/>
                <a:gd name="T76" fmla="*/ 6 w 166"/>
                <a:gd name="T77" fmla="*/ 27 h 62"/>
                <a:gd name="T78" fmla="*/ 14 w 166"/>
                <a:gd name="T79" fmla="*/ 23 h 62"/>
                <a:gd name="T80" fmla="*/ 21 w 166"/>
                <a:gd name="T81" fmla="*/ 19 h 62"/>
                <a:gd name="T82" fmla="*/ 27 w 166"/>
                <a:gd name="T83" fmla="*/ 17 h 62"/>
                <a:gd name="T84" fmla="*/ 35 w 166"/>
                <a:gd name="T85" fmla="*/ 11 h 62"/>
                <a:gd name="T86" fmla="*/ 51 w 166"/>
                <a:gd name="T87" fmla="*/ 11 h 62"/>
                <a:gd name="T88" fmla="*/ 51 w 166"/>
                <a:gd name="T89" fmla="*/ 13 h 62"/>
                <a:gd name="T90" fmla="*/ 49 w 166"/>
                <a:gd name="T91" fmla="*/ 19 h 62"/>
                <a:gd name="T92" fmla="*/ 60 w 166"/>
                <a:gd name="T93" fmla="*/ 19 h 62"/>
                <a:gd name="T94" fmla="*/ 62 w 166"/>
                <a:gd name="T95" fmla="*/ 21 h 62"/>
                <a:gd name="T96" fmla="*/ 72 w 166"/>
                <a:gd name="T97" fmla="*/ 21 h 62"/>
                <a:gd name="T98" fmla="*/ 86 w 166"/>
                <a:gd name="T99" fmla="*/ 29 h 62"/>
                <a:gd name="T100" fmla="*/ 99 w 166"/>
                <a:gd name="T101" fmla="*/ 31 h 62"/>
                <a:gd name="T102" fmla="*/ 101 w 166"/>
                <a:gd name="T103" fmla="*/ 42 h 62"/>
                <a:gd name="T104" fmla="*/ 113 w 166"/>
                <a:gd name="T105" fmla="*/ 46 h 62"/>
                <a:gd name="T106" fmla="*/ 119 w 166"/>
                <a:gd name="T107" fmla="*/ 48 h 62"/>
                <a:gd name="T108" fmla="*/ 119 w 166"/>
                <a:gd name="T109" fmla="*/ 54 h 62"/>
                <a:gd name="T110" fmla="*/ 121 w 166"/>
                <a:gd name="T111" fmla="*/ 60 h 62"/>
                <a:gd name="T112" fmla="*/ 133 w 166"/>
                <a:gd name="T113" fmla="*/ 60 h 62"/>
                <a:gd name="T114" fmla="*/ 150 w 166"/>
                <a:gd name="T115" fmla="*/ 60 h 62"/>
                <a:gd name="T116" fmla="*/ 150 w 166"/>
                <a:gd name="T117" fmla="*/ 60 h 62"/>
                <a:gd name="T118" fmla="*/ 162 w 166"/>
                <a:gd name="T119" fmla="*/ 58 h 62"/>
                <a:gd name="T120" fmla="*/ 166 w 166"/>
                <a:gd name="T121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6" h="62">
                  <a:moveTo>
                    <a:pt x="35" y="25"/>
                  </a:moveTo>
                  <a:lnTo>
                    <a:pt x="35" y="25"/>
                  </a:lnTo>
                  <a:lnTo>
                    <a:pt x="35" y="23"/>
                  </a:lnTo>
                  <a:lnTo>
                    <a:pt x="31" y="23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31" y="29"/>
                  </a:lnTo>
                  <a:lnTo>
                    <a:pt x="29" y="29"/>
                  </a:lnTo>
                  <a:lnTo>
                    <a:pt x="29" y="31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5" y="31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5" y="27"/>
                  </a:lnTo>
                  <a:lnTo>
                    <a:pt x="35" y="25"/>
                  </a:lnTo>
                  <a:close/>
                  <a:moveTo>
                    <a:pt x="111" y="21"/>
                  </a:moveTo>
                  <a:lnTo>
                    <a:pt x="111" y="21"/>
                  </a:lnTo>
                  <a:lnTo>
                    <a:pt x="113" y="23"/>
                  </a:lnTo>
                  <a:lnTo>
                    <a:pt x="113" y="23"/>
                  </a:lnTo>
                  <a:lnTo>
                    <a:pt x="113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1"/>
                  </a:lnTo>
                  <a:lnTo>
                    <a:pt x="113" y="21"/>
                  </a:lnTo>
                  <a:lnTo>
                    <a:pt x="113" y="21"/>
                  </a:lnTo>
                  <a:lnTo>
                    <a:pt x="111" y="21"/>
                  </a:lnTo>
                  <a:close/>
                  <a:moveTo>
                    <a:pt x="111" y="19"/>
                  </a:moveTo>
                  <a:lnTo>
                    <a:pt x="111" y="19"/>
                  </a:lnTo>
                  <a:lnTo>
                    <a:pt x="113" y="19"/>
                  </a:lnTo>
                  <a:lnTo>
                    <a:pt x="113" y="19"/>
                  </a:lnTo>
                  <a:lnTo>
                    <a:pt x="113" y="19"/>
                  </a:lnTo>
                  <a:lnTo>
                    <a:pt x="113" y="19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09" y="19"/>
                  </a:lnTo>
                  <a:lnTo>
                    <a:pt x="111" y="19"/>
                  </a:lnTo>
                  <a:close/>
                  <a:moveTo>
                    <a:pt x="107" y="15"/>
                  </a:move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11" y="17"/>
                  </a:lnTo>
                  <a:lnTo>
                    <a:pt x="109" y="17"/>
                  </a:lnTo>
                  <a:lnTo>
                    <a:pt x="109" y="15"/>
                  </a:lnTo>
                  <a:lnTo>
                    <a:pt x="109" y="15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7" y="15"/>
                  </a:lnTo>
                  <a:close/>
                  <a:moveTo>
                    <a:pt x="101" y="13"/>
                  </a:moveTo>
                  <a:lnTo>
                    <a:pt x="103" y="13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7" y="15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3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close/>
                  <a:moveTo>
                    <a:pt x="88" y="9"/>
                  </a:moveTo>
                  <a:lnTo>
                    <a:pt x="90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6" y="9"/>
                  </a:lnTo>
                  <a:lnTo>
                    <a:pt x="88" y="9"/>
                  </a:lnTo>
                  <a:close/>
                  <a:moveTo>
                    <a:pt x="166" y="54"/>
                  </a:moveTo>
                  <a:lnTo>
                    <a:pt x="166" y="54"/>
                  </a:lnTo>
                  <a:lnTo>
                    <a:pt x="166" y="54"/>
                  </a:lnTo>
                  <a:lnTo>
                    <a:pt x="164" y="54"/>
                  </a:lnTo>
                  <a:lnTo>
                    <a:pt x="162" y="54"/>
                  </a:lnTo>
                  <a:lnTo>
                    <a:pt x="162" y="52"/>
                  </a:lnTo>
                  <a:lnTo>
                    <a:pt x="160" y="50"/>
                  </a:lnTo>
                  <a:lnTo>
                    <a:pt x="158" y="48"/>
                  </a:lnTo>
                  <a:lnTo>
                    <a:pt x="156" y="48"/>
                  </a:lnTo>
                  <a:lnTo>
                    <a:pt x="154" y="46"/>
                  </a:lnTo>
                  <a:lnTo>
                    <a:pt x="152" y="46"/>
                  </a:lnTo>
                  <a:lnTo>
                    <a:pt x="150" y="46"/>
                  </a:lnTo>
                  <a:lnTo>
                    <a:pt x="146" y="46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4" y="44"/>
                  </a:lnTo>
                  <a:lnTo>
                    <a:pt x="146" y="44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6" y="42"/>
                  </a:lnTo>
                  <a:lnTo>
                    <a:pt x="146" y="39"/>
                  </a:lnTo>
                  <a:lnTo>
                    <a:pt x="144" y="39"/>
                  </a:lnTo>
                  <a:lnTo>
                    <a:pt x="142" y="39"/>
                  </a:lnTo>
                  <a:lnTo>
                    <a:pt x="138" y="37"/>
                  </a:lnTo>
                  <a:lnTo>
                    <a:pt x="135" y="37"/>
                  </a:lnTo>
                  <a:lnTo>
                    <a:pt x="133" y="35"/>
                  </a:lnTo>
                  <a:lnTo>
                    <a:pt x="131" y="35"/>
                  </a:lnTo>
                  <a:lnTo>
                    <a:pt x="129" y="35"/>
                  </a:lnTo>
                  <a:lnTo>
                    <a:pt x="129" y="33"/>
                  </a:lnTo>
                  <a:lnTo>
                    <a:pt x="129" y="33"/>
                  </a:lnTo>
                  <a:lnTo>
                    <a:pt x="127" y="33"/>
                  </a:lnTo>
                  <a:lnTo>
                    <a:pt x="125" y="35"/>
                  </a:lnTo>
                  <a:lnTo>
                    <a:pt x="127" y="33"/>
                  </a:lnTo>
                  <a:lnTo>
                    <a:pt x="127" y="33"/>
                  </a:lnTo>
                  <a:lnTo>
                    <a:pt x="125" y="31"/>
                  </a:lnTo>
                  <a:lnTo>
                    <a:pt x="123" y="29"/>
                  </a:lnTo>
                  <a:lnTo>
                    <a:pt x="123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3" y="29"/>
                  </a:lnTo>
                  <a:lnTo>
                    <a:pt x="121" y="29"/>
                  </a:lnTo>
                  <a:lnTo>
                    <a:pt x="121" y="27"/>
                  </a:lnTo>
                  <a:lnTo>
                    <a:pt x="119" y="27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5" y="25"/>
                  </a:lnTo>
                  <a:lnTo>
                    <a:pt x="111" y="23"/>
                  </a:lnTo>
                  <a:lnTo>
                    <a:pt x="111" y="23"/>
                  </a:lnTo>
                  <a:lnTo>
                    <a:pt x="109" y="21"/>
                  </a:lnTo>
                  <a:lnTo>
                    <a:pt x="101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6" y="15"/>
                  </a:lnTo>
                  <a:lnTo>
                    <a:pt x="92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88" y="13"/>
                  </a:lnTo>
                  <a:lnTo>
                    <a:pt x="86" y="11"/>
                  </a:lnTo>
                  <a:lnTo>
                    <a:pt x="86" y="9"/>
                  </a:lnTo>
                  <a:lnTo>
                    <a:pt x="82" y="7"/>
                  </a:lnTo>
                  <a:lnTo>
                    <a:pt x="84" y="7"/>
                  </a:lnTo>
                  <a:lnTo>
                    <a:pt x="82" y="7"/>
                  </a:lnTo>
                  <a:lnTo>
                    <a:pt x="80" y="7"/>
                  </a:lnTo>
                  <a:lnTo>
                    <a:pt x="80" y="5"/>
                  </a:lnTo>
                  <a:lnTo>
                    <a:pt x="78" y="5"/>
                  </a:lnTo>
                  <a:lnTo>
                    <a:pt x="76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2" y="5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5" y="2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16" y="11"/>
                  </a:lnTo>
                  <a:lnTo>
                    <a:pt x="14" y="11"/>
                  </a:lnTo>
                  <a:lnTo>
                    <a:pt x="12" y="13"/>
                  </a:lnTo>
                  <a:lnTo>
                    <a:pt x="10" y="15"/>
                  </a:lnTo>
                  <a:lnTo>
                    <a:pt x="10" y="17"/>
                  </a:lnTo>
                  <a:lnTo>
                    <a:pt x="10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5"/>
                  </a:lnTo>
                  <a:lnTo>
                    <a:pt x="6" y="27"/>
                  </a:lnTo>
                  <a:lnTo>
                    <a:pt x="6" y="25"/>
                  </a:lnTo>
                  <a:lnTo>
                    <a:pt x="10" y="25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6" y="21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7" y="17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1" y="15"/>
                  </a:lnTo>
                  <a:lnTo>
                    <a:pt x="31" y="13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7" y="9"/>
                  </a:lnTo>
                  <a:lnTo>
                    <a:pt x="49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3" y="11"/>
                  </a:lnTo>
                  <a:lnTo>
                    <a:pt x="53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7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55" y="19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7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4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2" y="21"/>
                  </a:lnTo>
                  <a:lnTo>
                    <a:pt x="74" y="23"/>
                  </a:lnTo>
                  <a:lnTo>
                    <a:pt x="74" y="25"/>
                  </a:lnTo>
                  <a:lnTo>
                    <a:pt x="76" y="25"/>
                  </a:lnTo>
                  <a:lnTo>
                    <a:pt x="78" y="27"/>
                  </a:lnTo>
                  <a:lnTo>
                    <a:pt x="86" y="29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9" y="31"/>
                  </a:lnTo>
                  <a:lnTo>
                    <a:pt x="99" y="33"/>
                  </a:lnTo>
                  <a:lnTo>
                    <a:pt x="99" y="35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42"/>
                  </a:lnTo>
                  <a:lnTo>
                    <a:pt x="103" y="42"/>
                  </a:lnTo>
                  <a:lnTo>
                    <a:pt x="105" y="46"/>
                  </a:lnTo>
                  <a:lnTo>
                    <a:pt x="107" y="46"/>
                  </a:lnTo>
                  <a:lnTo>
                    <a:pt x="109" y="46"/>
                  </a:lnTo>
                  <a:lnTo>
                    <a:pt x="113" y="46"/>
                  </a:lnTo>
                  <a:lnTo>
                    <a:pt x="115" y="46"/>
                  </a:lnTo>
                  <a:lnTo>
                    <a:pt x="117" y="46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2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3" y="58"/>
                  </a:lnTo>
                  <a:lnTo>
                    <a:pt x="109" y="62"/>
                  </a:lnTo>
                  <a:lnTo>
                    <a:pt x="113" y="62"/>
                  </a:lnTo>
                  <a:lnTo>
                    <a:pt x="117" y="60"/>
                  </a:lnTo>
                  <a:lnTo>
                    <a:pt x="121" y="60"/>
                  </a:lnTo>
                  <a:lnTo>
                    <a:pt x="123" y="60"/>
                  </a:lnTo>
                  <a:lnTo>
                    <a:pt x="123" y="60"/>
                  </a:lnTo>
                  <a:lnTo>
                    <a:pt x="129" y="60"/>
                  </a:lnTo>
                  <a:lnTo>
                    <a:pt x="133" y="60"/>
                  </a:lnTo>
                  <a:lnTo>
                    <a:pt x="133" y="60"/>
                  </a:lnTo>
                  <a:lnTo>
                    <a:pt x="140" y="60"/>
                  </a:lnTo>
                  <a:lnTo>
                    <a:pt x="142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0" y="60"/>
                  </a:lnTo>
                  <a:lnTo>
                    <a:pt x="150" y="60"/>
                  </a:lnTo>
                  <a:lnTo>
                    <a:pt x="150" y="58"/>
                  </a:lnTo>
                  <a:lnTo>
                    <a:pt x="150" y="60"/>
                  </a:lnTo>
                  <a:lnTo>
                    <a:pt x="150" y="60"/>
                  </a:lnTo>
                  <a:lnTo>
                    <a:pt x="150" y="60"/>
                  </a:lnTo>
                  <a:lnTo>
                    <a:pt x="152" y="60"/>
                  </a:lnTo>
                  <a:lnTo>
                    <a:pt x="154" y="60"/>
                  </a:lnTo>
                  <a:lnTo>
                    <a:pt x="156" y="58"/>
                  </a:lnTo>
                  <a:lnTo>
                    <a:pt x="158" y="58"/>
                  </a:lnTo>
                  <a:lnTo>
                    <a:pt x="162" y="58"/>
                  </a:lnTo>
                  <a:lnTo>
                    <a:pt x="164" y="58"/>
                  </a:lnTo>
                  <a:lnTo>
                    <a:pt x="166" y="56"/>
                  </a:lnTo>
                  <a:lnTo>
                    <a:pt x="166" y="56"/>
                  </a:lnTo>
                  <a:lnTo>
                    <a:pt x="166" y="54"/>
                  </a:lnTo>
                  <a:lnTo>
                    <a:pt x="166" y="5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3" name="Freeform 198">
              <a:extLst>
                <a:ext uri="{FF2B5EF4-FFF2-40B4-BE49-F238E27FC236}">
                  <a16:creationId xmlns:a16="http://schemas.microsoft.com/office/drawing/2014/main" id="{EBE0F56D-2C9D-734E-8819-2F32FC607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629" y="3288993"/>
              <a:ext cx="62985" cy="68926"/>
            </a:xfrm>
            <a:custGeom>
              <a:avLst/>
              <a:gdLst>
                <a:gd name="T0" fmla="*/ 49 w 53"/>
                <a:gd name="T1" fmla="*/ 27 h 58"/>
                <a:gd name="T2" fmla="*/ 45 w 53"/>
                <a:gd name="T3" fmla="*/ 21 h 58"/>
                <a:gd name="T4" fmla="*/ 39 w 53"/>
                <a:gd name="T5" fmla="*/ 9 h 58"/>
                <a:gd name="T6" fmla="*/ 37 w 53"/>
                <a:gd name="T7" fmla="*/ 7 h 58"/>
                <a:gd name="T8" fmla="*/ 35 w 53"/>
                <a:gd name="T9" fmla="*/ 9 h 58"/>
                <a:gd name="T10" fmla="*/ 29 w 53"/>
                <a:gd name="T11" fmla="*/ 9 h 58"/>
                <a:gd name="T12" fmla="*/ 27 w 53"/>
                <a:gd name="T13" fmla="*/ 7 h 58"/>
                <a:gd name="T14" fmla="*/ 25 w 53"/>
                <a:gd name="T15" fmla="*/ 5 h 58"/>
                <a:gd name="T16" fmla="*/ 18 w 53"/>
                <a:gd name="T17" fmla="*/ 5 h 58"/>
                <a:gd name="T18" fmla="*/ 10 w 53"/>
                <a:gd name="T19" fmla="*/ 2 h 58"/>
                <a:gd name="T20" fmla="*/ 6 w 53"/>
                <a:gd name="T21" fmla="*/ 0 h 58"/>
                <a:gd name="T22" fmla="*/ 4 w 53"/>
                <a:gd name="T23" fmla="*/ 2 h 58"/>
                <a:gd name="T24" fmla="*/ 4 w 53"/>
                <a:gd name="T25" fmla="*/ 2 h 58"/>
                <a:gd name="T26" fmla="*/ 0 w 53"/>
                <a:gd name="T27" fmla="*/ 7 h 58"/>
                <a:gd name="T28" fmla="*/ 4 w 53"/>
                <a:gd name="T29" fmla="*/ 9 h 58"/>
                <a:gd name="T30" fmla="*/ 4 w 53"/>
                <a:gd name="T31" fmla="*/ 13 h 58"/>
                <a:gd name="T32" fmla="*/ 2 w 53"/>
                <a:gd name="T33" fmla="*/ 21 h 58"/>
                <a:gd name="T34" fmla="*/ 8 w 53"/>
                <a:gd name="T35" fmla="*/ 25 h 58"/>
                <a:gd name="T36" fmla="*/ 12 w 53"/>
                <a:gd name="T37" fmla="*/ 29 h 58"/>
                <a:gd name="T38" fmla="*/ 16 w 53"/>
                <a:gd name="T39" fmla="*/ 25 h 58"/>
                <a:gd name="T40" fmla="*/ 12 w 53"/>
                <a:gd name="T41" fmla="*/ 23 h 58"/>
                <a:gd name="T42" fmla="*/ 10 w 53"/>
                <a:gd name="T43" fmla="*/ 19 h 58"/>
                <a:gd name="T44" fmla="*/ 18 w 53"/>
                <a:gd name="T45" fmla="*/ 25 h 58"/>
                <a:gd name="T46" fmla="*/ 18 w 53"/>
                <a:gd name="T47" fmla="*/ 29 h 58"/>
                <a:gd name="T48" fmla="*/ 27 w 53"/>
                <a:gd name="T49" fmla="*/ 33 h 58"/>
                <a:gd name="T50" fmla="*/ 33 w 53"/>
                <a:gd name="T51" fmla="*/ 37 h 58"/>
                <a:gd name="T52" fmla="*/ 35 w 53"/>
                <a:gd name="T53" fmla="*/ 44 h 58"/>
                <a:gd name="T54" fmla="*/ 35 w 53"/>
                <a:gd name="T55" fmla="*/ 50 h 58"/>
                <a:gd name="T56" fmla="*/ 39 w 53"/>
                <a:gd name="T57" fmla="*/ 52 h 58"/>
                <a:gd name="T58" fmla="*/ 39 w 53"/>
                <a:gd name="T59" fmla="*/ 50 h 58"/>
                <a:gd name="T60" fmla="*/ 39 w 53"/>
                <a:gd name="T61" fmla="*/ 46 h 58"/>
                <a:gd name="T62" fmla="*/ 43 w 53"/>
                <a:gd name="T63" fmla="*/ 50 h 58"/>
                <a:gd name="T64" fmla="*/ 45 w 53"/>
                <a:gd name="T65" fmla="*/ 56 h 58"/>
                <a:gd name="T66" fmla="*/ 45 w 53"/>
                <a:gd name="T67" fmla="*/ 56 h 58"/>
                <a:gd name="T68" fmla="*/ 43 w 53"/>
                <a:gd name="T69" fmla="*/ 54 h 58"/>
                <a:gd name="T70" fmla="*/ 47 w 53"/>
                <a:gd name="T71" fmla="*/ 50 h 58"/>
                <a:gd name="T72" fmla="*/ 45 w 53"/>
                <a:gd name="T73" fmla="*/ 46 h 58"/>
                <a:gd name="T74" fmla="*/ 49 w 53"/>
                <a:gd name="T75" fmla="*/ 44 h 58"/>
                <a:gd name="T76" fmla="*/ 49 w 53"/>
                <a:gd name="T77" fmla="*/ 42 h 58"/>
                <a:gd name="T78" fmla="*/ 47 w 53"/>
                <a:gd name="T79" fmla="*/ 35 h 58"/>
                <a:gd name="T80" fmla="*/ 47 w 53"/>
                <a:gd name="T81" fmla="*/ 31 h 58"/>
                <a:gd name="T82" fmla="*/ 49 w 53"/>
                <a:gd name="T83" fmla="*/ 29 h 58"/>
                <a:gd name="T84" fmla="*/ 51 w 53"/>
                <a:gd name="T85" fmla="*/ 31 h 58"/>
                <a:gd name="T86" fmla="*/ 53 w 53"/>
                <a:gd name="T87" fmla="*/ 3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" h="58">
                  <a:moveTo>
                    <a:pt x="51" y="29"/>
                  </a:moveTo>
                  <a:lnTo>
                    <a:pt x="49" y="29"/>
                  </a:lnTo>
                  <a:lnTo>
                    <a:pt x="49" y="27"/>
                  </a:lnTo>
                  <a:lnTo>
                    <a:pt x="47" y="27"/>
                  </a:lnTo>
                  <a:lnTo>
                    <a:pt x="45" y="23"/>
                  </a:lnTo>
                  <a:lnTo>
                    <a:pt x="45" y="21"/>
                  </a:lnTo>
                  <a:lnTo>
                    <a:pt x="41" y="17"/>
                  </a:lnTo>
                  <a:lnTo>
                    <a:pt x="39" y="15"/>
                  </a:lnTo>
                  <a:lnTo>
                    <a:pt x="39" y="9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3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7"/>
                  </a:lnTo>
                  <a:lnTo>
                    <a:pt x="27" y="7"/>
                  </a:lnTo>
                  <a:lnTo>
                    <a:pt x="27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3"/>
                  </a:lnTo>
                  <a:lnTo>
                    <a:pt x="2" y="15"/>
                  </a:lnTo>
                  <a:lnTo>
                    <a:pt x="0" y="17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8" y="25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4" y="27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4" y="23"/>
                  </a:lnTo>
                  <a:lnTo>
                    <a:pt x="12" y="23"/>
                  </a:lnTo>
                  <a:lnTo>
                    <a:pt x="10" y="21"/>
                  </a:lnTo>
                  <a:lnTo>
                    <a:pt x="10" y="17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4" y="21"/>
                  </a:lnTo>
                  <a:lnTo>
                    <a:pt x="18" y="25"/>
                  </a:lnTo>
                  <a:lnTo>
                    <a:pt x="20" y="27"/>
                  </a:lnTo>
                  <a:lnTo>
                    <a:pt x="18" y="27"/>
                  </a:lnTo>
                  <a:lnTo>
                    <a:pt x="18" y="29"/>
                  </a:lnTo>
                  <a:lnTo>
                    <a:pt x="20" y="31"/>
                  </a:lnTo>
                  <a:lnTo>
                    <a:pt x="23" y="31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31" y="35"/>
                  </a:lnTo>
                  <a:lnTo>
                    <a:pt x="33" y="37"/>
                  </a:lnTo>
                  <a:lnTo>
                    <a:pt x="35" y="39"/>
                  </a:lnTo>
                  <a:lnTo>
                    <a:pt x="35" y="42"/>
                  </a:lnTo>
                  <a:lnTo>
                    <a:pt x="35" y="44"/>
                  </a:lnTo>
                  <a:lnTo>
                    <a:pt x="35" y="46"/>
                  </a:lnTo>
                  <a:lnTo>
                    <a:pt x="33" y="48"/>
                  </a:lnTo>
                  <a:lnTo>
                    <a:pt x="35" y="50"/>
                  </a:lnTo>
                  <a:lnTo>
                    <a:pt x="35" y="52"/>
                  </a:lnTo>
                  <a:lnTo>
                    <a:pt x="37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7" y="48"/>
                  </a:lnTo>
                  <a:lnTo>
                    <a:pt x="37" y="46"/>
                  </a:lnTo>
                  <a:lnTo>
                    <a:pt x="39" y="46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3" y="50"/>
                  </a:lnTo>
                  <a:lnTo>
                    <a:pt x="43" y="52"/>
                  </a:lnTo>
                  <a:lnTo>
                    <a:pt x="43" y="54"/>
                  </a:lnTo>
                  <a:lnTo>
                    <a:pt x="45" y="56"/>
                  </a:lnTo>
                  <a:lnTo>
                    <a:pt x="45" y="58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5" y="52"/>
                  </a:lnTo>
                  <a:lnTo>
                    <a:pt x="47" y="52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48"/>
                  </a:lnTo>
                  <a:lnTo>
                    <a:pt x="45" y="46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9" y="44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7" y="39"/>
                  </a:lnTo>
                  <a:lnTo>
                    <a:pt x="45" y="39"/>
                  </a:lnTo>
                  <a:lnTo>
                    <a:pt x="47" y="35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9" y="31"/>
                  </a:lnTo>
                  <a:lnTo>
                    <a:pt x="49" y="29"/>
                  </a:lnTo>
                  <a:lnTo>
                    <a:pt x="49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1" y="29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4" name="Freeform 199">
              <a:extLst>
                <a:ext uri="{FF2B5EF4-FFF2-40B4-BE49-F238E27FC236}">
                  <a16:creationId xmlns:a16="http://schemas.microsoft.com/office/drawing/2014/main" id="{7717CB1F-4EEE-D649-858F-E95931B5A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017" y="3996084"/>
              <a:ext cx="2377" cy="2377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0 w 2"/>
                <a:gd name="T9" fmla="*/ 2 h 2"/>
                <a:gd name="T10" fmla="*/ 0 w 2"/>
                <a:gd name="T11" fmla="*/ 2 h 2"/>
                <a:gd name="T12" fmla="*/ 0 w 2"/>
                <a:gd name="T13" fmla="*/ 2 h 2"/>
                <a:gd name="T14" fmla="*/ 0 w 2"/>
                <a:gd name="T15" fmla="*/ 2 h 2"/>
                <a:gd name="T16" fmla="*/ 2 w 2"/>
                <a:gd name="T17" fmla="*/ 2 h 2"/>
                <a:gd name="T18" fmla="*/ 2 w 2"/>
                <a:gd name="T19" fmla="*/ 2 h 2"/>
                <a:gd name="T20" fmla="*/ 0 w 2"/>
                <a:gd name="T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5" name="Freeform 202">
              <a:extLst>
                <a:ext uri="{FF2B5EF4-FFF2-40B4-BE49-F238E27FC236}">
                  <a16:creationId xmlns:a16="http://schemas.microsoft.com/office/drawing/2014/main" id="{26C2938B-65D4-714B-83ED-5C7A6D8D1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8410" y="3262848"/>
              <a:ext cx="231736" cy="363647"/>
            </a:xfrm>
            <a:custGeom>
              <a:avLst/>
              <a:gdLst>
                <a:gd name="T0" fmla="*/ 195 w 195"/>
                <a:gd name="T1" fmla="*/ 203 h 306"/>
                <a:gd name="T2" fmla="*/ 191 w 195"/>
                <a:gd name="T3" fmla="*/ 189 h 306"/>
                <a:gd name="T4" fmla="*/ 184 w 195"/>
                <a:gd name="T5" fmla="*/ 177 h 306"/>
                <a:gd name="T6" fmla="*/ 189 w 195"/>
                <a:gd name="T7" fmla="*/ 166 h 306"/>
                <a:gd name="T8" fmla="*/ 182 w 195"/>
                <a:gd name="T9" fmla="*/ 148 h 306"/>
                <a:gd name="T10" fmla="*/ 184 w 195"/>
                <a:gd name="T11" fmla="*/ 123 h 306"/>
                <a:gd name="T12" fmla="*/ 178 w 195"/>
                <a:gd name="T13" fmla="*/ 115 h 306"/>
                <a:gd name="T14" fmla="*/ 156 w 195"/>
                <a:gd name="T15" fmla="*/ 115 h 306"/>
                <a:gd name="T16" fmla="*/ 139 w 195"/>
                <a:gd name="T17" fmla="*/ 99 h 306"/>
                <a:gd name="T18" fmla="*/ 117 w 195"/>
                <a:gd name="T19" fmla="*/ 101 h 306"/>
                <a:gd name="T20" fmla="*/ 108 w 195"/>
                <a:gd name="T21" fmla="*/ 86 h 306"/>
                <a:gd name="T22" fmla="*/ 106 w 195"/>
                <a:gd name="T23" fmla="*/ 66 h 306"/>
                <a:gd name="T24" fmla="*/ 96 w 195"/>
                <a:gd name="T25" fmla="*/ 59 h 306"/>
                <a:gd name="T26" fmla="*/ 108 w 195"/>
                <a:gd name="T27" fmla="*/ 31 h 306"/>
                <a:gd name="T28" fmla="*/ 131 w 195"/>
                <a:gd name="T29" fmla="*/ 10 h 306"/>
                <a:gd name="T30" fmla="*/ 123 w 195"/>
                <a:gd name="T31" fmla="*/ 2 h 306"/>
                <a:gd name="T32" fmla="*/ 94 w 195"/>
                <a:gd name="T33" fmla="*/ 20 h 306"/>
                <a:gd name="T34" fmla="*/ 80 w 195"/>
                <a:gd name="T35" fmla="*/ 31 h 306"/>
                <a:gd name="T36" fmla="*/ 67 w 195"/>
                <a:gd name="T37" fmla="*/ 31 h 306"/>
                <a:gd name="T38" fmla="*/ 61 w 195"/>
                <a:gd name="T39" fmla="*/ 43 h 306"/>
                <a:gd name="T40" fmla="*/ 51 w 195"/>
                <a:gd name="T41" fmla="*/ 57 h 306"/>
                <a:gd name="T42" fmla="*/ 39 w 195"/>
                <a:gd name="T43" fmla="*/ 82 h 306"/>
                <a:gd name="T44" fmla="*/ 35 w 195"/>
                <a:gd name="T45" fmla="*/ 74 h 306"/>
                <a:gd name="T46" fmla="*/ 32 w 195"/>
                <a:gd name="T47" fmla="*/ 78 h 306"/>
                <a:gd name="T48" fmla="*/ 26 w 195"/>
                <a:gd name="T49" fmla="*/ 88 h 306"/>
                <a:gd name="T50" fmla="*/ 20 w 195"/>
                <a:gd name="T51" fmla="*/ 94 h 306"/>
                <a:gd name="T52" fmla="*/ 26 w 195"/>
                <a:gd name="T53" fmla="*/ 113 h 306"/>
                <a:gd name="T54" fmla="*/ 28 w 195"/>
                <a:gd name="T55" fmla="*/ 136 h 306"/>
                <a:gd name="T56" fmla="*/ 24 w 195"/>
                <a:gd name="T57" fmla="*/ 150 h 306"/>
                <a:gd name="T58" fmla="*/ 30 w 195"/>
                <a:gd name="T59" fmla="*/ 158 h 306"/>
                <a:gd name="T60" fmla="*/ 22 w 195"/>
                <a:gd name="T61" fmla="*/ 173 h 306"/>
                <a:gd name="T62" fmla="*/ 16 w 195"/>
                <a:gd name="T63" fmla="*/ 181 h 306"/>
                <a:gd name="T64" fmla="*/ 6 w 195"/>
                <a:gd name="T65" fmla="*/ 185 h 306"/>
                <a:gd name="T66" fmla="*/ 2 w 195"/>
                <a:gd name="T67" fmla="*/ 201 h 306"/>
                <a:gd name="T68" fmla="*/ 20 w 195"/>
                <a:gd name="T69" fmla="*/ 214 h 306"/>
                <a:gd name="T70" fmla="*/ 30 w 195"/>
                <a:gd name="T71" fmla="*/ 222 h 306"/>
                <a:gd name="T72" fmla="*/ 41 w 195"/>
                <a:gd name="T73" fmla="*/ 224 h 306"/>
                <a:gd name="T74" fmla="*/ 51 w 195"/>
                <a:gd name="T75" fmla="*/ 226 h 306"/>
                <a:gd name="T76" fmla="*/ 65 w 195"/>
                <a:gd name="T77" fmla="*/ 232 h 306"/>
                <a:gd name="T78" fmla="*/ 74 w 195"/>
                <a:gd name="T79" fmla="*/ 238 h 306"/>
                <a:gd name="T80" fmla="*/ 82 w 195"/>
                <a:gd name="T81" fmla="*/ 249 h 306"/>
                <a:gd name="T82" fmla="*/ 88 w 195"/>
                <a:gd name="T83" fmla="*/ 259 h 306"/>
                <a:gd name="T84" fmla="*/ 94 w 195"/>
                <a:gd name="T85" fmla="*/ 269 h 306"/>
                <a:gd name="T86" fmla="*/ 104 w 195"/>
                <a:gd name="T87" fmla="*/ 271 h 306"/>
                <a:gd name="T88" fmla="*/ 117 w 195"/>
                <a:gd name="T89" fmla="*/ 267 h 306"/>
                <a:gd name="T90" fmla="*/ 129 w 195"/>
                <a:gd name="T91" fmla="*/ 269 h 306"/>
                <a:gd name="T92" fmla="*/ 141 w 195"/>
                <a:gd name="T93" fmla="*/ 275 h 306"/>
                <a:gd name="T94" fmla="*/ 133 w 195"/>
                <a:gd name="T95" fmla="*/ 298 h 306"/>
                <a:gd name="T96" fmla="*/ 143 w 195"/>
                <a:gd name="T97" fmla="*/ 302 h 306"/>
                <a:gd name="T98" fmla="*/ 152 w 195"/>
                <a:gd name="T99" fmla="*/ 271 h 306"/>
                <a:gd name="T100" fmla="*/ 154 w 195"/>
                <a:gd name="T101" fmla="*/ 247 h 306"/>
                <a:gd name="T102" fmla="*/ 152 w 195"/>
                <a:gd name="T103" fmla="*/ 240 h 306"/>
                <a:gd name="T104" fmla="*/ 143 w 195"/>
                <a:gd name="T105" fmla="*/ 230 h 306"/>
                <a:gd name="T106" fmla="*/ 150 w 195"/>
                <a:gd name="T107" fmla="*/ 216 h 306"/>
                <a:gd name="T108" fmla="*/ 156 w 195"/>
                <a:gd name="T109" fmla="*/ 216 h 306"/>
                <a:gd name="T110" fmla="*/ 158 w 195"/>
                <a:gd name="T111" fmla="*/ 214 h 306"/>
                <a:gd name="T112" fmla="*/ 154 w 195"/>
                <a:gd name="T113" fmla="*/ 210 h 306"/>
                <a:gd name="T114" fmla="*/ 147 w 195"/>
                <a:gd name="T115" fmla="*/ 197 h 306"/>
                <a:gd name="T116" fmla="*/ 162 w 195"/>
                <a:gd name="T117" fmla="*/ 197 h 306"/>
                <a:gd name="T118" fmla="*/ 176 w 195"/>
                <a:gd name="T119" fmla="*/ 193 h 306"/>
                <a:gd name="T120" fmla="*/ 186 w 195"/>
                <a:gd name="T121" fmla="*/ 189 h 306"/>
                <a:gd name="T122" fmla="*/ 193 w 195"/>
                <a:gd name="T123" fmla="*/ 205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5" h="306">
                  <a:moveTo>
                    <a:pt x="14" y="183"/>
                  </a:moveTo>
                  <a:lnTo>
                    <a:pt x="14" y="181"/>
                  </a:lnTo>
                  <a:lnTo>
                    <a:pt x="14" y="181"/>
                  </a:lnTo>
                  <a:lnTo>
                    <a:pt x="14" y="181"/>
                  </a:lnTo>
                  <a:lnTo>
                    <a:pt x="14" y="179"/>
                  </a:lnTo>
                  <a:lnTo>
                    <a:pt x="12" y="181"/>
                  </a:lnTo>
                  <a:lnTo>
                    <a:pt x="12" y="181"/>
                  </a:lnTo>
                  <a:lnTo>
                    <a:pt x="14" y="183"/>
                  </a:lnTo>
                  <a:close/>
                  <a:moveTo>
                    <a:pt x="195" y="205"/>
                  </a:moveTo>
                  <a:lnTo>
                    <a:pt x="195" y="203"/>
                  </a:lnTo>
                  <a:lnTo>
                    <a:pt x="195" y="201"/>
                  </a:lnTo>
                  <a:lnTo>
                    <a:pt x="195" y="199"/>
                  </a:lnTo>
                  <a:lnTo>
                    <a:pt x="195" y="199"/>
                  </a:lnTo>
                  <a:lnTo>
                    <a:pt x="195" y="197"/>
                  </a:lnTo>
                  <a:lnTo>
                    <a:pt x="193" y="195"/>
                  </a:lnTo>
                  <a:lnTo>
                    <a:pt x="193" y="193"/>
                  </a:lnTo>
                  <a:lnTo>
                    <a:pt x="193" y="191"/>
                  </a:lnTo>
                  <a:lnTo>
                    <a:pt x="193" y="191"/>
                  </a:lnTo>
                  <a:lnTo>
                    <a:pt x="193" y="189"/>
                  </a:lnTo>
                  <a:lnTo>
                    <a:pt x="191" y="189"/>
                  </a:lnTo>
                  <a:lnTo>
                    <a:pt x="191" y="187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3"/>
                  </a:lnTo>
                  <a:lnTo>
                    <a:pt x="189" y="183"/>
                  </a:lnTo>
                  <a:lnTo>
                    <a:pt x="189" y="181"/>
                  </a:lnTo>
                  <a:lnTo>
                    <a:pt x="186" y="179"/>
                  </a:lnTo>
                  <a:lnTo>
                    <a:pt x="184" y="179"/>
                  </a:lnTo>
                  <a:lnTo>
                    <a:pt x="184" y="179"/>
                  </a:lnTo>
                  <a:lnTo>
                    <a:pt x="184" y="177"/>
                  </a:lnTo>
                  <a:lnTo>
                    <a:pt x="184" y="177"/>
                  </a:lnTo>
                  <a:lnTo>
                    <a:pt x="182" y="177"/>
                  </a:lnTo>
                  <a:lnTo>
                    <a:pt x="182" y="177"/>
                  </a:lnTo>
                  <a:lnTo>
                    <a:pt x="180" y="177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6" y="170"/>
                  </a:lnTo>
                  <a:lnTo>
                    <a:pt x="189" y="166"/>
                  </a:lnTo>
                  <a:lnTo>
                    <a:pt x="189" y="166"/>
                  </a:lnTo>
                  <a:lnTo>
                    <a:pt x="189" y="166"/>
                  </a:lnTo>
                  <a:lnTo>
                    <a:pt x="189" y="166"/>
                  </a:lnTo>
                  <a:lnTo>
                    <a:pt x="189" y="164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4" y="158"/>
                  </a:lnTo>
                  <a:lnTo>
                    <a:pt x="184" y="158"/>
                  </a:lnTo>
                  <a:lnTo>
                    <a:pt x="182" y="154"/>
                  </a:lnTo>
                  <a:lnTo>
                    <a:pt x="182" y="152"/>
                  </a:lnTo>
                  <a:lnTo>
                    <a:pt x="182" y="150"/>
                  </a:lnTo>
                  <a:lnTo>
                    <a:pt x="182" y="148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0" y="142"/>
                  </a:lnTo>
                  <a:lnTo>
                    <a:pt x="182" y="138"/>
                  </a:lnTo>
                  <a:lnTo>
                    <a:pt x="182" y="133"/>
                  </a:lnTo>
                  <a:lnTo>
                    <a:pt x="182" y="131"/>
                  </a:lnTo>
                  <a:lnTo>
                    <a:pt x="182" y="129"/>
                  </a:lnTo>
                  <a:lnTo>
                    <a:pt x="184" y="127"/>
                  </a:lnTo>
                  <a:lnTo>
                    <a:pt x="184" y="125"/>
                  </a:lnTo>
                  <a:lnTo>
                    <a:pt x="184" y="123"/>
                  </a:lnTo>
                  <a:lnTo>
                    <a:pt x="186" y="121"/>
                  </a:lnTo>
                  <a:lnTo>
                    <a:pt x="189" y="119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6" y="113"/>
                  </a:lnTo>
                  <a:lnTo>
                    <a:pt x="184" y="113"/>
                  </a:lnTo>
                  <a:lnTo>
                    <a:pt x="182" y="113"/>
                  </a:lnTo>
                  <a:lnTo>
                    <a:pt x="180" y="113"/>
                  </a:lnTo>
                  <a:lnTo>
                    <a:pt x="178" y="115"/>
                  </a:lnTo>
                  <a:lnTo>
                    <a:pt x="172" y="115"/>
                  </a:lnTo>
                  <a:lnTo>
                    <a:pt x="168" y="115"/>
                  </a:lnTo>
                  <a:lnTo>
                    <a:pt x="164" y="115"/>
                  </a:lnTo>
                  <a:lnTo>
                    <a:pt x="162" y="115"/>
                  </a:lnTo>
                  <a:lnTo>
                    <a:pt x="160" y="115"/>
                  </a:lnTo>
                  <a:lnTo>
                    <a:pt x="160" y="117"/>
                  </a:lnTo>
                  <a:lnTo>
                    <a:pt x="158" y="115"/>
                  </a:lnTo>
                  <a:lnTo>
                    <a:pt x="158" y="115"/>
                  </a:lnTo>
                  <a:lnTo>
                    <a:pt x="156" y="115"/>
                  </a:lnTo>
                  <a:lnTo>
                    <a:pt x="156" y="115"/>
                  </a:lnTo>
                  <a:lnTo>
                    <a:pt x="154" y="113"/>
                  </a:lnTo>
                  <a:lnTo>
                    <a:pt x="152" y="109"/>
                  </a:lnTo>
                  <a:lnTo>
                    <a:pt x="150" y="105"/>
                  </a:lnTo>
                  <a:lnTo>
                    <a:pt x="147" y="101"/>
                  </a:lnTo>
                  <a:lnTo>
                    <a:pt x="145" y="101"/>
                  </a:lnTo>
                  <a:lnTo>
                    <a:pt x="145" y="101"/>
                  </a:lnTo>
                  <a:lnTo>
                    <a:pt x="143" y="101"/>
                  </a:lnTo>
                  <a:lnTo>
                    <a:pt x="141" y="101"/>
                  </a:lnTo>
                  <a:lnTo>
                    <a:pt x="141" y="99"/>
                  </a:lnTo>
                  <a:lnTo>
                    <a:pt x="139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5" y="99"/>
                  </a:lnTo>
                  <a:lnTo>
                    <a:pt x="131" y="101"/>
                  </a:lnTo>
                  <a:lnTo>
                    <a:pt x="129" y="101"/>
                  </a:lnTo>
                  <a:lnTo>
                    <a:pt x="129" y="101"/>
                  </a:lnTo>
                  <a:lnTo>
                    <a:pt x="125" y="99"/>
                  </a:lnTo>
                  <a:lnTo>
                    <a:pt x="123" y="99"/>
                  </a:lnTo>
                  <a:lnTo>
                    <a:pt x="119" y="99"/>
                  </a:lnTo>
                  <a:lnTo>
                    <a:pt x="117" y="101"/>
                  </a:lnTo>
                  <a:lnTo>
                    <a:pt x="117" y="99"/>
                  </a:lnTo>
                  <a:lnTo>
                    <a:pt x="115" y="99"/>
                  </a:lnTo>
                  <a:lnTo>
                    <a:pt x="113" y="94"/>
                  </a:lnTo>
                  <a:lnTo>
                    <a:pt x="113" y="92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88"/>
                  </a:lnTo>
                  <a:lnTo>
                    <a:pt x="108" y="86"/>
                  </a:lnTo>
                  <a:lnTo>
                    <a:pt x="108" y="84"/>
                  </a:lnTo>
                  <a:lnTo>
                    <a:pt x="108" y="82"/>
                  </a:lnTo>
                  <a:lnTo>
                    <a:pt x="110" y="80"/>
                  </a:lnTo>
                  <a:lnTo>
                    <a:pt x="110" y="80"/>
                  </a:lnTo>
                  <a:lnTo>
                    <a:pt x="110" y="78"/>
                  </a:lnTo>
                  <a:lnTo>
                    <a:pt x="110" y="76"/>
                  </a:lnTo>
                  <a:lnTo>
                    <a:pt x="110" y="74"/>
                  </a:lnTo>
                  <a:lnTo>
                    <a:pt x="108" y="72"/>
                  </a:lnTo>
                  <a:lnTo>
                    <a:pt x="106" y="70"/>
                  </a:lnTo>
                  <a:lnTo>
                    <a:pt x="106" y="66"/>
                  </a:lnTo>
                  <a:lnTo>
                    <a:pt x="104" y="61"/>
                  </a:lnTo>
                  <a:lnTo>
                    <a:pt x="104" y="59"/>
                  </a:lnTo>
                  <a:lnTo>
                    <a:pt x="102" y="61"/>
                  </a:lnTo>
                  <a:lnTo>
                    <a:pt x="102" y="59"/>
                  </a:lnTo>
                  <a:lnTo>
                    <a:pt x="102" y="59"/>
                  </a:lnTo>
                  <a:lnTo>
                    <a:pt x="100" y="57"/>
                  </a:lnTo>
                  <a:lnTo>
                    <a:pt x="100" y="59"/>
                  </a:lnTo>
                  <a:lnTo>
                    <a:pt x="98" y="59"/>
                  </a:lnTo>
                  <a:lnTo>
                    <a:pt x="96" y="59"/>
                  </a:lnTo>
                  <a:lnTo>
                    <a:pt x="96" y="59"/>
                  </a:lnTo>
                  <a:lnTo>
                    <a:pt x="96" y="59"/>
                  </a:lnTo>
                  <a:lnTo>
                    <a:pt x="96" y="57"/>
                  </a:lnTo>
                  <a:lnTo>
                    <a:pt x="98" y="55"/>
                  </a:lnTo>
                  <a:lnTo>
                    <a:pt x="100" y="53"/>
                  </a:lnTo>
                  <a:lnTo>
                    <a:pt x="100" y="51"/>
                  </a:lnTo>
                  <a:lnTo>
                    <a:pt x="102" y="49"/>
                  </a:lnTo>
                  <a:lnTo>
                    <a:pt x="102" y="43"/>
                  </a:lnTo>
                  <a:lnTo>
                    <a:pt x="104" y="41"/>
                  </a:lnTo>
                  <a:lnTo>
                    <a:pt x="104" y="35"/>
                  </a:lnTo>
                  <a:lnTo>
                    <a:pt x="108" y="31"/>
                  </a:lnTo>
                  <a:lnTo>
                    <a:pt x="108" y="29"/>
                  </a:lnTo>
                  <a:lnTo>
                    <a:pt x="110" y="27"/>
                  </a:lnTo>
                  <a:lnTo>
                    <a:pt x="110" y="24"/>
                  </a:lnTo>
                  <a:lnTo>
                    <a:pt x="113" y="24"/>
                  </a:lnTo>
                  <a:lnTo>
                    <a:pt x="117" y="22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25" y="12"/>
                  </a:lnTo>
                  <a:lnTo>
                    <a:pt x="129" y="12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3" y="10"/>
                  </a:lnTo>
                  <a:lnTo>
                    <a:pt x="135" y="6"/>
                  </a:lnTo>
                  <a:lnTo>
                    <a:pt x="135" y="4"/>
                  </a:lnTo>
                  <a:lnTo>
                    <a:pt x="133" y="2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7" y="0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23" y="4"/>
                  </a:lnTo>
                  <a:lnTo>
                    <a:pt x="121" y="4"/>
                  </a:lnTo>
                  <a:lnTo>
                    <a:pt x="119" y="4"/>
                  </a:lnTo>
                  <a:lnTo>
                    <a:pt x="119" y="6"/>
                  </a:lnTo>
                  <a:lnTo>
                    <a:pt x="117" y="10"/>
                  </a:lnTo>
                  <a:lnTo>
                    <a:pt x="115" y="12"/>
                  </a:lnTo>
                  <a:lnTo>
                    <a:pt x="108" y="12"/>
                  </a:lnTo>
                  <a:lnTo>
                    <a:pt x="98" y="20"/>
                  </a:lnTo>
                  <a:lnTo>
                    <a:pt x="94" y="20"/>
                  </a:lnTo>
                  <a:lnTo>
                    <a:pt x="92" y="20"/>
                  </a:lnTo>
                  <a:lnTo>
                    <a:pt x="90" y="20"/>
                  </a:lnTo>
                  <a:lnTo>
                    <a:pt x="88" y="20"/>
                  </a:lnTo>
                  <a:lnTo>
                    <a:pt x="86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2" y="27"/>
                  </a:lnTo>
                  <a:lnTo>
                    <a:pt x="82" y="29"/>
                  </a:lnTo>
                  <a:lnTo>
                    <a:pt x="82" y="31"/>
                  </a:lnTo>
                  <a:lnTo>
                    <a:pt x="80" y="31"/>
                  </a:lnTo>
                  <a:lnTo>
                    <a:pt x="80" y="29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7"/>
                  </a:lnTo>
                  <a:lnTo>
                    <a:pt x="82" y="27"/>
                  </a:lnTo>
                  <a:lnTo>
                    <a:pt x="80" y="27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69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3" y="33"/>
                  </a:lnTo>
                  <a:lnTo>
                    <a:pt x="63" y="35"/>
                  </a:lnTo>
                  <a:lnTo>
                    <a:pt x="61" y="39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1" y="43"/>
                  </a:lnTo>
                  <a:lnTo>
                    <a:pt x="61" y="45"/>
                  </a:lnTo>
                  <a:lnTo>
                    <a:pt x="59" y="47"/>
                  </a:lnTo>
                  <a:lnTo>
                    <a:pt x="59" y="49"/>
                  </a:lnTo>
                  <a:lnTo>
                    <a:pt x="59" y="51"/>
                  </a:lnTo>
                  <a:lnTo>
                    <a:pt x="59" y="53"/>
                  </a:lnTo>
                  <a:lnTo>
                    <a:pt x="59" y="55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3" y="55"/>
                  </a:lnTo>
                  <a:lnTo>
                    <a:pt x="51" y="57"/>
                  </a:lnTo>
                  <a:lnTo>
                    <a:pt x="49" y="64"/>
                  </a:lnTo>
                  <a:lnTo>
                    <a:pt x="41" y="68"/>
                  </a:lnTo>
                  <a:lnTo>
                    <a:pt x="41" y="70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9" y="72"/>
                  </a:lnTo>
                  <a:lnTo>
                    <a:pt x="39" y="72"/>
                  </a:lnTo>
                  <a:lnTo>
                    <a:pt x="41" y="76"/>
                  </a:lnTo>
                  <a:lnTo>
                    <a:pt x="41" y="82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7" y="82"/>
                  </a:lnTo>
                  <a:lnTo>
                    <a:pt x="37" y="82"/>
                  </a:lnTo>
                  <a:lnTo>
                    <a:pt x="37" y="80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9" y="78"/>
                  </a:lnTo>
                  <a:lnTo>
                    <a:pt x="37" y="78"/>
                  </a:lnTo>
                  <a:lnTo>
                    <a:pt x="37" y="76"/>
                  </a:lnTo>
                  <a:lnTo>
                    <a:pt x="35" y="74"/>
                  </a:lnTo>
                  <a:lnTo>
                    <a:pt x="32" y="7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32" y="78"/>
                  </a:lnTo>
                  <a:lnTo>
                    <a:pt x="32" y="80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0" y="82"/>
                  </a:lnTo>
                  <a:lnTo>
                    <a:pt x="30" y="84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26" y="88"/>
                  </a:lnTo>
                  <a:lnTo>
                    <a:pt x="26" y="90"/>
                  </a:lnTo>
                  <a:lnTo>
                    <a:pt x="26" y="88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2" y="88"/>
                  </a:lnTo>
                  <a:lnTo>
                    <a:pt x="24" y="90"/>
                  </a:lnTo>
                  <a:lnTo>
                    <a:pt x="22" y="90"/>
                  </a:lnTo>
                  <a:lnTo>
                    <a:pt x="22" y="92"/>
                  </a:lnTo>
                  <a:lnTo>
                    <a:pt x="20" y="94"/>
                  </a:lnTo>
                  <a:lnTo>
                    <a:pt x="22" y="96"/>
                  </a:lnTo>
                  <a:lnTo>
                    <a:pt x="24" y="101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6" y="105"/>
                  </a:lnTo>
                  <a:lnTo>
                    <a:pt x="28" y="105"/>
                  </a:lnTo>
                  <a:lnTo>
                    <a:pt x="28" y="107"/>
                  </a:lnTo>
                  <a:lnTo>
                    <a:pt x="28" y="109"/>
                  </a:lnTo>
                  <a:lnTo>
                    <a:pt x="28" y="113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6" y="115"/>
                  </a:lnTo>
                  <a:lnTo>
                    <a:pt x="28" y="119"/>
                  </a:lnTo>
                  <a:lnTo>
                    <a:pt x="30" y="121"/>
                  </a:lnTo>
                  <a:lnTo>
                    <a:pt x="28" y="123"/>
                  </a:lnTo>
                  <a:lnTo>
                    <a:pt x="24" y="127"/>
                  </a:lnTo>
                  <a:lnTo>
                    <a:pt x="26" y="129"/>
                  </a:lnTo>
                  <a:lnTo>
                    <a:pt x="28" y="129"/>
                  </a:lnTo>
                  <a:lnTo>
                    <a:pt x="28" y="131"/>
                  </a:lnTo>
                  <a:lnTo>
                    <a:pt x="28" y="136"/>
                  </a:lnTo>
                  <a:lnTo>
                    <a:pt x="28" y="140"/>
                  </a:lnTo>
                  <a:lnTo>
                    <a:pt x="28" y="140"/>
                  </a:lnTo>
                  <a:lnTo>
                    <a:pt x="28" y="142"/>
                  </a:lnTo>
                  <a:lnTo>
                    <a:pt x="28" y="144"/>
                  </a:lnTo>
                  <a:lnTo>
                    <a:pt x="28" y="146"/>
                  </a:lnTo>
                  <a:lnTo>
                    <a:pt x="26" y="148"/>
                  </a:lnTo>
                  <a:lnTo>
                    <a:pt x="26" y="148"/>
                  </a:lnTo>
                  <a:lnTo>
                    <a:pt x="26" y="150"/>
                  </a:lnTo>
                  <a:lnTo>
                    <a:pt x="24" y="150"/>
                  </a:lnTo>
                  <a:lnTo>
                    <a:pt x="24" y="150"/>
                  </a:lnTo>
                  <a:lnTo>
                    <a:pt x="26" y="150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4"/>
                  </a:lnTo>
                  <a:lnTo>
                    <a:pt x="26" y="156"/>
                  </a:lnTo>
                  <a:lnTo>
                    <a:pt x="28" y="154"/>
                  </a:lnTo>
                  <a:lnTo>
                    <a:pt x="28" y="154"/>
                  </a:lnTo>
                  <a:lnTo>
                    <a:pt x="28" y="156"/>
                  </a:lnTo>
                  <a:lnTo>
                    <a:pt x="28" y="158"/>
                  </a:lnTo>
                  <a:lnTo>
                    <a:pt x="30" y="158"/>
                  </a:lnTo>
                  <a:lnTo>
                    <a:pt x="30" y="156"/>
                  </a:lnTo>
                  <a:lnTo>
                    <a:pt x="32" y="156"/>
                  </a:lnTo>
                  <a:lnTo>
                    <a:pt x="28" y="162"/>
                  </a:lnTo>
                  <a:lnTo>
                    <a:pt x="26" y="164"/>
                  </a:lnTo>
                  <a:lnTo>
                    <a:pt x="26" y="166"/>
                  </a:lnTo>
                  <a:lnTo>
                    <a:pt x="26" y="166"/>
                  </a:lnTo>
                  <a:lnTo>
                    <a:pt x="24" y="168"/>
                  </a:lnTo>
                  <a:lnTo>
                    <a:pt x="24" y="170"/>
                  </a:lnTo>
                  <a:lnTo>
                    <a:pt x="22" y="173"/>
                  </a:lnTo>
                  <a:lnTo>
                    <a:pt x="22" y="173"/>
                  </a:lnTo>
                  <a:lnTo>
                    <a:pt x="20" y="173"/>
                  </a:lnTo>
                  <a:lnTo>
                    <a:pt x="20" y="173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0" y="177"/>
                  </a:lnTo>
                  <a:lnTo>
                    <a:pt x="18" y="179"/>
                  </a:lnTo>
                  <a:lnTo>
                    <a:pt x="18" y="179"/>
                  </a:lnTo>
                  <a:lnTo>
                    <a:pt x="18" y="179"/>
                  </a:lnTo>
                  <a:lnTo>
                    <a:pt x="18" y="179"/>
                  </a:lnTo>
                  <a:lnTo>
                    <a:pt x="16" y="181"/>
                  </a:lnTo>
                  <a:lnTo>
                    <a:pt x="16" y="181"/>
                  </a:lnTo>
                  <a:lnTo>
                    <a:pt x="16" y="181"/>
                  </a:lnTo>
                  <a:lnTo>
                    <a:pt x="14" y="183"/>
                  </a:lnTo>
                  <a:lnTo>
                    <a:pt x="14" y="183"/>
                  </a:lnTo>
                  <a:lnTo>
                    <a:pt x="12" y="183"/>
                  </a:lnTo>
                  <a:lnTo>
                    <a:pt x="10" y="183"/>
                  </a:lnTo>
                  <a:lnTo>
                    <a:pt x="10" y="183"/>
                  </a:lnTo>
                  <a:lnTo>
                    <a:pt x="8" y="183"/>
                  </a:lnTo>
                  <a:lnTo>
                    <a:pt x="8" y="183"/>
                  </a:lnTo>
                  <a:lnTo>
                    <a:pt x="6" y="185"/>
                  </a:lnTo>
                  <a:lnTo>
                    <a:pt x="6" y="185"/>
                  </a:lnTo>
                  <a:lnTo>
                    <a:pt x="6" y="191"/>
                  </a:lnTo>
                  <a:lnTo>
                    <a:pt x="6" y="193"/>
                  </a:lnTo>
                  <a:lnTo>
                    <a:pt x="6" y="195"/>
                  </a:lnTo>
                  <a:lnTo>
                    <a:pt x="4" y="195"/>
                  </a:lnTo>
                  <a:lnTo>
                    <a:pt x="0" y="195"/>
                  </a:lnTo>
                  <a:lnTo>
                    <a:pt x="0" y="199"/>
                  </a:lnTo>
                  <a:lnTo>
                    <a:pt x="2" y="199"/>
                  </a:lnTo>
                  <a:lnTo>
                    <a:pt x="2" y="201"/>
                  </a:lnTo>
                  <a:lnTo>
                    <a:pt x="2" y="201"/>
                  </a:lnTo>
                  <a:lnTo>
                    <a:pt x="4" y="203"/>
                  </a:lnTo>
                  <a:lnTo>
                    <a:pt x="4" y="205"/>
                  </a:lnTo>
                  <a:lnTo>
                    <a:pt x="6" y="205"/>
                  </a:lnTo>
                  <a:lnTo>
                    <a:pt x="8" y="205"/>
                  </a:lnTo>
                  <a:lnTo>
                    <a:pt x="10" y="210"/>
                  </a:lnTo>
                  <a:lnTo>
                    <a:pt x="12" y="210"/>
                  </a:lnTo>
                  <a:lnTo>
                    <a:pt x="14" y="212"/>
                  </a:lnTo>
                  <a:lnTo>
                    <a:pt x="18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0" y="216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4" y="216"/>
                  </a:lnTo>
                  <a:lnTo>
                    <a:pt x="24" y="216"/>
                  </a:lnTo>
                  <a:lnTo>
                    <a:pt x="24" y="220"/>
                  </a:lnTo>
                  <a:lnTo>
                    <a:pt x="24" y="222"/>
                  </a:lnTo>
                  <a:lnTo>
                    <a:pt x="26" y="222"/>
                  </a:lnTo>
                  <a:lnTo>
                    <a:pt x="28" y="222"/>
                  </a:lnTo>
                  <a:lnTo>
                    <a:pt x="30" y="222"/>
                  </a:lnTo>
                  <a:lnTo>
                    <a:pt x="30" y="222"/>
                  </a:lnTo>
                  <a:lnTo>
                    <a:pt x="32" y="224"/>
                  </a:lnTo>
                  <a:lnTo>
                    <a:pt x="35" y="224"/>
                  </a:lnTo>
                  <a:lnTo>
                    <a:pt x="35" y="224"/>
                  </a:lnTo>
                  <a:lnTo>
                    <a:pt x="37" y="224"/>
                  </a:lnTo>
                  <a:lnTo>
                    <a:pt x="37" y="224"/>
                  </a:lnTo>
                  <a:lnTo>
                    <a:pt x="37" y="224"/>
                  </a:lnTo>
                  <a:lnTo>
                    <a:pt x="39" y="224"/>
                  </a:lnTo>
                  <a:lnTo>
                    <a:pt x="39" y="224"/>
                  </a:lnTo>
                  <a:lnTo>
                    <a:pt x="41" y="224"/>
                  </a:lnTo>
                  <a:lnTo>
                    <a:pt x="41" y="222"/>
                  </a:lnTo>
                  <a:lnTo>
                    <a:pt x="41" y="222"/>
                  </a:lnTo>
                  <a:lnTo>
                    <a:pt x="41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7" y="222"/>
                  </a:lnTo>
                  <a:lnTo>
                    <a:pt x="47" y="222"/>
                  </a:lnTo>
                  <a:lnTo>
                    <a:pt x="49" y="224"/>
                  </a:lnTo>
                  <a:lnTo>
                    <a:pt x="49" y="226"/>
                  </a:lnTo>
                  <a:lnTo>
                    <a:pt x="51" y="226"/>
                  </a:lnTo>
                  <a:lnTo>
                    <a:pt x="53" y="226"/>
                  </a:lnTo>
                  <a:lnTo>
                    <a:pt x="57" y="228"/>
                  </a:lnTo>
                  <a:lnTo>
                    <a:pt x="59" y="230"/>
                  </a:lnTo>
                  <a:lnTo>
                    <a:pt x="59" y="228"/>
                  </a:lnTo>
                  <a:lnTo>
                    <a:pt x="61" y="228"/>
                  </a:lnTo>
                  <a:lnTo>
                    <a:pt x="61" y="228"/>
                  </a:lnTo>
                  <a:lnTo>
                    <a:pt x="63" y="230"/>
                  </a:lnTo>
                  <a:lnTo>
                    <a:pt x="63" y="230"/>
                  </a:lnTo>
                  <a:lnTo>
                    <a:pt x="65" y="232"/>
                  </a:lnTo>
                  <a:lnTo>
                    <a:pt x="65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4"/>
                  </a:lnTo>
                  <a:lnTo>
                    <a:pt x="69" y="234"/>
                  </a:lnTo>
                  <a:lnTo>
                    <a:pt x="69" y="234"/>
                  </a:lnTo>
                  <a:lnTo>
                    <a:pt x="71" y="236"/>
                  </a:lnTo>
                  <a:lnTo>
                    <a:pt x="71" y="236"/>
                  </a:lnTo>
                  <a:lnTo>
                    <a:pt x="71" y="238"/>
                  </a:lnTo>
                  <a:lnTo>
                    <a:pt x="74" y="238"/>
                  </a:lnTo>
                  <a:lnTo>
                    <a:pt x="74" y="240"/>
                  </a:lnTo>
                  <a:lnTo>
                    <a:pt x="74" y="242"/>
                  </a:lnTo>
                  <a:lnTo>
                    <a:pt x="76" y="242"/>
                  </a:lnTo>
                  <a:lnTo>
                    <a:pt x="76" y="244"/>
                  </a:lnTo>
                  <a:lnTo>
                    <a:pt x="76" y="244"/>
                  </a:lnTo>
                  <a:lnTo>
                    <a:pt x="76" y="247"/>
                  </a:lnTo>
                  <a:lnTo>
                    <a:pt x="78" y="247"/>
                  </a:lnTo>
                  <a:lnTo>
                    <a:pt x="80" y="247"/>
                  </a:lnTo>
                  <a:lnTo>
                    <a:pt x="80" y="249"/>
                  </a:lnTo>
                  <a:lnTo>
                    <a:pt x="82" y="249"/>
                  </a:lnTo>
                  <a:lnTo>
                    <a:pt x="82" y="251"/>
                  </a:lnTo>
                  <a:lnTo>
                    <a:pt x="84" y="251"/>
                  </a:lnTo>
                  <a:lnTo>
                    <a:pt x="84" y="251"/>
                  </a:lnTo>
                  <a:lnTo>
                    <a:pt x="86" y="251"/>
                  </a:lnTo>
                  <a:lnTo>
                    <a:pt x="86" y="253"/>
                  </a:lnTo>
                  <a:lnTo>
                    <a:pt x="88" y="255"/>
                  </a:lnTo>
                  <a:lnTo>
                    <a:pt x="88" y="255"/>
                  </a:lnTo>
                  <a:lnTo>
                    <a:pt x="88" y="257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90" y="261"/>
                  </a:lnTo>
                  <a:lnTo>
                    <a:pt x="90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4" y="261"/>
                  </a:lnTo>
                  <a:lnTo>
                    <a:pt x="94" y="263"/>
                  </a:lnTo>
                  <a:lnTo>
                    <a:pt x="94" y="265"/>
                  </a:lnTo>
                  <a:lnTo>
                    <a:pt x="94" y="267"/>
                  </a:lnTo>
                  <a:lnTo>
                    <a:pt x="94" y="267"/>
                  </a:lnTo>
                  <a:lnTo>
                    <a:pt x="94" y="269"/>
                  </a:lnTo>
                  <a:lnTo>
                    <a:pt x="94" y="269"/>
                  </a:lnTo>
                  <a:lnTo>
                    <a:pt x="96" y="271"/>
                  </a:lnTo>
                  <a:lnTo>
                    <a:pt x="96" y="271"/>
                  </a:lnTo>
                  <a:lnTo>
                    <a:pt x="98" y="271"/>
                  </a:lnTo>
                  <a:lnTo>
                    <a:pt x="98" y="273"/>
                  </a:lnTo>
                  <a:lnTo>
                    <a:pt x="100" y="273"/>
                  </a:lnTo>
                  <a:lnTo>
                    <a:pt x="102" y="271"/>
                  </a:lnTo>
                  <a:lnTo>
                    <a:pt x="102" y="271"/>
                  </a:lnTo>
                  <a:lnTo>
                    <a:pt x="102" y="271"/>
                  </a:lnTo>
                  <a:lnTo>
                    <a:pt x="104" y="271"/>
                  </a:lnTo>
                  <a:lnTo>
                    <a:pt x="104" y="271"/>
                  </a:lnTo>
                  <a:lnTo>
                    <a:pt x="106" y="273"/>
                  </a:lnTo>
                  <a:lnTo>
                    <a:pt x="108" y="273"/>
                  </a:lnTo>
                  <a:lnTo>
                    <a:pt x="108" y="271"/>
                  </a:lnTo>
                  <a:lnTo>
                    <a:pt x="110" y="271"/>
                  </a:lnTo>
                  <a:lnTo>
                    <a:pt x="113" y="271"/>
                  </a:lnTo>
                  <a:lnTo>
                    <a:pt x="113" y="271"/>
                  </a:lnTo>
                  <a:lnTo>
                    <a:pt x="115" y="269"/>
                  </a:lnTo>
                  <a:lnTo>
                    <a:pt x="115" y="269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9" y="269"/>
                  </a:lnTo>
                  <a:lnTo>
                    <a:pt x="121" y="269"/>
                  </a:lnTo>
                  <a:lnTo>
                    <a:pt x="121" y="269"/>
                  </a:lnTo>
                  <a:lnTo>
                    <a:pt x="123" y="271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7" y="269"/>
                  </a:lnTo>
                  <a:lnTo>
                    <a:pt x="129" y="269"/>
                  </a:lnTo>
                  <a:lnTo>
                    <a:pt x="129" y="269"/>
                  </a:lnTo>
                  <a:lnTo>
                    <a:pt x="131" y="269"/>
                  </a:lnTo>
                  <a:lnTo>
                    <a:pt x="133" y="271"/>
                  </a:lnTo>
                  <a:lnTo>
                    <a:pt x="135" y="273"/>
                  </a:lnTo>
                  <a:lnTo>
                    <a:pt x="135" y="273"/>
                  </a:lnTo>
                  <a:lnTo>
                    <a:pt x="137" y="273"/>
                  </a:lnTo>
                  <a:lnTo>
                    <a:pt x="139" y="273"/>
                  </a:lnTo>
                  <a:lnTo>
                    <a:pt x="139" y="275"/>
                  </a:lnTo>
                  <a:lnTo>
                    <a:pt x="141" y="275"/>
                  </a:lnTo>
                  <a:lnTo>
                    <a:pt x="141" y="275"/>
                  </a:lnTo>
                  <a:lnTo>
                    <a:pt x="143" y="277"/>
                  </a:lnTo>
                  <a:lnTo>
                    <a:pt x="143" y="277"/>
                  </a:lnTo>
                  <a:lnTo>
                    <a:pt x="143" y="277"/>
                  </a:lnTo>
                  <a:lnTo>
                    <a:pt x="145" y="277"/>
                  </a:lnTo>
                  <a:lnTo>
                    <a:pt x="143" y="279"/>
                  </a:lnTo>
                  <a:lnTo>
                    <a:pt x="143" y="281"/>
                  </a:lnTo>
                  <a:lnTo>
                    <a:pt x="141" y="286"/>
                  </a:lnTo>
                  <a:lnTo>
                    <a:pt x="139" y="288"/>
                  </a:lnTo>
                  <a:lnTo>
                    <a:pt x="135" y="294"/>
                  </a:lnTo>
                  <a:lnTo>
                    <a:pt x="133" y="298"/>
                  </a:lnTo>
                  <a:lnTo>
                    <a:pt x="135" y="298"/>
                  </a:lnTo>
                  <a:lnTo>
                    <a:pt x="137" y="300"/>
                  </a:lnTo>
                  <a:lnTo>
                    <a:pt x="137" y="300"/>
                  </a:lnTo>
                  <a:lnTo>
                    <a:pt x="139" y="298"/>
                  </a:lnTo>
                  <a:lnTo>
                    <a:pt x="139" y="298"/>
                  </a:lnTo>
                  <a:lnTo>
                    <a:pt x="141" y="298"/>
                  </a:lnTo>
                  <a:lnTo>
                    <a:pt x="141" y="298"/>
                  </a:lnTo>
                  <a:lnTo>
                    <a:pt x="141" y="300"/>
                  </a:lnTo>
                  <a:lnTo>
                    <a:pt x="143" y="302"/>
                  </a:lnTo>
                  <a:lnTo>
                    <a:pt x="143" y="302"/>
                  </a:lnTo>
                  <a:lnTo>
                    <a:pt x="145" y="304"/>
                  </a:lnTo>
                  <a:lnTo>
                    <a:pt x="145" y="304"/>
                  </a:lnTo>
                  <a:lnTo>
                    <a:pt x="147" y="306"/>
                  </a:lnTo>
                  <a:lnTo>
                    <a:pt x="147" y="306"/>
                  </a:lnTo>
                  <a:lnTo>
                    <a:pt x="147" y="302"/>
                  </a:lnTo>
                  <a:lnTo>
                    <a:pt x="147" y="296"/>
                  </a:lnTo>
                  <a:lnTo>
                    <a:pt x="150" y="290"/>
                  </a:lnTo>
                  <a:lnTo>
                    <a:pt x="150" y="284"/>
                  </a:lnTo>
                  <a:lnTo>
                    <a:pt x="152" y="277"/>
                  </a:lnTo>
                  <a:lnTo>
                    <a:pt x="152" y="271"/>
                  </a:lnTo>
                  <a:lnTo>
                    <a:pt x="152" y="265"/>
                  </a:lnTo>
                  <a:lnTo>
                    <a:pt x="154" y="261"/>
                  </a:lnTo>
                  <a:lnTo>
                    <a:pt x="154" y="259"/>
                  </a:lnTo>
                  <a:lnTo>
                    <a:pt x="154" y="255"/>
                  </a:lnTo>
                  <a:lnTo>
                    <a:pt x="154" y="251"/>
                  </a:lnTo>
                  <a:lnTo>
                    <a:pt x="156" y="251"/>
                  </a:lnTo>
                  <a:lnTo>
                    <a:pt x="154" y="249"/>
                  </a:lnTo>
                  <a:lnTo>
                    <a:pt x="154" y="249"/>
                  </a:lnTo>
                  <a:lnTo>
                    <a:pt x="154" y="249"/>
                  </a:lnTo>
                  <a:lnTo>
                    <a:pt x="154" y="247"/>
                  </a:lnTo>
                  <a:lnTo>
                    <a:pt x="154" y="247"/>
                  </a:lnTo>
                  <a:lnTo>
                    <a:pt x="154" y="247"/>
                  </a:lnTo>
                  <a:lnTo>
                    <a:pt x="154" y="244"/>
                  </a:lnTo>
                  <a:lnTo>
                    <a:pt x="152" y="244"/>
                  </a:lnTo>
                  <a:lnTo>
                    <a:pt x="152" y="244"/>
                  </a:lnTo>
                  <a:lnTo>
                    <a:pt x="152" y="244"/>
                  </a:lnTo>
                  <a:lnTo>
                    <a:pt x="152" y="242"/>
                  </a:lnTo>
                  <a:lnTo>
                    <a:pt x="152" y="242"/>
                  </a:lnTo>
                  <a:lnTo>
                    <a:pt x="152" y="240"/>
                  </a:lnTo>
                  <a:lnTo>
                    <a:pt x="152" y="240"/>
                  </a:lnTo>
                  <a:lnTo>
                    <a:pt x="152" y="240"/>
                  </a:lnTo>
                  <a:lnTo>
                    <a:pt x="152" y="238"/>
                  </a:lnTo>
                  <a:lnTo>
                    <a:pt x="152" y="238"/>
                  </a:lnTo>
                  <a:lnTo>
                    <a:pt x="152" y="238"/>
                  </a:lnTo>
                  <a:lnTo>
                    <a:pt x="150" y="236"/>
                  </a:lnTo>
                  <a:lnTo>
                    <a:pt x="150" y="236"/>
                  </a:lnTo>
                  <a:lnTo>
                    <a:pt x="147" y="234"/>
                  </a:lnTo>
                  <a:lnTo>
                    <a:pt x="145" y="234"/>
                  </a:lnTo>
                  <a:lnTo>
                    <a:pt x="143" y="232"/>
                  </a:lnTo>
                  <a:lnTo>
                    <a:pt x="143" y="230"/>
                  </a:lnTo>
                  <a:lnTo>
                    <a:pt x="143" y="228"/>
                  </a:lnTo>
                  <a:lnTo>
                    <a:pt x="143" y="224"/>
                  </a:lnTo>
                  <a:lnTo>
                    <a:pt x="143" y="220"/>
                  </a:lnTo>
                  <a:lnTo>
                    <a:pt x="143" y="218"/>
                  </a:lnTo>
                  <a:lnTo>
                    <a:pt x="145" y="218"/>
                  </a:lnTo>
                  <a:lnTo>
                    <a:pt x="145" y="218"/>
                  </a:lnTo>
                  <a:lnTo>
                    <a:pt x="147" y="218"/>
                  </a:lnTo>
                  <a:lnTo>
                    <a:pt x="147" y="218"/>
                  </a:lnTo>
                  <a:lnTo>
                    <a:pt x="150" y="216"/>
                  </a:lnTo>
                  <a:lnTo>
                    <a:pt x="150" y="216"/>
                  </a:lnTo>
                  <a:lnTo>
                    <a:pt x="150" y="216"/>
                  </a:lnTo>
                  <a:lnTo>
                    <a:pt x="152" y="216"/>
                  </a:lnTo>
                  <a:lnTo>
                    <a:pt x="152" y="216"/>
                  </a:lnTo>
                  <a:lnTo>
                    <a:pt x="152" y="216"/>
                  </a:lnTo>
                  <a:lnTo>
                    <a:pt x="152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58" y="214"/>
                  </a:lnTo>
                  <a:lnTo>
                    <a:pt x="158" y="214"/>
                  </a:lnTo>
                  <a:lnTo>
                    <a:pt x="158" y="212"/>
                  </a:lnTo>
                  <a:lnTo>
                    <a:pt x="158" y="212"/>
                  </a:lnTo>
                  <a:lnTo>
                    <a:pt x="158" y="210"/>
                  </a:lnTo>
                  <a:lnTo>
                    <a:pt x="158" y="210"/>
                  </a:lnTo>
                  <a:lnTo>
                    <a:pt x="156" y="210"/>
                  </a:lnTo>
                  <a:lnTo>
                    <a:pt x="156" y="210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2" y="210"/>
                  </a:lnTo>
                  <a:lnTo>
                    <a:pt x="152" y="207"/>
                  </a:lnTo>
                  <a:lnTo>
                    <a:pt x="150" y="210"/>
                  </a:lnTo>
                  <a:lnTo>
                    <a:pt x="150" y="207"/>
                  </a:lnTo>
                  <a:lnTo>
                    <a:pt x="147" y="207"/>
                  </a:lnTo>
                  <a:lnTo>
                    <a:pt x="147" y="210"/>
                  </a:lnTo>
                  <a:lnTo>
                    <a:pt x="147" y="203"/>
                  </a:lnTo>
                  <a:lnTo>
                    <a:pt x="147" y="199"/>
                  </a:lnTo>
                  <a:lnTo>
                    <a:pt x="147" y="197"/>
                  </a:lnTo>
                  <a:lnTo>
                    <a:pt x="147" y="197"/>
                  </a:lnTo>
                  <a:lnTo>
                    <a:pt x="150" y="197"/>
                  </a:lnTo>
                  <a:lnTo>
                    <a:pt x="152" y="197"/>
                  </a:lnTo>
                  <a:lnTo>
                    <a:pt x="152" y="195"/>
                  </a:lnTo>
                  <a:lnTo>
                    <a:pt x="152" y="195"/>
                  </a:lnTo>
                  <a:lnTo>
                    <a:pt x="154" y="195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60" y="197"/>
                  </a:lnTo>
                  <a:lnTo>
                    <a:pt x="162" y="197"/>
                  </a:lnTo>
                  <a:lnTo>
                    <a:pt x="166" y="197"/>
                  </a:lnTo>
                  <a:lnTo>
                    <a:pt x="170" y="197"/>
                  </a:lnTo>
                  <a:lnTo>
                    <a:pt x="174" y="197"/>
                  </a:lnTo>
                  <a:lnTo>
                    <a:pt x="174" y="197"/>
                  </a:lnTo>
                  <a:lnTo>
                    <a:pt x="174" y="195"/>
                  </a:lnTo>
                  <a:lnTo>
                    <a:pt x="174" y="195"/>
                  </a:lnTo>
                  <a:lnTo>
                    <a:pt x="174" y="193"/>
                  </a:lnTo>
                  <a:lnTo>
                    <a:pt x="174" y="193"/>
                  </a:lnTo>
                  <a:lnTo>
                    <a:pt x="174" y="191"/>
                  </a:lnTo>
                  <a:lnTo>
                    <a:pt x="176" y="193"/>
                  </a:lnTo>
                  <a:lnTo>
                    <a:pt x="176" y="193"/>
                  </a:lnTo>
                  <a:lnTo>
                    <a:pt x="176" y="195"/>
                  </a:lnTo>
                  <a:lnTo>
                    <a:pt x="178" y="195"/>
                  </a:lnTo>
                  <a:lnTo>
                    <a:pt x="178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2" y="193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6" y="189"/>
                  </a:lnTo>
                  <a:lnTo>
                    <a:pt x="186" y="189"/>
                  </a:lnTo>
                  <a:lnTo>
                    <a:pt x="186" y="189"/>
                  </a:lnTo>
                  <a:lnTo>
                    <a:pt x="189" y="189"/>
                  </a:lnTo>
                  <a:lnTo>
                    <a:pt x="189" y="191"/>
                  </a:lnTo>
                  <a:lnTo>
                    <a:pt x="191" y="195"/>
                  </a:lnTo>
                  <a:lnTo>
                    <a:pt x="193" y="197"/>
                  </a:lnTo>
                  <a:lnTo>
                    <a:pt x="193" y="199"/>
                  </a:lnTo>
                  <a:lnTo>
                    <a:pt x="193" y="203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193" y="207"/>
                  </a:lnTo>
                  <a:lnTo>
                    <a:pt x="195" y="205"/>
                  </a:lnTo>
                  <a:lnTo>
                    <a:pt x="195" y="20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6" name="Freeform 206">
              <a:extLst>
                <a:ext uri="{FF2B5EF4-FFF2-40B4-BE49-F238E27FC236}">
                  <a16:creationId xmlns:a16="http://schemas.microsoft.com/office/drawing/2014/main" id="{9FC37C34-3E0D-C349-8FE8-AB24DDF6C9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969" y="3912413"/>
              <a:ext cx="1000623" cy="828306"/>
            </a:xfrm>
            <a:custGeom>
              <a:avLst/>
              <a:gdLst>
                <a:gd name="T0" fmla="*/ 840 w 842"/>
                <a:gd name="T1" fmla="*/ 684 h 697"/>
                <a:gd name="T2" fmla="*/ 830 w 842"/>
                <a:gd name="T3" fmla="*/ 684 h 697"/>
                <a:gd name="T4" fmla="*/ 801 w 842"/>
                <a:gd name="T5" fmla="*/ 687 h 697"/>
                <a:gd name="T6" fmla="*/ 826 w 842"/>
                <a:gd name="T7" fmla="*/ 693 h 697"/>
                <a:gd name="T8" fmla="*/ 787 w 842"/>
                <a:gd name="T9" fmla="*/ 682 h 697"/>
                <a:gd name="T10" fmla="*/ 764 w 842"/>
                <a:gd name="T11" fmla="*/ 668 h 697"/>
                <a:gd name="T12" fmla="*/ 738 w 842"/>
                <a:gd name="T13" fmla="*/ 662 h 697"/>
                <a:gd name="T14" fmla="*/ 729 w 842"/>
                <a:gd name="T15" fmla="*/ 652 h 697"/>
                <a:gd name="T16" fmla="*/ 725 w 842"/>
                <a:gd name="T17" fmla="*/ 650 h 697"/>
                <a:gd name="T18" fmla="*/ 770 w 842"/>
                <a:gd name="T19" fmla="*/ 641 h 697"/>
                <a:gd name="T20" fmla="*/ 781 w 842"/>
                <a:gd name="T21" fmla="*/ 662 h 697"/>
                <a:gd name="T22" fmla="*/ 775 w 842"/>
                <a:gd name="T23" fmla="*/ 660 h 697"/>
                <a:gd name="T24" fmla="*/ 764 w 842"/>
                <a:gd name="T25" fmla="*/ 674 h 697"/>
                <a:gd name="T26" fmla="*/ 701 w 842"/>
                <a:gd name="T27" fmla="*/ 627 h 697"/>
                <a:gd name="T28" fmla="*/ 690 w 842"/>
                <a:gd name="T29" fmla="*/ 621 h 697"/>
                <a:gd name="T30" fmla="*/ 680 w 842"/>
                <a:gd name="T31" fmla="*/ 600 h 697"/>
                <a:gd name="T32" fmla="*/ 684 w 842"/>
                <a:gd name="T33" fmla="*/ 588 h 697"/>
                <a:gd name="T34" fmla="*/ 670 w 842"/>
                <a:gd name="T35" fmla="*/ 588 h 697"/>
                <a:gd name="T36" fmla="*/ 662 w 842"/>
                <a:gd name="T37" fmla="*/ 561 h 697"/>
                <a:gd name="T38" fmla="*/ 668 w 842"/>
                <a:gd name="T39" fmla="*/ 559 h 697"/>
                <a:gd name="T40" fmla="*/ 651 w 842"/>
                <a:gd name="T41" fmla="*/ 508 h 697"/>
                <a:gd name="T42" fmla="*/ 660 w 842"/>
                <a:gd name="T43" fmla="*/ 495 h 697"/>
                <a:gd name="T44" fmla="*/ 645 w 842"/>
                <a:gd name="T45" fmla="*/ 491 h 697"/>
                <a:gd name="T46" fmla="*/ 649 w 842"/>
                <a:gd name="T47" fmla="*/ 481 h 697"/>
                <a:gd name="T48" fmla="*/ 645 w 842"/>
                <a:gd name="T49" fmla="*/ 462 h 697"/>
                <a:gd name="T50" fmla="*/ 637 w 842"/>
                <a:gd name="T51" fmla="*/ 464 h 697"/>
                <a:gd name="T52" fmla="*/ 766 w 842"/>
                <a:gd name="T53" fmla="*/ 662 h 697"/>
                <a:gd name="T54" fmla="*/ 748 w 842"/>
                <a:gd name="T55" fmla="*/ 629 h 697"/>
                <a:gd name="T56" fmla="*/ 709 w 842"/>
                <a:gd name="T57" fmla="*/ 602 h 697"/>
                <a:gd name="T58" fmla="*/ 699 w 842"/>
                <a:gd name="T59" fmla="*/ 553 h 697"/>
                <a:gd name="T60" fmla="*/ 694 w 842"/>
                <a:gd name="T61" fmla="*/ 512 h 697"/>
                <a:gd name="T62" fmla="*/ 678 w 842"/>
                <a:gd name="T63" fmla="*/ 479 h 697"/>
                <a:gd name="T64" fmla="*/ 662 w 842"/>
                <a:gd name="T65" fmla="*/ 442 h 697"/>
                <a:gd name="T66" fmla="*/ 653 w 842"/>
                <a:gd name="T67" fmla="*/ 405 h 697"/>
                <a:gd name="T68" fmla="*/ 643 w 842"/>
                <a:gd name="T69" fmla="*/ 353 h 697"/>
                <a:gd name="T70" fmla="*/ 647 w 842"/>
                <a:gd name="T71" fmla="*/ 316 h 697"/>
                <a:gd name="T72" fmla="*/ 635 w 842"/>
                <a:gd name="T73" fmla="*/ 271 h 697"/>
                <a:gd name="T74" fmla="*/ 631 w 842"/>
                <a:gd name="T75" fmla="*/ 236 h 697"/>
                <a:gd name="T76" fmla="*/ 637 w 842"/>
                <a:gd name="T77" fmla="*/ 179 h 697"/>
                <a:gd name="T78" fmla="*/ 635 w 842"/>
                <a:gd name="T79" fmla="*/ 135 h 697"/>
                <a:gd name="T80" fmla="*/ 637 w 842"/>
                <a:gd name="T81" fmla="*/ 84 h 697"/>
                <a:gd name="T82" fmla="*/ 621 w 842"/>
                <a:gd name="T83" fmla="*/ 41 h 697"/>
                <a:gd name="T84" fmla="*/ 600 w 842"/>
                <a:gd name="T85" fmla="*/ 4 h 697"/>
                <a:gd name="T86" fmla="*/ 602 w 842"/>
                <a:gd name="T87" fmla="*/ 98 h 697"/>
                <a:gd name="T88" fmla="*/ 604 w 842"/>
                <a:gd name="T89" fmla="*/ 179 h 697"/>
                <a:gd name="T90" fmla="*/ 616 w 842"/>
                <a:gd name="T91" fmla="*/ 286 h 697"/>
                <a:gd name="T92" fmla="*/ 612 w 842"/>
                <a:gd name="T93" fmla="*/ 364 h 697"/>
                <a:gd name="T94" fmla="*/ 635 w 842"/>
                <a:gd name="T95" fmla="*/ 444 h 697"/>
                <a:gd name="T96" fmla="*/ 653 w 842"/>
                <a:gd name="T97" fmla="*/ 454 h 697"/>
                <a:gd name="T98" fmla="*/ 672 w 842"/>
                <a:gd name="T99" fmla="*/ 510 h 697"/>
                <a:gd name="T100" fmla="*/ 664 w 842"/>
                <a:gd name="T101" fmla="*/ 522 h 697"/>
                <a:gd name="T102" fmla="*/ 649 w 842"/>
                <a:gd name="T103" fmla="*/ 524 h 697"/>
                <a:gd name="T104" fmla="*/ 662 w 842"/>
                <a:gd name="T105" fmla="*/ 536 h 697"/>
                <a:gd name="T106" fmla="*/ 678 w 842"/>
                <a:gd name="T107" fmla="*/ 553 h 697"/>
                <a:gd name="T108" fmla="*/ 684 w 842"/>
                <a:gd name="T109" fmla="*/ 584 h 697"/>
                <a:gd name="T110" fmla="*/ 694 w 842"/>
                <a:gd name="T111" fmla="*/ 594 h 697"/>
                <a:gd name="T112" fmla="*/ 688 w 842"/>
                <a:gd name="T113" fmla="*/ 600 h 697"/>
                <a:gd name="T114" fmla="*/ 719 w 842"/>
                <a:gd name="T115" fmla="*/ 629 h 697"/>
                <a:gd name="T116" fmla="*/ 733 w 842"/>
                <a:gd name="T117" fmla="*/ 633 h 697"/>
                <a:gd name="T118" fmla="*/ 715 w 842"/>
                <a:gd name="T119" fmla="*/ 639 h 697"/>
                <a:gd name="T120" fmla="*/ 740 w 842"/>
                <a:gd name="T121" fmla="*/ 639 h 697"/>
                <a:gd name="T122" fmla="*/ 758 w 842"/>
                <a:gd name="T123" fmla="*/ 643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42" h="697">
                  <a:moveTo>
                    <a:pt x="834" y="695"/>
                  </a:moveTo>
                  <a:lnTo>
                    <a:pt x="830" y="695"/>
                  </a:lnTo>
                  <a:lnTo>
                    <a:pt x="830" y="695"/>
                  </a:lnTo>
                  <a:lnTo>
                    <a:pt x="830" y="697"/>
                  </a:lnTo>
                  <a:lnTo>
                    <a:pt x="830" y="697"/>
                  </a:lnTo>
                  <a:lnTo>
                    <a:pt x="830" y="697"/>
                  </a:lnTo>
                  <a:lnTo>
                    <a:pt x="832" y="697"/>
                  </a:lnTo>
                  <a:lnTo>
                    <a:pt x="834" y="697"/>
                  </a:lnTo>
                  <a:lnTo>
                    <a:pt x="834" y="697"/>
                  </a:lnTo>
                  <a:lnTo>
                    <a:pt x="834" y="697"/>
                  </a:lnTo>
                  <a:lnTo>
                    <a:pt x="834" y="697"/>
                  </a:lnTo>
                  <a:lnTo>
                    <a:pt x="834" y="695"/>
                  </a:lnTo>
                  <a:lnTo>
                    <a:pt x="834" y="695"/>
                  </a:lnTo>
                  <a:close/>
                  <a:moveTo>
                    <a:pt x="836" y="693"/>
                  </a:moveTo>
                  <a:lnTo>
                    <a:pt x="834" y="693"/>
                  </a:lnTo>
                  <a:lnTo>
                    <a:pt x="834" y="691"/>
                  </a:lnTo>
                  <a:lnTo>
                    <a:pt x="834" y="691"/>
                  </a:lnTo>
                  <a:lnTo>
                    <a:pt x="834" y="693"/>
                  </a:lnTo>
                  <a:lnTo>
                    <a:pt x="832" y="693"/>
                  </a:lnTo>
                  <a:lnTo>
                    <a:pt x="832" y="693"/>
                  </a:lnTo>
                  <a:lnTo>
                    <a:pt x="832" y="693"/>
                  </a:lnTo>
                  <a:lnTo>
                    <a:pt x="832" y="695"/>
                  </a:lnTo>
                  <a:lnTo>
                    <a:pt x="836" y="695"/>
                  </a:lnTo>
                  <a:lnTo>
                    <a:pt x="836" y="695"/>
                  </a:lnTo>
                  <a:lnTo>
                    <a:pt x="836" y="695"/>
                  </a:lnTo>
                  <a:lnTo>
                    <a:pt x="836" y="695"/>
                  </a:lnTo>
                  <a:lnTo>
                    <a:pt x="836" y="695"/>
                  </a:lnTo>
                  <a:lnTo>
                    <a:pt x="836" y="695"/>
                  </a:lnTo>
                  <a:lnTo>
                    <a:pt x="836" y="693"/>
                  </a:lnTo>
                  <a:close/>
                  <a:moveTo>
                    <a:pt x="842" y="684"/>
                  </a:moveTo>
                  <a:lnTo>
                    <a:pt x="842" y="684"/>
                  </a:lnTo>
                  <a:lnTo>
                    <a:pt x="840" y="684"/>
                  </a:lnTo>
                  <a:lnTo>
                    <a:pt x="840" y="684"/>
                  </a:lnTo>
                  <a:lnTo>
                    <a:pt x="840" y="684"/>
                  </a:lnTo>
                  <a:lnTo>
                    <a:pt x="840" y="687"/>
                  </a:lnTo>
                  <a:lnTo>
                    <a:pt x="842" y="687"/>
                  </a:lnTo>
                  <a:lnTo>
                    <a:pt x="842" y="687"/>
                  </a:lnTo>
                  <a:lnTo>
                    <a:pt x="842" y="684"/>
                  </a:lnTo>
                  <a:lnTo>
                    <a:pt x="842" y="684"/>
                  </a:lnTo>
                  <a:lnTo>
                    <a:pt x="842" y="684"/>
                  </a:lnTo>
                  <a:close/>
                  <a:moveTo>
                    <a:pt x="830" y="687"/>
                  </a:moveTo>
                  <a:lnTo>
                    <a:pt x="832" y="687"/>
                  </a:lnTo>
                  <a:lnTo>
                    <a:pt x="832" y="687"/>
                  </a:lnTo>
                  <a:lnTo>
                    <a:pt x="834" y="684"/>
                  </a:lnTo>
                  <a:lnTo>
                    <a:pt x="834" y="684"/>
                  </a:lnTo>
                  <a:lnTo>
                    <a:pt x="834" y="684"/>
                  </a:lnTo>
                  <a:lnTo>
                    <a:pt x="834" y="682"/>
                  </a:lnTo>
                  <a:lnTo>
                    <a:pt x="832" y="682"/>
                  </a:lnTo>
                  <a:lnTo>
                    <a:pt x="830" y="680"/>
                  </a:lnTo>
                  <a:lnTo>
                    <a:pt x="828" y="680"/>
                  </a:lnTo>
                  <a:lnTo>
                    <a:pt x="822" y="680"/>
                  </a:lnTo>
                  <a:lnTo>
                    <a:pt x="818" y="680"/>
                  </a:lnTo>
                  <a:lnTo>
                    <a:pt x="816" y="680"/>
                  </a:lnTo>
                  <a:lnTo>
                    <a:pt x="818" y="682"/>
                  </a:lnTo>
                  <a:lnTo>
                    <a:pt x="820" y="684"/>
                  </a:lnTo>
                  <a:lnTo>
                    <a:pt x="822" y="684"/>
                  </a:lnTo>
                  <a:lnTo>
                    <a:pt x="822" y="684"/>
                  </a:lnTo>
                  <a:lnTo>
                    <a:pt x="826" y="687"/>
                  </a:lnTo>
                  <a:lnTo>
                    <a:pt x="826" y="687"/>
                  </a:lnTo>
                  <a:lnTo>
                    <a:pt x="826" y="684"/>
                  </a:lnTo>
                  <a:lnTo>
                    <a:pt x="828" y="684"/>
                  </a:lnTo>
                  <a:lnTo>
                    <a:pt x="828" y="684"/>
                  </a:lnTo>
                  <a:lnTo>
                    <a:pt x="828" y="684"/>
                  </a:lnTo>
                  <a:lnTo>
                    <a:pt x="830" y="684"/>
                  </a:lnTo>
                  <a:lnTo>
                    <a:pt x="830" y="684"/>
                  </a:lnTo>
                  <a:lnTo>
                    <a:pt x="830" y="684"/>
                  </a:lnTo>
                  <a:lnTo>
                    <a:pt x="830" y="687"/>
                  </a:lnTo>
                  <a:close/>
                  <a:moveTo>
                    <a:pt x="824" y="691"/>
                  </a:moveTo>
                  <a:lnTo>
                    <a:pt x="824" y="689"/>
                  </a:lnTo>
                  <a:lnTo>
                    <a:pt x="822" y="689"/>
                  </a:lnTo>
                  <a:lnTo>
                    <a:pt x="820" y="687"/>
                  </a:lnTo>
                  <a:lnTo>
                    <a:pt x="820" y="687"/>
                  </a:lnTo>
                  <a:lnTo>
                    <a:pt x="820" y="687"/>
                  </a:lnTo>
                  <a:lnTo>
                    <a:pt x="820" y="687"/>
                  </a:lnTo>
                  <a:lnTo>
                    <a:pt x="818" y="684"/>
                  </a:lnTo>
                  <a:lnTo>
                    <a:pt x="818" y="684"/>
                  </a:lnTo>
                  <a:lnTo>
                    <a:pt x="814" y="684"/>
                  </a:lnTo>
                  <a:lnTo>
                    <a:pt x="814" y="684"/>
                  </a:lnTo>
                  <a:lnTo>
                    <a:pt x="814" y="682"/>
                  </a:lnTo>
                  <a:lnTo>
                    <a:pt x="816" y="682"/>
                  </a:lnTo>
                  <a:lnTo>
                    <a:pt x="814" y="680"/>
                  </a:lnTo>
                  <a:lnTo>
                    <a:pt x="811" y="680"/>
                  </a:lnTo>
                  <a:lnTo>
                    <a:pt x="807" y="682"/>
                  </a:lnTo>
                  <a:lnTo>
                    <a:pt x="797" y="680"/>
                  </a:lnTo>
                  <a:lnTo>
                    <a:pt x="793" y="678"/>
                  </a:lnTo>
                  <a:lnTo>
                    <a:pt x="795" y="682"/>
                  </a:lnTo>
                  <a:lnTo>
                    <a:pt x="795" y="682"/>
                  </a:lnTo>
                  <a:lnTo>
                    <a:pt x="795" y="684"/>
                  </a:lnTo>
                  <a:lnTo>
                    <a:pt x="795" y="684"/>
                  </a:lnTo>
                  <a:lnTo>
                    <a:pt x="797" y="684"/>
                  </a:lnTo>
                  <a:lnTo>
                    <a:pt x="797" y="684"/>
                  </a:lnTo>
                  <a:lnTo>
                    <a:pt x="797" y="684"/>
                  </a:lnTo>
                  <a:lnTo>
                    <a:pt x="797" y="684"/>
                  </a:lnTo>
                  <a:lnTo>
                    <a:pt x="799" y="684"/>
                  </a:lnTo>
                  <a:lnTo>
                    <a:pt x="799" y="684"/>
                  </a:lnTo>
                  <a:lnTo>
                    <a:pt x="801" y="687"/>
                  </a:lnTo>
                  <a:lnTo>
                    <a:pt x="801" y="687"/>
                  </a:lnTo>
                  <a:lnTo>
                    <a:pt x="801" y="687"/>
                  </a:lnTo>
                  <a:lnTo>
                    <a:pt x="803" y="689"/>
                  </a:lnTo>
                  <a:lnTo>
                    <a:pt x="805" y="689"/>
                  </a:lnTo>
                  <a:lnTo>
                    <a:pt x="805" y="689"/>
                  </a:lnTo>
                  <a:lnTo>
                    <a:pt x="807" y="689"/>
                  </a:lnTo>
                  <a:lnTo>
                    <a:pt x="809" y="689"/>
                  </a:lnTo>
                  <a:lnTo>
                    <a:pt x="805" y="689"/>
                  </a:lnTo>
                  <a:lnTo>
                    <a:pt x="805" y="687"/>
                  </a:lnTo>
                  <a:lnTo>
                    <a:pt x="805" y="687"/>
                  </a:lnTo>
                  <a:lnTo>
                    <a:pt x="805" y="684"/>
                  </a:lnTo>
                  <a:lnTo>
                    <a:pt x="805" y="684"/>
                  </a:lnTo>
                  <a:lnTo>
                    <a:pt x="807" y="684"/>
                  </a:lnTo>
                  <a:lnTo>
                    <a:pt x="809" y="684"/>
                  </a:lnTo>
                  <a:lnTo>
                    <a:pt x="809" y="687"/>
                  </a:lnTo>
                  <a:lnTo>
                    <a:pt x="809" y="684"/>
                  </a:lnTo>
                  <a:lnTo>
                    <a:pt x="811" y="684"/>
                  </a:lnTo>
                  <a:lnTo>
                    <a:pt x="811" y="687"/>
                  </a:lnTo>
                  <a:lnTo>
                    <a:pt x="811" y="687"/>
                  </a:lnTo>
                  <a:lnTo>
                    <a:pt x="811" y="689"/>
                  </a:lnTo>
                  <a:lnTo>
                    <a:pt x="811" y="689"/>
                  </a:lnTo>
                  <a:lnTo>
                    <a:pt x="814" y="689"/>
                  </a:lnTo>
                  <a:lnTo>
                    <a:pt x="814" y="689"/>
                  </a:lnTo>
                  <a:lnTo>
                    <a:pt x="816" y="689"/>
                  </a:lnTo>
                  <a:lnTo>
                    <a:pt x="816" y="689"/>
                  </a:lnTo>
                  <a:lnTo>
                    <a:pt x="818" y="691"/>
                  </a:lnTo>
                  <a:lnTo>
                    <a:pt x="820" y="691"/>
                  </a:lnTo>
                  <a:lnTo>
                    <a:pt x="822" y="691"/>
                  </a:lnTo>
                  <a:lnTo>
                    <a:pt x="822" y="691"/>
                  </a:lnTo>
                  <a:lnTo>
                    <a:pt x="824" y="693"/>
                  </a:lnTo>
                  <a:lnTo>
                    <a:pt x="826" y="693"/>
                  </a:lnTo>
                  <a:lnTo>
                    <a:pt x="826" y="693"/>
                  </a:lnTo>
                  <a:lnTo>
                    <a:pt x="826" y="691"/>
                  </a:lnTo>
                  <a:lnTo>
                    <a:pt x="824" y="691"/>
                  </a:lnTo>
                  <a:close/>
                  <a:moveTo>
                    <a:pt x="787" y="680"/>
                  </a:moveTo>
                  <a:lnTo>
                    <a:pt x="785" y="680"/>
                  </a:lnTo>
                  <a:lnTo>
                    <a:pt x="785" y="680"/>
                  </a:lnTo>
                  <a:lnTo>
                    <a:pt x="783" y="680"/>
                  </a:lnTo>
                  <a:lnTo>
                    <a:pt x="783" y="680"/>
                  </a:lnTo>
                  <a:lnTo>
                    <a:pt x="781" y="680"/>
                  </a:lnTo>
                  <a:lnTo>
                    <a:pt x="781" y="680"/>
                  </a:lnTo>
                  <a:lnTo>
                    <a:pt x="779" y="678"/>
                  </a:lnTo>
                  <a:lnTo>
                    <a:pt x="777" y="678"/>
                  </a:lnTo>
                  <a:lnTo>
                    <a:pt x="777" y="678"/>
                  </a:lnTo>
                  <a:lnTo>
                    <a:pt x="772" y="678"/>
                  </a:lnTo>
                  <a:lnTo>
                    <a:pt x="772" y="678"/>
                  </a:lnTo>
                  <a:lnTo>
                    <a:pt x="772" y="678"/>
                  </a:lnTo>
                  <a:lnTo>
                    <a:pt x="772" y="680"/>
                  </a:lnTo>
                  <a:lnTo>
                    <a:pt x="775" y="680"/>
                  </a:lnTo>
                  <a:lnTo>
                    <a:pt x="775" y="680"/>
                  </a:lnTo>
                  <a:lnTo>
                    <a:pt x="775" y="680"/>
                  </a:lnTo>
                  <a:lnTo>
                    <a:pt x="775" y="680"/>
                  </a:lnTo>
                  <a:lnTo>
                    <a:pt x="775" y="678"/>
                  </a:lnTo>
                  <a:lnTo>
                    <a:pt x="777" y="680"/>
                  </a:lnTo>
                  <a:lnTo>
                    <a:pt x="777" y="680"/>
                  </a:lnTo>
                  <a:lnTo>
                    <a:pt x="781" y="680"/>
                  </a:lnTo>
                  <a:lnTo>
                    <a:pt x="781" y="680"/>
                  </a:lnTo>
                  <a:lnTo>
                    <a:pt x="781" y="682"/>
                  </a:lnTo>
                  <a:lnTo>
                    <a:pt x="781" y="682"/>
                  </a:lnTo>
                  <a:lnTo>
                    <a:pt x="783" y="682"/>
                  </a:lnTo>
                  <a:lnTo>
                    <a:pt x="785" y="682"/>
                  </a:lnTo>
                  <a:lnTo>
                    <a:pt x="785" y="682"/>
                  </a:lnTo>
                  <a:lnTo>
                    <a:pt x="785" y="682"/>
                  </a:lnTo>
                  <a:lnTo>
                    <a:pt x="787" y="682"/>
                  </a:lnTo>
                  <a:lnTo>
                    <a:pt x="787" y="682"/>
                  </a:lnTo>
                  <a:lnTo>
                    <a:pt x="787" y="684"/>
                  </a:lnTo>
                  <a:lnTo>
                    <a:pt x="787" y="684"/>
                  </a:lnTo>
                  <a:lnTo>
                    <a:pt x="789" y="684"/>
                  </a:lnTo>
                  <a:lnTo>
                    <a:pt x="789" y="684"/>
                  </a:lnTo>
                  <a:lnTo>
                    <a:pt x="791" y="682"/>
                  </a:lnTo>
                  <a:lnTo>
                    <a:pt x="791" y="682"/>
                  </a:lnTo>
                  <a:lnTo>
                    <a:pt x="787" y="680"/>
                  </a:lnTo>
                  <a:close/>
                  <a:moveTo>
                    <a:pt x="764" y="668"/>
                  </a:moveTo>
                  <a:lnTo>
                    <a:pt x="766" y="668"/>
                  </a:lnTo>
                  <a:lnTo>
                    <a:pt x="768" y="670"/>
                  </a:lnTo>
                  <a:lnTo>
                    <a:pt x="772" y="670"/>
                  </a:lnTo>
                  <a:lnTo>
                    <a:pt x="772" y="670"/>
                  </a:lnTo>
                  <a:lnTo>
                    <a:pt x="772" y="670"/>
                  </a:lnTo>
                  <a:lnTo>
                    <a:pt x="772" y="668"/>
                  </a:lnTo>
                  <a:lnTo>
                    <a:pt x="772" y="668"/>
                  </a:lnTo>
                  <a:lnTo>
                    <a:pt x="772" y="666"/>
                  </a:lnTo>
                  <a:lnTo>
                    <a:pt x="770" y="666"/>
                  </a:lnTo>
                  <a:lnTo>
                    <a:pt x="768" y="666"/>
                  </a:lnTo>
                  <a:lnTo>
                    <a:pt x="766" y="664"/>
                  </a:lnTo>
                  <a:lnTo>
                    <a:pt x="762" y="664"/>
                  </a:lnTo>
                  <a:lnTo>
                    <a:pt x="760" y="662"/>
                  </a:lnTo>
                  <a:lnTo>
                    <a:pt x="756" y="662"/>
                  </a:lnTo>
                  <a:lnTo>
                    <a:pt x="756" y="662"/>
                  </a:lnTo>
                  <a:lnTo>
                    <a:pt x="754" y="662"/>
                  </a:lnTo>
                  <a:lnTo>
                    <a:pt x="754" y="664"/>
                  </a:lnTo>
                  <a:lnTo>
                    <a:pt x="756" y="666"/>
                  </a:lnTo>
                  <a:lnTo>
                    <a:pt x="760" y="668"/>
                  </a:lnTo>
                  <a:lnTo>
                    <a:pt x="760" y="670"/>
                  </a:lnTo>
                  <a:lnTo>
                    <a:pt x="762" y="668"/>
                  </a:lnTo>
                  <a:lnTo>
                    <a:pt x="762" y="668"/>
                  </a:lnTo>
                  <a:lnTo>
                    <a:pt x="764" y="668"/>
                  </a:lnTo>
                  <a:lnTo>
                    <a:pt x="764" y="668"/>
                  </a:lnTo>
                  <a:close/>
                  <a:moveTo>
                    <a:pt x="752" y="660"/>
                  </a:moveTo>
                  <a:lnTo>
                    <a:pt x="750" y="660"/>
                  </a:lnTo>
                  <a:lnTo>
                    <a:pt x="750" y="658"/>
                  </a:lnTo>
                  <a:lnTo>
                    <a:pt x="748" y="658"/>
                  </a:lnTo>
                  <a:lnTo>
                    <a:pt x="746" y="656"/>
                  </a:lnTo>
                  <a:lnTo>
                    <a:pt x="744" y="656"/>
                  </a:lnTo>
                  <a:lnTo>
                    <a:pt x="742" y="656"/>
                  </a:lnTo>
                  <a:lnTo>
                    <a:pt x="742" y="656"/>
                  </a:lnTo>
                  <a:lnTo>
                    <a:pt x="742" y="656"/>
                  </a:lnTo>
                  <a:lnTo>
                    <a:pt x="740" y="656"/>
                  </a:lnTo>
                  <a:lnTo>
                    <a:pt x="740" y="654"/>
                  </a:lnTo>
                  <a:lnTo>
                    <a:pt x="738" y="654"/>
                  </a:lnTo>
                  <a:lnTo>
                    <a:pt x="738" y="654"/>
                  </a:lnTo>
                  <a:lnTo>
                    <a:pt x="738" y="654"/>
                  </a:lnTo>
                  <a:lnTo>
                    <a:pt x="738" y="654"/>
                  </a:lnTo>
                  <a:lnTo>
                    <a:pt x="735" y="654"/>
                  </a:lnTo>
                  <a:lnTo>
                    <a:pt x="738" y="654"/>
                  </a:lnTo>
                  <a:lnTo>
                    <a:pt x="738" y="656"/>
                  </a:lnTo>
                  <a:lnTo>
                    <a:pt x="733" y="654"/>
                  </a:lnTo>
                  <a:lnTo>
                    <a:pt x="731" y="654"/>
                  </a:lnTo>
                  <a:lnTo>
                    <a:pt x="729" y="654"/>
                  </a:lnTo>
                  <a:lnTo>
                    <a:pt x="727" y="656"/>
                  </a:lnTo>
                  <a:lnTo>
                    <a:pt x="731" y="656"/>
                  </a:lnTo>
                  <a:lnTo>
                    <a:pt x="731" y="658"/>
                  </a:lnTo>
                  <a:lnTo>
                    <a:pt x="733" y="660"/>
                  </a:lnTo>
                  <a:lnTo>
                    <a:pt x="735" y="660"/>
                  </a:lnTo>
                  <a:lnTo>
                    <a:pt x="735" y="660"/>
                  </a:lnTo>
                  <a:lnTo>
                    <a:pt x="735" y="660"/>
                  </a:lnTo>
                  <a:lnTo>
                    <a:pt x="738" y="660"/>
                  </a:lnTo>
                  <a:lnTo>
                    <a:pt x="738" y="662"/>
                  </a:lnTo>
                  <a:lnTo>
                    <a:pt x="738" y="662"/>
                  </a:lnTo>
                  <a:lnTo>
                    <a:pt x="740" y="662"/>
                  </a:lnTo>
                  <a:lnTo>
                    <a:pt x="740" y="664"/>
                  </a:lnTo>
                  <a:lnTo>
                    <a:pt x="742" y="664"/>
                  </a:lnTo>
                  <a:lnTo>
                    <a:pt x="742" y="664"/>
                  </a:lnTo>
                  <a:lnTo>
                    <a:pt x="742" y="664"/>
                  </a:lnTo>
                  <a:lnTo>
                    <a:pt x="742" y="662"/>
                  </a:lnTo>
                  <a:lnTo>
                    <a:pt x="742" y="662"/>
                  </a:lnTo>
                  <a:lnTo>
                    <a:pt x="742" y="662"/>
                  </a:lnTo>
                  <a:lnTo>
                    <a:pt x="742" y="662"/>
                  </a:lnTo>
                  <a:lnTo>
                    <a:pt x="744" y="662"/>
                  </a:lnTo>
                  <a:lnTo>
                    <a:pt x="744" y="662"/>
                  </a:lnTo>
                  <a:lnTo>
                    <a:pt x="746" y="662"/>
                  </a:lnTo>
                  <a:lnTo>
                    <a:pt x="746" y="664"/>
                  </a:lnTo>
                  <a:lnTo>
                    <a:pt x="746" y="664"/>
                  </a:lnTo>
                  <a:lnTo>
                    <a:pt x="744" y="666"/>
                  </a:lnTo>
                  <a:lnTo>
                    <a:pt x="746" y="666"/>
                  </a:lnTo>
                  <a:lnTo>
                    <a:pt x="746" y="666"/>
                  </a:lnTo>
                  <a:lnTo>
                    <a:pt x="746" y="666"/>
                  </a:lnTo>
                  <a:lnTo>
                    <a:pt x="746" y="666"/>
                  </a:lnTo>
                  <a:lnTo>
                    <a:pt x="748" y="666"/>
                  </a:lnTo>
                  <a:lnTo>
                    <a:pt x="748" y="666"/>
                  </a:lnTo>
                  <a:lnTo>
                    <a:pt x="750" y="666"/>
                  </a:lnTo>
                  <a:lnTo>
                    <a:pt x="750" y="664"/>
                  </a:lnTo>
                  <a:lnTo>
                    <a:pt x="752" y="664"/>
                  </a:lnTo>
                  <a:lnTo>
                    <a:pt x="752" y="664"/>
                  </a:lnTo>
                  <a:lnTo>
                    <a:pt x="752" y="662"/>
                  </a:lnTo>
                  <a:lnTo>
                    <a:pt x="752" y="662"/>
                  </a:lnTo>
                  <a:lnTo>
                    <a:pt x="752" y="660"/>
                  </a:lnTo>
                  <a:close/>
                  <a:moveTo>
                    <a:pt x="727" y="652"/>
                  </a:moveTo>
                  <a:lnTo>
                    <a:pt x="729" y="652"/>
                  </a:lnTo>
                  <a:lnTo>
                    <a:pt x="729" y="652"/>
                  </a:lnTo>
                  <a:lnTo>
                    <a:pt x="729" y="652"/>
                  </a:lnTo>
                  <a:lnTo>
                    <a:pt x="731" y="652"/>
                  </a:lnTo>
                  <a:lnTo>
                    <a:pt x="733" y="654"/>
                  </a:lnTo>
                  <a:lnTo>
                    <a:pt x="735" y="652"/>
                  </a:lnTo>
                  <a:lnTo>
                    <a:pt x="735" y="652"/>
                  </a:lnTo>
                  <a:lnTo>
                    <a:pt x="731" y="652"/>
                  </a:lnTo>
                  <a:lnTo>
                    <a:pt x="731" y="652"/>
                  </a:lnTo>
                  <a:lnTo>
                    <a:pt x="729" y="650"/>
                  </a:lnTo>
                  <a:lnTo>
                    <a:pt x="729" y="650"/>
                  </a:lnTo>
                  <a:lnTo>
                    <a:pt x="727" y="650"/>
                  </a:lnTo>
                  <a:lnTo>
                    <a:pt x="725" y="647"/>
                  </a:lnTo>
                  <a:lnTo>
                    <a:pt x="723" y="647"/>
                  </a:lnTo>
                  <a:lnTo>
                    <a:pt x="721" y="647"/>
                  </a:lnTo>
                  <a:lnTo>
                    <a:pt x="719" y="645"/>
                  </a:lnTo>
                  <a:lnTo>
                    <a:pt x="717" y="645"/>
                  </a:lnTo>
                  <a:lnTo>
                    <a:pt x="715" y="645"/>
                  </a:lnTo>
                  <a:lnTo>
                    <a:pt x="715" y="645"/>
                  </a:lnTo>
                  <a:lnTo>
                    <a:pt x="715" y="645"/>
                  </a:lnTo>
                  <a:lnTo>
                    <a:pt x="713" y="643"/>
                  </a:lnTo>
                  <a:lnTo>
                    <a:pt x="713" y="643"/>
                  </a:lnTo>
                  <a:lnTo>
                    <a:pt x="711" y="643"/>
                  </a:lnTo>
                  <a:lnTo>
                    <a:pt x="709" y="641"/>
                  </a:lnTo>
                  <a:lnTo>
                    <a:pt x="709" y="641"/>
                  </a:lnTo>
                  <a:lnTo>
                    <a:pt x="709" y="643"/>
                  </a:lnTo>
                  <a:lnTo>
                    <a:pt x="711" y="643"/>
                  </a:lnTo>
                  <a:lnTo>
                    <a:pt x="713" y="645"/>
                  </a:lnTo>
                  <a:lnTo>
                    <a:pt x="715" y="645"/>
                  </a:lnTo>
                  <a:lnTo>
                    <a:pt x="717" y="647"/>
                  </a:lnTo>
                  <a:lnTo>
                    <a:pt x="717" y="647"/>
                  </a:lnTo>
                  <a:lnTo>
                    <a:pt x="719" y="647"/>
                  </a:lnTo>
                  <a:lnTo>
                    <a:pt x="721" y="647"/>
                  </a:lnTo>
                  <a:lnTo>
                    <a:pt x="723" y="647"/>
                  </a:lnTo>
                  <a:lnTo>
                    <a:pt x="725" y="650"/>
                  </a:lnTo>
                  <a:lnTo>
                    <a:pt x="727" y="650"/>
                  </a:lnTo>
                  <a:lnTo>
                    <a:pt x="727" y="652"/>
                  </a:lnTo>
                  <a:close/>
                  <a:moveTo>
                    <a:pt x="795" y="676"/>
                  </a:moveTo>
                  <a:lnTo>
                    <a:pt x="797" y="678"/>
                  </a:lnTo>
                  <a:lnTo>
                    <a:pt x="799" y="678"/>
                  </a:lnTo>
                  <a:lnTo>
                    <a:pt x="805" y="680"/>
                  </a:lnTo>
                  <a:lnTo>
                    <a:pt x="807" y="678"/>
                  </a:lnTo>
                  <a:lnTo>
                    <a:pt x="807" y="678"/>
                  </a:lnTo>
                  <a:lnTo>
                    <a:pt x="809" y="678"/>
                  </a:lnTo>
                  <a:lnTo>
                    <a:pt x="807" y="674"/>
                  </a:lnTo>
                  <a:lnTo>
                    <a:pt x="805" y="670"/>
                  </a:lnTo>
                  <a:lnTo>
                    <a:pt x="803" y="664"/>
                  </a:lnTo>
                  <a:lnTo>
                    <a:pt x="801" y="660"/>
                  </a:lnTo>
                  <a:lnTo>
                    <a:pt x="799" y="656"/>
                  </a:lnTo>
                  <a:lnTo>
                    <a:pt x="797" y="652"/>
                  </a:lnTo>
                  <a:lnTo>
                    <a:pt x="793" y="645"/>
                  </a:lnTo>
                  <a:lnTo>
                    <a:pt x="791" y="641"/>
                  </a:lnTo>
                  <a:lnTo>
                    <a:pt x="791" y="639"/>
                  </a:lnTo>
                  <a:lnTo>
                    <a:pt x="789" y="639"/>
                  </a:lnTo>
                  <a:lnTo>
                    <a:pt x="789" y="639"/>
                  </a:lnTo>
                  <a:lnTo>
                    <a:pt x="785" y="641"/>
                  </a:lnTo>
                  <a:lnTo>
                    <a:pt x="785" y="641"/>
                  </a:lnTo>
                  <a:lnTo>
                    <a:pt x="779" y="637"/>
                  </a:lnTo>
                  <a:lnTo>
                    <a:pt x="779" y="637"/>
                  </a:lnTo>
                  <a:lnTo>
                    <a:pt x="777" y="639"/>
                  </a:lnTo>
                  <a:lnTo>
                    <a:pt x="777" y="639"/>
                  </a:lnTo>
                  <a:lnTo>
                    <a:pt x="777" y="641"/>
                  </a:lnTo>
                  <a:lnTo>
                    <a:pt x="775" y="643"/>
                  </a:lnTo>
                  <a:lnTo>
                    <a:pt x="775" y="643"/>
                  </a:lnTo>
                  <a:lnTo>
                    <a:pt x="775" y="643"/>
                  </a:lnTo>
                  <a:lnTo>
                    <a:pt x="772" y="643"/>
                  </a:lnTo>
                  <a:lnTo>
                    <a:pt x="770" y="641"/>
                  </a:lnTo>
                  <a:lnTo>
                    <a:pt x="768" y="641"/>
                  </a:lnTo>
                  <a:lnTo>
                    <a:pt x="768" y="641"/>
                  </a:lnTo>
                  <a:lnTo>
                    <a:pt x="770" y="643"/>
                  </a:lnTo>
                  <a:lnTo>
                    <a:pt x="770" y="643"/>
                  </a:lnTo>
                  <a:lnTo>
                    <a:pt x="772" y="645"/>
                  </a:lnTo>
                  <a:lnTo>
                    <a:pt x="772" y="645"/>
                  </a:lnTo>
                  <a:lnTo>
                    <a:pt x="772" y="645"/>
                  </a:lnTo>
                  <a:lnTo>
                    <a:pt x="772" y="645"/>
                  </a:lnTo>
                  <a:lnTo>
                    <a:pt x="772" y="645"/>
                  </a:lnTo>
                  <a:lnTo>
                    <a:pt x="772" y="647"/>
                  </a:lnTo>
                  <a:lnTo>
                    <a:pt x="770" y="645"/>
                  </a:lnTo>
                  <a:lnTo>
                    <a:pt x="770" y="647"/>
                  </a:lnTo>
                  <a:lnTo>
                    <a:pt x="770" y="647"/>
                  </a:lnTo>
                  <a:lnTo>
                    <a:pt x="770" y="650"/>
                  </a:lnTo>
                  <a:lnTo>
                    <a:pt x="770" y="650"/>
                  </a:lnTo>
                  <a:lnTo>
                    <a:pt x="772" y="652"/>
                  </a:lnTo>
                  <a:lnTo>
                    <a:pt x="775" y="654"/>
                  </a:lnTo>
                  <a:lnTo>
                    <a:pt x="777" y="654"/>
                  </a:lnTo>
                  <a:lnTo>
                    <a:pt x="779" y="654"/>
                  </a:lnTo>
                  <a:lnTo>
                    <a:pt x="781" y="652"/>
                  </a:lnTo>
                  <a:lnTo>
                    <a:pt x="781" y="652"/>
                  </a:lnTo>
                  <a:lnTo>
                    <a:pt x="783" y="652"/>
                  </a:lnTo>
                  <a:lnTo>
                    <a:pt x="785" y="652"/>
                  </a:lnTo>
                  <a:lnTo>
                    <a:pt x="787" y="654"/>
                  </a:lnTo>
                  <a:lnTo>
                    <a:pt x="787" y="654"/>
                  </a:lnTo>
                  <a:lnTo>
                    <a:pt x="789" y="656"/>
                  </a:lnTo>
                  <a:lnTo>
                    <a:pt x="789" y="656"/>
                  </a:lnTo>
                  <a:lnTo>
                    <a:pt x="785" y="658"/>
                  </a:lnTo>
                  <a:lnTo>
                    <a:pt x="783" y="658"/>
                  </a:lnTo>
                  <a:lnTo>
                    <a:pt x="781" y="660"/>
                  </a:lnTo>
                  <a:lnTo>
                    <a:pt x="781" y="660"/>
                  </a:lnTo>
                  <a:lnTo>
                    <a:pt x="781" y="662"/>
                  </a:lnTo>
                  <a:lnTo>
                    <a:pt x="783" y="664"/>
                  </a:lnTo>
                  <a:lnTo>
                    <a:pt x="785" y="666"/>
                  </a:lnTo>
                  <a:lnTo>
                    <a:pt x="799" y="670"/>
                  </a:lnTo>
                  <a:lnTo>
                    <a:pt x="801" y="670"/>
                  </a:lnTo>
                  <a:lnTo>
                    <a:pt x="801" y="672"/>
                  </a:lnTo>
                  <a:lnTo>
                    <a:pt x="801" y="672"/>
                  </a:lnTo>
                  <a:lnTo>
                    <a:pt x="801" y="672"/>
                  </a:lnTo>
                  <a:lnTo>
                    <a:pt x="799" y="672"/>
                  </a:lnTo>
                  <a:lnTo>
                    <a:pt x="799" y="674"/>
                  </a:lnTo>
                  <a:lnTo>
                    <a:pt x="799" y="674"/>
                  </a:lnTo>
                  <a:lnTo>
                    <a:pt x="799" y="674"/>
                  </a:lnTo>
                  <a:lnTo>
                    <a:pt x="797" y="672"/>
                  </a:lnTo>
                  <a:lnTo>
                    <a:pt x="797" y="672"/>
                  </a:lnTo>
                  <a:lnTo>
                    <a:pt x="795" y="670"/>
                  </a:lnTo>
                  <a:lnTo>
                    <a:pt x="793" y="670"/>
                  </a:lnTo>
                  <a:lnTo>
                    <a:pt x="791" y="670"/>
                  </a:lnTo>
                  <a:lnTo>
                    <a:pt x="789" y="670"/>
                  </a:lnTo>
                  <a:lnTo>
                    <a:pt x="789" y="670"/>
                  </a:lnTo>
                  <a:lnTo>
                    <a:pt x="787" y="670"/>
                  </a:lnTo>
                  <a:lnTo>
                    <a:pt x="785" y="670"/>
                  </a:lnTo>
                  <a:lnTo>
                    <a:pt x="785" y="670"/>
                  </a:lnTo>
                  <a:lnTo>
                    <a:pt x="783" y="668"/>
                  </a:lnTo>
                  <a:lnTo>
                    <a:pt x="781" y="666"/>
                  </a:lnTo>
                  <a:lnTo>
                    <a:pt x="779" y="666"/>
                  </a:lnTo>
                  <a:lnTo>
                    <a:pt x="777" y="664"/>
                  </a:lnTo>
                  <a:lnTo>
                    <a:pt x="779" y="664"/>
                  </a:lnTo>
                  <a:lnTo>
                    <a:pt x="779" y="664"/>
                  </a:lnTo>
                  <a:lnTo>
                    <a:pt x="777" y="662"/>
                  </a:lnTo>
                  <a:lnTo>
                    <a:pt x="775" y="658"/>
                  </a:lnTo>
                  <a:lnTo>
                    <a:pt x="772" y="658"/>
                  </a:lnTo>
                  <a:lnTo>
                    <a:pt x="772" y="660"/>
                  </a:lnTo>
                  <a:lnTo>
                    <a:pt x="775" y="660"/>
                  </a:lnTo>
                  <a:lnTo>
                    <a:pt x="770" y="662"/>
                  </a:lnTo>
                  <a:lnTo>
                    <a:pt x="772" y="664"/>
                  </a:lnTo>
                  <a:lnTo>
                    <a:pt x="772" y="666"/>
                  </a:lnTo>
                  <a:lnTo>
                    <a:pt x="777" y="668"/>
                  </a:lnTo>
                  <a:lnTo>
                    <a:pt x="779" y="668"/>
                  </a:lnTo>
                  <a:lnTo>
                    <a:pt x="779" y="670"/>
                  </a:lnTo>
                  <a:lnTo>
                    <a:pt x="781" y="670"/>
                  </a:lnTo>
                  <a:lnTo>
                    <a:pt x="785" y="672"/>
                  </a:lnTo>
                  <a:lnTo>
                    <a:pt x="785" y="672"/>
                  </a:lnTo>
                  <a:lnTo>
                    <a:pt x="783" y="672"/>
                  </a:lnTo>
                  <a:lnTo>
                    <a:pt x="781" y="672"/>
                  </a:lnTo>
                  <a:lnTo>
                    <a:pt x="779" y="672"/>
                  </a:lnTo>
                  <a:lnTo>
                    <a:pt x="779" y="670"/>
                  </a:lnTo>
                  <a:lnTo>
                    <a:pt x="779" y="670"/>
                  </a:lnTo>
                  <a:lnTo>
                    <a:pt x="777" y="670"/>
                  </a:lnTo>
                  <a:lnTo>
                    <a:pt x="775" y="670"/>
                  </a:lnTo>
                  <a:lnTo>
                    <a:pt x="775" y="670"/>
                  </a:lnTo>
                  <a:lnTo>
                    <a:pt x="775" y="670"/>
                  </a:lnTo>
                  <a:lnTo>
                    <a:pt x="775" y="672"/>
                  </a:lnTo>
                  <a:lnTo>
                    <a:pt x="775" y="672"/>
                  </a:lnTo>
                  <a:lnTo>
                    <a:pt x="772" y="672"/>
                  </a:lnTo>
                  <a:lnTo>
                    <a:pt x="768" y="670"/>
                  </a:lnTo>
                  <a:lnTo>
                    <a:pt x="768" y="670"/>
                  </a:lnTo>
                  <a:lnTo>
                    <a:pt x="768" y="672"/>
                  </a:lnTo>
                  <a:lnTo>
                    <a:pt x="768" y="672"/>
                  </a:lnTo>
                  <a:lnTo>
                    <a:pt x="766" y="672"/>
                  </a:lnTo>
                  <a:lnTo>
                    <a:pt x="764" y="672"/>
                  </a:lnTo>
                  <a:lnTo>
                    <a:pt x="764" y="672"/>
                  </a:lnTo>
                  <a:lnTo>
                    <a:pt x="764" y="672"/>
                  </a:lnTo>
                  <a:lnTo>
                    <a:pt x="762" y="672"/>
                  </a:lnTo>
                  <a:lnTo>
                    <a:pt x="762" y="672"/>
                  </a:lnTo>
                  <a:lnTo>
                    <a:pt x="764" y="674"/>
                  </a:lnTo>
                  <a:lnTo>
                    <a:pt x="764" y="674"/>
                  </a:lnTo>
                  <a:lnTo>
                    <a:pt x="770" y="674"/>
                  </a:lnTo>
                  <a:lnTo>
                    <a:pt x="775" y="676"/>
                  </a:lnTo>
                  <a:lnTo>
                    <a:pt x="779" y="676"/>
                  </a:lnTo>
                  <a:lnTo>
                    <a:pt x="781" y="676"/>
                  </a:lnTo>
                  <a:lnTo>
                    <a:pt x="785" y="678"/>
                  </a:lnTo>
                  <a:lnTo>
                    <a:pt x="787" y="676"/>
                  </a:lnTo>
                  <a:lnTo>
                    <a:pt x="787" y="676"/>
                  </a:lnTo>
                  <a:lnTo>
                    <a:pt x="789" y="678"/>
                  </a:lnTo>
                  <a:lnTo>
                    <a:pt x="789" y="678"/>
                  </a:lnTo>
                  <a:lnTo>
                    <a:pt x="791" y="678"/>
                  </a:lnTo>
                  <a:lnTo>
                    <a:pt x="793" y="678"/>
                  </a:lnTo>
                  <a:lnTo>
                    <a:pt x="793" y="676"/>
                  </a:lnTo>
                  <a:lnTo>
                    <a:pt x="795" y="676"/>
                  </a:lnTo>
                  <a:close/>
                  <a:moveTo>
                    <a:pt x="709" y="627"/>
                  </a:moveTo>
                  <a:lnTo>
                    <a:pt x="709" y="627"/>
                  </a:lnTo>
                  <a:lnTo>
                    <a:pt x="709" y="627"/>
                  </a:lnTo>
                  <a:lnTo>
                    <a:pt x="709" y="627"/>
                  </a:lnTo>
                  <a:lnTo>
                    <a:pt x="707" y="625"/>
                  </a:lnTo>
                  <a:lnTo>
                    <a:pt x="705" y="625"/>
                  </a:lnTo>
                  <a:lnTo>
                    <a:pt x="705" y="625"/>
                  </a:lnTo>
                  <a:lnTo>
                    <a:pt x="703" y="625"/>
                  </a:lnTo>
                  <a:lnTo>
                    <a:pt x="703" y="625"/>
                  </a:lnTo>
                  <a:lnTo>
                    <a:pt x="703" y="625"/>
                  </a:lnTo>
                  <a:lnTo>
                    <a:pt x="705" y="627"/>
                  </a:lnTo>
                  <a:lnTo>
                    <a:pt x="705" y="627"/>
                  </a:lnTo>
                  <a:lnTo>
                    <a:pt x="707" y="627"/>
                  </a:lnTo>
                  <a:lnTo>
                    <a:pt x="709" y="627"/>
                  </a:lnTo>
                  <a:lnTo>
                    <a:pt x="709" y="627"/>
                  </a:lnTo>
                  <a:close/>
                  <a:moveTo>
                    <a:pt x="705" y="629"/>
                  </a:moveTo>
                  <a:lnTo>
                    <a:pt x="703" y="629"/>
                  </a:lnTo>
                  <a:lnTo>
                    <a:pt x="701" y="627"/>
                  </a:lnTo>
                  <a:lnTo>
                    <a:pt x="699" y="627"/>
                  </a:lnTo>
                  <a:lnTo>
                    <a:pt x="699" y="625"/>
                  </a:lnTo>
                  <a:lnTo>
                    <a:pt x="696" y="623"/>
                  </a:lnTo>
                  <a:lnTo>
                    <a:pt x="696" y="623"/>
                  </a:lnTo>
                  <a:lnTo>
                    <a:pt x="696" y="625"/>
                  </a:lnTo>
                  <a:lnTo>
                    <a:pt x="694" y="625"/>
                  </a:lnTo>
                  <a:lnTo>
                    <a:pt x="694" y="625"/>
                  </a:lnTo>
                  <a:lnTo>
                    <a:pt x="696" y="627"/>
                  </a:lnTo>
                  <a:lnTo>
                    <a:pt x="699" y="629"/>
                  </a:lnTo>
                  <a:lnTo>
                    <a:pt x="701" y="631"/>
                  </a:lnTo>
                  <a:lnTo>
                    <a:pt x="703" y="633"/>
                  </a:lnTo>
                  <a:lnTo>
                    <a:pt x="705" y="633"/>
                  </a:lnTo>
                  <a:lnTo>
                    <a:pt x="703" y="631"/>
                  </a:lnTo>
                  <a:lnTo>
                    <a:pt x="705" y="629"/>
                  </a:lnTo>
                  <a:close/>
                  <a:moveTo>
                    <a:pt x="694" y="619"/>
                  </a:moveTo>
                  <a:lnTo>
                    <a:pt x="696" y="619"/>
                  </a:lnTo>
                  <a:lnTo>
                    <a:pt x="696" y="619"/>
                  </a:lnTo>
                  <a:lnTo>
                    <a:pt x="696" y="619"/>
                  </a:lnTo>
                  <a:lnTo>
                    <a:pt x="699" y="619"/>
                  </a:lnTo>
                  <a:lnTo>
                    <a:pt x="699" y="617"/>
                  </a:lnTo>
                  <a:lnTo>
                    <a:pt x="696" y="617"/>
                  </a:lnTo>
                  <a:lnTo>
                    <a:pt x="696" y="615"/>
                  </a:lnTo>
                  <a:lnTo>
                    <a:pt x="696" y="615"/>
                  </a:lnTo>
                  <a:lnTo>
                    <a:pt x="694" y="615"/>
                  </a:lnTo>
                  <a:lnTo>
                    <a:pt x="692" y="617"/>
                  </a:lnTo>
                  <a:lnTo>
                    <a:pt x="690" y="617"/>
                  </a:lnTo>
                  <a:lnTo>
                    <a:pt x="688" y="617"/>
                  </a:lnTo>
                  <a:lnTo>
                    <a:pt x="688" y="619"/>
                  </a:lnTo>
                  <a:lnTo>
                    <a:pt x="688" y="619"/>
                  </a:lnTo>
                  <a:lnTo>
                    <a:pt x="688" y="621"/>
                  </a:lnTo>
                  <a:lnTo>
                    <a:pt x="690" y="623"/>
                  </a:lnTo>
                  <a:lnTo>
                    <a:pt x="690" y="621"/>
                  </a:lnTo>
                  <a:lnTo>
                    <a:pt x="690" y="621"/>
                  </a:lnTo>
                  <a:lnTo>
                    <a:pt x="690" y="619"/>
                  </a:lnTo>
                  <a:lnTo>
                    <a:pt x="692" y="619"/>
                  </a:lnTo>
                  <a:lnTo>
                    <a:pt x="694" y="619"/>
                  </a:lnTo>
                  <a:lnTo>
                    <a:pt x="694" y="619"/>
                  </a:lnTo>
                  <a:close/>
                  <a:moveTo>
                    <a:pt x="680" y="602"/>
                  </a:moveTo>
                  <a:lnTo>
                    <a:pt x="678" y="602"/>
                  </a:lnTo>
                  <a:lnTo>
                    <a:pt x="678" y="602"/>
                  </a:lnTo>
                  <a:lnTo>
                    <a:pt x="678" y="604"/>
                  </a:lnTo>
                  <a:lnTo>
                    <a:pt x="678" y="604"/>
                  </a:lnTo>
                  <a:lnTo>
                    <a:pt x="680" y="606"/>
                  </a:lnTo>
                  <a:lnTo>
                    <a:pt x="680" y="606"/>
                  </a:lnTo>
                  <a:lnTo>
                    <a:pt x="680" y="606"/>
                  </a:lnTo>
                  <a:lnTo>
                    <a:pt x="682" y="606"/>
                  </a:lnTo>
                  <a:lnTo>
                    <a:pt x="682" y="606"/>
                  </a:lnTo>
                  <a:lnTo>
                    <a:pt x="680" y="604"/>
                  </a:lnTo>
                  <a:lnTo>
                    <a:pt x="682" y="604"/>
                  </a:lnTo>
                  <a:lnTo>
                    <a:pt x="682" y="604"/>
                  </a:lnTo>
                  <a:lnTo>
                    <a:pt x="682" y="602"/>
                  </a:lnTo>
                  <a:lnTo>
                    <a:pt x="682" y="602"/>
                  </a:lnTo>
                  <a:lnTo>
                    <a:pt x="680" y="602"/>
                  </a:lnTo>
                  <a:close/>
                  <a:moveTo>
                    <a:pt x="680" y="594"/>
                  </a:moveTo>
                  <a:lnTo>
                    <a:pt x="678" y="594"/>
                  </a:lnTo>
                  <a:lnTo>
                    <a:pt x="678" y="594"/>
                  </a:lnTo>
                  <a:lnTo>
                    <a:pt x="676" y="594"/>
                  </a:lnTo>
                  <a:lnTo>
                    <a:pt x="676" y="596"/>
                  </a:lnTo>
                  <a:lnTo>
                    <a:pt x="676" y="596"/>
                  </a:lnTo>
                  <a:lnTo>
                    <a:pt x="676" y="596"/>
                  </a:lnTo>
                  <a:lnTo>
                    <a:pt x="676" y="598"/>
                  </a:lnTo>
                  <a:lnTo>
                    <a:pt x="676" y="600"/>
                  </a:lnTo>
                  <a:lnTo>
                    <a:pt x="678" y="600"/>
                  </a:lnTo>
                  <a:lnTo>
                    <a:pt x="680" y="600"/>
                  </a:lnTo>
                  <a:lnTo>
                    <a:pt x="682" y="598"/>
                  </a:lnTo>
                  <a:lnTo>
                    <a:pt x="682" y="598"/>
                  </a:lnTo>
                  <a:lnTo>
                    <a:pt x="684" y="596"/>
                  </a:lnTo>
                  <a:lnTo>
                    <a:pt x="682" y="596"/>
                  </a:lnTo>
                  <a:lnTo>
                    <a:pt x="680" y="594"/>
                  </a:lnTo>
                  <a:close/>
                  <a:moveTo>
                    <a:pt x="670" y="573"/>
                  </a:moveTo>
                  <a:lnTo>
                    <a:pt x="668" y="573"/>
                  </a:lnTo>
                  <a:lnTo>
                    <a:pt x="668" y="571"/>
                  </a:lnTo>
                  <a:lnTo>
                    <a:pt x="666" y="571"/>
                  </a:lnTo>
                  <a:lnTo>
                    <a:pt x="666" y="571"/>
                  </a:lnTo>
                  <a:lnTo>
                    <a:pt x="664" y="573"/>
                  </a:lnTo>
                  <a:lnTo>
                    <a:pt x="662" y="573"/>
                  </a:lnTo>
                  <a:lnTo>
                    <a:pt x="662" y="573"/>
                  </a:lnTo>
                  <a:lnTo>
                    <a:pt x="662" y="573"/>
                  </a:lnTo>
                  <a:lnTo>
                    <a:pt x="662" y="575"/>
                  </a:lnTo>
                  <a:lnTo>
                    <a:pt x="664" y="575"/>
                  </a:lnTo>
                  <a:lnTo>
                    <a:pt x="664" y="575"/>
                  </a:lnTo>
                  <a:lnTo>
                    <a:pt x="664" y="575"/>
                  </a:lnTo>
                  <a:lnTo>
                    <a:pt x="666" y="578"/>
                  </a:lnTo>
                  <a:lnTo>
                    <a:pt x="664" y="578"/>
                  </a:lnTo>
                  <a:lnTo>
                    <a:pt x="664" y="580"/>
                  </a:lnTo>
                  <a:lnTo>
                    <a:pt x="666" y="580"/>
                  </a:lnTo>
                  <a:lnTo>
                    <a:pt x="666" y="580"/>
                  </a:lnTo>
                  <a:lnTo>
                    <a:pt x="668" y="578"/>
                  </a:lnTo>
                  <a:lnTo>
                    <a:pt x="668" y="578"/>
                  </a:lnTo>
                  <a:lnTo>
                    <a:pt x="670" y="573"/>
                  </a:lnTo>
                  <a:close/>
                  <a:moveTo>
                    <a:pt x="686" y="594"/>
                  </a:moveTo>
                  <a:lnTo>
                    <a:pt x="686" y="592"/>
                  </a:lnTo>
                  <a:lnTo>
                    <a:pt x="686" y="590"/>
                  </a:lnTo>
                  <a:lnTo>
                    <a:pt x="686" y="590"/>
                  </a:lnTo>
                  <a:lnTo>
                    <a:pt x="684" y="588"/>
                  </a:lnTo>
                  <a:lnTo>
                    <a:pt x="684" y="588"/>
                  </a:lnTo>
                  <a:lnTo>
                    <a:pt x="684" y="588"/>
                  </a:lnTo>
                  <a:lnTo>
                    <a:pt x="684" y="586"/>
                  </a:lnTo>
                  <a:lnTo>
                    <a:pt x="682" y="584"/>
                  </a:lnTo>
                  <a:lnTo>
                    <a:pt x="682" y="582"/>
                  </a:lnTo>
                  <a:lnTo>
                    <a:pt x="680" y="578"/>
                  </a:lnTo>
                  <a:lnTo>
                    <a:pt x="676" y="571"/>
                  </a:lnTo>
                  <a:lnTo>
                    <a:pt x="676" y="571"/>
                  </a:lnTo>
                  <a:lnTo>
                    <a:pt x="676" y="571"/>
                  </a:lnTo>
                  <a:lnTo>
                    <a:pt x="674" y="571"/>
                  </a:lnTo>
                  <a:lnTo>
                    <a:pt x="672" y="569"/>
                  </a:lnTo>
                  <a:lnTo>
                    <a:pt x="672" y="569"/>
                  </a:lnTo>
                  <a:lnTo>
                    <a:pt x="670" y="571"/>
                  </a:lnTo>
                  <a:lnTo>
                    <a:pt x="670" y="571"/>
                  </a:lnTo>
                  <a:lnTo>
                    <a:pt x="670" y="571"/>
                  </a:lnTo>
                  <a:lnTo>
                    <a:pt x="672" y="573"/>
                  </a:lnTo>
                  <a:lnTo>
                    <a:pt x="672" y="575"/>
                  </a:lnTo>
                  <a:lnTo>
                    <a:pt x="672" y="575"/>
                  </a:lnTo>
                  <a:lnTo>
                    <a:pt x="670" y="578"/>
                  </a:lnTo>
                  <a:lnTo>
                    <a:pt x="670" y="578"/>
                  </a:lnTo>
                  <a:lnTo>
                    <a:pt x="672" y="580"/>
                  </a:lnTo>
                  <a:lnTo>
                    <a:pt x="672" y="580"/>
                  </a:lnTo>
                  <a:lnTo>
                    <a:pt x="672" y="582"/>
                  </a:lnTo>
                  <a:lnTo>
                    <a:pt x="670" y="580"/>
                  </a:lnTo>
                  <a:lnTo>
                    <a:pt x="670" y="580"/>
                  </a:lnTo>
                  <a:lnTo>
                    <a:pt x="668" y="582"/>
                  </a:lnTo>
                  <a:lnTo>
                    <a:pt x="668" y="582"/>
                  </a:lnTo>
                  <a:lnTo>
                    <a:pt x="670" y="584"/>
                  </a:lnTo>
                  <a:lnTo>
                    <a:pt x="670" y="584"/>
                  </a:lnTo>
                  <a:lnTo>
                    <a:pt x="672" y="584"/>
                  </a:lnTo>
                  <a:lnTo>
                    <a:pt x="672" y="586"/>
                  </a:lnTo>
                  <a:lnTo>
                    <a:pt x="670" y="586"/>
                  </a:lnTo>
                  <a:lnTo>
                    <a:pt x="670" y="588"/>
                  </a:lnTo>
                  <a:lnTo>
                    <a:pt x="670" y="590"/>
                  </a:lnTo>
                  <a:lnTo>
                    <a:pt x="672" y="590"/>
                  </a:lnTo>
                  <a:lnTo>
                    <a:pt x="674" y="590"/>
                  </a:lnTo>
                  <a:lnTo>
                    <a:pt x="676" y="590"/>
                  </a:lnTo>
                  <a:lnTo>
                    <a:pt x="678" y="590"/>
                  </a:lnTo>
                  <a:lnTo>
                    <a:pt x="678" y="590"/>
                  </a:lnTo>
                  <a:lnTo>
                    <a:pt x="678" y="590"/>
                  </a:lnTo>
                  <a:lnTo>
                    <a:pt x="676" y="586"/>
                  </a:lnTo>
                  <a:lnTo>
                    <a:pt x="676" y="586"/>
                  </a:lnTo>
                  <a:lnTo>
                    <a:pt x="676" y="586"/>
                  </a:lnTo>
                  <a:lnTo>
                    <a:pt x="678" y="584"/>
                  </a:lnTo>
                  <a:lnTo>
                    <a:pt x="678" y="584"/>
                  </a:lnTo>
                  <a:lnTo>
                    <a:pt x="680" y="584"/>
                  </a:lnTo>
                  <a:lnTo>
                    <a:pt x="680" y="584"/>
                  </a:lnTo>
                  <a:lnTo>
                    <a:pt x="678" y="584"/>
                  </a:lnTo>
                  <a:lnTo>
                    <a:pt x="678" y="586"/>
                  </a:lnTo>
                  <a:lnTo>
                    <a:pt x="680" y="586"/>
                  </a:lnTo>
                  <a:lnTo>
                    <a:pt x="678" y="588"/>
                  </a:lnTo>
                  <a:lnTo>
                    <a:pt x="678" y="588"/>
                  </a:lnTo>
                  <a:lnTo>
                    <a:pt x="680" y="588"/>
                  </a:lnTo>
                  <a:lnTo>
                    <a:pt x="680" y="590"/>
                  </a:lnTo>
                  <a:lnTo>
                    <a:pt x="682" y="592"/>
                  </a:lnTo>
                  <a:lnTo>
                    <a:pt x="682" y="592"/>
                  </a:lnTo>
                  <a:lnTo>
                    <a:pt x="684" y="594"/>
                  </a:lnTo>
                  <a:lnTo>
                    <a:pt x="684" y="594"/>
                  </a:lnTo>
                  <a:lnTo>
                    <a:pt x="686" y="594"/>
                  </a:lnTo>
                  <a:lnTo>
                    <a:pt x="686" y="594"/>
                  </a:lnTo>
                  <a:close/>
                  <a:moveTo>
                    <a:pt x="664" y="571"/>
                  </a:moveTo>
                  <a:lnTo>
                    <a:pt x="666" y="569"/>
                  </a:lnTo>
                  <a:lnTo>
                    <a:pt x="666" y="569"/>
                  </a:lnTo>
                  <a:lnTo>
                    <a:pt x="664" y="565"/>
                  </a:lnTo>
                  <a:lnTo>
                    <a:pt x="662" y="561"/>
                  </a:lnTo>
                  <a:lnTo>
                    <a:pt x="660" y="559"/>
                  </a:lnTo>
                  <a:lnTo>
                    <a:pt x="657" y="557"/>
                  </a:lnTo>
                  <a:lnTo>
                    <a:pt x="655" y="559"/>
                  </a:lnTo>
                  <a:lnTo>
                    <a:pt x="655" y="559"/>
                  </a:lnTo>
                  <a:lnTo>
                    <a:pt x="657" y="561"/>
                  </a:lnTo>
                  <a:lnTo>
                    <a:pt x="657" y="561"/>
                  </a:lnTo>
                  <a:lnTo>
                    <a:pt x="660" y="563"/>
                  </a:lnTo>
                  <a:lnTo>
                    <a:pt x="660" y="567"/>
                  </a:lnTo>
                  <a:lnTo>
                    <a:pt x="662" y="571"/>
                  </a:lnTo>
                  <a:lnTo>
                    <a:pt x="662" y="571"/>
                  </a:lnTo>
                  <a:lnTo>
                    <a:pt x="664" y="571"/>
                  </a:lnTo>
                  <a:close/>
                  <a:moveTo>
                    <a:pt x="660" y="559"/>
                  </a:moveTo>
                  <a:lnTo>
                    <a:pt x="660" y="559"/>
                  </a:lnTo>
                  <a:lnTo>
                    <a:pt x="662" y="561"/>
                  </a:lnTo>
                  <a:lnTo>
                    <a:pt x="664" y="561"/>
                  </a:lnTo>
                  <a:lnTo>
                    <a:pt x="664" y="563"/>
                  </a:lnTo>
                  <a:lnTo>
                    <a:pt x="666" y="563"/>
                  </a:lnTo>
                  <a:lnTo>
                    <a:pt x="666" y="565"/>
                  </a:lnTo>
                  <a:lnTo>
                    <a:pt x="668" y="567"/>
                  </a:lnTo>
                  <a:lnTo>
                    <a:pt x="670" y="569"/>
                  </a:lnTo>
                  <a:lnTo>
                    <a:pt x="672" y="569"/>
                  </a:lnTo>
                  <a:lnTo>
                    <a:pt x="674" y="569"/>
                  </a:lnTo>
                  <a:lnTo>
                    <a:pt x="674" y="567"/>
                  </a:lnTo>
                  <a:lnTo>
                    <a:pt x="672" y="565"/>
                  </a:lnTo>
                  <a:lnTo>
                    <a:pt x="672" y="565"/>
                  </a:lnTo>
                  <a:lnTo>
                    <a:pt x="672" y="565"/>
                  </a:lnTo>
                  <a:lnTo>
                    <a:pt x="672" y="563"/>
                  </a:lnTo>
                  <a:lnTo>
                    <a:pt x="670" y="563"/>
                  </a:lnTo>
                  <a:lnTo>
                    <a:pt x="670" y="561"/>
                  </a:lnTo>
                  <a:lnTo>
                    <a:pt x="668" y="561"/>
                  </a:lnTo>
                  <a:lnTo>
                    <a:pt x="668" y="559"/>
                  </a:lnTo>
                  <a:lnTo>
                    <a:pt x="668" y="559"/>
                  </a:lnTo>
                  <a:lnTo>
                    <a:pt x="666" y="557"/>
                  </a:lnTo>
                  <a:lnTo>
                    <a:pt x="666" y="555"/>
                  </a:lnTo>
                  <a:lnTo>
                    <a:pt x="664" y="555"/>
                  </a:lnTo>
                  <a:lnTo>
                    <a:pt x="664" y="557"/>
                  </a:lnTo>
                  <a:lnTo>
                    <a:pt x="660" y="557"/>
                  </a:lnTo>
                  <a:lnTo>
                    <a:pt x="660" y="559"/>
                  </a:lnTo>
                  <a:close/>
                  <a:moveTo>
                    <a:pt x="662" y="553"/>
                  </a:moveTo>
                  <a:lnTo>
                    <a:pt x="660" y="553"/>
                  </a:lnTo>
                  <a:lnTo>
                    <a:pt x="657" y="553"/>
                  </a:lnTo>
                  <a:lnTo>
                    <a:pt x="657" y="553"/>
                  </a:lnTo>
                  <a:lnTo>
                    <a:pt x="660" y="555"/>
                  </a:lnTo>
                  <a:lnTo>
                    <a:pt x="660" y="555"/>
                  </a:lnTo>
                  <a:lnTo>
                    <a:pt x="660" y="555"/>
                  </a:lnTo>
                  <a:lnTo>
                    <a:pt x="662" y="555"/>
                  </a:lnTo>
                  <a:lnTo>
                    <a:pt x="662" y="555"/>
                  </a:lnTo>
                  <a:lnTo>
                    <a:pt x="664" y="553"/>
                  </a:lnTo>
                  <a:lnTo>
                    <a:pt x="662" y="553"/>
                  </a:lnTo>
                  <a:lnTo>
                    <a:pt x="662" y="553"/>
                  </a:lnTo>
                  <a:close/>
                  <a:moveTo>
                    <a:pt x="649" y="514"/>
                  </a:moveTo>
                  <a:lnTo>
                    <a:pt x="649" y="516"/>
                  </a:lnTo>
                  <a:lnTo>
                    <a:pt x="651" y="518"/>
                  </a:lnTo>
                  <a:lnTo>
                    <a:pt x="651" y="516"/>
                  </a:lnTo>
                  <a:lnTo>
                    <a:pt x="653" y="518"/>
                  </a:lnTo>
                  <a:lnTo>
                    <a:pt x="655" y="518"/>
                  </a:lnTo>
                  <a:lnTo>
                    <a:pt x="655" y="516"/>
                  </a:lnTo>
                  <a:lnTo>
                    <a:pt x="655" y="516"/>
                  </a:lnTo>
                  <a:lnTo>
                    <a:pt x="655" y="514"/>
                  </a:lnTo>
                  <a:lnTo>
                    <a:pt x="655" y="514"/>
                  </a:lnTo>
                  <a:lnTo>
                    <a:pt x="653" y="512"/>
                  </a:lnTo>
                  <a:lnTo>
                    <a:pt x="653" y="510"/>
                  </a:lnTo>
                  <a:lnTo>
                    <a:pt x="651" y="508"/>
                  </a:lnTo>
                  <a:lnTo>
                    <a:pt x="651" y="508"/>
                  </a:lnTo>
                  <a:lnTo>
                    <a:pt x="649" y="508"/>
                  </a:lnTo>
                  <a:lnTo>
                    <a:pt x="649" y="510"/>
                  </a:lnTo>
                  <a:lnTo>
                    <a:pt x="651" y="512"/>
                  </a:lnTo>
                  <a:lnTo>
                    <a:pt x="651" y="514"/>
                  </a:lnTo>
                  <a:lnTo>
                    <a:pt x="649" y="514"/>
                  </a:lnTo>
                  <a:close/>
                  <a:moveTo>
                    <a:pt x="637" y="499"/>
                  </a:moveTo>
                  <a:lnTo>
                    <a:pt x="637" y="499"/>
                  </a:lnTo>
                  <a:lnTo>
                    <a:pt x="637" y="499"/>
                  </a:lnTo>
                  <a:lnTo>
                    <a:pt x="637" y="499"/>
                  </a:lnTo>
                  <a:lnTo>
                    <a:pt x="639" y="501"/>
                  </a:lnTo>
                  <a:lnTo>
                    <a:pt x="639" y="501"/>
                  </a:lnTo>
                  <a:lnTo>
                    <a:pt x="639" y="499"/>
                  </a:lnTo>
                  <a:lnTo>
                    <a:pt x="639" y="499"/>
                  </a:lnTo>
                  <a:lnTo>
                    <a:pt x="639" y="499"/>
                  </a:lnTo>
                  <a:lnTo>
                    <a:pt x="637" y="499"/>
                  </a:lnTo>
                  <a:close/>
                  <a:moveTo>
                    <a:pt x="657" y="497"/>
                  </a:moveTo>
                  <a:lnTo>
                    <a:pt x="657" y="499"/>
                  </a:lnTo>
                  <a:lnTo>
                    <a:pt x="657" y="499"/>
                  </a:lnTo>
                  <a:lnTo>
                    <a:pt x="660" y="499"/>
                  </a:lnTo>
                  <a:lnTo>
                    <a:pt x="660" y="499"/>
                  </a:lnTo>
                  <a:lnTo>
                    <a:pt x="660" y="497"/>
                  </a:lnTo>
                  <a:lnTo>
                    <a:pt x="657" y="497"/>
                  </a:lnTo>
                  <a:lnTo>
                    <a:pt x="657" y="495"/>
                  </a:lnTo>
                  <a:lnTo>
                    <a:pt x="655" y="495"/>
                  </a:lnTo>
                  <a:lnTo>
                    <a:pt x="655" y="493"/>
                  </a:lnTo>
                  <a:lnTo>
                    <a:pt x="655" y="495"/>
                  </a:lnTo>
                  <a:lnTo>
                    <a:pt x="655" y="495"/>
                  </a:lnTo>
                  <a:lnTo>
                    <a:pt x="655" y="495"/>
                  </a:lnTo>
                  <a:lnTo>
                    <a:pt x="655" y="497"/>
                  </a:lnTo>
                  <a:lnTo>
                    <a:pt x="657" y="497"/>
                  </a:lnTo>
                  <a:close/>
                  <a:moveTo>
                    <a:pt x="662" y="495"/>
                  </a:moveTo>
                  <a:lnTo>
                    <a:pt x="660" y="495"/>
                  </a:lnTo>
                  <a:lnTo>
                    <a:pt x="662" y="497"/>
                  </a:lnTo>
                  <a:lnTo>
                    <a:pt x="662" y="497"/>
                  </a:lnTo>
                  <a:lnTo>
                    <a:pt x="664" y="499"/>
                  </a:lnTo>
                  <a:lnTo>
                    <a:pt x="666" y="499"/>
                  </a:lnTo>
                  <a:lnTo>
                    <a:pt x="668" y="499"/>
                  </a:lnTo>
                  <a:lnTo>
                    <a:pt x="670" y="497"/>
                  </a:lnTo>
                  <a:lnTo>
                    <a:pt x="670" y="495"/>
                  </a:lnTo>
                  <a:lnTo>
                    <a:pt x="670" y="495"/>
                  </a:lnTo>
                  <a:lnTo>
                    <a:pt x="670" y="493"/>
                  </a:lnTo>
                  <a:lnTo>
                    <a:pt x="668" y="493"/>
                  </a:lnTo>
                  <a:lnTo>
                    <a:pt x="664" y="491"/>
                  </a:lnTo>
                  <a:lnTo>
                    <a:pt x="662" y="491"/>
                  </a:lnTo>
                  <a:lnTo>
                    <a:pt x="662" y="491"/>
                  </a:lnTo>
                  <a:lnTo>
                    <a:pt x="662" y="491"/>
                  </a:lnTo>
                  <a:lnTo>
                    <a:pt x="662" y="493"/>
                  </a:lnTo>
                  <a:lnTo>
                    <a:pt x="662" y="493"/>
                  </a:lnTo>
                  <a:lnTo>
                    <a:pt x="662" y="493"/>
                  </a:lnTo>
                  <a:lnTo>
                    <a:pt x="662" y="495"/>
                  </a:lnTo>
                  <a:close/>
                  <a:moveTo>
                    <a:pt x="653" y="493"/>
                  </a:moveTo>
                  <a:lnTo>
                    <a:pt x="653" y="491"/>
                  </a:lnTo>
                  <a:lnTo>
                    <a:pt x="653" y="491"/>
                  </a:lnTo>
                  <a:lnTo>
                    <a:pt x="653" y="489"/>
                  </a:lnTo>
                  <a:lnTo>
                    <a:pt x="651" y="489"/>
                  </a:lnTo>
                  <a:lnTo>
                    <a:pt x="651" y="487"/>
                  </a:lnTo>
                  <a:lnTo>
                    <a:pt x="649" y="487"/>
                  </a:lnTo>
                  <a:lnTo>
                    <a:pt x="649" y="487"/>
                  </a:lnTo>
                  <a:lnTo>
                    <a:pt x="647" y="487"/>
                  </a:lnTo>
                  <a:lnTo>
                    <a:pt x="647" y="489"/>
                  </a:lnTo>
                  <a:lnTo>
                    <a:pt x="649" y="491"/>
                  </a:lnTo>
                  <a:lnTo>
                    <a:pt x="649" y="491"/>
                  </a:lnTo>
                  <a:lnTo>
                    <a:pt x="647" y="491"/>
                  </a:lnTo>
                  <a:lnTo>
                    <a:pt x="645" y="491"/>
                  </a:lnTo>
                  <a:lnTo>
                    <a:pt x="645" y="493"/>
                  </a:lnTo>
                  <a:lnTo>
                    <a:pt x="643" y="493"/>
                  </a:lnTo>
                  <a:lnTo>
                    <a:pt x="645" y="495"/>
                  </a:lnTo>
                  <a:lnTo>
                    <a:pt x="643" y="495"/>
                  </a:lnTo>
                  <a:lnTo>
                    <a:pt x="645" y="497"/>
                  </a:lnTo>
                  <a:lnTo>
                    <a:pt x="647" y="499"/>
                  </a:lnTo>
                  <a:lnTo>
                    <a:pt x="649" y="501"/>
                  </a:lnTo>
                  <a:lnTo>
                    <a:pt x="651" y="506"/>
                  </a:lnTo>
                  <a:lnTo>
                    <a:pt x="653" y="506"/>
                  </a:lnTo>
                  <a:lnTo>
                    <a:pt x="655" y="508"/>
                  </a:lnTo>
                  <a:lnTo>
                    <a:pt x="655" y="510"/>
                  </a:lnTo>
                  <a:lnTo>
                    <a:pt x="657" y="510"/>
                  </a:lnTo>
                  <a:lnTo>
                    <a:pt x="660" y="510"/>
                  </a:lnTo>
                  <a:lnTo>
                    <a:pt x="660" y="510"/>
                  </a:lnTo>
                  <a:lnTo>
                    <a:pt x="660" y="510"/>
                  </a:lnTo>
                  <a:lnTo>
                    <a:pt x="660" y="510"/>
                  </a:lnTo>
                  <a:lnTo>
                    <a:pt x="660" y="508"/>
                  </a:lnTo>
                  <a:lnTo>
                    <a:pt x="660" y="508"/>
                  </a:lnTo>
                  <a:lnTo>
                    <a:pt x="660" y="508"/>
                  </a:lnTo>
                  <a:lnTo>
                    <a:pt x="660" y="506"/>
                  </a:lnTo>
                  <a:lnTo>
                    <a:pt x="657" y="504"/>
                  </a:lnTo>
                  <a:lnTo>
                    <a:pt x="657" y="501"/>
                  </a:lnTo>
                  <a:lnTo>
                    <a:pt x="657" y="501"/>
                  </a:lnTo>
                  <a:lnTo>
                    <a:pt x="655" y="499"/>
                  </a:lnTo>
                  <a:lnTo>
                    <a:pt x="655" y="497"/>
                  </a:lnTo>
                  <a:lnTo>
                    <a:pt x="653" y="495"/>
                  </a:lnTo>
                  <a:lnTo>
                    <a:pt x="651" y="495"/>
                  </a:lnTo>
                  <a:lnTo>
                    <a:pt x="651" y="493"/>
                  </a:lnTo>
                  <a:lnTo>
                    <a:pt x="651" y="493"/>
                  </a:lnTo>
                  <a:lnTo>
                    <a:pt x="653" y="493"/>
                  </a:lnTo>
                  <a:lnTo>
                    <a:pt x="653" y="493"/>
                  </a:lnTo>
                  <a:close/>
                  <a:moveTo>
                    <a:pt x="649" y="481"/>
                  </a:moveTo>
                  <a:lnTo>
                    <a:pt x="647" y="481"/>
                  </a:lnTo>
                  <a:lnTo>
                    <a:pt x="647" y="481"/>
                  </a:lnTo>
                  <a:lnTo>
                    <a:pt x="645" y="481"/>
                  </a:lnTo>
                  <a:lnTo>
                    <a:pt x="645" y="483"/>
                  </a:lnTo>
                  <a:lnTo>
                    <a:pt x="645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9" y="483"/>
                  </a:lnTo>
                  <a:lnTo>
                    <a:pt x="649" y="483"/>
                  </a:lnTo>
                  <a:lnTo>
                    <a:pt x="649" y="481"/>
                  </a:lnTo>
                  <a:lnTo>
                    <a:pt x="649" y="481"/>
                  </a:lnTo>
                  <a:close/>
                  <a:moveTo>
                    <a:pt x="635" y="477"/>
                  </a:moveTo>
                  <a:lnTo>
                    <a:pt x="635" y="477"/>
                  </a:lnTo>
                  <a:lnTo>
                    <a:pt x="633" y="477"/>
                  </a:lnTo>
                  <a:lnTo>
                    <a:pt x="633" y="477"/>
                  </a:lnTo>
                  <a:lnTo>
                    <a:pt x="633" y="477"/>
                  </a:lnTo>
                  <a:lnTo>
                    <a:pt x="633" y="477"/>
                  </a:lnTo>
                  <a:lnTo>
                    <a:pt x="633" y="479"/>
                  </a:lnTo>
                  <a:lnTo>
                    <a:pt x="635" y="477"/>
                  </a:lnTo>
                  <a:lnTo>
                    <a:pt x="635" y="477"/>
                  </a:lnTo>
                  <a:lnTo>
                    <a:pt x="635" y="477"/>
                  </a:lnTo>
                  <a:close/>
                  <a:moveTo>
                    <a:pt x="645" y="473"/>
                  </a:moveTo>
                  <a:lnTo>
                    <a:pt x="647" y="473"/>
                  </a:lnTo>
                  <a:lnTo>
                    <a:pt x="647" y="473"/>
                  </a:lnTo>
                  <a:lnTo>
                    <a:pt x="645" y="471"/>
                  </a:lnTo>
                  <a:lnTo>
                    <a:pt x="647" y="469"/>
                  </a:lnTo>
                  <a:lnTo>
                    <a:pt x="647" y="469"/>
                  </a:lnTo>
                  <a:lnTo>
                    <a:pt x="647" y="467"/>
                  </a:lnTo>
                  <a:lnTo>
                    <a:pt x="647" y="467"/>
                  </a:lnTo>
                  <a:lnTo>
                    <a:pt x="647" y="464"/>
                  </a:lnTo>
                  <a:lnTo>
                    <a:pt x="645" y="462"/>
                  </a:lnTo>
                  <a:lnTo>
                    <a:pt x="643" y="462"/>
                  </a:lnTo>
                  <a:lnTo>
                    <a:pt x="641" y="460"/>
                  </a:lnTo>
                  <a:lnTo>
                    <a:pt x="641" y="460"/>
                  </a:lnTo>
                  <a:lnTo>
                    <a:pt x="641" y="458"/>
                  </a:lnTo>
                  <a:lnTo>
                    <a:pt x="643" y="458"/>
                  </a:lnTo>
                  <a:lnTo>
                    <a:pt x="643" y="458"/>
                  </a:lnTo>
                  <a:lnTo>
                    <a:pt x="643" y="458"/>
                  </a:lnTo>
                  <a:lnTo>
                    <a:pt x="645" y="458"/>
                  </a:lnTo>
                  <a:lnTo>
                    <a:pt x="643" y="456"/>
                  </a:lnTo>
                  <a:lnTo>
                    <a:pt x="643" y="454"/>
                  </a:lnTo>
                  <a:lnTo>
                    <a:pt x="643" y="454"/>
                  </a:lnTo>
                  <a:lnTo>
                    <a:pt x="643" y="452"/>
                  </a:lnTo>
                  <a:lnTo>
                    <a:pt x="643" y="452"/>
                  </a:lnTo>
                  <a:lnTo>
                    <a:pt x="641" y="450"/>
                  </a:lnTo>
                  <a:lnTo>
                    <a:pt x="641" y="448"/>
                  </a:lnTo>
                  <a:lnTo>
                    <a:pt x="639" y="448"/>
                  </a:lnTo>
                  <a:lnTo>
                    <a:pt x="637" y="446"/>
                  </a:lnTo>
                  <a:lnTo>
                    <a:pt x="631" y="446"/>
                  </a:lnTo>
                  <a:lnTo>
                    <a:pt x="631" y="446"/>
                  </a:lnTo>
                  <a:lnTo>
                    <a:pt x="633" y="446"/>
                  </a:lnTo>
                  <a:lnTo>
                    <a:pt x="633" y="448"/>
                  </a:lnTo>
                  <a:lnTo>
                    <a:pt x="633" y="450"/>
                  </a:lnTo>
                  <a:lnTo>
                    <a:pt x="633" y="450"/>
                  </a:lnTo>
                  <a:lnTo>
                    <a:pt x="633" y="450"/>
                  </a:lnTo>
                  <a:lnTo>
                    <a:pt x="633" y="452"/>
                  </a:lnTo>
                  <a:lnTo>
                    <a:pt x="633" y="454"/>
                  </a:lnTo>
                  <a:lnTo>
                    <a:pt x="633" y="454"/>
                  </a:lnTo>
                  <a:lnTo>
                    <a:pt x="633" y="456"/>
                  </a:lnTo>
                  <a:lnTo>
                    <a:pt x="633" y="456"/>
                  </a:lnTo>
                  <a:lnTo>
                    <a:pt x="633" y="458"/>
                  </a:lnTo>
                  <a:lnTo>
                    <a:pt x="635" y="460"/>
                  </a:lnTo>
                  <a:lnTo>
                    <a:pt x="637" y="464"/>
                  </a:lnTo>
                  <a:lnTo>
                    <a:pt x="637" y="469"/>
                  </a:lnTo>
                  <a:lnTo>
                    <a:pt x="637" y="471"/>
                  </a:lnTo>
                  <a:lnTo>
                    <a:pt x="637" y="471"/>
                  </a:lnTo>
                  <a:lnTo>
                    <a:pt x="637" y="471"/>
                  </a:lnTo>
                  <a:lnTo>
                    <a:pt x="639" y="473"/>
                  </a:lnTo>
                  <a:lnTo>
                    <a:pt x="641" y="473"/>
                  </a:lnTo>
                  <a:lnTo>
                    <a:pt x="643" y="473"/>
                  </a:lnTo>
                  <a:lnTo>
                    <a:pt x="645" y="473"/>
                  </a:lnTo>
                  <a:lnTo>
                    <a:pt x="645" y="473"/>
                  </a:lnTo>
                  <a:close/>
                  <a:moveTo>
                    <a:pt x="510" y="296"/>
                  </a:moveTo>
                  <a:lnTo>
                    <a:pt x="510" y="296"/>
                  </a:lnTo>
                  <a:lnTo>
                    <a:pt x="510" y="296"/>
                  </a:lnTo>
                  <a:lnTo>
                    <a:pt x="508" y="296"/>
                  </a:lnTo>
                  <a:lnTo>
                    <a:pt x="508" y="296"/>
                  </a:lnTo>
                  <a:lnTo>
                    <a:pt x="508" y="296"/>
                  </a:lnTo>
                  <a:lnTo>
                    <a:pt x="508" y="296"/>
                  </a:lnTo>
                  <a:lnTo>
                    <a:pt x="508" y="298"/>
                  </a:lnTo>
                  <a:lnTo>
                    <a:pt x="510" y="296"/>
                  </a:lnTo>
                  <a:lnTo>
                    <a:pt x="510" y="296"/>
                  </a:lnTo>
                  <a:lnTo>
                    <a:pt x="510" y="296"/>
                  </a:lnTo>
                  <a:lnTo>
                    <a:pt x="510" y="296"/>
                  </a:lnTo>
                  <a:lnTo>
                    <a:pt x="510" y="296"/>
                  </a:lnTo>
                  <a:close/>
                  <a:moveTo>
                    <a:pt x="0" y="177"/>
                  </a:moveTo>
                  <a:lnTo>
                    <a:pt x="0" y="177"/>
                  </a:lnTo>
                  <a:lnTo>
                    <a:pt x="0" y="179"/>
                  </a:lnTo>
                  <a:lnTo>
                    <a:pt x="3" y="177"/>
                  </a:lnTo>
                  <a:lnTo>
                    <a:pt x="5" y="177"/>
                  </a:lnTo>
                  <a:lnTo>
                    <a:pt x="3" y="177"/>
                  </a:lnTo>
                  <a:lnTo>
                    <a:pt x="0" y="177"/>
                  </a:lnTo>
                  <a:close/>
                  <a:moveTo>
                    <a:pt x="760" y="660"/>
                  </a:moveTo>
                  <a:lnTo>
                    <a:pt x="762" y="662"/>
                  </a:lnTo>
                  <a:lnTo>
                    <a:pt x="766" y="662"/>
                  </a:lnTo>
                  <a:lnTo>
                    <a:pt x="768" y="660"/>
                  </a:lnTo>
                  <a:lnTo>
                    <a:pt x="768" y="660"/>
                  </a:lnTo>
                  <a:lnTo>
                    <a:pt x="768" y="656"/>
                  </a:lnTo>
                  <a:lnTo>
                    <a:pt x="766" y="654"/>
                  </a:lnTo>
                  <a:lnTo>
                    <a:pt x="764" y="654"/>
                  </a:lnTo>
                  <a:lnTo>
                    <a:pt x="764" y="650"/>
                  </a:lnTo>
                  <a:lnTo>
                    <a:pt x="764" y="645"/>
                  </a:lnTo>
                  <a:lnTo>
                    <a:pt x="762" y="645"/>
                  </a:lnTo>
                  <a:lnTo>
                    <a:pt x="762" y="643"/>
                  </a:lnTo>
                  <a:lnTo>
                    <a:pt x="764" y="641"/>
                  </a:lnTo>
                  <a:lnTo>
                    <a:pt x="764" y="641"/>
                  </a:lnTo>
                  <a:lnTo>
                    <a:pt x="766" y="641"/>
                  </a:lnTo>
                  <a:lnTo>
                    <a:pt x="772" y="637"/>
                  </a:lnTo>
                  <a:lnTo>
                    <a:pt x="775" y="637"/>
                  </a:lnTo>
                  <a:lnTo>
                    <a:pt x="777" y="637"/>
                  </a:lnTo>
                  <a:lnTo>
                    <a:pt x="777" y="637"/>
                  </a:lnTo>
                  <a:lnTo>
                    <a:pt x="777" y="633"/>
                  </a:lnTo>
                  <a:lnTo>
                    <a:pt x="779" y="633"/>
                  </a:lnTo>
                  <a:lnTo>
                    <a:pt x="781" y="633"/>
                  </a:lnTo>
                  <a:lnTo>
                    <a:pt x="783" y="633"/>
                  </a:lnTo>
                  <a:lnTo>
                    <a:pt x="791" y="635"/>
                  </a:lnTo>
                  <a:lnTo>
                    <a:pt x="791" y="633"/>
                  </a:lnTo>
                  <a:lnTo>
                    <a:pt x="789" y="633"/>
                  </a:lnTo>
                  <a:lnTo>
                    <a:pt x="787" y="633"/>
                  </a:lnTo>
                  <a:lnTo>
                    <a:pt x="783" y="633"/>
                  </a:lnTo>
                  <a:lnTo>
                    <a:pt x="779" y="631"/>
                  </a:lnTo>
                  <a:lnTo>
                    <a:pt x="775" y="631"/>
                  </a:lnTo>
                  <a:lnTo>
                    <a:pt x="770" y="631"/>
                  </a:lnTo>
                  <a:lnTo>
                    <a:pt x="766" y="629"/>
                  </a:lnTo>
                  <a:lnTo>
                    <a:pt x="760" y="629"/>
                  </a:lnTo>
                  <a:lnTo>
                    <a:pt x="754" y="629"/>
                  </a:lnTo>
                  <a:lnTo>
                    <a:pt x="748" y="629"/>
                  </a:lnTo>
                  <a:lnTo>
                    <a:pt x="744" y="629"/>
                  </a:lnTo>
                  <a:lnTo>
                    <a:pt x="740" y="629"/>
                  </a:lnTo>
                  <a:lnTo>
                    <a:pt x="740" y="629"/>
                  </a:lnTo>
                  <a:lnTo>
                    <a:pt x="738" y="627"/>
                  </a:lnTo>
                  <a:lnTo>
                    <a:pt x="738" y="625"/>
                  </a:lnTo>
                  <a:lnTo>
                    <a:pt x="735" y="625"/>
                  </a:lnTo>
                  <a:lnTo>
                    <a:pt x="733" y="623"/>
                  </a:lnTo>
                  <a:lnTo>
                    <a:pt x="731" y="623"/>
                  </a:lnTo>
                  <a:lnTo>
                    <a:pt x="729" y="621"/>
                  </a:lnTo>
                  <a:lnTo>
                    <a:pt x="729" y="619"/>
                  </a:lnTo>
                  <a:lnTo>
                    <a:pt x="729" y="617"/>
                  </a:lnTo>
                  <a:lnTo>
                    <a:pt x="727" y="615"/>
                  </a:lnTo>
                  <a:lnTo>
                    <a:pt x="727" y="615"/>
                  </a:lnTo>
                  <a:lnTo>
                    <a:pt x="725" y="613"/>
                  </a:lnTo>
                  <a:lnTo>
                    <a:pt x="725" y="613"/>
                  </a:lnTo>
                  <a:lnTo>
                    <a:pt x="727" y="613"/>
                  </a:lnTo>
                  <a:lnTo>
                    <a:pt x="725" y="610"/>
                  </a:lnTo>
                  <a:lnTo>
                    <a:pt x="725" y="608"/>
                  </a:lnTo>
                  <a:lnTo>
                    <a:pt x="723" y="606"/>
                  </a:lnTo>
                  <a:lnTo>
                    <a:pt x="721" y="604"/>
                  </a:lnTo>
                  <a:lnTo>
                    <a:pt x="721" y="604"/>
                  </a:lnTo>
                  <a:lnTo>
                    <a:pt x="719" y="604"/>
                  </a:lnTo>
                  <a:lnTo>
                    <a:pt x="719" y="604"/>
                  </a:lnTo>
                  <a:lnTo>
                    <a:pt x="717" y="604"/>
                  </a:lnTo>
                  <a:lnTo>
                    <a:pt x="715" y="604"/>
                  </a:lnTo>
                  <a:lnTo>
                    <a:pt x="715" y="606"/>
                  </a:lnTo>
                  <a:lnTo>
                    <a:pt x="713" y="606"/>
                  </a:lnTo>
                  <a:lnTo>
                    <a:pt x="713" y="606"/>
                  </a:lnTo>
                  <a:lnTo>
                    <a:pt x="711" y="606"/>
                  </a:lnTo>
                  <a:lnTo>
                    <a:pt x="711" y="604"/>
                  </a:lnTo>
                  <a:lnTo>
                    <a:pt x="709" y="604"/>
                  </a:lnTo>
                  <a:lnTo>
                    <a:pt x="709" y="602"/>
                  </a:lnTo>
                  <a:lnTo>
                    <a:pt x="707" y="600"/>
                  </a:lnTo>
                  <a:lnTo>
                    <a:pt x="705" y="598"/>
                  </a:lnTo>
                  <a:lnTo>
                    <a:pt x="703" y="596"/>
                  </a:lnTo>
                  <a:lnTo>
                    <a:pt x="701" y="594"/>
                  </a:lnTo>
                  <a:lnTo>
                    <a:pt x="701" y="592"/>
                  </a:lnTo>
                  <a:lnTo>
                    <a:pt x="701" y="590"/>
                  </a:lnTo>
                  <a:lnTo>
                    <a:pt x="699" y="588"/>
                  </a:lnTo>
                  <a:lnTo>
                    <a:pt x="696" y="586"/>
                  </a:lnTo>
                  <a:lnTo>
                    <a:pt x="696" y="584"/>
                  </a:lnTo>
                  <a:lnTo>
                    <a:pt x="696" y="582"/>
                  </a:lnTo>
                  <a:lnTo>
                    <a:pt x="696" y="582"/>
                  </a:lnTo>
                  <a:lnTo>
                    <a:pt x="701" y="582"/>
                  </a:lnTo>
                  <a:lnTo>
                    <a:pt x="699" y="580"/>
                  </a:lnTo>
                  <a:lnTo>
                    <a:pt x="699" y="578"/>
                  </a:lnTo>
                  <a:lnTo>
                    <a:pt x="699" y="575"/>
                  </a:lnTo>
                  <a:lnTo>
                    <a:pt x="701" y="575"/>
                  </a:lnTo>
                  <a:lnTo>
                    <a:pt x="701" y="575"/>
                  </a:lnTo>
                  <a:lnTo>
                    <a:pt x="703" y="573"/>
                  </a:lnTo>
                  <a:lnTo>
                    <a:pt x="703" y="573"/>
                  </a:lnTo>
                  <a:lnTo>
                    <a:pt x="703" y="571"/>
                  </a:lnTo>
                  <a:lnTo>
                    <a:pt x="703" y="571"/>
                  </a:lnTo>
                  <a:lnTo>
                    <a:pt x="703" y="569"/>
                  </a:lnTo>
                  <a:lnTo>
                    <a:pt x="701" y="567"/>
                  </a:lnTo>
                  <a:lnTo>
                    <a:pt x="701" y="565"/>
                  </a:lnTo>
                  <a:lnTo>
                    <a:pt x="703" y="565"/>
                  </a:lnTo>
                  <a:lnTo>
                    <a:pt x="705" y="563"/>
                  </a:lnTo>
                  <a:lnTo>
                    <a:pt x="705" y="561"/>
                  </a:lnTo>
                  <a:lnTo>
                    <a:pt x="703" y="559"/>
                  </a:lnTo>
                  <a:lnTo>
                    <a:pt x="701" y="557"/>
                  </a:lnTo>
                  <a:lnTo>
                    <a:pt x="699" y="557"/>
                  </a:lnTo>
                  <a:lnTo>
                    <a:pt x="699" y="555"/>
                  </a:lnTo>
                  <a:lnTo>
                    <a:pt x="699" y="553"/>
                  </a:lnTo>
                  <a:lnTo>
                    <a:pt x="699" y="553"/>
                  </a:lnTo>
                  <a:lnTo>
                    <a:pt x="699" y="551"/>
                  </a:lnTo>
                  <a:lnTo>
                    <a:pt x="696" y="549"/>
                  </a:lnTo>
                  <a:lnTo>
                    <a:pt x="699" y="547"/>
                  </a:lnTo>
                  <a:lnTo>
                    <a:pt x="701" y="547"/>
                  </a:lnTo>
                  <a:lnTo>
                    <a:pt x="701" y="545"/>
                  </a:lnTo>
                  <a:lnTo>
                    <a:pt x="701" y="543"/>
                  </a:lnTo>
                  <a:lnTo>
                    <a:pt x="701" y="543"/>
                  </a:lnTo>
                  <a:lnTo>
                    <a:pt x="701" y="543"/>
                  </a:lnTo>
                  <a:lnTo>
                    <a:pt x="701" y="541"/>
                  </a:lnTo>
                  <a:lnTo>
                    <a:pt x="699" y="541"/>
                  </a:lnTo>
                  <a:lnTo>
                    <a:pt x="699" y="538"/>
                  </a:lnTo>
                  <a:lnTo>
                    <a:pt x="699" y="536"/>
                  </a:lnTo>
                  <a:lnTo>
                    <a:pt x="699" y="536"/>
                  </a:lnTo>
                  <a:lnTo>
                    <a:pt x="701" y="534"/>
                  </a:lnTo>
                  <a:lnTo>
                    <a:pt x="701" y="534"/>
                  </a:lnTo>
                  <a:lnTo>
                    <a:pt x="701" y="532"/>
                  </a:lnTo>
                  <a:lnTo>
                    <a:pt x="699" y="530"/>
                  </a:lnTo>
                  <a:lnTo>
                    <a:pt x="696" y="528"/>
                  </a:lnTo>
                  <a:lnTo>
                    <a:pt x="696" y="526"/>
                  </a:lnTo>
                  <a:lnTo>
                    <a:pt x="694" y="526"/>
                  </a:lnTo>
                  <a:lnTo>
                    <a:pt x="694" y="524"/>
                  </a:lnTo>
                  <a:lnTo>
                    <a:pt x="694" y="524"/>
                  </a:lnTo>
                  <a:lnTo>
                    <a:pt x="696" y="522"/>
                  </a:lnTo>
                  <a:lnTo>
                    <a:pt x="696" y="520"/>
                  </a:lnTo>
                  <a:lnTo>
                    <a:pt x="694" y="520"/>
                  </a:lnTo>
                  <a:lnTo>
                    <a:pt x="694" y="518"/>
                  </a:lnTo>
                  <a:lnTo>
                    <a:pt x="692" y="516"/>
                  </a:lnTo>
                  <a:lnTo>
                    <a:pt x="692" y="514"/>
                  </a:lnTo>
                  <a:lnTo>
                    <a:pt x="692" y="514"/>
                  </a:lnTo>
                  <a:lnTo>
                    <a:pt x="694" y="514"/>
                  </a:lnTo>
                  <a:lnTo>
                    <a:pt x="694" y="512"/>
                  </a:lnTo>
                  <a:lnTo>
                    <a:pt x="696" y="510"/>
                  </a:lnTo>
                  <a:lnTo>
                    <a:pt x="694" y="508"/>
                  </a:lnTo>
                  <a:lnTo>
                    <a:pt x="692" y="508"/>
                  </a:lnTo>
                  <a:lnTo>
                    <a:pt x="690" y="506"/>
                  </a:lnTo>
                  <a:lnTo>
                    <a:pt x="690" y="501"/>
                  </a:lnTo>
                  <a:lnTo>
                    <a:pt x="686" y="501"/>
                  </a:lnTo>
                  <a:lnTo>
                    <a:pt x="682" y="501"/>
                  </a:lnTo>
                  <a:lnTo>
                    <a:pt x="682" y="499"/>
                  </a:lnTo>
                  <a:lnTo>
                    <a:pt x="682" y="497"/>
                  </a:lnTo>
                  <a:lnTo>
                    <a:pt x="682" y="499"/>
                  </a:lnTo>
                  <a:lnTo>
                    <a:pt x="686" y="497"/>
                  </a:lnTo>
                  <a:lnTo>
                    <a:pt x="688" y="497"/>
                  </a:lnTo>
                  <a:lnTo>
                    <a:pt x="688" y="497"/>
                  </a:lnTo>
                  <a:lnTo>
                    <a:pt x="690" y="497"/>
                  </a:lnTo>
                  <a:lnTo>
                    <a:pt x="692" y="499"/>
                  </a:lnTo>
                  <a:lnTo>
                    <a:pt x="692" y="497"/>
                  </a:lnTo>
                  <a:lnTo>
                    <a:pt x="692" y="495"/>
                  </a:lnTo>
                  <a:lnTo>
                    <a:pt x="692" y="495"/>
                  </a:lnTo>
                  <a:lnTo>
                    <a:pt x="692" y="493"/>
                  </a:lnTo>
                  <a:lnTo>
                    <a:pt x="692" y="493"/>
                  </a:lnTo>
                  <a:lnTo>
                    <a:pt x="690" y="491"/>
                  </a:lnTo>
                  <a:lnTo>
                    <a:pt x="682" y="491"/>
                  </a:lnTo>
                  <a:lnTo>
                    <a:pt x="682" y="491"/>
                  </a:lnTo>
                  <a:lnTo>
                    <a:pt x="680" y="489"/>
                  </a:lnTo>
                  <a:lnTo>
                    <a:pt x="680" y="487"/>
                  </a:lnTo>
                  <a:lnTo>
                    <a:pt x="680" y="487"/>
                  </a:lnTo>
                  <a:lnTo>
                    <a:pt x="680" y="485"/>
                  </a:lnTo>
                  <a:lnTo>
                    <a:pt x="680" y="485"/>
                  </a:lnTo>
                  <a:lnTo>
                    <a:pt x="680" y="483"/>
                  </a:lnTo>
                  <a:lnTo>
                    <a:pt x="680" y="483"/>
                  </a:lnTo>
                  <a:lnTo>
                    <a:pt x="678" y="481"/>
                  </a:lnTo>
                  <a:lnTo>
                    <a:pt x="678" y="479"/>
                  </a:lnTo>
                  <a:lnTo>
                    <a:pt x="678" y="479"/>
                  </a:lnTo>
                  <a:lnTo>
                    <a:pt x="678" y="477"/>
                  </a:lnTo>
                  <a:lnTo>
                    <a:pt x="676" y="477"/>
                  </a:lnTo>
                  <a:lnTo>
                    <a:pt x="674" y="475"/>
                  </a:lnTo>
                  <a:lnTo>
                    <a:pt x="674" y="473"/>
                  </a:lnTo>
                  <a:lnTo>
                    <a:pt x="674" y="473"/>
                  </a:lnTo>
                  <a:lnTo>
                    <a:pt x="676" y="473"/>
                  </a:lnTo>
                  <a:lnTo>
                    <a:pt x="676" y="471"/>
                  </a:lnTo>
                  <a:lnTo>
                    <a:pt x="674" y="471"/>
                  </a:lnTo>
                  <a:lnTo>
                    <a:pt x="672" y="469"/>
                  </a:lnTo>
                  <a:lnTo>
                    <a:pt x="670" y="469"/>
                  </a:lnTo>
                  <a:lnTo>
                    <a:pt x="668" y="469"/>
                  </a:lnTo>
                  <a:lnTo>
                    <a:pt x="668" y="467"/>
                  </a:lnTo>
                  <a:lnTo>
                    <a:pt x="666" y="462"/>
                  </a:lnTo>
                  <a:lnTo>
                    <a:pt x="666" y="460"/>
                  </a:lnTo>
                  <a:lnTo>
                    <a:pt x="666" y="460"/>
                  </a:lnTo>
                  <a:lnTo>
                    <a:pt x="666" y="458"/>
                  </a:lnTo>
                  <a:lnTo>
                    <a:pt x="666" y="458"/>
                  </a:lnTo>
                  <a:lnTo>
                    <a:pt x="664" y="456"/>
                  </a:lnTo>
                  <a:lnTo>
                    <a:pt x="664" y="454"/>
                  </a:lnTo>
                  <a:lnTo>
                    <a:pt x="664" y="454"/>
                  </a:lnTo>
                  <a:lnTo>
                    <a:pt x="664" y="452"/>
                  </a:lnTo>
                  <a:lnTo>
                    <a:pt x="664" y="452"/>
                  </a:lnTo>
                  <a:lnTo>
                    <a:pt x="664" y="452"/>
                  </a:lnTo>
                  <a:lnTo>
                    <a:pt x="666" y="452"/>
                  </a:lnTo>
                  <a:lnTo>
                    <a:pt x="666" y="452"/>
                  </a:lnTo>
                  <a:lnTo>
                    <a:pt x="668" y="450"/>
                  </a:lnTo>
                  <a:lnTo>
                    <a:pt x="668" y="450"/>
                  </a:lnTo>
                  <a:lnTo>
                    <a:pt x="666" y="448"/>
                  </a:lnTo>
                  <a:lnTo>
                    <a:pt x="664" y="446"/>
                  </a:lnTo>
                  <a:lnTo>
                    <a:pt x="662" y="442"/>
                  </a:lnTo>
                  <a:lnTo>
                    <a:pt x="662" y="442"/>
                  </a:lnTo>
                  <a:lnTo>
                    <a:pt x="662" y="442"/>
                  </a:lnTo>
                  <a:lnTo>
                    <a:pt x="660" y="438"/>
                  </a:lnTo>
                  <a:lnTo>
                    <a:pt x="660" y="436"/>
                  </a:lnTo>
                  <a:lnTo>
                    <a:pt x="657" y="432"/>
                  </a:lnTo>
                  <a:lnTo>
                    <a:pt x="657" y="430"/>
                  </a:lnTo>
                  <a:lnTo>
                    <a:pt x="655" y="427"/>
                  </a:lnTo>
                  <a:lnTo>
                    <a:pt x="655" y="425"/>
                  </a:lnTo>
                  <a:lnTo>
                    <a:pt x="655" y="423"/>
                  </a:lnTo>
                  <a:lnTo>
                    <a:pt x="655" y="423"/>
                  </a:lnTo>
                  <a:lnTo>
                    <a:pt x="655" y="421"/>
                  </a:lnTo>
                  <a:lnTo>
                    <a:pt x="655" y="421"/>
                  </a:lnTo>
                  <a:lnTo>
                    <a:pt x="657" y="419"/>
                  </a:lnTo>
                  <a:lnTo>
                    <a:pt x="657" y="419"/>
                  </a:lnTo>
                  <a:lnTo>
                    <a:pt x="655" y="419"/>
                  </a:lnTo>
                  <a:lnTo>
                    <a:pt x="653" y="417"/>
                  </a:lnTo>
                  <a:lnTo>
                    <a:pt x="653" y="417"/>
                  </a:lnTo>
                  <a:lnTo>
                    <a:pt x="653" y="415"/>
                  </a:lnTo>
                  <a:lnTo>
                    <a:pt x="653" y="415"/>
                  </a:lnTo>
                  <a:lnTo>
                    <a:pt x="655" y="415"/>
                  </a:lnTo>
                  <a:lnTo>
                    <a:pt x="655" y="413"/>
                  </a:lnTo>
                  <a:lnTo>
                    <a:pt x="655" y="413"/>
                  </a:lnTo>
                  <a:lnTo>
                    <a:pt x="655" y="413"/>
                  </a:lnTo>
                  <a:lnTo>
                    <a:pt x="653" y="411"/>
                  </a:lnTo>
                  <a:lnTo>
                    <a:pt x="653" y="409"/>
                  </a:lnTo>
                  <a:lnTo>
                    <a:pt x="651" y="407"/>
                  </a:lnTo>
                  <a:lnTo>
                    <a:pt x="651" y="407"/>
                  </a:lnTo>
                  <a:lnTo>
                    <a:pt x="653" y="407"/>
                  </a:lnTo>
                  <a:lnTo>
                    <a:pt x="653" y="407"/>
                  </a:lnTo>
                  <a:lnTo>
                    <a:pt x="653" y="407"/>
                  </a:lnTo>
                  <a:lnTo>
                    <a:pt x="653" y="407"/>
                  </a:lnTo>
                  <a:lnTo>
                    <a:pt x="653" y="405"/>
                  </a:lnTo>
                  <a:lnTo>
                    <a:pt x="653" y="405"/>
                  </a:lnTo>
                  <a:lnTo>
                    <a:pt x="653" y="403"/>
                  </a:lnTo>
                  <a:lnTo>
                    <a:pt x="653" y="401"/>
                  </a:lnTo>
                  <a:lnTo>
                    <a:pt x="653" y="401"/>
                  </a:lnTo>
                  <a:lnTo>
                    <a:pt x="651" y="397"/>
                  </a:lnTo>
                  <a:lnTo>
                    <a:pt x="651" y="395"/>
                  </a:lnTo>
                  <a:lnTo>
                    <a:pt x="653" y="395"/>
                  </a:lnTo>
                  <a:lnTo>
                    <a:pt x="653" y="393"/>
                  </a:lnTo>
                  <a:lnTo>
                    <a:pt x="655" y="393"/>
                  </a:lnTo>
                  <a:lnTo>
                    <a:pt x="655" y="393"/>
                  </a:lnTo>
                  <a:lnTo>
                    <a:pt x="657" y="390"/>
                  </a:lnTo>
                  <a:lnTo>
                    <a:pt x="657" y="390"/>
                  </a:lnTo>
                  <a:lnTo>
                    <a:pt x="657" y="388"/>
                  </a:lnTo>
                  <a:lnTo>
                    <a:pt x="657" y="388"/>
                  </a:lnTo>
                  <a:lnTo>
                    <a:pt x="657" y="386"/>
                  </a:lnTo>
                  <a:lnTo>
                    <a:pt x="655" y="386"/>
                  </a:lnTo>
                  <a:lnTo>
                    <a:pt x="655" y="384"/>
                  </a:lnTo>
                  <a:lnTo>
                    <a:pt x="653" y="382"/>
                  </a:lnTo>
                  <a:lnTo>
                    <a:pt x="653" y="378"/>
                  </a:lnTo>
                  <a:lnTo>
                    <a:pt x="651" y="376"/>
                  </a:lnTo>
                  <a:lnTo>
                    <a:pt x="649" y="374"/>
                  </a:lnTo>
                  <a:lnTo>
                    <a:pt x="647" y="370"/>
                  </a:lnTo>
                  <a:lnTo>
                    <a:pt x="647" y="370"/>
                  </a:lnTo>
                  <a:lnTo>
                    <a:pt x="647" y="368"/>
                  </a:lnTo>
                  <a:lnTo>
                    <a:pt x="647" y="366"/>
                  </a:lnTo>
                  <a:lnTo>
                    <a:pt x="645" y="364"/>
                  </a:lnTo>
                  <a:lnTo>
                    <a:pt x="645" y="364"/>
                  </a:lnTo>
                  <a:lnTo>
                    <a:pt x="645" y="362"/>
                  </a:lnTo>
                  <a:lnTo>
                    <a:pt x="645" y="360"/>
                  </a:lnTo>
                  <a:lnTo>
                    <a:pt x="645" y="358"/>
                  </a:lnTo>
                  <a:lnTo>
                    <a:pt x="643" y="355"/>
                  </a:lnTo>
                  <a:lnTo>
                    <a:pt x="643" y="355"/>
                  </a:lnTo>
                  <a:lnTo>
                    <a:pt x="643" y="353"/>
                  </a:lnTo>
                  <a:lnTo>
                    <a:pt x="645" y="351"/>
                  </a:lnTo>
                  <a:lnTo>
                    <a:pt x="643" y="351"/>
                  </a:lnTo>
                  <a:lnTo>
                    <a:pt x="643" y="349"/>
                  </a:lnTo>
                  <a:lnTo>
                    <a:pt x="645" y="349"/>
                  </a:lnTo>
                  <a:lnTo>
                    <a:pt x="645" y="347"/>
                  </a:lnTo>
                  <a:lnTo>
                    <a:pt x="647" y="347"/>
                  </a:lnTo>
                  <a:lnTo>
                    <a:pt x="647" y="347"/>
                  </a:lnTo>
                  <a:lnTo>
                    <a:pt x="647" y="347"/>
                  </a:lnTo>
                  <a:lnTo>
                    <a:pt x="647" y="347"/>
                  </a:lnTo>
                  <a:lnTo>
                    <a:pt x="647" y="345"/>
                  </a:lnTo>
                  <a:lnTo>
                    <a:pt x="649" y="345"/>
                  </a:lnTo>
                  <a:lnTo>
                    <a:pt x="649" y="343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51" y="339"/>
                  </a:lnTo>
                  <a:lnTo>
                    <a:pt x="649" y="337"/>
                  </a:lnTo>
                  <a:lnTo>
                    <a:pt x="649" y="337"/>
                  </a:lnTo>
                  <a:lnTo>
                    <a:pt x="649" y="333"/>
                  </a:lnTo>
                  <a:lnTo>
                    <a:pt x="649" y="331"/>
                  </a:lnTo>
                  <a:lnTo>
                    <a:pt x="647" y="331"/>
                  </a:lnTo>
                  <a:lnTo>
                    <a:pt x="647" y="329"/>
                  </a:lnTo>
                  <a:lnTo>
                    <a:pt x="647" y="327"/>
                  </a:lnTo>
                  <a:lnTo>
                    <a:pt x="645" y="327"/>
                  </a:lnTo>
                  <a:lnTo>
                    <a:pt x="645" y="327"/>
                  </a:lnTo>
                  <a:lnTo>
                    <a:pt x="645" y="325"/>
                  </a:lnTo>
                  <a:lnTo>
                    <a:pt x="645" y="325"/>
                  </a:lnTo>
                  <a:lnTo>
                    <a:pt x="647" y="325"/>
                  </a:lnTo>
                  <a:lnTo>
                    <a:pt x="647" y="321"/>
                  </a:lnTo>
                  <a:lnTo>
                    <a:pt x="647" y="318"/>
                  </a:lnTo>
                  <a:lnTo>
                    <a:pt x="647" y="316"/>
                  </a:lnTo>
                  <a:lnTo>
                    <a:pt x="647" y="316"/>
                  </a:lnTo>
                  <a:lnTo>
                    <a:pt x="647" y="316"/>
                  </a:lnTo>
                  <a:lnTo>
                    <a:pt x="647" y="314"/>
                  </a:lnTo>
                  <a:lnTo>
                    <a:pt x="647" y="312"/>
                  </a:lnTo>
                  <a:lnTo>
                    <a:pt x="647" y="310"/>
                  </a:lnTo>
                  <a:lnTo>
                    <a:pt x="647" y="310"/>
                  </a:lnTo>
                  <a:lnTo>
                    <a:pt x="647" y="308"/>
                  </a:lnTo>
                  <a:lnTo>
                    <a:pt x="649" y="308"/>
                  </a:lnTo>
                  <a:lnTo>
                    <a:pt x="649" y="308"/>
                  </a:lnTo>
                  <a:lnTo>
                    <a:pt x="649" y="308"/>
                  </a:lnTo>
                  <a:lnTo>
                    <a:pt x="651" y="308"/>
                  </a:lnTo>
                  <a:lnTo>
                    <a:pt x="649" y="306"/>
                  </a:lnTo>
                  <a:lnTo>
                    <a:pt x="649" y="304"/>
                  </a:lnTo>
                  <a:lnTo>
                    <a:pt x="649" y="302"/>
                  </a:lnTo>
                  <a:lnTo>
                    <a:pt x="647" y="298"/>
                  </a:lnTo>
                  <a:lnTo>
                    <a:pt x="647" y="296"/>
                  </a:lnTo>
                  <a:lnTo>
                    <a:pt x="647" y="294"/>
                  </a:lnTo>
                  <a:lnTo>
                    <a:pt x="647" y="292"/>
                  </a:lnTo>
                  <a:lnTo>
                    <a:pt x="647" y="292"/>
                  </a:lnTo>
                  <a:lnTo>
                    <a:pt x="647" y="290"/>
                  </a:lnTo>
                  <a:lnTo>
                    <a:pt x="645" y="290"/>
                  </a:lnTo>
                  <a:lnTo>
                    <a:pt x="643" y="290"/>
                  </a:lnTo>
                  <a:lnTo>
                    <a:pt x="643" y="290"/>
                  </a:lnTo>
                  <a:lnTo>
                    <a:pt x="641" y="288"/>
                  </a:lnTo>
                  <a:lnTo>
                    <a:pt x="641" y="288"/>
                  </a:lnTo>
                  <a:lnTo>
                    <a:pt x="641" y="286"/>
                  </a:lnTo>
                  <a:lnTo>
                    <a:pt x="641" y="284"/>
                  </a:lnTo>
                  <a:lnTo>
                    <a:pt x="641" y="284"/>
                  </a:lnTo>
                  <a:lnTo>
                    <a:pt x="641" y="281"/>
                  </a:lnTo>
                  <a:lnTo>
                    <a:pt x="639" y="281"/>
                  </a:lnTo>
                  <a:lnTo>
                    <a:pt x="637" y="277"/>
                  </a:lnTo>
                  <a:lnTo>
                    <a:pt x="637" y="275"/>
                  </a:lnTo>
                  <a:lnTo>
                    <a:pt x="637" y="273"/>
                  </a:lnTo>
                  <a:lnTo>
                    <a:pt x="635" y="271"/>
                  </a:lnTo>
                  <a:lnTo>
                    <a:pt x="635" y="271"/>
                  </a:lnTo>
                  <a:lnTo>
                    <a:pt x="633" y="269"/>
                  </a:lnTo>
                  <a:lnTo>
                    <a:pt x="633" y="267"/>
                  </a:lnTo>
                  <a:lnTo>
                    <a:pt x="633" y="267"/>
                  </a:lnTo>
                  <a:lnTo>
                    <a:pt x="633" y="267"/>
                  </a:lnTo>
                  <a:lnTo>
                    <a:pt x="633" y="265"/>
                  </a:lnTo>
                  <a:lnTo>
                    <a:pt x="633" y="265"/>
                  </a:lnTo>
                  <a:lnTo>
                    <a:pt x="633" y="265"/>
                  </a:lnTo>
                  <a:lnTo>
                    <a:pt x="631" y="265"/>
                  </a:lnTo>
                  <a:lnTo>
                    <a:pt x="631" y="263"/>
                  </a:lnTo>
                  <a:lnTo>
                    <a:pt x="629" y="261"/>
                  </a:lnTo>
                  <a:lnTo>
                    <a:pt x="627" y="259"/>
                  </a:lnTo>
                  <a:lnTo>
                    <a:pt x="627" y="257"/>
                  </a:lnTo>
                  <a:lnTo>
                    <a:pt x="627" y="255"/>
                  </a:lnTo>
                  <a:lnTo>
                    <a:pt x="627" y="253"/>
                  </a:lnTo>
                  <a:lnTo>
                    <a:pt x="627" y="251"/>
                  </a:lnTo>
                  <a:lnTo>
                    <a:pt x="627" y="251"/>
                  </a:lnTo>
                  <a:lnTo>
                    <a:pt x="627" y="251"/>
                  </a:lnTo>
                  <a:lnTo>
                    <a:pt x="629" y="251"/>
                  </a:lnTo>
                  <a:lnTo>
                    <a:pt x="629" y="249"/>
                  </a:lnTo>
                  <a:lnTo>
                    <a:pt x="629" y="249"/>
                  </a:lnTo>
                  <a:lnTo>
                    <a:pt x="629" y="249"/>
                  </a:lnTo>
                  <a:lnTo>
                    <a:pt x="629" y="247"/>
                  </a:lnTo>
                  <a:lnTo>
                    <a:pt x="627" y="247"/>
                  </a:lnTo>
                  <a:lnTo>
                    <a:pt x="629" y="244"/>
                  </a:lnTo>
                  <a:lnTo>
                    <a:pt x="629" y="242"/>
                  </a:lnTo>
                  <a:lnTo>
                    <a:pt x="629" y="238"/>
                  </a:lnTo>
                  <a:lnTo>
                    <a:pt x="629" y="238"/>
                  </a:lnTo>
                  <a:lnTo>
                    <a:pt x="629" y="236"/>
                  </a:lnTo>
                  <a:lnTo>
                    <a:pt x="629" y="236"/>
                  </a:lnTo>
                  <a:lnTo>
                    <a:pt x="629" y="236"/>
                  </a:lnTo>
                  <a:lnTo>
                    <a:pt x="631" y="236"/>
                  </a:lnTo>
                  <a:lnTo>
                    <a:pt x="633" y="234"/>
                  </a:lnTo>
                  <a:lnTo>
                    <a:pt x="633" y="234"/>
                  </a:lnTo>
                  <a:lnTo>
                    <a:pt x="633" y="232"/>
                  </a:lnTo>
                  <a:lnTo>
                    <a:pt x="633" y="232"/>
                  </a:lnTo>
                  <a:lnTo>
                    <a:pt x="631" y="232"/>
                  </a:lnTo>
                  <a:lnTo>
                    <a:pt x="631" y="232"/>
                  </a:lnTo>
                  <a:lnTo>
                    <a:pt x="631" y="230"/>
                  </a:lnTo>
                  <a:lnTo>
                    <a:pt x="631" y="228"/>
                  </a:lnTo>
                  <a:lnTo>
                    <a:pt x="629" y="226"/>
                  </a:lnTo>
                  <a:lnTo>
                    <a:pt x="629" y="222"/>
                  </a:lnTo>
                  <a:lnTo>
                    <a:pt x="627" y="218"/>
                  </a:lnTo>
                  <a:lnTo>
                    <a:pt x="627" y="216"/>
                  </a:lnTo>
                  <a:lnTo>
                    <a:pt x="627" y="214"/>
                  </a:lnTo>
                  <a:lnTo>
                    <a:pt x="629" y="214"/>
                  </a:lnTo>
                  <a:lnTo>
                    <a:pt x="629" y="212"/>
                  </a:lnTo>
                  <a:lnTo>
                    <a:pt x="629" y="207"/>
                  </a:lnTo>
                  <a:lnTo>
                    <a:pt x="629" y="205"/>
                  </a:lnTo>
                  <a:lnTo>
                    <a:pt x="629" y="203"/>
                  </a:lnTo>
                  <a:lnTo>
                    <a:pt x="629" y="201"/>
                  </a:lnTo>
                  <a:lnTo>
                    <a:pt x="631" y="199"/>
                  </a:lnTo>
                  <a:lnTo>
                    <a:pt x="631" y="197"/>
                  </a:lnTo>
                  <a:lnTo>
                    <a:pt x="631" y="197"/>
                  </a:lnTo>
                  <a:lnTo>
                    <a:pt x="631" y="197"/>
                  </a:lnTo>
                  <a:lnTo>
                    <a:pt x="633" y="195"/>
                  </a:lnTo>
                  <a:lnTo>
                    <a:pt x="633" y="193"/>
                  </a:lnTo>
                  <a:lnTo>
                    <a:pt x="635" y="191"/>
                  </a:lnTo>
                  <a:lnTo>
                    <a:pt x="635" y="191"/>
                  </a:lnTo>
                  <a:lnTo>
                    <a:pt x="635" y="189"/>
                  </a:lnTo>
                  <a:lnTo>
                    <a:pt x="635" y="185"/>
                  </a:lnTo>
                  <a:lnTo>
                    <a:pt x="635" y="183"/>
                  </a:lnTo>
                  <a:lnTo>
                    <a:pt x="637" y="183"/>
                  </a:lnTo>
                  <a:lnTo>
                    <a:pt x="637" y="179"/>
                  </a:lnTo>
                  <a:lnTo>
                    <a:pt x="637" y="177"/>
                  </a:lnTo>
                  <a:lnTo>
                    <a:pt x="639" y="177"/>
                  </a:lnTo>
                  <a:lnTo>
                    <a:pt x="639" y="177"/>
                  </a:lnTo>
                  <a:lnTo>
                    <a:pt x="639" y="177"/>
                  </a:lnTo>
                  <a:lnTo>
                    <a:pt x="641" y="177"/>
                  </a:lnTo>
                  <a:lnTo>
                    <a:pt x="641" y="177"/>
                  </a:lnTo>
                  <a:lnTo>
                    <a:pt x="643" y="177"/>
                  </a:lnTo>
                  <a:lnTo>
                    <a:pt x="645" y="175"/>
                  </a:lnTo>
                  <a:lnTo>
                    <a:pt x="645" y="175"/>
                  </a:lnTo>
                  <a:lnTo>
                    <a:pt x="645" y="173"/>
                  </a:lnTo>
                  <a:lnTo>
                    <a:pt x="643" y="170"/>
                  </a:lnTo>
                  <a:lnTo>
                    <a:pt x="641" y="168"/>
                  </a:lnTo>
                  <a:lnTo>
                    <a:pt x="639" y="166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2"/>
                  </a:lnTo>
                  <a:lnTo>
                    <a:pt x="639" y="162"/>
                  </a:lnTo>
                  <a:lnTo>
                    <a:pt x="641" y="160"/>
                  </a:lnTo>
                  <a:lnTo>
                    <a:pt x="641" y="158"/>
                  </a:lnTo>
                  <a:lnTo>
                    <a:pt x="637" y="152"/>
                  </a:lnTo>
                  <a:lnTo>
                    <a:pt x="637" y="150"/>
                  </a:lnTo>
                  <a:lnTo>
                    <a:pt x="635" y="148"/>
                  </a:lnTo>
                  <a:lnTo>
                    <a:pt x="635" y="146"/>
                  </a:lnTo>
                  <a:lnTo>
                    <a:pt x="635" y="142"/>
                  </a:lnTo>
                  <a:lnTo>
                    <a:pt x="637" y="142"/>
                  </a:lnTo>
                  <a:lnTo>
                    <a:pt x="637" y="142"/>
                  </a:lnTo>
                  <a:lnTo>
                    <a:pt x="637" y="140"/>
                  </a:lnTo>
                  <a:lnTo>
                    <a:pt x="637" y="140"/>
                  </a:lnTo>
                  <a:lnTo>
                    <a:pt x="637" y="140"/>
                  </a:lnTo>
                  <a:lnTo>
                    <a:pt x="637" y="138"/>
                  </a:lnTo>
                  <a:lnTo>
                    <a:pt x="637" y="138"/>
                  </a:lnTo>
                  <a:lnTo>
                    <a:pt x="635" y="135"/>
                  </a:lnTo>
                  <a:lnTo>
                    <a:pt x="635" y="135"/>
                  </a:lnTo>
                  <a:lnTo>
                    <a:pt x="635" y="133"/>
                  </a:lnTo>
                  <a:lnTo>
                    <a:pt x="635" y="131"/>
                  </a:lnTo>
                  <a:lnTo>
                    <a:pt x="635" y="131"/>
                  </a:lnTo>
                  <a:lnTo>
                    <a:pt x="635" y="129"/>
                  </a:lnTo>
                  <a:lnTo>
                    <a:pt x="637" y="129"/>
                  </a:lnTo>
                  <a:lnTo>
                    <a:pt x="637" y="127"/>
                  </a:lnTo>
                  <a:lnTo>
                    <a:pt x="639" y="127"/>
                  </a:lnTo>
                  <a:lnTo>
                    <a:pt x="641" y="125"/>
                  </a:lnTo>
                  <a:lnTo>
                    <a:pt x="643" y="123"/>
                  </a:lnTo>
                  <a:lnTo>
                    <a:pt x="647" y="121"/>
                  </a:lnTo>
                  <a:lnTo>
                    <a:pt x="651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3"/>
                  </a:lnTo>
                  <a:lnTo>
                    <a:pt x="653" y="107"/>
                  </a:lnTo>
                  <a:lnTo>
                    <a:pt x="653" y="101"/>
                  </a:lnTo>
                  <a:lnTo>
                    <a:pt x="651" y="98"/>
                  </a:lnTo>
                  <a:lnTo>
                    <a:pt x="649" y="98"/>
                  </a:lnTo>
                  <a:lnTo>
                    <a:pt x="645" y="98"/>
                  </a:lnTo>
                  <a:lnTo>
                    <a:pt x="643" y="98"/>
                  </a:lnTo>
                  <a:lnTo>
                    <a:pt x="641" y="98"/>
                  </a:lnTo>
                  <a:lnTo>
                    <a:pt x="641" y="98"/>
                  </a:lnTo>
                  <a:lnTo>
                    <a:pt x="641" y="98"/>
                  </a:lnTo>
                  <a:lnTo>
                    <a:pt x="639" y="96"/>
                  </a:lnTo>
                  <a:lnTo>
                    <a:pt x="639" y="96"/>
                  </a:lnTo>
                  <a:lnTo>
                    <a:pt x="639" y="94"/>
                  </a:lnTo>
                  <a:lnTo>
                    <a:pt x="639" y="92"/>
                  </a:lnTo>
                  <a:lnTo>
                    <a:pt x="637" y="88"/>
                  </a:lnTo>
                  <a:lnTo>
                    <a:pt x="637" y="88"/>
                  </a:lnTo>
                  <a:lnTo>
                    <a:pt x="637" y="86"/>
                  </a:lnTo>
                  <a:lnTo>
                    <a:pt x="637" y="84"/>
                  </a:lnTo>
                  <a:lnTo>
                    <a:pt x="635" y="82"/>
                  </a:lnTo>
                  <a:lnTo>
                    <a:pt x="635" y="80"/>
                  </a:lnTo>
                  <a:lnTo>
                    <a:pt x="635" y="78"/>
                  </a:lnTo>
                  <a:lnTo>
                    <a:pt x="633" y="76"/>
                  </a:lnTo>
                  <a:lnTo>
                    <a:pt x="633" y="74"/>
                  </a:lnTo>
                  <a:lnTo>
                    <a:pt x="631" y="70"/>
                  </a:lnTo>
                  <a:lnTo>
                    <a:pt x="629" y="68"/>
                  </a:lnTo>
                  <a:lnTo>
                    <a:pt x="627" y="64"/>
                  </a:lnTo>
                  <a:lnTo>
                    <a:pt x="625" y="64"/>
                  </a:lnTo>
                  <a:lnTo>
                    <a:pt x="625" y="64"/>
                  </a:lnTo>
                  <a:lnTo>
                    <a:pt x="625" y="61"/>
                  </a:lnTo>
                  <a:lnTo>
                    <a:pt x="625" y="59"/>
                  </a:lnTo>
                  <a:lnTo>
                    <a:pt x="625" y="59"/>
                  </a:lnTo>
                  <a:lnTo>
                    <a:pt x="625" y="57"/>
                  </a:lnTo>
                  <a:lnTo>
                    <a:pt x="625" y="57"/>
                  </a:lnTo>
                  <a:lnTo>
                    <a:pt x="625" y="57"/>
                  </a:lnTo>
                  <a:lnTo>
                    <a:pt x="623" y="55"/>
                  </a:lnTo>
                  <a:lnTo>
                    <a:pt x="621" y="55"/>
                  </a:lnTo>
                  <a:lnTo>
                    <a:pt x="621" y="53"/>
                  </a:lnTo>
                  <a:lnTo>
                    <a:pt x="621" y="53"/>
                  </a:lnTo>
                  <a:lnTo>
                    <a:pt x="621" y="53"/>
                  </a:lnTo>
                  <a:lnTo>
                    <a:pt x="623" y="51"/>
                  </a:lnTo>
                  <a:lnTo>
                    <a:pt x="621" y="51"/>
                  </a:lnTo>
                  <a:lnTo>
                    <a:pt x="621" y="49"/>
                  </a:lnTo>
                  <a:lnTo>
                    <a:pt x="621" y="49"/>
                  </a:lnTo>
                  <a:lnTo>
                    <a:pt x="621" y="47"/>
                  </a:lnTo>
                  <a:lnTo>
                    <a:pt x="621" y="47"/>
                  </a:lnTo>
                  <a:lnTo>
                    <a:pt x="623" y="47"/>
                  </a:lnTo>
                  <a:lnTo>
                    <a:pt x="623" y="45"/>
                  </a:lnTo>
                  <a:lnTo>
                    <a:pt x="623" y="45"/>
                  </a:lnTo>
                  <a:lnTo>
                    <a:pt x="623" y="43"/>
                  </a:lnTo>
                  <a:lnTo>
                    <a:pt x="621" y="41"/>
                  </a:lnTo>
                  <a:lnTo>
                    <a:pt x="621" y="41"/>
                  </a:lnTo>
                  <a:lnTo>
                    <a:pt x="623" y="39"/>
                  </a:lnTo>
                  <a:lnTo>
                    <a:pt x="623" y="37"/>
                  </a:lnTo>
                  <a:lnTo>
                    <a:pt x="623" y="37"/>
                  </a:lnTo>
                  <a:lnTo>
                    <a:pt x="623" y="35"/>
                  </a:lnTo>
                  <a:lnTo>
                    <a:pt x="623" y="35"/>
                  </a:lnTo>
                  <a:lnTo>
                    <a:pt x="623" y="35"/>
                  </a:lnTo>
                  <a:lnTo>
                    <a:pt x="621" y="33"/>
                  </a:lnTo>
                  <a:lnTo>
                    <a:pt x="621" y="33"/>
                  </a:lnTo>
                  <a:lnTo>
                    <a:pt x="618" y="31"/>
                  </a:lnTo>
                  <a:lnTo>
                    <a:pt x="616" y="31"/>
                  </a:lnTo>
                  <a:lnTo>
                    <a:pt x="614" y="29"/>
                  </a:lnTo>
                  <a:lnTo>
                    <a:pt x="614" y="27"/>
                  </a:lnTo>
                  <a:lnTo>
                    <a:pt x="614" y="27"/>
                  </a:lnTo>
                  <a:lnTo>
                    <a:pt x="614" y="24"/>
                  </a:lnTo>
                  <a:lnTo>
                    <a:pt x="612" y="22"/>
                  </a:lnTo>
                  <a:lnTo>
                    <a:pt x="612" y="20"/>
                  </a:lnTo>
                  <a:lnTo>
                    <a:pt x="612" y="18"/>
                  </a:lnTo>
                  <a:lnTo>
                    <a:pt x="610" y="16"/>
                  </a:lnTo>
                  <a:lnTo>
                    <a:pt x="610" y="14"/>
                  </a:lnTo>
                  <a:lnTo>
                    <a:pt x="610" y="14"/>
                  </a:lnTo>
                  <a:lnTo>
                    <a:pt x="610" y="12"/>
                  </a:lnTo>
                  <a:lnTo>
                    <a:pt x="610" y="12"/>
                  </a:lnTo>
                  <a:lnTo>
                    <a:pt x="610" y="10"/>
                  </a:lnTo>
                  <a:lnTo>
                    <a:pt x="610" y="10"/>
                  </a:lnTo>
                  <a:lnTo>
                    <a:pt x="608" y="8"/>
                  </a:lnTo>
                  <a:lnTo>
                    <a:pt x="606" y="8"/>
                  </a:lnTo>
                  <a:lnTo>
                    <a:pt x="606" y="6"/>
                  </a:lnTo>
                  <a:lnTo>
                    <a:pt x="604" y="2"/>
                  </a:lnTo>
                  <a:lnTo>
                    <a:pt x="602" y="0"/>
                  </a:lnTo>
                  <a:lnTo>
                    <a:pt x="602" y="2"/>
                  </a:lnTo>
                  <a:lnTo>
                    <a:pt x="600" y="4"/>
                  </a:lnTo>
                  <a:lnTo>
                    <a:pt x="598" y="4"/>
                  </a:lnTo>
                  <a:lnTo>
                    <a:pt x="598" y="4"/>
                  </a:lnTo>
                  <a:lnTo>
                    <a:pt x="598" y="6"/>
                  </a:lnTo>
                  <a:lnTo>
                    <a:pt x="598" y="8"/>
                  </a:lnTo>
                  <a:lnTo>
                    <a:pt x="600" y="10"/>
                  </a:lnTo>
                  <a:lnTo>
                    <a:pt x="598" y="12"/>
                  </a:lnTo>
                  <a:lnTo>
                    <a:pt x="598" y="14"/>
                  </a:lnTo>
                  <a:lnTo>
                    <a:pt x="596" y="14"/>
                  </a:lnTo>
                  <a:lnTo>
                    <a:pt x="594" y="16"/>
                  </a:lnTo>
                  <a:lnTo>
                    <a:pt x="592" y="16"/>
                  </a:lnTo>
                  <a:lnTo>
                    <a:pt x="590" y="16"/>
                  </a:lnTo>
                  <a:lnTo>
                    <a:pt x="590" y="16"/>
                  </a:lnTo>
                  <a:lnTo>
                    <a:pt x="592" y="16"/>
                  </a:lnTo>
                  <a:lnTo>
                    <a:pt x="592" y="20"/>
                  </a:lnTo>
                  <a:lnTo>
                    <a:pt x="592" y="24"/>
                  </a:lnTo>
                  <a:lnTo>
                    <a:pt x="594" y="33"/>
                  </a:lnTo>
                  <a:lnTo>
                    <a:pt x="596" y="37"/>
                  </a:lnTo>
                  <a:lnTo>
                    <a:pt x="596" y="39"/>
                  </a:lnTo>
                  <a:lnTo>
                    <a:pt x="598" y="41"/>
                  </a:lnTo>
                  <a:lnTo>
                    <a:pt x="598" y="43"/>
                  </a:lnTo>
                  <a:lnTo>
                    <a:pt x="598" y="51"/>
                  </a:lnTo>
                  <a:lnTo>
                    <a:pt x="598" y="55"/>
                  </a:lnTo>
                  <a:lnTo>
                    <a:pt x="598" y="59"/>
                  </a:lnTo>
                  <a:lnTo>
                    <a:pt x="602" y="70"/>
                  </a:lnTo>
                  <a:lnTo>
                    <a:pt x="602" y="72"/>
                  </a:lnTo>
                  <a:lnTo>
                    <a:pt x="602" y="74"/>
                  </a:lnTo>
                  <a:lnTo>
                    <a:pt x="602" y="76"/>
                  </a:lnTo>
                  <a:lnTo>
                    <a:pt x="602" y="80"/>
                  </a:lnTo>
                  <a:lnTo>
                    <a:pt x="602" y="82"/>
                  </a:lnTo>
                  <a:lnTo>
                    <a:pt x="602" y="86"/>
                  </a:lnTo>
                  <a:lnTo>
                    <a:pt x="602" y="92"/>
                  </a:lnTo>
                  <a:lnTo>
                    <a:pt x="602" y="98"/>
                  </a:lnTo>
                  <a:lnTo>
                    <a:pt x="600" y="101"/>
                  </a:lnTo>
                  <a:lnTo>
                    <a:pt x="600" y="103"/>
                  </a:lnTo>
                  <a:lnTo>
                    <a:pt x="598" y="103"/>
                  </a:lnTo>
                  <a:lnTo>
                    <a:pt x="598" y="105"/>
                  </a:lnTo>
                  <a:lnTo>
                    <a:pt x="598" y="107"/>
                  </a:lnTo>
                  <a:lnTo>
                    <a:pt x="598" y="109"/>
                  </a:lnTo>
                  <a:lnTo>
                    <a:pt x="600" y="111"/>
                  </a:lnTo>
                  <a:lnTo>
                    <a:pt x="602" y="111"/>
                  </a:lnTo>
                  <a:lnTo>
                    <a:pt x="602" y="111"/>
                  </a:lnTo>
                  <a:lnTo>
                    <a:pt x="602" y="113"/>
                  </a:lnTo>
                  <a:lnTo>
                    <a:pt x="602" y="115"/>
                  </a:lnTo>
                  <a:lnTo>
                    <a:pt x="602" y="117"/>
                  </a:lnTo>
                  <a:lnTo>
                    <a:pt x="602" y="119"/>
                  </a:lnTo>
                  <a:lnTo>
                    <a:pt x="602" y="121"/>
                  </a:lnTo>
                  <a:lnTo>
                    <a:pt x="602" y="125"/>
                  </a:lnTo>
                  <a:lnTo>
                    <a:pt x="602" y="131"/>
                  </a:lnTo>
                  <a:lnTo>
                    <a:pt x="602" y="133"/>
                  </a:lnTo>
                  <a:lnTo>
                    <a:pt x="606" y="142"/>
                  </a:lnTo>
                  <a:lnTo>
                    <a:pt x="606" y="142"/>
                  </a:lnTo>
                  <a:lnTo>
                    <a:pt x="606" y="146"/>
                  </a:lnTo>
                  <a:lnTo>
                    <a:pt x="604" y="148"/>
                  </a:lnTo>
                  <a:lnTo>
                    <a:pt x="604" y="148"/>
                  </a:lnTo>
                  <a:lnTo>
                    <a:pt x="604" y="152"/>
                  </a:lnTo>
                  <a:lnTo>
                    <a:pt x="604" y="154"/>
                  </a:lnTo>
                  <a:lnTo>
                    <a:pt x="606" y="156"/>
                  </a:lnTo>
                  <a:lnTo>
                    <a:pt x="606" y="160"/>
                  </a:lnTo>
                  <a:lnTo>
                    <a:pt x="606" y="162"/>
                  </a:lnTo>
                  <a:lnTo>
                    <a:pt x="606" y="164"/>
                  </a:lnTo>
                  <a:lnTo>
                    <a:pt x="606" y="168"/>
                  </a:lnTo>
                  <a:lnTo>
                    <a:pt x="606" y="173"/>
                  </a:lnTo>
                  <a:lnTo>
                    <a:pt x="606" y="175"/>
                  </a:lnTo>
                  <a:lnTo>
                    <a:pt x="604" y="179"/>
                  </a:lnTo>
                  <a:lnTo>
                    <a:pt x="604" y="181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06" y="187"/>
                  </a:lnTo>
                  <a:lnTo>
                    <a:pt x="604" y="189"/>
                  </a:lnTo>
                  <a:lnTo>
                    <a:pt x="604" y="189"/>
                  </a:lnTo>
                  <a:lnTo>
                    <a:pt x="604" y="195"/>
                  </a:lnTo>
                  <a:lnTo>
                    <a:pt x="604" y="199"/>
                  </a:lnTo>
                  <a:lnTo>
                    <a:pt x="604" y="203"/>
                  </a:lnTo>
                  <a:lnTo>
                    <a:pt x="604" y="205"/>
                  </a:lnTo>
                  <a:lnTo>
                    <a:pt x="602" y="207"/>
                  </a:lnTo>
                  <a:lnTo>
                    <a:pt x="602" y="210"/>
                  </a:lnTo>
                  <a:lnTo>
                    <a:pt x="602" y="210"/>
                  </a:lnTo>
                  <a:lnTo>
                    <a:pt x="602" y="216"/>
                  </a:lnTo>
                  <a:lnTo>
                    <a:pt x="606" y="218"/>
                  </a:lnTo>
                  <a:lnTo>
                    <a:pt x="606" y="220"/>
                  </a:lnTo>
                  <a:lnTo>
                    <a:pt x="608" y="224"/>
                  </a:lnTo>
                  <a:lnTo>
                    <a:pt x="608" y="228"/>
                  </a:lnTo>
                  <a:lnTo>
                    <a:pt x="608" y="232"/>
                  </a:lnTo>
                  <a:lnTo>
                    <a:pt x="604" y="236"/>
                  </a:lnTo>
                  <a:lnTo>
                    <a:pt x="606" y="240"/>
                  </a:lnTo>
                  <a:lnTo>
                    <a:pt x="606" y="244"/>
                  </a:lnTo>
                  <a:lnTo>
                    <a:pt x="608" y="249"/>
                  </a:lnTo>
                  <a:lnTo>
                    <a:pt x="608" y="251"/>
                  </a:lnTo>
                  <a:lnTo>
                    <a:pt x="610" y="257"/>
                  </a:lnTo>
                  <a:lnTo>
                    <a:pt x="612" y="263"/>
                  </a:lnTo>
                  <a:lnTo>
                    <a:pt x="614" y="271"/>
                  </a:lnTo>
                  <a:lnTo>
                    <a:pt x="618" y="273"/>
                  </a:lnTo>
                  <a:lnTo>
                    <a:pt x="618" y="275"/>
                  </a:lnTo>
                  <a:lnTo>
                    <a:pt x="618" y="279"/>
                  </a:lnTo>
                  <a:lnTo>
                    <a:pt x="618" y="284"/>
                  </a:lnTo>
                  <a:lnTo>
                    <a:pt x="616" y="286"/>
                  </a:lnTo>
                  <a:lnTo>
                    <a:pt x="616" y="286"/>
                  </a:lnTo>
                  <a:lnTo>
                    <a:pt x="618" y="290"/>
                  </a:lnTo>
                  <a:lnTo>
                    <a:pt x="618" y="292"/>
                  </a:lnTo>
                  <a:lnTo>
                    <a:pt x="621" y="294"/>
                  </a:lnTo>
                  <a:lnTo>
                    <a:pt x="621" y="296"/>
                  </a:lnTo>
                  <a:lnTo>
                    <a:pt x="618" y="300"/>
                  </a:lnTo>
                  <a:lnTo>
                    <a:pt x="618" y="302"/>
                  </a:lnTo>
                  <a:lnTo>
                    <a:pt x="618" y="304"/>
                  </a:lnTo>
                  <a:lnTo>
                    <a:pt x="616" y="306"/>
                  </a:lnTo>
                  <a:lnTo>
                    <a:pt x="618" y="308"/>
                  </a:lnTo>
                  <a:lnTo>
                    <a:pt x="618" y="310"/>
                  </a:lnTo>
                  <a:lnTo>
                    <a:pt x="618" y="314"/>
                  </a:lnTo>
                  <a:lnTo>
                    <a:pt x="618" y="321"/>
                  </a:lnTo>
                  <a:lnTo>
                    <a:pt x="618" y="323"/>
                  </a:lnTo>
                  <a:lnTo>
                    <a:pt x="616" y="327"/>
                  </a:lnTo>
                  <a:lnTo>
                    <a:pt x="616" y="329"/>
                  </a:lnTo>
                  <a:lnTo>
                    <a:pt x="616" y="331"/>
                  </a:lnTo>
                  <a:lnTo>
                    <a:pt x="616" y="331"/>
                  </a:lnTo>
                  <a:lnTo>
                    <a:pt x="614" y="333"/>
                  </a:lnTo>
                  <a:lnTo>
                    <a:pt x="616" y="335"/>
                  </a:lnTo>
                  <a:lnTo>
                    <a:pt x="616" y="337"/>
                  </a:lnTo>
                  <a:lnTo>
                    <a:pt x="614" y="339"/>
                  </a:lnTo>
                  <a:lnTo>
                    <a:pt x="616" y="347"/>
                  </a:lnTo>
                  <a:lnTo>
                    <a:pt x="614" y="349"/>
                  </a:lnTo>
                  <a:lnTo>
                    <a:pt x="614" y="351"/>
                  </a:lnTo>
                  <a:lnTo>
                    <a:pt x="614" y="353"/>
                  </a:lnTo>
                  <a:lnTo>
                    <a:pt x="614" y="355"/>
                  </a:lnTo>
                  <a:lnTo>
                    <a:pt x="614" y="358"/>
                  </a:lnTo>
                  <a:lnTo>
                    <a:pt x="614" y="360"/>
                  </a:lnTo>
                  <a:lnTo>
                    <a:pt x="614" y="362"/>
                  </a:lnTo>
                  <a:lnTo>
                    <a:pt x="614" y="364"/>
                  </a:lnTo>
                  <a:lnTo>
                    <a:pt x="612" y="364"/>
                  </a:lnTo>
                  <a:lnTo>
                    <a:pt x="608" y="362"/>
                  </a:lnTo>
                  <a:lnTo>
                    <a:pt x="608" y="364"/>
                  </a:lnTo>
                  <a:lnTo>
                    <a:pt x="608" y="366"/>
                  </a:lnTo>
                  <a:lnTo>
                    <a:pt x="610" y="368"/>
                  </a:lnTo>
                  <a:lnTo>
                    <a:pt x="610" y="370"/>
                  </a:lnTo>
                  <a:lnTo>
                    <a:pt x="610" y="372"/>
                  </a:lnTo>
                  <a:lnTo>
                    <a:pt x="614" y="376"/>
                  </a:lnTo>
                  <a:lnTo>
                    <a:pt x="616" y="378"/>
                  </a:lnTo>
                  <a:lnTo>
                    <a:pt x="616" y="380"/>
                  </a:lnTo>
                  <a:lnTo>
                    <a:pt x="616" y="384"/>
                  </a:lnTo>
                  <a:lnTo>
                    <a:pt x="618" y="386"/>
                  </a:lnTo>
                  <a:lnTo>
                    <a:pt x="618" y="388"/>
                  </a:lnTo>
                  <a:lnTo>
                    <a:pt x="627" y="401"/>
                  </a:lnTo>
                  <a:lnTo>
                    <a:pt x="627" y="405"/>
                  </a:lnTo>
                  <a:lnTo>
                    <a:pt x="627" y="411"/>
                  </a:lnTo>
                  <a:lnTo>
                    <a:pt x="627" y="411"/>
                  </a:lnTo>
                  <a:lnTo>
                    <a:pt x="625" y="413"/>
                  </a:lnTo>
                  <a:lnTo>
                    <a:pt x="625" y="415"/>
                  </a:lnTo>
                  <a:lnTo>
                    <a:pt x="625" y="417"/>
                  </a:lnTo>
                  <a:lnTo>
                    <a:pt x="627" y="421"/>
                  </a:lnTo>
                  <a:lnTo>
                    <a:pt x="627" y="430"/>
                  </a:lnTo>
                  <a:lnTo>
                    <a:pt x="627" y="432"/>
                  </a:lnTo>
                  <a:lnTo>
                    <a:pt x="629" y="434"/>
                  </a:lnTo>
                  <a:lnTo>
                    <a:pt x="631" y="438"/>
                  </a:lnTo>
                  <a:lnTo>
                    <a:pt x="631" y="440"/>
                  </a:lnTo>
                  <a:lnTo>
                    <a:pt x="633" y="440"/>
                  </a:lnTo>
                  <a:lnTo>
                    <a:pt x="635" y="442"/>
                  </a:lnTo>
                  <a:lnTo>
                    <a:pt x="637" y="442"/>
                  </a:lnTo>
                  <a:lnTo>
                    <a:pt x="637" y="442"/>
                  </a:lnTo>
                  <a:lnTo>
                    <a:pt x="635" y="442"/>
                  </a:lnTo>
                  <a:lnTo>
                    <a:pt x="635" y="444"/>
                  </a:lnTo>
                  <a:lnTo>
                    <a:pt x="635" y="444"/>
                  </a:lnTo>
                  <a:lnTo>
                    <a:pt x="637" y="446"/>
                  </a:lnTo>
                  <a:lnTo>
                    <a:pt x="639" y="446"/>
                  </a:lnTo>
                  <a:lnTo>
                    <a:pt x="643" y="446"/>
                  </a:lnTo>
                  <a:lnTo>
                    <a:pt x="643" y="444"/>
                  </a:lnTo>
                  <a:lnTo>
                    <a:pt x="645" y="442"/>
                  </a:lnTo>
                  <a:lnTo>
                    <a:pt x="645" y="440"/>
                  </a:lnTo>
                  <a:lnTo>
                    <a:pt x="647" y="440"/>
                  </a:lnTo>
                  <a:lnTo>
                    <a:pt x="647" y="442"/>
                  </a:lnTo>
                  <a:lnTo>
                    <a:pt x="651" y="444"/>
                  </a:lnTo>
                  <a:lnTo>
                    <a:pt x="651" y="444"/>
                  </a:lnTo>
                  <a:lnTo>
                    <a:pt x="653" y="444"/>
                  </a:lnTo>
                  <a:lnTo>
                    <a:pt x="653" y="442"/>
                  </a:lnTo>
                  <a:lnTo>
                    <a:pt x="653" y="440"/>
                  </a:lnTo>
                  <a:lnTo>
                    <a:pt x="655" y="440"/>
                  </a:lnTo>
                  <a:lnTo>
                    <a:pt x="655" y="442"/>
                  </a:lnTo>
                  <a:lnTo>
                    <a:pt x="653" y="444"/>
                  </a:lnTo>
                  <a:lnTo>
                    <a:pt x="651" y="444"/>
                  </a:lnTo>
                  <a:lnTo>
                    <a:pt x="651" y="446"/>
                  </a:lnTo>
                  <a:lnTo>
                    <a:pt x="649" y="446"/>
                  </a:lnTo>
                  <a:lnTo>
                    <a:pt x="649" y="448"/>
                  </a:lnTo>
                  <a:lnTo>
                    <a:pt x="651" y="448"/>
                  </a:lnTo>
                  <a:lnTo>
                    <a:pt x="651" y="448"/>
                  </a:lnTo>
                  <a:lnTo>
                    <a:pt x="653" y="450"/>
                  </a:lnTo>
                  <a:lnTo>
                    <a:pt x="655" y="448"/>
                  </a:lnTo>
                  <a:lnTo>
                    <a:pt x="657" y="452"/>
                  </a:lnTo>
                  <a:lnTo>
                    <a:pt x="660" y="456"/>
                  </a:lnTo>
                  <a:lnTo>
                    <a:pt x="660" y="456"/>
                  </a:lnTo>
                  <a:lnTo>
                    <a:pt x="657" y="454"/>
                  </a:lnTo>
                  <a:lnTo>
                    <a:pt x="655" y="452"/>
                  </a:lnTo>
                  <a:lnTo>
                    <a:pt x="653" y="452"/>
                  </a:lnTo>
                  <a:lnTo>
                    <a:pt x="653" y="454"/>
                  </a:lnTo>
                  <a:lnTo>
                    <a:pt x="653" y="454"/>
                  </a:lnTo>
                  <a:lnTo>
                    <a:pt x="655" y="456"/>
                  </a:lnTo>
                  <a:lnTo>
                    <a:pt x="657" y="458"/>
                  </a:lnTo>
                  <a:lnTo>
                    <a:pt x="657" y="458"/>
                  </a:lnTo>
                  <a:lnTo>
                    <a:pt x="655" y="458"/>
                  </a:lnTo>
                  <a:lnTo>
                    <a:pt x="655" y="460"/>
                  </a:lnTo>
                  <a:lnTo>
                    <a:pt x="655" y="464"/>
                  </a:lnTo>
                  <a:lnTo>
                    <a:pt x="657" y="464"/>
                  </a:lnTo>
                  <a:lnTo>
                    <a:pt x="660" y="467"/>
                  </a:lnTo>
                  <a:lnTo>
                    <a:pt x="660" y="469"/>
                  </a:lnTo>
                  <a:lnTo>
                    <a:pt x="657" y="469"/>
                  </a:lnTo>
                  <a:lnTo>
                    <a:pt x="657" y="469"/>
                  </a:lnTo>
                  <a:lnTo>
                    <a:pt x="657" y="471"/>
                  </a:lnTo>
                  <a:lnTo>
                    <a:pt x="655" y="473"/>
                  </a:lnTo>
                  <a:lnTo>
                    <a:pt x="657" y="475"/>
                  </a:lnTo>
                  <a:lnTo>
                    <a:pt x="660" y="479"/>
                  </a:lnTo>
                  <a:lnTo>
                    <a:pt x="660" y="483"/>
                  </a:lnTo>
                  <a:lnTo>
                    <a:pt x="657" y="483"/>
                  </a:lnTo>
                  <a:lnTo>
                    <a:pt x="660" y="485"/>
                  </a:lnTo>
                  <a:lnTo>
                    <a:pt x="660" y="487"/>
                  </a:lnTo>
                  <a:lnTo>
                    <a:pt x="662" y="489"/>
                  </a:lnTo>
                  <a:lnTo>
                    <a:pt x="664" y="489"/>
                  </a:lnTo>
                  <a:lnTo>
                    <a:pt x="668" y="491"/>
                  </a:lnTo>
                  <a:lnTo>
                    <a:pt x="670" y="493"/>
                  </a:lnTo>
                  <a:lnTo>
                    <a:pt x="672" y="495"/>
                  </a:lnTo>
                  <a:lnTo>
                    <a:pt x="672" y="497"/>
                  </a:lnTo>
                  <a:lnTo>
                    <a:pt x="668" y="501"/>
                  </a:lnTo>
                  <a:lnTo>
                    <a:pt x="666" y="501"/>
                  </a:lnTo>
                  <a:lnTo>
                    <a:pt x="664" y="501"/>
                  </a:lnTo>
                  <a:lnTo>
                    <a:pt x="664" y="506"/>
                  </a:lnTo>
                  <a:lnTo>
                    <a:pt x="666" y="508"/>
                  </a:lnTo>
                  <a:lnTo>
                    <a:pt x="668" y="508"/>
                  </a:lnTo>
                  <a:lnTo>
                    <a:pt x="672" y="510"/>
                  </a:lnTo>
                  <a:lnTo>
                    <a:pt x="672" y="512"/>
                  </a:lnTo>
                  <a:lnTo>
                    <a:pt x="674" y="512"/>
                  </a:lnTo>
                  <a:lnTo>
                    <a:pt x="674" y="512"/>
                  </a:lnTo>
                  <a:lnTo>
                    <a:pt x="674" y="512"/>
                  </a:lnTo>
                  <a:lnTo>
                    <a:pt x="670" y="510"/>
                  </a:lnTo>
                  <a:lnTo>
                    <a:pt x="668" y="510"/>
                  </a:lnTo>
                  <a:lnTo>
                    <a:pt x="668" y="510"/>
                  </a:lnTo>
                  <a:lnTo>
                    <a:pt x="666" y="512"/>
                  </a:lnTo>
                  <a:lnTo>
                    <a:pt x="662" y="512"/>
                  </a:lnTo>
                  <a:lnTo>
                    <a:pt x="664" y="516"/>
                  </a:lnTo>
                  <a:lnTo>
                    <a:pt x="664" y="516"/>
                  </a:lnTo>
                  <a:lnTo>
                    <a:pt x="666" y="518"/>
                  </a:lnTo>
                  <a:lnTo>
                    <a:pt x="666" y="518"/>
                  </a:lnTo>
                  <a:lnTo>
                    <a:pt x="668" y="520"/>
                  </a:lnTo>
                  <a:lnTo>
                    <a:pt x="668" y="522"/>
                  </a:lnTo>
                  <a:lnTo>
                    <a:pt x="668" y="524"/>
                  </a:lnTo>
                  <a:lnTo>
                    <a:pt x="668" y="526"/>
                  </a:lnTo>
                  <a:lnTo>
                    <a:pt x="670" y="526"/>
                  </a:lnTo>
                  <a:lnTo>
                    <a:pt x="670" y="528"/>
                  </a:lnTo>
                  <a:lnTo>
                    <a:pt x="670" y="530"/>
                  </a:lnTo>
                  <a:lnTo>
                    <a:pt x="670" y="532"/>
                  </a:lnTo>
                  <a:lnTo>
                    <a:pt x="668" y="532"/>
                  </a:lnTo>
                  <a:lnTo>
                    <a:pt x="668" y="530"/>
                  </a:lnTo>
                  <a:lnTo>
                    <a:pt x="668" y="530"/>
                  </a:lnTo>
                  <a:lnTo>
                    <a:pt x="668" y="528"/>
                  </a:lnTo>
                  <a:lnTo>
                    <a:pt x="668" y="522"/>
                  </a:lnTo>
                  <a:lnTo>
                    <a:pt x="666" y="522"/>
                  </a:lnTo>
                  <a:lnTo>
                    <a:pt x="666" y="520"/>
                  </a:lnTo>
                  <a:lnTo>
                    <a:pt x="666" y="518"/>
                  </a:lnTo>
                  <a:lnTo>
                    <a:pt x="664" y="518"/>
                  </a:lnTo>
                  <a:lnTo>
                    <a:pt x="664" y="520"/>
                  </a:lnTo>
                  <a:lnTo>
                    <a:pt x="664" y="522"/>
                  </a:lnTo>
                  <a:lnTo>
                    <a:pt x="664" y="524"/>
                  </a:lnTo>
                  <a:lnTo>
                    <a:pt x="664" y="526"/>
                  </a:lnTo>
                  <a:lnTo>
                    <a:pt x="662" y="526"/>
                  </a:lnTo>
                  <a:lnTo>
                    <a:pt x="660" y="526"/>
                  </a:lnTo>
                  <a:lnTo>
                    <a:pt x="657" y="526"/>
                  </a:lnTo>
                  <a:lnTo>
                    <a:pt x="660" y="526"/>
                  </a:lnTo>
                  <a:lnTo>
                    <a:pt x="662" y="524"/>
                  </a:lnTo>
                  <a:lnTo>
                    <a:pt x="662" y="522"/>
                  </a:lnTo>
                  <a:lnTo>
                    <a:pt x="662" y="520"/>
                  </a:lnTo>
                  <a:lnTo>
                    <a:pt x="662" y="520"/>
                  </a:lnTo>
                  <a:lnTo>
                    <a:pt x="662" y="518"/>
                  </a:lnTo>
                  <a:lnTo>
                    <a:pt x="662" y="514"/>
                  </a:lnTo>
                  <a:lnTo>
                    <a:pt x="662" y="514"/>
                  </a:lnTo>
                  <a:lnTo>
                    <a:pt x="662" y="512"/>
                  </a:lnTo>
                  <a:lnTo>
                    <a:pt x="660" y="512"/>
                  </a:lnTo>
                  <a:lnTo>
                    <a:pt x="660" y="512"/>
                  </a:lnTo>
                  <a:lnTo>
                    <a:pt x="657" y="512"/>
                  </a:lnTo>
                  <a:lnTo>
                    <a:pt x="657" y="512"/>
                  </a:lnTo>
                  <a:lnTo>
                    <a:pt x="657" y="512"/>
                  </a:lnTo>
                  <a:lnTo>
                    <a:pt x="657" y="514"/>
                  </a:lnTo>
                  <a:lnTo>
                    <a:pt x="660" y="516"/>
                  </a:lnTo>
                  <a:lnTo>
                    <a:pt x="660" y="516"/>
                  </a:lnTo>
                  <a:lnTo>
                    <a:pt x="660" y="516"/>
                  </a:lnTo>
                  <a:lnTo>
                    <a:pt x="657" y="518"/>
                  </a:lnTo>
                  <a:lnTo>
                    <a:pt x="657" y="518"/>
                  </a:lnTo>
                  <a:lnTo>
                    <a:pt x="655" y="518"/>
                  </a:lnTo>
                  <a:lnTo>
                    <a:pt x="655" y="518"/>
                  </a:lnTo>
                  <a:lnTo>
                    <a:pt x="651" y="518"/>
                  </a:lnTo>
                  <a:lnTo>
                    <a:pt x="649" y="518"/>
                  </a:lnTo>
                  <a:lnTo>
                    <a:pt x="645" y="520"/>
                  </a:lnTo>
                  <a:lnTo>
                    <a:pt x="647" y="522"/>
                  </a:lnTo>
                  <a:lnTo>
                    <a:pt x="649" y="524"/>
                  </a:lnTo>
                  <a:lnTo>
                    <a:pt x="649" y="524"/>
                  </a:lnTo>
                  <a:lnTo>
                    <a:pt x="649" y="526"/>
                  </a:lnTo>
                  <a:lnTo>
                    <a:pt x="647" y="528"/>
                  </a:lnTo>
                  <a:lnTo>
                    <a:pt x="645" y="530"/>
                  </a:lnTo>
                  <a:lnTo>
                    <a:pt x="645" y="530"/>
                  </a:lnTo>
                  <a:lnTo>
                    <a:pt x="643" y="532"/>
                  </a:lnTo>
                  <a:lnTo>
                    <a:pt x="643" y="534"/>
                  </a:lnTo>
                  <a:lnTo>
                    <a:pt x="643" y="536"/>
                  </a:lnTo>
                  <a:lnTo>
                    <a:pt x="645" y="536"/>
                  </a:lnTo>
                  <a:lnTo>
                    <a:pt x="647" y="538"/>
                  </a:lnTo>
                  <a:lnTo>
                    <a:pt x="649" y="538"/>
                  </a:lnTo>
                  <a:lnTo>
                    <a:pt x="649" y="538"/>
                  </a:lnTo>
                  <a:lnTo>
                    <a:pt x="649" y="536"/>
                  </a:lnTo>
                  <a:lnTo>
                    <a:pt x="647" y="534"/>
                  </a:lnTo>
                  <a:lnTo>
                    <a:pt x="645" y="534"/>
                  </a:lnTo>
                  <a:lnTo>
                    <a:pt x="645" y="534"/>
                  </a:lnTo>
                  <a:lnTo>
                    <a:pt x="645" y="534"/>
                  </a:lnTo>
                  <a:lnTo>
                    <a:pt x="645" y="534"/>
                  </a:lnTo>
                  <a:lnTo>
                    <a:pt x="647" y="532"/>
                  </a:lnTo>
                  <a:lnTo>
                    <a:pt x="651" y="532"/>
                  </a:lnTo>
                  <a:lnTo>
                    <a:pt x="651" y="530"/>
                  </a:lnTo>
                  <a:lnTo>
                    <a:pt x="651" y="530"/>
                  </a:lnTo>
                  <a:lnTo>
                    <a:pt x="651" y="532"/>
                  </a:lnTo>
                  <a:lnTo>
                    <a:pt x="653" y="534"/>
                  </a:lnTo>
                  <a:lnTo>
                    <a:pt x="653" y="534"/>
                  </a:lnTo>
                  <a:lnTo>
                    <a:pt x="657" y="536"/>
                  </a:lnTo>
                  <a:lnTo>
                    <a:pt x="660" y="536"/>
                  </a:lnTo>
                  <a:lnTo>
                    <a:pt x="662" y="538"/>
                  </a:lnTo>
                  <a:lnTo>
                    <a:pt x="662" y="538"/>
                  </a:lnTo>
                  <a:lnTo>
                    <a:pt x="662" y="536"/>
                  </a:lnTo>
                  <a:lnTo>
                    <a:pt x="662" y="536"/>
                  </a:lnTo>
                  <a:lnTo>
                    <a:pt x="662" y="536"/>
                  </a:lnTo>
                  <a:lnTo>
                    <a:pt x="662" y="536"/>
                  </a:lnTo>
                  <a:lnTo>
                    <a:pt x="664" y="536"/>
                  </a:lnTo>
                  <a:lnTo>
                    <a:pt x="666" y="538"/>
                  </a:lnTo>
                  <a:lnTo>
                    <a:pt x="668" y="538"/>
                  </a:lnTo>
                  <a:lnTo>
                    <a:pt x="668" y="541"/>
                  </a:lnTo>
                  <a:lnTo>
                    <a:pt x="670" y="543"/>
                  </a:lnTo>
                  <a:lnTo>
                    <a:pt x="668" y="543"/>
                  </a:lnTo>
                  <a:lnTo>
                    <a:pt x="666" y="545"/>
                  </a:lnTo>
                  <a:lnTo>
                    <a:pt x="666" y="547"/>
                  </a:lnTo>
                  <a:lnTo>
                    <a:pt x="670" y="549"/>
                  </a:lnTo>
                  <a:lnTo>
                    <a:pt x="670" y="549"/>
                  </a:lnTo>
                  <a:lnTo>
                    <a:pt x="672" y="551"/>
                  </a:lnTo>
                  <a:lnTo>
                    <a:pt x="672" y="551"/>
                  </a:lnTo>
                  <a:lnTo>
                    <a:pt x="672" y="551"/>
                  </a:lnTo>
                  <a:lnTo>
                    <a:pt x="672" y="553"/>
                  </a:lnTo>
                  <a:lnTo>
                    <a:pt x="670" y="551"/>
                  </a:lnTo>
                  <a:lnTo>
                    <a:pt x="670" y="551"/>
                  </a:lnTo>
                  <a:lnTo>
                    <a:pt x="668" y="551"/>
                  </a:lnTo>
                  <a:lnTo>
                    <a:pt x="666" y="551"/>
                  </a:lnTo>
                  <a:lnTo>
                    <a:pt x="666" y="551"/>
                  </a:lnTo>
                  <a:lnTo>
                    <a:pt x="666" y="553"/>
                  </a:lnTo>
                  <a:lnTo>
                    <a:pt x="668" y="553"/>
                  </a:lnTo>
                  <a:lnTo>
                    <a:pt x="668" y="553"/>
                  </a:lnTo>
                  <a:lnTo>
                    <a:pt x="670" y="555"/>
                  </a:lnTo>
                  <a:lnTo>
                    <a:pt x="672" y="555"/>
                  </a:lnTo>
                  <a:lnTo>
                    <a:pt x="672" y="555"/>
                  </a:lnTo>
                  <a:lnTo>
                    <a:pt x="672" y="557"/>
                  </a:lnTo>
                  <a:lnTo>
                    <a:pt x="674" y="557"/>
                  </a:lnTo>
                  <a:lnTo>
                    <a:pt x="676" y="557"/>
                  </a:lnTo>
                  <a:lnTo>
                    <a:pt x="678" y="557"/>
                  </a:lnTo>
                  <a:lnTo>
                    <a:pt x="678" y="555"/>
                  </a:lnTo>
                  <a:lnTo>
                    <a:pt x="678" y="553"/>
                  </a:lnTo>
                  <a:lnTo>
                    <a:pt x="678" y="551"/>
                  </a:lnTo>
                  <a:lnTo>
                    <a:pt x="680" y="551"/>
                  </a:lnTo>
                  <a:lnTo>
                    <a:pt x="682" y="555"/>
                  </a:lnTo>
                  <a:lnTo>
                    <a:pt x="682" y="557"/>
                  </a:lnTo>
                  <a:lnTo>
                    <a:pt x="684" y="557"/>
                  </a:lnTo>
                  <a:lnTo>
                    <a:pt x="684" y="557"/>
                  </a:lnTo>
                  <a:lnTo>
                    <a:pt x="686" y="559"/>
                  </a:lnTo>
                  <a:lnTo>
                    <a:pt x="688" y="561"/>
                  </a:lnTo>
                  <a:lnTo>
                    <a:pt x="688" y="561"/>
                  </a:lnTo>
                  <a:lnTo>
                    <a:pt x="686" y="561"/>
                  </a:lnTo>
                  <a:lnTo>
                    <a:pt x="680" y="559"/>
                  </a:lnTo>
                  <a:lnTo>
                    <a:pt x="674" y="559"/>
                  </a:lnTo>
                  <a:lnTo>
                    <a:pt x="672" y="557"/>
                  </a:lnTo>
                  <a:lnTo>
                    <a:pt x="670" y="557"/>
                  </a:lnTo>
                  <a:lnTo>
                    <a:pt x="670" y="561"/>
                  </a:lnTo>
                  <a:lnTo>
                    <a:pt x="672" y="563"/>
                  </a:lnTo>
                  <a:lnTo>
                    <a:pt x="674" y="563"/>
                  </a:lnTo>
                  <a:lnTo>
                    <a:pt x="674" y="565"/>
                  </a:lnTo>
                  <a:lnTo>
                    <a:pt x="676" y="567"/>
                  </a:lnTo>
                  <a:lnTo>
                    <a:pt x="678" y="565"/>
                  </a:lnTo>
                  <a:lnTo>
                    <a:pt x="678" y="565"/>
                  </a:lnTo>
                  <a:lnTo>
                    <a:pt x="682" y="565"/>
                  </a:lnTo>
                  <a:lnTo>
                    <a:pt x="680" y="567"/>
                  </a:lnTo>
                  <a:lnTo>
                    <a:pt x="680" y="567"/>
                  </a:lnTo>
                  <a:lnTo>
                    <a:pt x="680" y="567"/>
                  </a:lnTo>
                  <a:lnTo>
                    <a:pt x="678" y="567"/>
                  </a:lnTo>
                  <a:lnTo>
                    <a:pt x="678" y="569"/>
                  </a:lnTo>
                  <a:lnTo>
                    <a:pt x="678" y="571"/>
                  </a:lnTo>
                  <a:lnTo>
                    <a:pt x="680" y="575"/>
                  </a:lnTo>
                  <a:lnTo>
                    <a:pt x="684" y="582"/>
                  </a:lnTo>
                  <a:lnTo>
                    <a:pt x="684" y="584"/>
                  </a:lnTo>
                  <a:lnTo>
                    <a:pt x="684" y="584"/>
                  </a:lnTo>
                  <a:lnTo>
                    <a:pt x="684" y="584"/>
                  </a:lnTo>
                  <a:lnTo>
                    <a:pt x="686" y="584"/>
                  </a:lnTo>
                  <a:lnTo>
                    <a:pt x="686" y="584"/>
                  </a:lnTo>
                  <a:lnTo>
                    <a:pt x="686" y="582"/>
                  </a:lnTo>
                  <a:lnTo>
                    <a:pt x="686" y="580"/>
                  </a:lnTo>
                  <a:lnTo>
                    <a:pt x="686" y="580"/>
                  </a:lnTo>
                  <a:lnTo>
                    <a:pt x="686" y="578"/>
                  </a:lnTo>
                  <a:lnTo>
                    <a:pt x="686" y="575"/>
                  </a:lnTo>
                  <a:lnTo>
                    <a:pt x="686" y="575"/>
                  </a:lnTo>
                  <a:lnTo>
                    <a:pt x="686" y="575"/>
                  </a:lnTo>
                  <a:lnTo>
                    <a:pt x="686" y="578"/>
                  </a:lnTo>
                  <a:lnTo>
                    <a:pt x="686" y="578"/>
                  </a:lnTo>
                  <a:lnTo>
                    <a:pt x="686" y="578"/>
                  </a:lnTo>
                  <a:lnTo>
                    <a:pt x="688" y="580"/>
                  </a:lnTo>
                  <a:lnTo>
                    <a:pt x="688" y="582"/>
                  </a:lnTo>
                  <a:lnTo>
                    <a:pt x="688" y="582"/>
                  </a:lnTo>
                  <a:lnTo>
                    <a:pt x="688" y="584"/>
                  </a:lnTo>
                  <a:lnTo>
                    <a:pt x="690" y="584"/>
                  </a:lnTo>
                  <a:lnTo>
                    <a:pt x="692" y="586"/>
                  </a:lnTo>
                  <a:lnTo>
                    <a:pt x="692" y="586"/>
                  </a:lnTo>
                  <a:lnTo>
                    <a:pt x="692" y="586"/>
                  </a:lnTo>
                  <a:lnTo>
                    <a:pt x="690" y="586"/>
                  </a:lnTo>
                  <a:lnTo>
                    <a:pt x="688" y="586"/>
                  </a:lnTo>
                  <a:lnTo>
                    <a:pt x="686" y="586"/>
                  </a:lnTo>
                  <a:lnTo>
                    <a:pt x="686" y="586"/>
                  </a:lnTo>
                  <a:lnTo>
                    <a:pt x="686" y="588"/>
                  </a:lnTo>
                  <a:lnTo>
                    <a:pt x="688" y="590"/>
                  </a:lnTo>
                  <a:lnTo>
                    <a:pt x="690" y="592"/>
                  </a:lnTo>
                  <a:lnTo>
                    <a:pt x="692" y="592"/>
                  </a:lnTo>
                  <a:lnTo>
                    <a:pt x="692" y="592"/>
                  </a:lnTo>
                  <a:lnTo>
                    <a:pt x="694" y="594"/>
                  </a:lnTo>
                  <a:lnTo>
                    <a:pt x="694" y="594"/>
                  </a:lnTo>
                  <a:lnTo>
                    <a:pt x="688" y="592"/>
                  </a:lnTo>
                  <a:lnTo>
                    <a:pt x="688" y="594"/>
                  </a:lnTo>
                  <a:lnTo>
                    <a:pt x="686" y="596"/>
                  </a:lnTo>
                  <a:lnTo>
                    <a:pt x="688" y="598"/>
                  </a:lnTo>
                  <a:lnTo>
                    <a:pt x="690" y="600"/>
                  </a:lnTo>
                  <a:lnTo>
                    <a:pt x="692" y="600"/>
                  </a:lnTo>
                  <a:lnTo>
                    <a:pt x="692" y="600"/>
                  </a:lnTo>
                  <a:lnTo>
                    <a:pt x="696" y="602"/>
                  </a:lnTo>
                  <a:lnTo>
                    <a:pt x="699" y="602"/>
                  </a:lnTo>
                  <a:lnTo>
                    <a:pt x="694" y="602"/>
                  </a:lnTo>
                  <a:lnTo>
                    <a:pt x="696" y="604"/>
                  </a:lnTo>
                  <a:lnTo>
                    <a:pt x="696" y="604"/>
                  </a:lnTo>
                  <a:lnTo>
                    <a:pt x="699" y="606"/>
                  </a:lnTo>
                  <a:lnTo>
                    <a:pt x="701" y="608"/>
                  </a:lnTo>
                  <a:lnTo>
                    <a:pt x="703" y="606"/>
                  </a:lnTo>
                  <a:lnTo>
                    <a:pt x="703" y="602"/>
                  </a:lnTo>
                  <a:lnTo>
                    <a:pt x="703" y="602"/>
                  </a:lnTo>
                  <a:lnTo>
                    <a:pt x="703" y="602"/>
                  </a:lnTo>
                  <a:lnTo>
                    <a:pt x="703" y="604"/>
                  </a:lnTo>
                  <a:lnTo>
                    <a:pt x="705" y="604"/>
                  </a:lnTo>
                  <a:lnTo>
                    <a:pt x="705" y="604"/>
                  </a:lnTo>
                  <a:lnTo>
                    <a:pt x="705" y="604"/>
                  </a:lnTo>
                  <a:lnTo>
                    <a:pt x="703" y="606"/>
                  </a:lnTo>
                  <a:lnTo>
                    <a:pt x="703" y="608"/>
                  </a:lnTo>
                  <a:lnTo>
                    <a:pt x="705" y="610"/>
                  </a:lnTo>
                  <a:lnTo>
                    <a:pt x="705" y="610"/>
                  </a:lnTo>
                  <a:lnTo>
                    <a:pt x="699" y="608"/>
                  </a:lnTo>
                  <a:lnTo>
                    <a:pt x="699" y="608"/>
                  </a:lnTo>
                  <a:lnTo>
                    <a:pt x="699" y="606"/>
                  </a:lnTo>
                  <a:lnTo>
                    <a:pt x="694" y="604"/>
                  </a:lnTo>
                  <a:lnTo>
                    <a:pt x="692" y="602"/>
                  </a:lnTo>
                  <a:lnTo>
                    <a:pt x="688" y="600"/>
                  </a:lnTo>
                  <a:lnTo>
                    <a:pt x="688" y="600"/>
                  </a:lnTo>
                  <a:lnTo>
                    <a:pt x="686" y="600"/>
                  </a:lnTo>
                  <a:lnTo>
                    <a:pt x="686" y="602"/>
                  </a:lnTo>
                  <a:lnTo>
                    <a:pt x="688" y="602"/>
                  </a:lnTo>
                  <a:lnTo>
                    <a:pt x="690" y="604"/>
                  </a:lnTo>
                  <a:lnTo>
                    <a:pt x="690" y="604"/>
                  </a:lnTo>
                  <a:lnTo>
                    <a:pt x="688" y="606"/>
                  </a:lnTo>
                  <a:lnTo>
                    <a:pt x="684" y="606"/>
                  </a:lnTo>
                  <a:lnTo>
                    <a:pt x="686" y="608"/>
                  </a:lnTo>
                  <a:lnTo>
                    <a:pt x="688" y="608"/>
                  </a:lnTo>
                  <a:lnTo>
                    <a:pt x="692" y="613"/>
                  </a:lnTo>
                  <a:lnTo>
                    <a:pt x="694" y="613"/>
                  </a:lnTo>
                  <a:lnTo>
                    <a:pt x="694" y="613"/>
                  </a:lnTo>
                  <a:lnTo>
                    <a:pt x="696" y="615"/>
                  </a:lnTo>
                  <a:lnTo>
                    <a:pt x="699" y="615"/>
                  </a:lnTo>
                  <a:lnTo>
                    <a:pt x="699" y="615"/>
                  </a:lnTo>
                  <a:lnTo>
                    <a:pt x="701" y="615"/>
                  </a:lnTo>
                  <a:lnTo>
                    <a:pt x="703" y="615"/>
                  </a:lnTo>
                  <a:lnTo>
                    <a:pt x="705" y="617"/>
                  </a:lnTo>
                  <a:lnTo>
                    <a:pt x="707" y="617"/>
                  </a:lnTo>
                  <a:lnTo>
                    <a:pt x="709" y="623"/>
                  </a:lnTo>
                  <a:lnTo>
                    <a:pt x="707" y="621"/>
                  </a:lnTo>
                  <a:lnTo>
                    <a:pt x="705" y="623"/>
                  </a:lnTo>
                  <a:lnTo>
                    <a:pt x="707" y="623"/>
                  </a:lnTo>
                  <a:lnTo>
                    <a:pt x="709" y="625"/>
                  </a:lnTo>
                  <a:lnTo>
                    <a:pt x="711" y="625"/>
                  </a:lnTo>
                  <a:lnTo>
                    <a:pt x="711" y="625"/>
                  </a:lnTo>
                  <a:lnTo>
                    <a:pt x="713" y="625"/>
                  </a:lnTo>
                  <a:lnTo>
                    <a:pt x="713" y="625"/>
                  </a:lnTo>
                  <a:lnTo>
                    <a:pt x="715" y="627"/>
                  </a:lnTo>
                  <a:lnTo>
                    <a:pt x="717" y="629"/>
                  </a:lnTo>
                  <a:lnTo>
                    <a:pt x="719" y="629"/>
                  </a:lnTo>
                  <a:lnTo>
                    <a:pt x="721" y="631"/>
                  </a:lnTo>
                  <a:lnTo>
                    <a:pt x="723" y="629"/>
                  </a:lnTo>
                  <a:lnTo>
                    <a:pt x="725" y="627"/>
                  </a:lnTo>
                  <a:lnTo>
                    <a:pt x="729" y="625"/>
                  </a:lnTo>
                  <a:lnTo>
                    <a:pt x="729" y="625"/>
                  </a:lnTo>
                  <a:lnTo>
                    <a:pt x="727" y="623"/>
                  </a:lnTo>
                  <a:lnTo>
                    <a:pt x="727" y="623"/>
                  </a:lnTo>
                  <a:lnTo>
                    <a:pt x="725" y="623"/>
                  </a:lnTo>
                  <a:lnTo>
                    <a:pt x="719" y="621"/>
                  </a:lnTo>
                  <a:lnTo>
                    <a:pt x="719" y="621"/>
                  </a:lnTo>
                  <a:lnTo>
                    <a:pt x="717" y="619"/>
                  </a:lnTo>
                  <a:lnTo>
                    <a:pt x="717" y="619"/>
                  </a:lnTo>
                  <a:lnTo>
                    <a:pt x="719" y="619"/>
                  </a:lnTo>
                  <a:lnTo>
                    <a:pt x="725" y="621"/>
                  </a:lnTo>
                  <a:lnTo>
                    <a:pt x="729" y="623"/>
                  </a:lnTo>
                  <a:lnTo>
                    <a:pt x="729" y="625"/>
                  </a:lnTo>
                  <a:lnTo>
                    <a:pt x="731" y="627"/>
                  </a:lnTo>
                  <a:lnTo>
                    <a:pt x="731" y="627"/>
                  </a:lnTo>
                  <a:lnTo>
                    <a:pt x="729" y="627"/>
                  </a:lnTo>
                  <a:lnTo>
                    <a:pt x="731" y="629"/>
                  </a:lnTo>
                  <a:lnTo>
                    <a:pt x="731" y="629"/>
                  </a:lnTo>
                  <a:lnTo>
                    <a:pt x="733" y="631"/>
                  </a:lnTo>
                  <a:lnTo>
                    <a:pt x="733" y="633"/>
                  </a:lnTo>
                  <a:lnTo>
                    <a:pt x="733" y="633"/>
                  </a:lnTo>
                  <a:lnTo>
                    <a:pt x="733" y="633"/>
                  </a:lnTo>
                  <a:lnTo>
                    <a:pt x="733" y="635"/>
                  </a:lnTo>
                  <a:lnTo>
                    <a:pt x="733" y="635"/>
                  </a:lnTo>
                  <a:lnTo>
                    <a:pt x="733" y="635"/>
                  </a:lnTo>
                  <a:lnTo>
                    <a:pt x="731" y="635"/>
                  </a:lnTo>
                  <a:lnTo>
                    <a:pt x="731" y="635"/>
                  </a:lnTo>
                  <a:lnTo>
                    <a:pt x="733" y="633"/>
                  </a:lnTo>
                  <a:lnTo>
                    <a:pt x="733" y="633"/>
                  </a:lnTo>
                  <a:lnTo>
                    <a:pt x="731" y="631"/>
                  </a:lnTo>
                  <a:lnTo>
                    <a:pt x="731" y="631"/>
                  </a:lnTo>
                  <a:lnTo>
                    <a:pt x="729" y="629"/>
                  </a:lnTo>
                  <a:lnTo>
                    <a:pt x="729" y="629"/>
                  </a:lnTo>
                  <a:lnTo>
                    <a:pt x="729" y="629"/>
                  </a:lnTo>
                  <a:lnTo>
                    <a:pt x="727" y="629"/>
                  </a:lnTo>
                  <a:lnTo>
                    <a:pt x="727" y="629"/>
                  </a:lnTo>
                  <a:lnTo>
                    <a:pt x="727" y="629"/>
                  </a:lnTo>
                  <a:lnTo>
                    <a:pt x="725" y="631"/>
                  </a:lnTo>
                  <a:lnTo>
                    <a:pt x="723" y="631"/>
                  </a:lnTo>
                  <a:lnTo>
                    <a:pt x="721" y="631"/>
                  </a:lnTo>
                  <a:lnTo>
                    <a:pt x="719" y="631"/>
                  </a:lnTo>
                  <a:lnTo>
                    <a:pt x="719" y="631"/>
                  </a:lnTo>
                  <a:lnTo>
                    <a:pt x="717" y="631"/>
                  </a:lnTo>
                  <a:lnTo>
                    <a:pt x="717" y="631"/>
                  </a:lnTo>
                  <a:lnTo>
                    <a:pt x="717" y="631"/>
                  </a:lnTo>
                  <a:lnTo>
                    <a:pt x="717" y="633"/>
                  </a:lnTo>
                  <a:lnTo>
                    <a:pt x="717" y="633"/>
                  </a:lnTo>
                  <a:lnTo>
                    <a:pt x="715" y="633"/>
                  </a:lnTo>
                  <a:lnTo>
                    <a:pt x="713" y="631"/>
                  </a:lnTo>
                  <a:lnTo>
                    <a:pt x="711" y="631"/>
                  </a:lnTo>
                  <a:lnTo>
                    <a:pt x="709" y="631"/>
                  </a:lnTo>
                  <a:lnTo>
                    <a:pt x="709" y="631"/>
                  </a:lnTo>
                  <a:lnTo>
                    <a:pt x="709" y="631"/>
                  </a:lnTo>
                  <a:lnTo>
                    <a:pt x="709" y="631"/>
                  </a:lnTo>
                  <a:lnTo>
                    <a:pt x="709" y="633"/>
                  </a:lnTo>
                  <a:lnTo>
                    <a:pt x="711" y="635"/>
                  </a:lnTo>
                  <a:lnTo>
                    <a:pt x="713" y="635"/>
                  </a:lnTo>
                  <a:lnTo>
                    <a:pt x="713" y="635"/>
                  </a:lnTo>
                  <a:lnTo>
                    <a:pt x="715" y="635"/>
                  </a:lnTo>
                  <a:lnTo>
                    <a:pt x="715" y="637"/>
                  </a:lnTo>
                  <a:lnTo>
                    <a:pt x="715" y="639"/>
                  </a:lnTo>
                  <a:lnTo>
                    <a:pt x="717" y="639"/>
                  </a:lnTo>
                  <a:lnTo>
                    <a:pt x="719" y="641"/>
                  </a:lnTo>
                  <a:lnTo>
                    <a:pt x="721" y="641"/>
                  </a:lnTo>
                  <a:lnTo>
                    <a:pt x="723" y="641"/>
                  </a:lnTo>
                  <a:lnTo>
                    <a:pt x="725" y="639"/>
                  </a:lnTo>
                  <a:lnTo>
                    <a:pt x="727" y="639"/>
                  </a:lnTo>
                  <a:lnTo>
                    <a:pt x="727" y="639"/>
                  </a:lnTo>
                  <a:lnTo>
                    <a:pt x="727" y="637"/>
                  </a:lnTo>
                  <a:lnTo>
                    <a:pt x="727" y="637"/>
                  </a:lnTo>
                  <a:lnTo>
                    <a:pt x="729" y="639"/>
                  </a:lnTo>
                  <a:lnTo>
                    <a:pt x="729" y="639"/>
                  </a:lnTo>
                  <a:lnTo>
                    <a:pt x="727" y="641"/>
                  </a:lnTo>
                  <a:lnTo>
                    <a:pt x="727" y="641"/>
                  </a:lnTo>
                  <a:lnTo>
                    <a:pt x="723" y="643"/>
                  </a:lnTo>
                  <a:lnTo>
                    <a:pt x="725" y="645"/>
                  </a:lnTo>
                  <a:lnTo>
                    <a:pt x="727" y="645"/>
                  </a:lnTo>
                  <a:lnTo>
                    <a:pt x="729" y="647"/>
                  </a:lnTo>
                  <a:lnTo>
                    <a:pt x="733" y="647"/>
                  </a:lnTo>
                  <a:lnTo>
                    <a:pt x="733" y="647"/>
                  </a:lnTo>
                  <a:lnTo>
                    <a:pt x="733" y="647"/>
                  </a:lnTo>
                  <a:lnTo>
                    <a:pt x="733" y="645"/>
                  </a:lnTo>
                  <a:lnTo>
                    <a:pt x="733" y="645"/>
                  </a:lnTo>
                  <a:lnTo>
                    <a:pt x="733" y="643"/>
                  </a:lnTo>
                  <a:lnTo>
                    <a:pt x="733" y="641"/>
                  </a:lnTo>
                  <a:lnTo>
                    <a:pt x="733" y="639"/>
                  </a:lnTo>
                  <a:lnTo>
                    <a:pt x="733" y="639"/>
                  </a:lnTo>
                  <a:lnTo>
                    <a:pt x="733" y="639"/>
                  </a:lnTo>
                  <a:lnTo>
                    <a:pt x="735" y="637"/>
                  </a:lnTo>
                  <a:lnTo>
                    <a:pt x="738" y="639"/>
                  </a:lnTo>
                  <a:lnTo>
                    <a:pt x="738" y="639"/>
                  </a:lnTo>
                  <a:lnTo>
                    <a:pt x="738" y="639"/>
                  </a:lnTo>
                  <a:lnTo>
                    <a:pt x="740" y="639"/>
                  </a:lnTo>
                  <a:lnTo>
                    <a:pt x="740" y="637"/>
                  </a:lnTo>
                  <a:lnTo>
                    <a:pt x="746" y="639"/>
                  </a:lnTo>
                  <a:lnTo>
                    <a:pt x="748" y="639"/>
                  </a:lnTo>
                  <a:lnTo>
                    <a:pt x="752" y="639"/>
                  </a:lnTo>
                  <a:lnTo>
                    <a:pt x="750" y="639"/>
                  </a:lnTo>
                  <a:lnTo>
                    <a:pt x="750" y="641"/>
                  </a:lnTo>
                  <a:lnTo>
                    <a:pt x="748" y="641"/>
                  </a:lnTo>
                  <a:lnTo>
                    <a:pt x="746" y="639"/>
                  </a:lnTo>
                  <a:lnTo>
                    <a:pt x="744" y="639"/>
                  </a:lnTo>
                  <a:lnTo>
                    <a:pt x="740" y="643"/>
                  </a:lnTo>
                  <a:lnTo>
                    <a:pt x="738" y="643"/>
                  </a:lnTo>
                  <a:lnTo>
                    <a:pt x="738" y="643"/>
                  </a:lnTo>
                  <a:lnTo>
                    <a:pt x="735" y="641"/>
                  </a:lnTo>
                  <a:lnTo>
                    <a:pt x="735" y="641"/>
                  </a:lnTo>
                  <a:lnTo>
                    <a:pt x="735" y="643"/>
                  </a:lnTo>
                  <a:lnTo>
                    <a:pt x="733" y="643"/>
                  </a:lnTo>
                  <a:lnTo>
                    <a:pt x="735" y="645"/>
                  </a:lnTo>
                  <a:lnTo>
                    <a:pt x="735" y="650"/>
                  </a:lnTo>
                  <a:lnTo>
                    <a:pt x="735" y="650"/>
                  </a:lnTo>
                  <a:lnTo>
                    <a:pt x="735" y="652"/>
                  </a:lnTo>
                  <a:lnTo>
                    <a:pt x="738" y="652"/>
                  </a:lnTo>
                  <a:lnTo>
                    <a:pt x="742" y="654"/>
                  </a:lnTo>
                  <a:lnTo>
                    <a:pt x="744" y="654"/>
                  </a:lnTo>
                  <a:lnTo>
                    <a:pt x="744" y="654"/>
                  </a:lnTo>
                  <a:lnTo>
                    <a:pt x="744" y="652"/>
                  </a:lnTo>
                  <a:lnTo>
                    <a:pt x="744" y="652"/>
                  </a:lnTo>
                  <a:lnTo>
                    <a:pt x="746" y="650"/>
                  </a:lnTo>
                  <a:lnTo>
                    <a:pt x="746" y="647"/>
                  </a:lnTo>
                  <a:lnTo>
                    <a:pt x="750" y="645"/>
                  </a:lnTo>
                  <a:lnTo>
                    <a:pt x="754" y="641"/>
                  </a:lnTo>
                  <a:lnTo>
                    <a:pt x="756" y="643"/>
                  </a:lnTo>
                  <a:lnTo>
                    <a:pt x="758" y="643"/>
                  </a:lnTo>
                  <a:lnTo>
                    <a:pt x="758" y="645"/>
                  </a:lnTo>
                  <a:lnTo>
                    <a:pt x="758" y="645"/>
                  </a:lnTo>
                  <a:lnTo>
                    <a:pt x="758" y="647"/>
                  </a:lnTo>
                  <a:lnTo>
                    <a:pt x="756" y="647"/>
                  </a:lnTo>
                  <a:lnTo>
                    <a:pt x="754" y="650"/>
                  </a:lnTo>
                  <a:lnTo>
                    <a:pt x="756" y="656"/>
                  </a:lnTo>
                  <a:lnTo>
                    <a:pt x="754" y="656"/>
                  </a:lnTo>
                  <a:lnTo>
                    <a:pt x="754" y="656"/>
                  </a:lnTo>
                  <a:lnTo>
                    <a:pt x="754" y="654"/>
                  </a:lnTo>
                  <a:lnTo>
                    <a:pt x="754" y="654"/>
                  </a:lnTo>
                  <a:lnTo>
                    <a:pt x="752" y="652"/>
                  </a:lnTo>
                  <a:lnTo>
                    <a:pt x="750" y="650"/>
                  </a:lnTo>
                  <a:lnTo>
                    <a:pt x="750" y="652"/>
                  </a:lnTo>
                  <a:lnTo>
                    <a:pt x="746" y="652"/>
                  </a:lnTo>
                  <a:lnTo>
                    <a:pt x="746" y="652"/>
                  </a:lnTo>
                  <a:lnTo>
                    <a:pt x="746" y="652"/>
                  </a:lnTo>
                  <a:lnTo>
                    <a:pt x="746" y="654"/>
                  </a:lnTo>
                  <a:lnTo>
                    <a:pt x="748" y="654"/>
                  </a:lnTo>
                  <a:lnTo>
                    <a:pt x="752" y="658"/>
                  </a:lnTo>
                  <a:lnTo>
                    <a:pt x="752" y="658"/>
                  </a:lnTo>
                  <a:lnTo>
                    <a:pt x="756" y="660"/>
                  </a:lnTo>
                  <a:lnTo>
                    <a:pt x="760" y="66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7" name="Freeform 209">
              <a:extLst>
                <a:ext uri="{FF2B5EF4-FFF2-40B4-BE49-F238E27FC236}">
                  <a16:creationId xmlns:a16="http://schemas.microsoft.com/office/drawing/2014/main" id="{A0A03241-0B27-1A43-B1A4-B6088B8CDA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6526" y="3100744"/>
              <a:ext cx="32086" cy="9507"/>
            </a:xfrm>
            <a:custGeom>
              <a:avLst/>
              <a:gdLst>
                <a:gd name="T0" fmla="*/ 2 w 27"/>
                <a:gd name="T1" fmla="*/ 6 h 8"/>
                <a:gd name="T2" fmla="*/ 2 w 27"/>
                <a:gd name="T3" fmla="*/ 6 h 8"/>
                <a:gd name="T4" fmla="*/ 0 w 27"/>
                <a:gd name="T5" fmla="*/ 6 h 8"/>
                <a:gd name="T6" fmla="*/ 0 w 27"/>
                <a:gd name="T7" fmla="*/ 6 h 8"/>
                <a:gd name="T8" fmla="*/ 0 w 27"/>
                <a:gd name="T9" fmla="*/ 6 h 8"/>
                <a:gd name="T10" fmla="*/ 0 w 27"/>
                <a:gd name="T11" fmla="*/ 6 h 8"/>
                <a:gd name="T12" fmla="*/ 0 w 27"/>
                <a:gd name="T13" fmla="*/ 8 h 8"/>
                <a:gd name="T14" fmla="*/ 2 w 27"/>
                <a:gd name="T15" fmla="*/ 8 h 8"/>
                <a:gd name="T16" fmla="*/ 2 w 27"/>
                <a:gd name="T17" fmla="*/ 8 h 8"/>
                <a:gd name="T18" fmla="*/ 2 w 27"/>
                <a:gd name="T19" fmla="*/ 8 h 8"/>
                <a:gd name="T20" fmla="*/ 4 w 27"/>
                <a:gd name="T21" fmla="*/ 8 h 8"/>
                <a:gd name="T22" fmla="*/ 4 w 27"/>
                <a:gd name="T23" fmla="*/ 6 h 8"/>
                <a:gd name="T24" fmla="*/ 2 w 27"/>
                <a:gd name="T25" fmla="*/ 6 h 8"/>
                <a:gd name="T26" fmla="*/ 23 w 27"/>
                <a:gd name="T27" fmla="*/ 0 h 8"/>
                <a:gd name="T28" fmla="*/ 23 w 27"/>
                <a:gd name="T29" fmla="*/ 0 h 8"/>
                <a:gd name="T30" fmla="*/ 23 w 27"/>
                <a:gd name="T31" fmla="*/ 0 h 8"/>
                <a:gd name="T32" fmla="*/ 21 w 27"/>
                <a:gd name="T33" fmla="*/ 0 h 8"/>
                <a:gd name="T34" fmla="*/ 21 w 27"/>
                <a:gd name="T35" fmla="*/ 0 h 8"/>
                <a:gd name="T36" fmla="*/ 21 w 27"/>
                <a:gd name="T37" fmla="*/ 0 h 8"/>
                <a:gd name="T38" fmla="*/ 21 w 27"/>
                <a:gd name="T39" fmla="*/ 0 h 8"/>
                <a:gd name="T40" fmla="*/ 23 w 27"/>
                <a:gd name="T41" fmla="*/ 0 h 8"/>
                <a:gd name="T42" fmla="*/ 23 w 27"/>
                <a:gd name="T43" fmla="*/ 0 h 8"/>
                <a:gd name="T44" fmla="*/ 23 w 27"/>
                <a:gd name="T45" fmla="*/ 0 h 8"/>
                <a:gd name="T46" fmla="*/ 23 w 27"/>
                <a:gd name="T47" fmla="*/ 0 h 8"/>
                <a:gd name="T48" fmla="*/ 23 w 27"/>
                <a:gd name="T49" fmla="*/ 0 h 8"/>
                <a:gd name="T50" fmla="*/ 23 w 27"/>
                <a:gd name="T51" fmla="*/ 0 h 8"/>
                <a:gd name="T52" fmla="*/ 27 w 27"/>
                <a:gd name="T53" fmla="*/ 0 h 8"/>
                <a:gd name="T54" fmla="*/ 27 w 27"/>
                <a:gd name="T55" fmla="*/ 0 h 8"/>
                <a:gd name="T56" fmla="*/ 27 w 27"/>
                <a:gd name="T57" fmla="*/ 0 h 8"/>
                <a:gd name="T58" fmla="*/ 27 w 27"/>
                <a:gd name="T59" fmla="*/ 0 h 8"/>
                <a:gd name="T60" fmla="*/ 25 w 27"/>
                <a:gd name="T61" fmla="*/ 0 h 8"/>
                <a:gd name="T62" fmla="*/ 25 w 27"/>
                <a:gd name="T63" fmla="*/ 0 h 8"/>
                <a:gd name="T64" fmla="*/ 27 w 27"/>
                <a:gd name="T65" fmla="*/ 0 h 8"/>
                <a:gd name="T66" fmla="*/ 27 w 27"/>
                <a:gd name="T67" fmla="*/ 0 h 8"/>
                <a:gd name="T68" fmla="*/ 27 w 27"/>
                <a:gd name="T69" fmla="*/ 0 h 8"/>
                <a:gd name="T70" fmla="*/ 27 w 27"/>
                <a:gd name="T7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7" h="8">
                  <a:moveTo>
                    <a:pt x="2" y="6"/>
                  </a:move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2" y="6"/>
                  </a:lnTo>
                  <a:close/>
                  <a:moveTo>
                    <a:pt x="23" y="0"/>
                  </a:moveTo>
                  <a:lnTo>
                    <a:pt x="23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close/>
                  <a:moveTo>
                    <a:pt x="27" y="0"/>
                  </a:move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8" name="Freeform 211">
              <a:extLst>
                <a:ext uri="{FF2B5EF4-FFF2-40B4-BE49-F238E27FC236}">
                  <a16:creationId xmlns:a16="http://schemas.microsoft.com/office/drawing/2014/main" id="{93125AE2-2BC3-0E4E-9CC8-0E80FDB4CB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521" y="1835112"/>
              <a:ext cx="1510441" cy="781959"/>
            </a:xfrm>
            <a:custGeom>
              <a:avLst/>
              <a:gdLst>
                <a:gd name="T0" fmla="*/ 538 w 1271"/>
                <a:gd name="T1" fmla="*/ 89 h 658"/>
                <a:gd name="T2" fmla="*/ 682 w 1271"/>
                <a:gd name="T3" fmla="*/ 105 h 658"/>
                <a:gd name="T4" fmla="*/ 563 w 1271"/>
                <a:gd name="T5" fmla="*/ 126 h 658"/>
                <a:gd name="T6" fmla="*/ 657 w 1271"/>
                <a:gd name="T7" fmla="*/ 126 h 658"/>
                <a:gd name="T8" fmla="*/ 7 w 1271"/>
                <a:gd name="T9" fmla="*/ 473 h 658"/>
                <a:gd name="T10" fmla="*/ 25 w 1271"/>
                <a:gd name="T11" fmla="*/ 504 h 658"/>
                <a:gd name="T12" fmla="*/ 2 w 1271"/>
                <a:gd name="T13" fmla="*/ 448 h 658"/>
                <a:gd name="T14" fmla="*/ 900 w 1271"/>
                <a:gd name="T15" fmla="*/ 111 h 658"/>
                <a:gd name="T16" fmla="*/ 857 w 1271"/>
                <a:gd name="T17" fmla="*/ 82 h 658"/>
                <a:gd name="T18" fmla="*/ 834 w 1271"/>
                <a:gd name="T19" fmla="*/ 93 h 658"/>
                <a:gd name="T20" fmla="*/ 994 w 1271"/>
                <a:gd name="T21" fmla="*/ 132 h 658"/>
                <a:gd name="T22" fmla="*/ 976 w 1271"/>
                <a:gd name="T23" fmla="*/ 41 h 658"/>
                <a:gd name="T24" fmla="*/ 844 w 1271"/>
                <a:gd name="T25" fmla="*/ 64 h 658"/>
                <a:gd name="T26" fmla="*/ 672 w 1271"/>
                <a:gd name="T27" fmla="*/ 191 h 658"/>
                <a:gd name="T28" fmla="*/ 752 w 1271"/>
                <a:gd name="T29" fmla="*/ 134 h 658"/>
                <a:gd name="T30" fmla="*/ 602 w 1271"/>
                <a:gd name="T31" fmla="*/ 138 h 658"/>
                <a:gd name="T32" fmla="*/ 559 w 1271"/>
                <a:gd name="T33" fmla="*/ 195 h 658"/>
                <a:gd name="T34" fmla="*/ 637 w 1271"/>
                <a:gd name="T35" fmla="*/ 200 h 658"/>
                <a:gd name="T36" fmla="*/ 762 w 1271"/>
                <a:gd name="T37" fmla="*/ 84 h 658"/>
                <a:gd name="T38" fmla="*/ 776 w 1271"/>
                <a:gd name="T39" fmla="*/ 56 h 658"/>
                <a:gd name="T40" fmla="*/ 811 w 1271"/>
                <a:gd name="T41" fmla="*/ 241 h 658"/>
                <a:gd name="T42" fmla="*/ 939 w 1271"/>
                <a:gd name="T43" fmla="*/ 294 h 658"/>
                <a:gd name="T44" fmla="*/ 1039 w 1271"/>
                <a:gd name="T45" fmla="*/ 492 h 658"/>
                <a:gd name="T46" fmla="*/ 1035 w 1271"/>
                <a:gd name="T47" fmla="*/ 557 h 658"/>
                <a:gd name="T48" fmla="*/ 1271 w 1271"/>
                <a:gd name="T49" fmla="*/ 8 h 658"/>
                <a:gd name="T50" fmla="*/ 996 w 1271"/>
                <a:gd name="T51" fmla="*/ 12 h 658"/>
                <a:gd name="T52" fmla="*/ 994 w 1271"/>
                <a:gd name="T53" fmla="*/ 47 h 658"/>
                <a:gd name="T54" fmla="*/ 1019 w 1271"/>
                <a:gd name="T55" fmla="*/ 78 h 658"/>
                <a:gd name="T56" fmla="*/ 1210 w 1271"/>
                <a:gd name="T57" fmla="*/ 17 h 658"/>
                <a:gd name="T58" fmla="*/ 1039 w 1271"/>
                <a:gd name="T59" fmla="*/ 202 h 658"/>
                <a:gd name="T60" fmla="*/ 1029 w 1271"/>
                <a:gd name="T61" fmla="*/ 158 h 658"/>
                <a:gd name="T62" fmla="*/ 928 w 1271"/>
                <a:gd name="T63" fmla="*/ 123 h 658"/>
                <a:gd name="T64" fmla="*/ 824 w 1271"/>
                <a:gd name="T65" fmla="*/ 175 h 658"/>
                <a:gd name="T66" fmla="*/ 969 w 1271"/>
                <a:gd name="T67" fmla="*/ 204 h 658"/>
                <a:gd name="T68" fmla="*/ 937 w 1271"/>
                <a:gd name="T69" fmla="*/ 288 h 658"/>
                <a:gd name="T70" fmla="*/ 1023 w 1271"/>
                <a:gd name="T71" fmla="*/ 259 h 658"/>
                <a:gd name="T72" fmla="*/ 1082 w 1271"/>
                <a:gd name="T73" fmla="*/ 234 h 658"/>
                <a:gd name="T74" fmla="*/ 1006 w 1271"/>
                <a:gd name="T75" fmla="*/ 489 h 658"/>
                <a:gd name="T76" fmla="*/ 1008 w 1271"/>
                <a:gd name="T77" fmla="*/ 409 h 658"/>
                <a:gd name="T78" fmla="*/ 976 w 1271"/>
                <a:gd name="T79" fmla="*/ 352 h 658"/>
                <a:gd name="T80" fmla="*/ 920 w 1271"/>
                <a:gd name="T81" fmla="*/ 321 h 658"/>
                <a:gd name="T82" fmla="*/ 742 w 1271"/>
                <a:gd name="T83" fmla="*/ 432 h 658"/>
                <a:gd name="T84" fmla="*/ 637 w 1271"/>
                <a:gd name="T85" fmla="*/ 393 h 658"/>
                <a:gd name="T86" fmla="*/ 672 w 1271"/>
                <a:gd name="T87" fmla="*/ 274 h 658"/>
                <a:gd name="T88" fmla="*/ 824 w 1271"/>
                <a:gd name="T89" fmla="*/ 234 h 658"/>
                <a:gd name="T90" fmla="*/ 801 w 1271"/>
                <a:gd name="T91" fmla="*/ 195 h 658"/>
                <a:gd name="T92" fmla="*/ 723 w 1271"/>
                <a:gd name="T93" fmla="*/ 179 h 658"/>
                <a:gd name="T94" fmla="*/ 678 w 1271"/>
                <a:gd name="T95" fmla="*/ 210 h 658"/>
                <a:gd name="T96" fmla="*/ 532 w 1271"/>
                <a:gd name="T97" fmla="*/ 224 h 658"/>
                <a:gd name="T98" fmla="*/ 368 w 1271"/>
                <a:gd name="T99" fmla="*/ 173 h 658"/>
                <a:gd name="T100" fmla="*/ 243 w 1271"/>
                <a:gd name="T101" fmla="*/ 195 h 658"/>
                <a:gd name="T102" fmla="*/ 56 w 1271"/>
                <a:gd name="T103" fmla="*/ 430 h 658"/>
                <a:gd name="T104" fmla="*/ 54 w 1271"/>
                <a:gd name="T105" fmla="*/ 502 h 658"/>
                <a:gd name="T106" fmla="*/ 540 w 1271"/>
                <a:gd name="T107" fmla="*/ 547 h 658"/>
                <a:gd name="T108" fmla="*/ 608 w 1271"/>
                <a:gd name="T109" fmla="*/ 580 h 658"/>
                <a:gd name="T110" fmla="*/ 627 w 1271"/>
                <a:gd name="T111" fmla="*/ 613 h 658"/>
                <a:gd name="T112" fmla="*/ 682 w 1271"/>
                <a:gd name="T113" fmla="*/ 619 h 658"/>
                <a:gd name="T114" fmla="*/ 785 w 1271"/>
                <a:gd name="T115" fmla="*/ 596 h 658"/>
                <a:gd name="T116" fmla="*/ 850 w 1271"/>
                <a:gd name="T117" fmla="*/ 629 h 658"/>
                <a:gd name="T118" fmla="*/ 776 w 1271"/>
                <a:gd name="T119" fmla="*/ 574 h 658"/>
                <a:gd name="T120" fmla="*/ 916 w 1271"/>
                <a:gd name="T121" fmla="*/ 520 h 658"/>
                <a:gd name="T122" fmla="*/ 764 w 1271"/>
                <a:gd name="T123" fmla="*/ 405 h 658"/>
                <a:gd name="T124" fmla="*/ 774 w 1271"/>
                <a:gd name="T125" fmla="*/ 284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1" h="658">
                  <a:moveTo>
                    <a:pt x="637" y="78"/>
                  </a:moveTo>
                  <a:lnTo>
                    <a:pt x="635" y="78"/>
                  </a:lnTo>
                  <a:lnTo>
                    <a:pt x="637" y="80"/>
                  </a:lnTo>
                  <a:lnTo>
                    <a:pt x="645" y="80"/>
                  </a:lnTo>
                  <a:lnTo>
                    <a:pt x="649" y="80"/>
                  </a:lnTo>
                  <a:lnTo>
                    <a:pt x="649" y="78"/>
                  </a:lnTo>
                  <a:lnTo>
                    <a:pt x="651" y="78"/>
                  </a:lnTo>
                  <a:lnTo>
                    <a:pt x="651" y="78"/>
                  </a:lnTo>
                  <a:lnTo>
                    <a:pt x="649" y="78"/>
                  </a:lnTo>
                  <a:lnTo>
                    <a:pt x="647" y="78"/>
                  </a:lnTo>
                  <a:lnTo>
                    <a:pt x="643" y="78"/>
                  </a:lnTo>
                  <a:lnTo>
                    <a:pt x="639" y="78"/>
                  </a:lnTo>
                  <a:lnTo>
                    <a:pt x="637" y="78"/>
                  </a:lnTo>
                  <a:close/>
                  <a:moveTo>
                    <a:pt x="546" y="216"/>
                  </a:moveTo>
                  <a:lnTo>
                    <a:pt x="546" y="214"/>
                  </a:lnTo>
                  <a:lnTo>
                    <a:pt x="546" y="216"/>
                  </a:lnTo>
                  <a:lnTo>
                    <a:pt x="544" y="216"/>
                  </a:lnTo>
                  <a:lnTo>
                    <a:pt x="544" y="216"/>
                  </a:lnTo>
                  <a:lnTo>
                    <a:pt x="542" y="218"/>
                  </a:lnTo>
                  <a:lnTo>
                    <a:pt x="542" y="218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4" y="218"/>
                  </a:lnTo>
                  <a:lnTo>
                    <a:pt x="546" y="218"/>
                  </a:lnTo>
                  <a:lnTo>
                    <a:pt x="546" y="218"/>
                  </a:lnTo>
                  <a:lnTo>
                    <a:pt x="546" y="218"/>
                  </a:lnTo>
                  <a:lnTo>
                    <a:pt x="546" y="216"/>
                  </a:lnTo>
                  <a:lnTo>
                    <a:pt x="546" y="216"/>
                  </a:lnTo>
                  <a:lnTo>
                    <a:pt x="546" y="216"/>
                  </a:lnTo>
                  <a:close/>
                  <a:moveTo>
                    <a:pt x="536" y="89"/>
                  </a:moveTo>
                  <a:lnTo>
                    <a:pt x="536" y="89"/>
                  </a:lnTo>
                  <a:lnTo>
                    <a:pt x="536" y="91"/>
                  </a:lnTo>
                  <a:lnTo>
                    <a:pt x="536" y="91"/>
                  </a:lnTo>
                  <a:lnTo>
                    <a:pt x="536" y="91"/>
                  </a:lnTo>
                  <a:lnTo>
                    <a:pt x="536" y="91"/>
                  </a:lnTo>
                  <a:lnTo>
                    <a:pt x="538" y="91"/>
                  </a:lnTo>
                  <a:lnTo>
                    <a:pt x="542" y="91"/>
                  </a:lnTo>
                  <a:lnTo>
                    <a:pt x="544" y="89"/>
                  </a:lnTo>
                  <a:lnTo>
                    <a:pt x="546" y="91"/>
                  </a:lnTo>
                  <a:lnTo>
                    <a:pt x="549" y="91"/>
                  </a:lnTo>
                  <a:lnTo>
                    <a:pt x="549" y="91"/>
                  </a:lnTo>
                  <a:lnTo>
                    <a:pt x="551" y="91"/>
                  </a:lnTo>
                  <a:lnTo>
                    <a:pt x="553" y="91"/>
                  </a:lnTo>
                  <a:lnTo>
                    <a:pt x="557" y="89"/>
                  </a:lnTo>
                  <a:lnTo>
                    <a:pt x="559" y="86"/>
                  </a:lnTo>
                  <a:lnTo>
                    <a:pt x="559" y="86"/>
                  </a:lnTo>
                  <a:lnTo>
                    <a:pt x="559" y="89"/>
                  </a:lnTo>
                  <a:lnTo>
                    <a:pt x="559" y="89"/>
                  </a:lnTo>
                  <a:lnTo>
                    <a:pt x="557" y="89"/>
                  </a:lnTo>
                  <a:lnTo>
                    <a:pt x="559" y="91"/>
                  </a:lnTo>
                  <a:lnTo>
                    <a:pt x="557" y="91"/>
                  </a:lnTo>
                  <a:lnTo>
                    <a:pt x="557" y="93"/>
                  </a:lnTo>
                  <a:lnTo>
                    <a:pt x="555" y="93"/>
                  </a:lnTo>
                  <a:lnTo>
                    <a:pt x="557" y="93"/>
                  </a:lnTo>
                  <a:lnTo>
                    <a:pt x="559" y="93"/>
                  </a:lnTo>
                  <a:lnTo>
                    <a:pt x="561" y="93"/>
                  </a:lnTo>
                  <a:lnTo>
                    <a:pt x="565" y="91"/>
                  </a:lnTo>
                  <a:lnTo>
                    <a:pt x="567" y="91"/>
                  </a:lnTo>
                  <a:lnTo>
                    <a:pt x="567" y="91"/>
                  </a:lnTo>
                  <a:lnTo>
                    <a:pt x="569" y="91"/>
                  </a:lnTo>
                  <a:lnTo>
                    <a:pt x="569" y="91"/>
                  </a:lnTo>
                  <a:lnTo>
                    <a:pt x="569" y="89"/>
                  </a:lnTo>
                  <a:lnTo>
                    <a:pt x="569" y="89"/>
                  </a:lnTo>
                  <a:lnTo>
                    <a:pt x="569" y="89"/>
                  </a:lnTo>
                  <a:lnTo>
                    <a:pt x="569" y="89"/>
                  </a:lnTo>
                  <a:lnTo>
                    <a:pt x="571" y="89"/>
                  </a:lnTo>
                  <a:lnTo>
                    <a:pt x="571" y="86"/>
                  </a:lnTo>
                  <a:lnTo>
                    <a:pt x="573" y="86"/>
                  </a:lnTo>
                  <a:lnTo>
                    <a:pt x="573" y="86"/>
                  </a:lnTo>
                  <a:lnTo>
                    <a:pt x="575" y="84"/>
                  </a:lnTo>
                  <a:lnTo>
                    <a:pt x="575" y="84"/>
                  </a:lnTo>
                  <a:lnTo>
                    <a:pt x="575" y="84"/>
                  </a:lnTo>
                  <a:lnTo>
                    <a:pt x="575" y="86"/>
                  </a:lnTo>
                  <a:lnTo>
                    <a:pt x="575" y="86"/>
                  </a:lnTo>
                  <a:lnTo>
                    <a:pt x="575" y="89"/>
                  </a:lnTo>
                  <a:lnTo>
                    <a:pt x="575" y="89"/>
                  </a:lnTo>
                  <a:lnTo>
                    <a:pt x="575" y="89"/>
                  </a:lnTo>
                  <a:lnTo>
                    <a:pt x="577" y="89"/>
                  </a:lnTo>
                  <a:lnTo>
                    <a:pt x="579" y="89"/>
                  </a:lnTo>
                  <a:lnTo>
                    <a:pt x="581" y="86"/>
                  </a:lnTo>
                  <a:lnTo>
                    <a:pt x="581" y="86"/>
                  </a:lnTo>
                  <a:lnTo>
                    <a:pt x="585" y="84"/>
                  </a:lnTo>
                  <a:lnTo>
                    <a:pt x="585" y="84"/>
                  </a:lnTo>
                  <a:lnTo>
                    <a:pt x="588" y="84"/>
                  </a:lnTo>
                  <a:lnTo>
                    <a:pt x="588" y="84"/>
                  </a:lnTo>
                  <a:lnTo>
                    <a:pt x="588" y="82"/>
                  </a:lnTo>
                  <a:lnTo>
                    <a:pt x="588" y="82"/>
                  </a:lnTo>
                  <a:lnTo>
                    <a:pt x="590" y="82"/>
                  </a:lnTo>
                  <a:lnTo>
                    <a:pt x="590" y="82"/>
                  </a:lnTo>
                  <a:lnTo>
                    <a:pt x="592" y="82"/>
                  </a:lnTo>
                  <a:lnTo>
                    <a:pt x="594" y="82"/>
                  </a:lnTo>
                  <a:lnTo>
                    <a:pt x="596" y="80"/>
                  </a:lnTo>
                  <a:lnTo>
                    <a:pt x="596" y="80"/>
                  </a:lnTo>
                  <a:lnTo>
                    <a:pt x="598" y="80"/>
                  </a:lnTo>
                  <a:lnTo>
                    <a:pt x="600" y="80"/>
                  </a:lnTo>
                  <a:lnTo>
                    <a:pt x="602" y="78"/>
                  </a:lnTo>
                  <a:lnTo>
                    <a:pt x="604" y="78"/>
                  </a:lnTo>
                  <a:lnTo>
                    <a:pt x="604" y="78"/>
                  </a:lnTo>
                  <a:lnTo>
                    <a:pt x="604" y="78"/>
                  </a:lnTo>
                  <a:lnTo>
                    <a:pt x="604" y="80"/>
                  </a:lnTo>
                  <a:lnTo>
                    <a:pt x="600" y="80"/>
                  </a:lnTo>
                  <a:lnTo>
                    <a:pt x="598" y="82"/>
                  </a:lnTo>
                  <a:lnTo>
                    <a:pt x="596" y="82"/>
                  </a:lnTo>
                  <a:lnTo>
                    <a:pt x="594" y="84"/>
                  </a:lnTo>
                  <a:lnTo>
                    <a:pt x="594" y="84"/>
                  </a:lnTo>
                  <a:lnTo>
                    <a:pt x="594" y="84"/>
                  </a:lnTo>
                  <a:lnTo>
                    <a:pt x="596" y="86"/>
                  </a:lnTo>
                  <a:lnTo>
                    <a:pt x="596" y="86"/>
                  </a:lnTo>
                  <a:lnTo>
                    <a:pt x="598" y="86"/>
                  </a:lnTo>
                  <a:lnTo>
                    <a:pt x="600" y="86"/>
                  </a:lnTo>
                  <a:lnTo>
                    <a:pt x="600" y="86"/>
                  </a:lnTo>
                  <a:lnTo>
                    <a:pt x="602" y="84"/>
                  </a:lnTo>
                  <a:lnTo>
                    <a:pt x="604" y="84"/>
                  </a:lnTo>
                  <a:lnTo>
                    <a:pt x="604" y="84"/>
                  </a:lnTo>
                  <a:lnTo>
                    <a:pt x="606" y="82"/>
                  </a:lnTo>
                  <a:lnTo>
                    <a:pt x="606" y="82"/>
                  </a:lnTo>
                  <a:lnTo>
                    <a:pt x="608" y="82"/>
                  </a:lnTo>
                  <a:lnTo>
                    <a:pt x="614" y="82"/>
                  </a:lnTo>
                  <a:lnTo>
                    <a:pt x="616" y="82"/>
                  </a:lnTo>
                  <a:lnTo>
                    <a:pt x="620" y="80"/>
                  </a:lnTo>
                  <a:lnTo>
                    <a:pt x="620" y="80"/>
                  </a:lnTo>
                  <a:lnTo>
                    <a:pt x="622" y="80"/>
                  </a:lnTo>
                  <a:lnTo>
                    <a:pt x="622" y="80"/>
                  </a:lnTo>
                  <a:lnTo>
                    <a:pt x="622" y="78"/>
                  </a:lnTo>
                  <a:lnTo>
                    <a:pt x="622" y="78"/>
                  </a:lnTo>
                  <a:lnTo>
                    <a:pt x="622" y="78"/>
                  </a:lnTo>
                  <a:lnTo>
                    <a:pt x="624" y="76"/>
                  </a:lnTo>
                  <a:lnTo>
                    <a:pt x="624" y="76"/>
                  </a:lnTo>
                  <a:lnTo>
                    <a:pt x="627" y="78"/>
                  </a:lnTo>
                  <a:lnTo>
                    <a:pt x="629" y="76"/>
                  </a:lnTo>
                  <a:lnTo>
                    <a:pt x="629" y="76"/>
                  </a:lnTo>
                  <a:lnTo>
                    <a:pt x="629" y="76"/>
                  </a:lnTo>
                  <a:lnTo>
                    <a:pt x="627" y="74"/>
                  </a:lnTo>
                  <a:lnTo>
                    <a:pt x="627" y="74"/>
                  </a:lnTo>
                  <a:lnTo>
                    <a:pt x="629" y="74"/>
                  </a:lnTo>
                  <a:lnTo>
                    <a:pt x="637" y="72"/>
                  </a:lnTo>
                  <a:lnTo>
                    <a:pt x="639" y="72"/>
                  </a:lnTo>
                  <a:lnTo>
                    <a:pt x="641" y="72"/>
                  </a:lnTo>
                  <a:lnTo>
                    <a:pt x="641" y="72"/>
                  </a:lnTo>
                  <a:lnTo>
                    <a:pt x="641" y="70"/>
                  </a:lnTo>
                  <a:lnTo>
                    <a:pt x="637" y="70"/>
                  </a:lnTo>
                  <a:lnTo>
                    <a:pt x="637" y="68"/>
                  </a:lnTo>
                  <a:lnTo>
                    <a:pt x="635" y="68"/>
                  </a:lnTo>
                  <a:lnTo>
                    <a:pt x="635" y="68"/>
                  </a:lnTo>
                  <a:lnTo>
                    <a:pt x="631" y="68"/>
                  </a:lnTo>
                  <a:lnTo>
                    <a:pt x="629" y="70"/>
                  </a:lnTo>
                  <a:lnTo>
                    <a:pt x="627" y="70"/>
                  </a:lnTo>
                  <a:lnTo>
                    <a:pt x="627" y="70"/>
                  </a:lnTo>
                  <a:lnTo>
                    <a:pt x="627" y="70"/>
                  </a:lnTo>
                  <a:lnTo>
                    <a:pt x="629" y="70"/>
                  </a:lnTo>
                  <a:lnTo>
                    <a:pt x="629" y="70"/>
                  </a:lnTo>
                  <a:lnTo>
                    <a:pt x="627" y="72"/>
                  </a:lnTo>
                  <a:lnTo>
                    <a:pt x="627" y="72"/>
                  </a:lnTo>
                  <a:lnTo>
                    <a:pt x="624" y="72"/>
                  </a:lnTo>
                  <a:lnTo>
                    <a:pt x="624" y="70"/>
                  </a:lnTo>
                  <a:lnTo>
                    <a:pt x="622" y="72"/>
                  </a:lnTo>
                  <a:lnTo>
                    <a:pt x="620" y="72"/>
                  </a:lnTo>
                  <a:lnTo>
                    <a:pt x="620" y="72"/>
                  </a:lnTo>
                  <a:lnTo>
                    <a:pt x="614" y="70"/>
                  </a:lnTo>
                  <a:lnTo>
                    <a:pt x="606" y="72"/>
                  </a:lnTo>
                  <a:lnTo>
                    <a:pt x="602" y="72"/>
                  </a:lnTo>
                  <a:lnTo>
                    <a:pt x="598" y="72"/>
                  </a:lnTo>
                  <a:lnTo>
                    <a:pt x="596" y="74"/>
                  </a:lnTo>
                  <a:lnTo>
                    <a:pt x="590" y="74"/>
                  </a:lnTo>
                  <a:lnTo>
                    <a:pt x="581" y="76"/>
                  </a:lnTo>
                  <a:lnTo>
                    <a:pt x="579" y="78"/>
                  </a:lnTo>
                  <a:lnTo>
                    <a:pt x="579" y="78"/>
                  </a:lnTo>
                  <a:lnTo>
                    <a:pt x="577" y="78"/>
                  </a:lnTo>
                  <a:lnTo>
                    <a:pt x="575" y="78"/>
                  </a:lnTo>
                  <a:lnTo>
                    <a:pt x="569" y="80"/>
                  </a:lnTo>
                  <a:lnTo>
                    <a:pt x="567" y="80"/>
                  </a:lnTo>
                  <a:lnTo>
                    <a:pt x="565" y="80"/>
                  </a:lnTo>
                  <a:lnTo>
                    <a:pt x="557" y="84"/>
                  </a:lnTo>
                  <a:lnTo>
                    <a:pt x="557" y="84"/>
                  </a:lnTo>
                  <a:lnTo>
                    <a:pt x="546" y="84"/>
                  </a:lnTo>
                  <a:lnTo>
                    <a:pt x="546" y="84"/>
                  </a:lnTo>
                  <a:lnTo>
                    <a:pt x="544" y="84"/>
                  </a:lnTo>
                  <a:lnTo>
                    <a:pt x="538" y="86"/>
                  </a:lnTo>
                  <a:lnTo>
                    <a:pt x="536" y="89"/>
                  </a:lnTo>
                  <a:lnTo>
                    <a:pt x="536" y="89"/>
                  </a:lnTo>
                  <a:lnTo>
                    <a:pt x="538" y="89"/>
                  </a:lnTo>
                  <a:lnTo>
                    <a:pt x="538" y="89"/>
                  </a:lnTo>
                  <a:lnTo>
                    <a:pt x="540" y="89"/>
                  </a:lnTo>
                  <a:lnTo>
                    <a:pt x="538" y="89"/>
                  </a:lnTo>
                  <a:lnTo>
                    <a:pt x="538" y="89"/>
                  </a:lnTo>
                  <a:lnTo>
                    <a:pt x="538" y="89"/>
                  </a:lnTo>
                  <a:lnTo>
                    <a:pt x="538" y="89"/>
                  </a:lnTo>
                  <a:lnTo>
                    <a:pt x="538" y="89"/>
                  </a:lnTo>
                  <a:lnTo>
                    <a:pt x="536" y="89"/>
                  </a:lnTo>
                  <a:close/>
                  <a:moveTo>
                    <a:pt x="647" y="93"/>
                  </a:moveTo>
                  <a:lnTo>
                    <a:pt x="645" y="93"/>
                  </a:lnTo>
                  <a:lnTo>
                    <a:pt x="645" y="93"/>
                  </a:lnTo>
                  <a:lnTo>
                    <a:pt x="647" y="93"/>
                  </a:lnTo>
                  <a:lnTo>
                    <a:pt x="649" y="91"/>
                  </a:lnTo>
                  <a:lnTo>
                    <a:pt x="649" y="91"/>
                  </a:lnTo>
                  <a:lnTo>
                    <a:pt x="647" y="89"/>
                  </a:lnTo>
                  <a:lnTo>
                    <a:pt x="647" y="86"/>
                  </a:lnTo>
                  <a:lnTo>
                    <a:pt x="645" y="86"/>
                  </a:lnTo>
                  <a:lnTo>
                    <a:pt x="643" y="86"/>
                  </a:lnTo>
                  <a:lnTo>
                    <a:pt x="641" y="86"/>
                  </a:lnTo>
                  <a:lnTo>
                    <a:pt x="635" y="86"/>
                  </a:lnTo>
                  <a:lnTo>
                    <a:pt x="633" y="86"/>
                  </a:lnTo>
                  <a:lnTo>
                    <a:pt x="633" y="86"/>
                  </a:lnTo>
                  <a:lnTo>
                    <a:pt x="635" y="84"/>
                  </a:lnTo>
                  <a:lnTo>
                    <a:pt x="635" y="84"/>
                  </a:lnTo>
                  <a:lnTo>
                    <a:pt x="635" y="84"/>
                  </a:lnTo>
                  <a:lnTo>
                    <a:pt x="635" y="84"/>
                  </a:lnTo>
                  <a:lnTo>
                    <a:pt x="635" y="84"/>
                  </a:lnTo>
                  <a:lnTo>
                    <a:pt x="635" y="82"/>
                  </a:lnTo>
                  <a:lnTo>
                    <a:pt x="633" y="82"/>
                  </a:lnTo>
                  <a:lnTo>
                    <a:pt x="631" y="82"/>
                  </a:lnTo>
                  <a:lnTo>
                    <a:pt x="629" y="82"/>
                  </a:lnTo>
                  <a:lnTo>
                    <a:pt x="620" y="84"/>
                  </a:lnTo>
                  <a:lnTo>
                    <a:pt x="616" y="84"/>
                  </a:lnTo>
                  <a:lnTo>
                    <a:pt x="616" y="84"/>
                  </a:lnTo>
                  <a:lnTo>
                    <a:pt x="614" y="86"/>
                  </a:lnTo>
                  <a:lnTo>
                    <a:pt x="614" y="86"/>
                  </a:lnTo>
                  <a:lnTo>
                    <a:pt x="614" y="86"/>
                  </a:lnTo>
                  <a:lnTo>
                    <a:pt x="616" y="86"/>
                  </a:lnTo>
                  <a:lnTo>
                    <a:pt x="622" y="86"/>
                  </a:lnTo>
                  <a:lnTo>
                    <a:pt x="622" y="86"/>
                  </a:lnTo>
                  <a:lnTo>
                    <a:pt x="622" y="89"/>
                  </a:lnTo>
                  <a:lnTo>
                    <a:pt x="622" y="89"/>
                  </a:lnTo>
                  <a:lnTo>
                    <a:pt x="612" y="86"/>
                  </a:lnTo>
                  <a:lnTo>
                    <a:pt x="610" y="86"/>
                  </a:lnTo>
                  <a:lnTo>
                    <a:pt x="608" y="86"/>
                  </a:lnTo>
                  <a:lnTo>
                    <a:pt x="604" y="89"/>
                  </a:lnTo>
                  <a:lnTo>
                    <a:pt x="602" y="89"/>
                  </a:lnTo>
                  <a:lnTo>
                    <a:pt x="602" y="89"/>
                  </a:lnTo>
                  <a:lnTo>
                    <a:pt x="602" y="91"/>
                  </a:lnTo>
                  <a:lnTo>
                    <a:pt x="600" y="91"/>
                  </a:lnTo>
                  <a:lnTo>
                    <a:pt x="598" y="91"/>
                  </a:lnTo>
                  <a:lnTo>
                    <a:pt x="598" y="91"/>
                  </a:lnTo>
                  <a:lnTo>
                    <a:pt x="600" y="91"/>
                  </a:lnTo>
                  <a:lnTo>
                    <a:pt x="600" y="93"/>
                  </a:lnTo>
                  <a:lnTo>
                    <a:pt x="608" y="91"/>
                  </a:lnTo>
                  <a:lnTo>
                    <a:pt x="616" y="91"/>
                  </a:lnTo>
                  <a:lnTo>
                    <a:pt x="612" y="93"/>
                  </a:lnTo>
                  <a:lnTo>
                    <a:pt x="608" y="93"/>
                  </a:lnTo>
                  <a:lnTo>
                    <a:pt x="606" y="93"/>
                  </a:lnTo>
                  <a:lnTo>
                    <a:pt x="598" y="93"/>
                  </a:lnTo>
                  <a:lnTo>
                    <a:pt x="594" y="93"/>
                  </a:lnTo>
                  <a:lnTo>
                    <a:pt x="592" y="93"/>
                  </a:lnTo>
                  <a:lnTo>
                    <a:pt x="590" y="95"/>
                  </a:lnTo>
                  <a:lnTo>
                    <a:pt x="588" y="95"/>
                  </a:lnTo>
                  <a:lnTo>
                    <a:pt x="585" y="95"/>
                  </a:lnTo>
                  <a:lnTo>
                    <a:pt x="588" y="95"/>
                  </a:lnTo>
                  <a:lnTo>
                    <a:pt x="594" y="97"/>
                  </a:lnTo>
                  <a:lnTo>
                    <a:pt x="598" y="95"/>
                  </a:lnTo>
                  <a:lnTo>
                    <a:pt x="610" y="95"/>
                  </a:lnTo>
                  <a:lnTo>
                    <a:pt x="610" y="95"/>
                  </a:lnTo>
                  <a:lnTo>
                    <a:pt x="610" y="95"/>
                  </a:lnTo>
                  <a:lnTo>
                    <a:pt x="608" y="95"/>
                  </a:lnTo>
                  <a:lnTo>
                    <a:pt x="606" y="95"/>
                  </a:lnTo>
                  <a:lnTo>
                    <a:pt x="596" y="97"/>
                  </a:lnTo>
                  <a:lnTo>
                    <a:pt x="594" y="97"/>
                  </a:lnTo>
                  <a:lnTo>
                    <a:pt x="585" y="97"/>
                  </a:lnTo>
                  <a:lnTo>
                    <a:pt x="583" y="97"/>
                  </a:lnTo>
                  <a:lnTo>
                    <a:pt x="581" y="97"/>
                  </a:lnTo>
                  <a:lnTo>
                    <a:pt x="581" y="99"/>
                  </a:lnTo>
                  <a:lnTo>
                    <a:pt x="579" y="99"/>
                  </a:lnTo>
                  <a:lnTo>
                    <a:pt x="577" y="99"/>
                  </a:lnTo>
                  <a:lnTo>
                    <a:pt x="575" y="99"/>
                  </a:lnTo>
                  <a:lnTo>
                    <a:pt x="575" y="101"/>
                  </a:lnTo>
                  <a:lnTo>
                    <a:pt x="573" y="101"/>
                  </a:lnTo>
                  <a:lnTo>
                    <a:pt x="573" y="101"/>
                  </a:lnTo>
                  <a:lnTo>
                    <a:pt x="573" y="101"/>
                  </a:lnTo>
                  <a:lnTo>
                    <a:pt x="577" y="103"/>
                  </a:lnTo>
                  <a:lnTo>
                    <a:pt x="579" y="103"/>
                  </a:lnTo>
                  <a:lnTo>
                    <a:pt x="583" y="101"/>
                  </a:lnTo>
                  <a:lnTo>
                    <a:pt x="585" y="103"/>
                  </a:lnTo>
                  <a:lnTo>
                    <a:pt x="588" y="105"/>
                  </a:lnTo>
                  <a:lnTo>
                    <a:pt x="590" y="105"/>
                  </a:lnTo>
                  <a:lnTo>
                    <a:pt x="590" y="105"/>
                  </a:lnTo>
                  <a:lnTo>
                    <a:pt x="592" y="103"/>
                  </a:lnTo>
                  <a:lnTo>
                    <a:pt x="592" y="103"/>
                  </a:lnTo>
                  <a:lnTo>
                    <a:pt x="594" y="103"/>
                  </a:lnTo>
                  <a:lnTo>
                    <a:pt x="594" y="103"/>
                  </a:lnTo>
                  <a:lnTo>
                    <a:pt x="596" y="103"/>
                  </a:lnTo>
                  <a:lnTo>
                    <a:pt x="596" y="103"/>
                  </a:lnTo>
                  <a:lnTo>
                    <a:pt x="596" y="103"/>
                  </a:lnTo>
                  <a:lnTo>
                    <a:pt x="596" y="105"/>
                  </a:lnTo>
                  <a:lnTo>
                    <a:pt x="596" y="105"/>
                  </a:lnTo>
                  <a:lnTo>
                    <a:pt x="596" y="105"/>
                  </a:lnTo>
                  <a:lnTo>
                    <a:pt x="598" y="105"/>
                  </a:lnTo>
                  <a:lnTo>
                    <a:pt x="604" y="103"/>
                  </a:lnTo>
                  <a:lnTo>
                    <a:pt x="606" y="103"/>
                  </a:lnTo>
                  <a:lnTo>
                    <a:pt x="608" y="101"/>
                  </a:lnTo>
                  <a:lnTo>
                    <a:pt x="608" y="101"/>
                  </a:lnTo>
                  <a:lnTo>
                    <a:pt x="608" y="101"/>
                  </a:lnTo>
                  <a:lnTo>
                    <a:pt x="608" y="101"/>
                  </a:lnTo>
                  <a:lnTo>
                    <a:pt x="608" y="101"/>
                  </a:lnTo>
                  <a:lnTo>
                    <a:pt x="610" y="101"/>
                  </a:lnTo>
                  <a:lnTo>
                    <a:pt x="610" y="101"/>
                  </a:lnTo>
                  <a:lnTo>
                    <a:pt x="612" y="101"/>
                  </a:lnTo>
                  <a:lnTo>
                    <a:pt x="614" y="99"/>
                  </a:lnTo>
                  <a:lnTo>
                    <a:pt x="616" y="99"/>
                  </a:lnTo>
                  <a:lnTo>
                    <a:pt x="616" y="99"/>
                  </a:lnTo>
                  <a:lnTo>
                    <a:pt x="616" y="99"/>
                  </a:lnTo>
                  <a:lnTo>
                    <a:pt x="616" y="99"/>
                  </a:lnTo>
                  <a:lnTo>
                    <a:pt x="616" y="99"/>
                  </a:lnTo>
                  <a:lnTo>
                    <a:pt x="620" y="99"/>
                  </a:lnTo>
                  <a:lnTo>
                    <a:pt x="622" y="99"/>
                  </a:lnTo>
                  <a:lnTo>
                    <a:pt x="620" y="99"/>
                  </a:lnTo>
                  <a:lnTo>
                    <a:pt x="616" y="99"/>
                  </a:lnTo>
                  <a:lnTo>
                    <a:pt x="616" y="101"/>
                  </a:lnTo>
                  <a:lnTo>
                    <a:pt x="614" y="101"/>
                  </a:lnTo>
                  <a:lnTo>
                    <a:pt x="614" y="101"/>
                  </a:lnTo>
                  <a:lnTo>
                    <a:pt x="612" y="101"/>
                  </a:lnTo>
                  <a:lnTo>
                    <a:pt x="612" y="103"/>
                  </a:lnTo>
                  <a:lnTo>
                    <a:pt x="612" y="103"/>
                  </a:lnTo>
                  <a:lnTo>
                    <a:pt x="612" y="103"/>
                  </a:lnTo>
                  <a:lnTo>
                    <a:pt x="612" y="103"/>
                  </a:lnTo>
                  <a:lnTo>
                    <a:pt x="616" y="103"/>
                  </a:lnTo>
                  <a:lnTo>
                    <a:pt x="620" y="103"/>
                  </a:lnTo>
                  <a:lnTo>
                    <a:pt x="622" y="103"/>
                  </a:lnTo>
                  <a:lnTo>
                    <a:pt x="624" y="103"/>
                  </a:lnTo>
                  <a:lnTo>
                    <a:pt x="627" y="101"/>
                  </a:lnTo>
                  <a:lnTo>
                    <a:pt x="627" y="101"/>
                  </a:lnTo>
                  <a:lnTo>
                    <a:pt x="627" y="101"/>
                  </a:lnTo>
                  <a:lnTo>
                    <a:pt x="629" y="101"/>
                  </a:lnTo>
                  <a:lnTo>
                    <a:pt x="629" y="103"/>
                  </a:lnTo>
                  <a:lnTo>
                    <a:pt x="631" y="103"/>
                  </a:lnTo>
                  <a:lnTo>
                    <a:pt x="633" y="103"/>
                  </a:lnTo>
                  <a:lnTo>
                    <a:pt x="635" y="101"/>
                  </a:lnTo>
                  <a:lnTo>
                    <a:pt x="637" y="101"/>
                  </a:lnTo>
                  <a:lnTo>
                    <a:pt x="639" y="101"/>
                  </a:lnTo>
                  <a:lnTo>
                    <a:pt x="643" y="101"/>
                  </a:lnTo>
                  <a:lnTo>
                    <a:pt x="645" y="101"/>
                  </a:lnTo>
                  <a:lnTo>
                    <a:pt x="645" y="101"/>
                  </a:lnTo>
                  <a:lnTo>
                    <a:pt x="643" y="101"/>
                  </a:lnTo>
                  <a:lnTo>
                    <a:pt x="641" y="103"/>
                  </a:lnTo>
                  <a:lnTo>
                    <a:pt x="637" y="103"/>
                  </a:lnTo>
                  <a:lnTo>
                    <a:pt x="633" y="103"/>
                  </a:lnTo>
                  <a:lnTo>
                    <a:pt x="633" y="105"/>
                  </a:lnTo>
                  <a:lnTo>
                    <a:pt x="631" y="105"/>
                  </a:lnTo>
                  <a:lnTo>
                    <a:pt x="629" y="105"/>
                  </a:lnTo>
                  <a:lnTo>
                    <a:pt x="622" y="105"/>
                  </a:lnTo>
                  <a:lnTo>
                    <a:pt x="620" y="105"/>
                  </a:lnTo>
                  <a:lnTo>
                    <a:pt x="612" y="105"/>
                  </a:lnTo>
                  <a:lnTo>
                    <a:pt x="606" y="107"/>
                  </a:lnTo>
                  <a:lnTo>
                    <a:pt x="602" y="107"/>
                  </a:lnTo>
                  <a:lnTo>
                    <a:pt x="598" y="109"/>
                  </a:lnTo>
                  <a:lnTo>
                    <a:pt x="598" y="109"/>
                  </a:lnTo>
                  <a:lnTo>
                    <a:pt x="598" y="109"/>
                  </a:lnTo>
                  <a:lnTo>
                    <a:pt x="598" y="111"/>
                  </a:lnTo>
                  <a:lnTo>
                    <a:pt x="600" y="111"/>
                  </a:lnTo>
                  <a:lnTo>
                    <a:pt x="600" y="111"/>
                  </a:lnTo>
                  <a:lnTo>
                    <a:pt x="602" y="113"/>
                  </a:lnTo>
                  <a:lnTo>
                    <a:pt x="606" y="113"/>
                  </a:lnTo>
                  <a:lnTo>
                    <a:pt x="612" y="113"/>
                  </a:lnTo>
                  <a:lnTo>
                    <a:pt x="622" y="111"/>
                  </a:lnTo>
                  <a:lnTo>
                    <a:pt x="629" y="111"/>
                  </a:lnTo>
                  <a:lnTo>
                    <a:pt x="635" y="109"/>
                  </a:lnTo>
                  <a:lnTo>
                    <a:pt x="637" y="109"/>
                  </a:lnTo>
                  <a:lnTo>
                    <a:pt x="639" y="107"/>
                  </a:lnTo>
                  <a:lnTo>
                    <a:pt x="641" y="107"/>
                  </a:lnTo>
                  <a:lnTo>
                    <a:pt x="643" y="107"/>
                  </a:lnTo>
                  <a:lnTo>
                    <a:pt x="647" y="107"/>
                  </a:lnTo>
                  <a:lnTo>
                    <a:pt x="655" y="105"/>
                  </a:lnTo>
                  <a:lnTo>
                    <a:pt x="661" y="105"/>
                  </a:lnTo>
                  <a:lnTo>
                    <a:pt x="666" y="103"/>
                  </a:lnTo>
                  <a:lnTo>
                    <a:pt x="668" y="103"/>
                  </a:lnTo>
                  <a:lnTo>
                    <a:pt x="668" y="103"/>
                  </a:lnTo>
                  <a:lnTo>
                    <a:pt x="666" y="105"/>
                  </a:lnTo>
                  <a:lnTo>
                    <a:pt x="666" y="105"/>
                  </a:lnTo>
                  <a:lnTo>
                    <a:pt x="666" y="105"/>
                  </a:lnTo>
                  <a:lnTo>
                    <a:pt x="668" y="105"/>
                  </a:lnTo>
                  <a:lnTo>
                    <a:pt x="668" y="105"/>
                  </a:lnTo>
                  <a:lnTo>
                    <a:pt x="670" y="105"/>
                  </a:lnTo>
                  <a:lnTo>
                    <a:pt x="672" y="105"/>
                  </a:lnTo>
                  <a:lnTo>
                    <a:pt x="676" y="105"/>
                  </a:lnTo>
                  <a:lnTo>
                    <a:pt x="678" y="105"/>
                  </a:lnTo>
                  <a:lnTo>
                    <a:pt x="682" y="105"/>
                  </a:lnTo>
                  <a:lnTo>
                    <a:pt x="682" y="105"/>
                  </a:lnTo>
                  <a:lnTo>
                    <a:pt x="684" y="105"/>
                  </a:lnTo>
                  <a:lnTo>
                    <a:pt x="688" y="105"/>
                  </a:lnTo>
                  <a:lnTo>
                    <a:pt x="696" y="103"/>
                  </a:lnTo>
                  <a:lnTo>
                    <a:pt x="698" y="103"/>
                  </a:lnTo>
                  <a:lnTo>
                    <a:pt x="700" y="101"/>
                  </a:lnTo>
                  <a:lnTo>
                    <a:pt x="707" y="99"/>
                  </a:lnTo>
                  <a:lnTo>
                    <a:pt x="709" y="97"/>
                  </a:lnTo>
                  <a:lnTo>
                    <a:pt x="713" y="95"/>
                  </a:lnTo>
                  <a:lnTo>
                    <a:pt x="715" y="95"/>
                  </a:lnTo>
                  <a:lnTo>
                    <a:pt x="715" y="93"/>
                  </a:lnTo>
                  <a:lnTo>
                    <a:pt x="717" y="93"/>
                  </a:lnTo>
                  <a:lnTo>
                    <a:pt x="717" y="91"/>
                  </a:lnTo>
                  <a:lnTo>
                    <a:pt x="717" y="91"/>
                  </a:lnTo>
                  <a:lnTo>
                    <a:pt x="717" y="91"/>
                  </a:lnTo>
                  <a:lnTo>
                    <a:pt x="715" y="91"/>
                  </a:lnTo>
                  <a:lnTo>
                    <a:pt x="711" y="89"/>
                  </a:lnTo>
                  <a:lnTo>
                    <a:pt x="709" y="89"/>
                  </a:lnTo>
                  <a:lnTo>
                    <a:pt x="707" y="91"/>
                  </a:lnTo>
                  <a:lnTo>
                    <a:pt x="705" y="91"/>
                  </a:lnTo>
                  <a:lnTo>
                    <a:pt x="705" y="91"/>
                  </a:lnTo>
                  <a:lnTo>
                    <a:pt x="703" y="91"/>
                  </a:lnTo>
                  <a:lnTo>
                    <a:pt x="703" y="93"/>
                  </a:lnTo>
                  <a:lnTo>
                    <a:pt x="703" y="93"/>
                  </a:lnTo>
                  <a:lnTo>
                    <a:pt x="703" y="93"/>
                  </a:lnTo>
                  <a:lnTo>
                    <a:pt x="703" y="93"/>
                  </a:lnTo>
                  <a:lnTo>
                    <a:pt x="700" y="93"/>
                  </a:lnTo>
                  <a:lnTo>
                    <a:pt x="698" y="93"/>
                  </a:lnTo>
                  <a:lnTo>
                    <a:pt x="698" y="95"/>
                  </a:lnTo>
                  <a:lnTo>
                    <a:pt x="698" y="95"/>
                  </a:lnTo>
                  <a:lnTo>
                    <a:pt x="698" y="93"/>
                  </a:lnTo>
                  <a:lnTo>
                    <a:pt x="700" y="93"/>
                  </a:lnTo>
                  <a:lnTo>
                    <a:pt x="700" y="93"/>
                  </a:lnTo>
                  <a:lnTo>
                    <a:pt x="700" y="93"/>
                  </a:lnTo>
                  <a:lnTo>
                    <a:pt x="698" y="91"/>
                  </a:lnTo>
                  <a:lnTo>
                    <a:pt x="696" y="91"/>
                  </a:lnTo>
                  <a:lnTo>
                    <a:pt x="696" y="91"/>
                  </a:lnTo>
                  <a:lnTo>
                    <a:pt x="694" y="93"/>
                  </a:lnTo>
                  <a:lnTo>
                    <a:pt x="690" y="93"/>
                  </a:lnTo>
                  <a:lnTo>
                    <a:pt x="688" y="93"/>
                  </a:lnTo>
                  <a:lnTo>
                    <a:pt x="688" y="93"/>
                  </a:lnTo>
                  <a:lnTo>
                    <a:pt x="690" y="93"/>
                  </a:lnTo>
                  <a:lnTo>
                    <a:pt x="694" y="91"/>
                  </a:lnTo>
                  <a:lnTo>
                    <a:pt x="694" y="91"/>
                  </a:lnTo>
                  <a:lnTo>
                    <a:pt x="694" y="91"/>
                  </a:lnTo>
                  <a:lnTo>
                    <a:pt x="696" y="91"/>
                  </a:lnTo>
                  <a:lnTo>
                    <a:pt x="696" y="89"/>
                  </a:lnTo>
                  <a:lnTo>
                    <a:pt x="694" y="89"/>
                  </a:lnTo>
                  <a:lnTo>
                    <a:pt x="694" y="89"/>
                  </a:lnTo>
                  <a:lnTo>
                    <a:pt x="692" y="89"/>
                  </a:lnTo>
                  <a:lnTo>
                    <a:pt x="690" y="89"/>
                  </a:lnTo>
                  <a:lnTo>
                    <a:pt x="690" y="89"/>
                  </a:lnTo>
                  <a:lnTo>
                    <a:pt x="690" y="89"/>
                  </a:lnTo>
                  <a:lnTo>
                    <a:pt x="690" y="89"/>
                  </a:lnTo>
                  <a:lnTo>
                    <a:pt x="692" y="89"/>
                  </a:lnTo>
                  <a:lnTo>
                    <a:pt x="694" y="86"/>
                  </a:lnTo>
                  <a:lnTo>
                    <a:pt x="696" y="86"/>
                  </a:lnTo>
                  <a:lnTo>
                    <a:pt x="696" y="84"/>
                  </a:lnTo>
                  <a:lnTo>
                    <a:pt x="696" y="84"/>
                  </a:lnTo>
                  <a:lnTo>
                    <a:pt x="696" y="84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2"/>
                  </a:lnTo>
                  <a:lnTo>
                    <a:pt x="698" y="82"/>
                  </a:lnTo>
                  <a:lnTo>
                    <a:pt x="698" y="82"/>
                  </a:lnTo>
                  <a:lnTo>
                    <a:pt x="698" y="80"/>
                  </a:lnTo>
                  <a:lnTo>
                    <a:pt x="700" y="80"/>
                  </a:lnTo>
                  <a:lnTo>
                    <a:pt x="703" y="80"/>
                  </a:lnTo>
                  <a:lnTo>
                    <a:pt x="703" y="80"/>
                  </a:lnTo>
                  <a:lnTo>
                    <a:pt x="703" y="80"/>
                  </a:lnTo>
                  <a:lnTo>
                    <a:pt x="703" y="80"/>
                  </a:lnTo>
                  <a:lnTo>
                    <a:pt x="700" y="78"/>
                  </a:lnTo>
                  <a:lnTo>
                    <a:pt x="696" y="78"/>
                  </a:lnTo>
                  <a:lnTo>
                    <a:pt x="696" y="78"/>
                  </a:lnTo>
                  <a:lnTo>
                    <a:pt x="694" y="80"/>
                  </a:lnTo>
                  <a:lnTo>
                    <a:pt x="690" y="80"/>
                  </a:lnTo>
                  <a:lnTo>
                    <a:pt x="684" y="82"/>
                  </a:lnTo>
                  <a:lnTo>
                    <a:pt x="682" y="82"/>
                  </a:lnTo>
                  <a:lnTo>
                    <a:pt x="676" y="84"/>
                  </a:lnTo>
                  <a:lnTo>
                    <a:pt x="676" y="84"/>
                  </a:lnTo>
                  <a:lnTo>
                    <a:pt x="676" y="84"/>
                  </a:lnTo>
                  <a:lnTo>
                    <a:pt x="674" y="84"/>
                  </a:lnTo>
                  <a:lnTo>
                    <a:pt x="674" y="86"/>
                  </a:lnTo>
                  <a:lnTo>
                    <a:pt x="674" y="86"/>
                  </a:lnTo>
                  <a:lnTo>
                    <a:pt x="676" y="86"/>
                  </a:lnTo>
                  <a:lnTo>
                    <a:pt x="678" y="86"/>
                  </a:lnTo>
                  <a:lnTo>
                    <a:pt x="680" y="89"/>
                  </a:lnTo>
                  <a:lnTo>
                    <a:pt x="680" y="89"/>
                  </a:lnTo>
                  <a:lnTo>
                    <a:pt x="678" y="89"/>
                  </a:lnTo>
                  <a:lnTo>
                    <a:pt x="678" y="89"/>
                  </a:lnTo>
                  <a:lnTo>
                    <a:pt x="678" y="91"/>
                  </a:lnTo>
                  <a:lnTo>
                    <a:pt x="672" y="91"/>
                  </a:lnTo>
                  <a:lnTo>
                    <a:pt x="670" y="93"/>
                  </a:lnTo>
                  <a:lnTo>
                    <a:pt x="676" y="95"/>
                  </a:lnTo>
                  <a:lnTo>
                    <a:pt x="676" y="95"/>
                  </a:lnTo>
                  <a:lnTo>
                    <a:pt x="676" y="95"/>
                  </a:lnTo>
                  <a:lnTo>
                    <a:pt x="674" y="97"/>
                  </a:lnTo>
                  <a:lnTo>
                    <a:pt x="674" y="97"/>
                  </a:lnTo>
                  <a:lnTo>
                    <a:pt x="672" y="97"/>
                  </a:lnTo>
                  <a:lnTo>
                    <a:pt x="672" y="97"/>
                  </a:lnTo>
                  <a:lnTo>
                    <a:pt x="657" y="97"/>
                  </a:lnTo>
                  <a:lnTo>
                    <a:pt x="655" y="97"/>
                  </a:lnTo>
                  <a:lnTo>
                    <a:pt x="653" y="97"/>
                  </a:lnTo>
                  <a:lnTo>
                    <a:pt x="651" y="97"/>
                  </a:lnTo>
                  <a:lnTo>
                    <a:pt x="649" y="97"/>
                  </a:lnTo>
                  <a:lnTo>
                    <a:pt x="649" y="95"/>
                  </a:lnTo>
                  <a:lnTo>
                    <a:pt x="649" y="95"/>
                  </a:lnTo>
                  <a:lnTo>
                    <a:pt x="651" y="93"/>
                  </a:lnTo>
                  <a:lnTo>
                    <a:pt x="651" y="93"/>
                  </a:lnTo>
                  <a:lnTo>
                    <a:pt x="651" y="93"/>
                  </a:lnTo>
                  <a:lnTo>
                    <a:pt x="649" y="93"/>
                  </a:lnTo>
                  <a:lnTo>
                    <a:pt x="647" y="93"/>
                  </a:lnTo>
                  <a:close/>
                  <a:moveTo>
                    <a:pt x="551" y="91"/>
                  </a:moveTo>
                  <a:lnTo>
                    <a:pt x="551" y="91"/>
                  </a:lnTo>
                  <a:lnTo>
                    <a:pt x="551" y="93"/>
                  </a:lnTo>
                  <a:lnTo>
                    <a:pt x="549" y="93"/>
                  </a:lnTo>
                  <a:lnTo>
                    <a:pt x="546" y="93"/>
                  </a:lnTo>
                  <a:lnTo>
                    <a:pt x="544" y="93"/>
                  </a:lnTo>
                  <a:lnTo>
                    <a:pt x="546" y="93"/>
                  </a:lnTo>
                  <a:lnTo>
                    <a:pt x="546" y="93"/>
                  </a:lnTo>
                  <a:lnTo>
                    <a:pt x="549" y="93"/>
                  </a:lnTo>
                  <a:lnTo>
                    <a:pt x="549" y="93"/>
                  </a:lnTo>
                  <a:lnTo>
                    <a:pt x="551" y="93"/>
                  </a:lnTo>
                  <a:lnTo>
                    <a:pt x="551" y="93"/>
                  </a:lnTo>
                  <a:lnTo>
                    <a:pt x="553" y="91"/>
                  </a:lnTo>
                  <a:lnTo>
                    <a:pt x="553" y="91"/>
                  </a:lnTo>
                  <a:lnTo>
                    <a:pt x="553" y="91"/>
                  </a:lnTo>
                  <a:lnTo>
                    <a:pt x="551" y="91"/>
                  </a:lnTo>
                  <a:lnTo>
                    <a:pt x="551" y="91"/>
                  </a:lnTo>
                  <a:close/>
                  <a:moveTo>
                    <a:pt x="214" y="185"/>
                  </a:moveTo>
                  <a:lnTo>
                    <a:pt x="216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6" y="183"/>
                  </a:lnTo>
                  <a:lnTo>
                    <a:pt x="216" y="183"/>
                  </a:lnTo>
                  <a:lnTo>
                    <a:pt x="214" y="185"/>
                  </a:lnTo>
                  <a:lnTo>
                    <a:pt x="214" y="185"/>
                  </a:lnTo>
                  <a:lnTo>
                    <a:pt x="214" y="185"/>
                  </a:lnTo>
                  <a:close/>
                  <a:moveTo>
                    <a:pt x="421" y="148"/>
                  </a:moveTo>
                  <a:lnTo>
                    <a:pt x="423" y="148"/>
                  </a:lnTo>
                  <a:lnTo>
                    <a:pt x="423" y="150"/>
                  </a:lnTo>
                  <a:lnTo>
                    <a:pt x="425" y="150"/>
                  </a:lnTo>
                  <a:lnTo>
                    <a:pt x="432" y="152"/>
                  </a:lnTo>
                  <a:lnTo>
                    <a:pt x="432" y="154"/>
                  </a:lnTo>
                  <a:lnTo>
                    <a:pt x="432" y="154"/>
                  </a:lnTo>
                  <a:lnTo>
                    <a:pt x="432" y="156"/>
                  </a:lnTo>
                  <a:lnTo>
                    <a:pt x="432" y="156"/>
                  </a:lnTo>
                  <a:lnTo>
                    <a:pt x="429" y="160"/>
                  </a:lnTo>
                  <a:lnTo>
                    <a:pt x="429" y="160"/>
                  </a:lnTo>
                  <a:lnTo>
                    <a:pt x="429" y="160"/>
                  </a:lnTo>
                  <a:lnTo>
                    <a:pt x="429" y="163"/>
                  </a:lnTo>
                  <a:lnTo>
                    <a:pt x="432" y="163"/>
                  </a:lnTo>
                  <a:lnTo>
                    <a:pt x="434" y="163"/>
                  </a:lnTo>
                  <a:lnTo>
                    <a:pt x="436" y="160"/>
                  </a:lnTo>
                  <a:lnTo>
                    <a:pt x="438" y="160"/>
                  </a:lnTo>
                  <a:lnTo>
                    <a:pt x="444" y="158"/>
                  </a:lnTo>
                  <a:lnTo>
                    <a:pt x="452" y="156"/>
                  </a:lnTo>
                  <a:lnTo>
                    <a:pt x="454" y="156"/>
                  </a:lnTo>
                  <a:lnTo>
                    <a:pt x="454" y="156"/>
                  </a:lnTo>
                  <a:lnTo>
                    <a:pt x="454" y="156"/>
                  </a:lnTo>
                  <a:lnTo>
                    <a:pt x="454" y="156"/>
                  </a:lnTo>
                  <a:lnTo>
                    <a:pt x="458" y="156"/>
                  </a:lnTo>
                  <a:lnTo>
                    <a:pt x="462" y="156"/>
                  </a:lnTo>
                  <a:lnTo>
                    <a:pt x="466" y="156"/>
                  </a:lnTo>
                  <a:lnTo>
                    <a:pt x="468" y="154"/>
                  </a:lnTo>
                  <a:lnTo>
                    <a:pt x="471" y="154"/>
                  </a:lnTo>
                  <a:lnTo>
                    <a:pt x="471" y="154"/>
                  </a:lnTo>
                  <a:lnTo>
                    <a:pt x="477" y="150"/>
                  </a:lnTo>
                  <a:lnTo>
                    <a:pt x="479" y="148"/>
                  </a:lnTo>
                  <a:lnTo>
                    <a:pt x="483" y="146"/>
                  </a:lnTo>
                  <a:lnTo>
                    <a:pt x="485" y="144"/>
                  </a:lnTo>
                  <a:lnTo>
                    <a:pt x="487" y="144"/>
                  </a:lnTo>
                  <a:lnTo>
                    <a:pt x="491" y="144"/>
                  </a:lnTo>
                  <a:lnTo>
                    <a:pt x="495" y="144"/>
                  </a:lnTo>
                  <a:lnTo>
                    <a:pt x="497" y="142"/>
                  </a:lnTo>
                  <a:lnTo>
                    <a:pt x="503" y="140"/>
                  </a:lnTo>
                  <a:lnTo>
                    <a:pt x="505" y="138"/>
                  </a:lnTo>
                  <a:lnTo>
                    <a:pt x="507" y="138"/>
                  </a:lnTo>
                  <a:lnTo>
                    <a:pt x="522" y="134"/>
                  </a:lnTo>
                  <a:lnTo>
                    <a:pt x="532" y="132"/>
                  </a:lnTo>
                  <a:lnTo>
                    <a:pt x="536" y="132"/>
                  </a:lnTo>
                  <a:lnTo>
                    <a:pt x="546" y="130"/>
                  </a:lnTo>
                  <a:lnTo>
                    <a:pt x="551" y="130"/>
                  </a:lnTo>
                  <a:lnTo>
                    <a:pt x="553" y="128"/>
                  </a:lnTo>
                  <a:lnTo>
                    <a:pt x="561" y="128"/>
                  </a:lnTo>
                  <a:lnTo>
                    <a:pt x="561" y="128"/>
                  </a:lnTo>
                  <a:lnTo>
                    <a:pt x="563" y="126"/>
                  </a:lnTo>
                  <a:lnTo>
                    <a:pt x="563" y="126"/>
                  </a:lnTo>
                  <a:lnTo>
                    <a:pt x="563" y="126"/>
                  </a:lnTo>
                  <a:lnTo>
                    <a:pt x="565" y="126"/>
                  </a:lnTo>
                  <a:lnTo>
                    <a:pt x="565" y="123"/>
                  </a:lnTo>
                  <a:lnTo>
                    <a:pt x="563" y="123"/>
                  </a:lnTo>
                  <a:lnTo>
                    <a:pt x="561" y="121"/>
                  </a:lnTo>
                  <a:lnTo>
                    <a:pt x="559" y="117"/>
                  </a:lnTo>
                  <a:lnTo>
                    <a:pt x="557" y="117"/>
                  </a:lnTo>
                  <a:lnTo>
                    <a:pt x="557" y="115"/>
                  </a:lnTo>
                  <a:lnTo>
                    <a:pt x="555" y="115"/>
                  </a:lnTo>
                  <a:lnTo>
                    <a:pt x="553" y="115"/>
                  </a:lnTo>
                  <a:lnTo>
                    <a:pt x="551" y="115"/>
                  </a:lnTo>
                  <a:lnTo>
                    <a:pt x="546" y="115"/>
                  </a:lnTo>
                  <a:lnTo>
                    <a:pt x="542" y="115"/>
                  </a:lnTo>
                  <a:lnTo>
                    <a:pt x="542" y="115"/>
                  </a:lnTo>
                  <a:lnTo>
                    <a:pt x="540" y="115"/>
                  </a:lnTo>
                  <a:lnTo>
                    <a:pt x="534" y="117"/>
                  </a:lnTo>
                  <a:lnTo>
                    <a:pt x="532" y="117"/>
                  </a:lnTo>
                  <a:lnTo>
                    <a:pt x="532" y="119"/>
                  </a:lnTo>
                  <a:lnTo>
                    <a:pt x="532" y="117"/>
                  </a:lnTo>
                  <a:lnTo>
                    <a:pt x="534" y="117"/>
                  </a:lnTo>
                  <a:lnTo>
                    <a:pt x="534" y="115"/>
                  </a:lnTo>
                  <a:lnTo>
                    <a:pt x="534" y="115"/>
                  </a:lnTo>
                  <a:lnTo>
                    <a:pt x="534" y="115"/>
                  </a:lnTo>
                  <a:lnTo>
                    <a:pt x="534" y="115"/>
                  </a:lnTo>
                  <a:lnTo>
                    <a:pt x="532" y="115"/>
                  </a:lnTo>
                  <a:lnTo>
                    <a:pt x="528" y="117"/>
                  </a:lnTo>
                  <a:lnTo>
                    <a:pt x="528" y="117"/>
                  </a:lnTo>
                  <a:lnTo>
                    <a:pt x="528" y="117"/>
                  </a:lnTo>
                  <a:lnTo>
                    <a:pt x="528" y="117"/>
                  </a:lnTo>
                  <a:lnTo>
                    <a:pt x="532" y="115"/>
                  </a:lnTo>
                  <a:lnTo>
                    <a:pt x="528" y="115"/>
                  </a:lnTo>
                  <a:lnTo>
                    <a:pt x="524" y="113"/>
                  </a:lnTo>
                  <a:lnTo>
                    <a:pt x="520" y="113"/>
                  </a:lnTo>
                  <a:lnTo>
                    <a:pt x="520" y="111"/>
                  </a:lnTo>
                  <a:lnTo>
                    <a:pt x="518" y="111"/>
                  </a:lnTo>
                  <a:lnTo>
                    <a:pt x="516" y="111"/>
                  </a:lnTo>
                  <a:lnTo>
                    <a:pt x="514" y="111"/>
                  </a:lnTo>
                  <a:lnTo>
                    <a:pt x="503" y="111"/>
                  </a:lnTo>
                  <a:lnTo>
                    <a:pt x="493" y="113"/>
                  </a:lnTo>
                  <a:lnTo>
                    <a:pt x="477" y="113"/>
                  </a:lnTo>
                  <a:lnTo>
                    <a:pt x="477" y="113"/>
                  </a:lnTo>
                  <a:lnTo>
                    <a:pt x="477" y="113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5" y="119"/>
                  </a:lnTo>
                  <a:lnTo>
                    <a:pt x="473" y="119"/>
                  </a:lnTo>
                  <a:lnTo>
                    <a:pt x="475" y="121"/>
                  </a:lnTo>
                  <a:lnTo>
                    <a:pt x="475" y="121"/>
                  </a:lnTo>
                  <a:lnTo>
                    <a:pt x="475" y="121"/>
                  </a:lnTo>
                  <a:lnTo>
                    <a:pt x="475" y="121"/>
                  </a:lnTo>
                  <a:lnTo>
                    <a:pt x="471" y="123"/>
                  </a:lnTo>
                  <a:lnTo>
                    <a:pt x="466" y="126"/>
                  </a:lnTo>
                  <a:lnTo>
                    <a:pt x="460" y="128"/>
                  </a:lnTo>
                  <a:lnTo>
                    <a:pt x="456" y="130"/>
                  </a:lnTo>
                  <a:lnTo>
                    <a:pt x="454" y="130"/>
                  </a:lnTo>
                  <a:lnTo>
                    <a:pt x="450" y="132"/>
                  </a:lnTo>
                  <a:lnTo>
                    <a:pt x="450" y="132"/>
                  </a:lnTo>
                  <a:lnTo>
                    <a:pt x="450" y="132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44" y="136"/>
                  </a:lnTo>
                  <a:lnTo>
                    <a:pt x="444" y="136"/>
                  </a:lnTo>
                  <a:lnTo>
                    <a:pt x="442" y="136"/>
                  </a:lnTo>
                  <a:lnTo>
                    <a:pt x="442" y="136"/>
                  </a:lnTo>
                  <a:lnTo>
                    <a:pt x="440" y="138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8" y="140"/>
                  </a:lnTo>
                  <a:lnTo>
                    <a:pt x="438" y="140"/>
                  </a:lnTo>
                  <a:lnTo>
                    <a:pt x="436" y="140"/>
                  </a:lnTo>
                  <a:lnTo>
                    <a:pt x="434" y="140"/>
                  </a:lnTo>
                  <a:lnTo>
                    <a:pt x="432" y="142"/>
                  </a:lnTo>
                  <a:lnTo>
                    <a:pt x="429" y="142"/>
                  </a:lnTo>
                  <a:lnTo>
                    <a:pt x="429" y="142"/>
                  </a:lnTo>
                  <a:lnTo>
                    <a:pt x="427" y="144"/>
                  </a:lnTo>
                  <a:lnTo>
                    <a:pt x="425" y="144"/>
                  </a:lnTo>
                  <a:lnTo>
                    <a:pt x="423" y="144"/>
                  </a:lnTo>
                  <a:lnTo>
                    <a:pt x="423" y="144"/>
                  </a:lnTo>
                  <a:lnTo>
                    <a:pt x="423" y="144"/>
                  </a:lnTo>
                  <a:lnTo>
                    <a:pt x="423" y="146"/>
                  </a:lnTo>
                  <a:lnTo>
                    <a:pt x="423" y="146"/>
                  </a:lnTo>
                  <a:lnTo>
                    <a:pt x="419" y="146"/>
                  </a:lnTo>
                  <a:lnTo>
                    <a:pt x="419" y="146"/>
                  </a:lnTo>
                  <a:lnTo>
                    <a:pt x="419" y="146"/>
                  </a:lnTo>
                  <a:lnTo>
                    <a:pt x="419" y="148"/>
                  </a:lnTo>
                  <a:lnTo>
                    <a:pt x="417" y="148"/>
                  </a:lnTo>
                  <a:lnTo>
                    <a:pt x="415" y="148"/>
                  </a:lnTo>
                  <a:lnTo>
                    <a:pt x="415" y="148"/>
                  </a:lnTo>
                  <a:lnTo>
                    <a:pt x="417" y="148"/>
                  </a:lnTo>
                  <a:lnTo>
                    <a:pt x="421" y="148"/>
                  </a:lnTo>
                  <a:close/>
                  <a:moveTo>
                    <a:pt x="670" y="68"/>
                  </a:moveTo>
                  <a:lnTo>
                    <a:pt x="670" y="68"/>
                  </a:lnTo>
                  <a:lnTo>
                    <a:pt x="670" y="68"/>
                  </a:lnTo>
                  <a:lnTo>
                    <a:pt x="670" y="68"/>
                  </a:lnTo>
                  <a:lnTo>
                    <a:pt x="670" y="70"/>
                  </a:lnTo>
                  <a:lnTo>
                    <a:pt x="672" y="70"/>
                  </a:lnTo>
                  <a:lnTo>
                    <a:pt x="674" y="70"/>
                  </a:lnTo>
                  <a:lnTo>
                    <a:pt x="676" y="72"/>
                  </a:lnTo>
                  <a:lnTo>
                    <a:pt x="678" y="72"/>
                  </a:lnTo>
                  <a:lnTo>
                    <a:pt x="688" y="70"/>
                  </a:lnTo>
                  <a:lnTo>
                    <a:pt x="688" y="70"/>
                  </a:lnTo>
                  <a:lnTo>
                    <a:pt x="690" y="70"/>
                  </a:lnTo>
                  <a:lnTo>
                    <a:pt x="694" y="70"/>
                  </a:lnTo>
                  <a:lnTo>
                    <a:pt x="698" y="70"/>
                  </a:lnTo>
                  <a:lnTo>
                    <a:pt x="700" y="68"/>
                  </a:lnTo>
                  <a:lnTo>
                    <a:pt x="703" y="68"/>
                  </a:lnTo>
                  <a:lnTo>
                    <a:pt x="703" y="68"/>
                  </a:lnTo>
                  <a:lnTo>
                    <a:pt x="705" y="66"/>
                  </a:lnTo>
                  <a:lnTo>
                    <a:pt x="705" y="66"/>
                  </a:lnTo>
                  <a:lnTo>
                    <a:pt x="705" y="66"/>
                  </a:lnTo>
                  <a:lnTo>
                    <a:pt x="705" y="66"/>
                  </a:lnTo>
                  <a:lnTo>
                    <a:pt x="705" y="66"/>
                  </a:lnTo>
                  <a:lnTo>
                    <a:pt x="700" y="66"/>
                  </a:lnTo>
                  <a:lnTo>
                    <a:pt x="698" y="66"/>
                  </a:lnTo>
                  <a:lnTo>
                    <a:pt x="698" y="64"/>
                  </a:lnTo>
                  <a:lnTo>
                    <a:pt x="700" y="64"/>
                  </a:lnTo>
                  <a:lnTo>
                    <a:pt x="700" y="64"/>
                  </a:lnTo>
                  <a:lnTo>
                    <a:pt x="709" y="64"/>
                  </a:lnTo>
                  <a:lnTo>
                    <a:pt x="713" y="64"/>
                  </a:lnTo>
                  <a:lnTo>
                    <a:pt x="715" y="62"/>
                  </a:lnTo>
                  <a:lnTo>
                    <a:pt x="717" y="62"/>
                  </a:lnTo>
                  <a:lnTo>
                    <a:pt x="717" y="62"/>
                  </a:lnTo>
                  <a:lnTo>
                    <a:pt x="717" y="62"/>
                  </a:lnTo>
                  <a:lnTo>
                    <a:pt x="709" y="62"/>
                  </a:lnTo>
                  <a:lnTo>
                    <a:pt x="707" y="62"/>
                  </a:lnTo>
                  <a:lnTo>
                    <a:pt x="705" y="62"/>
                  </a:lnTo>
                  <a:lnTo>
                    <a:pt x="700" y="62"/>
                  </a:lnTo>
                  <a:lnTo>
                    <a:pt x="688" y="62"/>
                  </a:lnTo>
                  <a:lnTo>
                    <a:pt x="682" y="64"/>
                  </a:lnTo>
                  <a:lnTo>
                    <a:pt x="678" y="64"/>
                  </a:lnTo>
                  <a:lnTo>
                    <a:pt x="678" y="64"/>
                  </a:lnTo>
                  <a:lnTo>
                    <a:pt x="676" y="64"/>
                  </a:lnTo>
                  <a:lnTo>
                    <a:pt x="676" y="64"/>
                  </a:lnTo>
                  <a:lnTo>
                    <a:pt x="674" y="64"/>
                  </a:lnTo>
                  <a:lnTo>
                    <a:pt x="674" y="64"/>
                  </a:lnTo>
                  <a:lnTo>
                    <a:pt x="674" y="66"/>
                  </a:lnTo>
                  <a:lnTo>
                    <a:pt x="672" y="66"/>
                  </a:lnTo>
                  <a:lnTo>
                    <a:pt x="672" y="66"/>
                  </a:lnTo>
                  <a:lnTo>
                    <a:pt x="672" y="68"/>
                  </a:lnTo>
                  <a:lnTo>
                    <a:pt x="672" y="68"/>
                  </a:lnTo>
                  <a:lnTo>
                    <a:pt x="670" y="68"/>
                  </a:lnTo>
                  <a:lnTo>
                    <a:pt x="670" y="68"/>
                  </a:lnTo>
                  <a:close/>
                  <a:moveTo>
                    <a:pt x="573" y="97"/>
                  </a:moveTo>
                  <a:lnTo>
                    <a:pt x="575" y="95"/>
                  </a:lnTo>
                  <a:lnTo>
                    <a:pt x="581" y="93"/>
                  </a:lnTo>
                  <a:lnTo>
                    <a:pt x="588" y="91"/>
                  </a:lnTo>
                  <a:lnTo>
                    <a:pt x="588" y="91"/>
                  </a:lnTo>
                  <a:lnTo>
                    <a:pt x="592" y="89"/>
                  </a:lnTo>
                  <a:lnTo>
                    <a:pt x="592" y="89"/>
                  </a:lnTo>
                  <a:lnTo>
                    <a:pt x="592" y="89"/>
                  </a:lnTo>
                  <a:lnTo>
                    <a:pt x="590" y="89"/>
                  </a:lnTo>
                  <a:lnTo>
                    <a:pt x="588" y="89"/>
                  </a:lnTo>
                  <a:lnTo>
                    <a:pt x="583" y="91"/>
                  </a:lnTo>
                  <a:lnTo>
                    <a:pt x="579" y="91"/>
                  </a:lnTo>
                  <a:lnTo>
                    <a:pt x="577" y="91"/>
                  </a:lnTo>
                  <a:lnTo>
                    <a:pt x="569" y="93"/>
                  </a:lnTo>
                  <a:lnTo>
                    <a:pt x="565" y="95"/>
                  </a:lnTo>
                  <a:lnTo>
                    <a:pt x="563" y="95"/>
                  </a:lnTo>
                  <a:lnTo>
                    <a:pt x="563" y="95"/>
                  </a:lnTo>
                  <a:lnTo>
                    <a:pt x="561" y="95"/>
                  </a:lnTo>
                  <a:lnTo>
                    <a:pt x="563" y="97"/>
                  </a:lnTo>
                  <a:lnTo>
                    <a:pt x="565" y="97"/>
                  </a:lnTo>
                  <a:lnTo>
                    <a:pt x="567" y="97"/>
                  </a:lnTo>
                  <a:lnTo>
                    <a:pt x="569" y="97"/>
                  </a:lnTo>
                  <a:lnTo>
                    <a:pt x="573" y="97"/>
                  </a:lnTo>
                  <a:close/>
                  <a:moveTo>
                    <a:pt x="672" y="132"/>
                  </a:moveTo>
                  <a:lnTo>
                    <a:pt x="672" y="132"/>
                  </a:lnTo>
                  <a:lnTo>
                    <a:pt x="676" y="132"/>
                  </a:lnTo>
                  <a:lnTo>
                    <a:pt x="680" y="130"/>
                  </a:lnTo>
                  <a:lnTo>
                    <a:pt x="682" y="128"/>
                  </a:lnTo>
                  <a:lnTo>
                    <a:pt x="684" y="126"/>
                  </a:lnTo>
                  <a:lnTo>
                    <a:pt x="684" y="126"/>
                  </a:lnTo>
                  <a:lnTo>
                    <a:pt x="684" y="126"/>
                  </a:lnTo>
                  <a:lnTo>
                    <a:pt x="684" y="123"/>
                  </a:lnTo>
                  <a:lnTo>
                    <a:pt x="684" y="123"/>
                  </a:lnTo>
                  <a:lnTo>
                    <a:pt x="684" y="123"/>
                  </a:lnTo>
                  <a:lnTo>
                    <a:pt x="682" y="121"/>
                  </a:lnTo>
                  <a:lnTo>
                    <a:pt x="680" y="121"/>
                  </a:lnTo>
                  <a:lnTo>
                    <a:pt x="678" y="121"/>
                  </a:lnTo>
                  <a:lnTo>
                    <a:pt x="668" y="123"/>
                  </a:lnTo>
                  <a:lnTo>
                    <a:pt x="664" y="123"/>
                  </a:lnTo>
                  <a:lnTo>
                    <a:pt x="664" y="123"/>
                  </a:lnTo>
                  <a:lnTo>
                    <a:pt x="659" y="123"/>
                  </a:lnTo>
                  <a:lnTo>
                    <a:pt x="657" y="126"/>
                  </a:lnTo>
                  <a:lnTo>
                    <a:pt x="657" y="126"/>
                  </a:lnTo>
                  <a:lnTo>
                    <a:pt x="659" y="126"/>
                  </a:lnTo>
                  <a:lnTo>
                    <a:pt x="659" y="128"/>
                  </a:lnTo>
                  <a:lnTo>
                    <a:pt x="661" y="130"/>
                  </a:lnTo>
                  <a:lnTo>
                    <a:pt x="661" y="130"/>
                  </a:lnTo>
                  <a:lnTo>
                    <a:pt x="661" y="130"/>
                  </a:lnTo>
                  <a:lnTo>
                    <a:pt x="664" y="132"/>
                  </a:lnTo>
                  <a:lnTo>
                    <a:pt x="664" y="134"/>
                  </a:lnTo>
                  <a:lnTo>
                    <a:pt x="664" y="134"/>
                  </a:lnTo>
                  <a:lnTo>
                    <a:pt x="666" y="134"/>
                  </a:lnTo>
                  <a:lnTo>
                    <a:pt x="666" y="134"/>
                  </a:lnTo>
                  <a:lnTo>
                    <a:pt x="668" y="134"/>
                  </a:lnTo>
                  <a:lnTo>
                    <a:pt x="670" y="134"/>
                  </a:lnTo>
                  <a:lnTo>
                    <a:pt x="672" y="132"/>
                  </a:lnTo>
                  <a:close/>
                  <a:moveTo>
                    <a:pt x="536" y="210"/>
                  </a:moveTo>
                  <a:lnTo>
                    <a:pt x="538" y="210"/>
                  </a:lnTo>
                  <a:lnTo>
                    <a:pt x="538" y="210"/>
                  </a:lnTo>
                  <a:lnTo>
                    <a:pt x="538" y="208"/>
                  </a:lnTo>
                  <a:lnTo>
                    <a:pt x="538" y="208"/>
                  </a:lnTo>
                  <a:lnTo>
                    <a:pt x="536" y="208"/>
                  </a:lnTo>
                  <a:lnTo>
                    <a:pt x="536" y="210"/>
                  </a:lnTo>
                  <a:close/>
                  <a:moveTo>
                    <a:pt x="538" y="210"/>
                  </a:moveTo>
                  <a:lnTo>
                    <a:pt x="538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40" y="212"/>
                  </a:lnTo>
                  <a:lnTo>
                    <a:pt x="540" y="212"/>
                  </a:lnTo>
                  <a:lnTo>
                    <a:pt x="540" y="212"/>
                  </a:lnTo>
                  <a:lnTo>
                    <a:pt x="542" y="210"/>
                  </a:lnTo>
                  <a:lnTo>
                    <a:pt x="542" y="210"/>
                  </a:lnTo>
                  <a:lnTo>
                    <a:pt x="540" y="210"/>
                  </a:lnTo>
                  <a:lnTo>
                    <a:pt x="538" y="210"/>
                  </a:lnTo>
                  <a:close/>
                  <a:moveTo>
                    <a:pt x="686" y="58"/>
                  </a:moveTo>
                  <a:lnTo>
                    <a:pt x="692" y="58"/>
                  </a:lnTo>
                  <a:lnTo>
                    <a:pt x="698" y="58"/>
                  </a:lnTo>
                  <a:lnTo>
                    <a:pt x="700" y="58"/>
                  </a:lnTo>
                  <a:lnTo>
                    <a:pt x="703" y="58"/>
                  </a:lnTo>
                  <a:lnTo>
                    <a:pt x="703" y="58"/>
                  </a:lnTo>
                  <a:lnTo>
                    <a:pt x="705" y="58"/>
                  </a:lnTo>
                  <a:lnTo>
                    <a:pt x="707" y="58"/>
                  </a:lnTo>
                  <a:lnTo>
                    <a:pt x="709" y="58"/>
                  </a:lnTo>
                  <a:lnTo>
                    <a:pt x="709" y="58"/>
                  </a:lnTo>
                  <a:lnTo>
                    <a:pt x="711" y="58"/>
                  </a:lnTo>
                  <a:lnTo>
                    <a:pt x="711" y="58"/>
                  </a:lnTo>
                  <a:lnTo>
                    <a:pt x="713" y="58"/>
                  </a:lnTo>
                  <a:lnTo>
                    <a:pt x="715" y="58"/>
                  </a:lnTo>
                  <a:lnTo>
                    <a:pt x="719" y="58"/>
                  </a:lnTo>
                  <a:lnTo>
                    <a:pt x="721" y="58"/>
                  </a:lnTo>
                  <a:lnTo>
                    <a:pt x="723" y="58"/>
                  </a:lnTo>
                  <a:lnTo>
                    <a:pt x="725" y="58"/>
                  </a:lnTo>
                  <a:lnTo>
                    <a:pt x="727" y="58"/>
                  </a:lnTo>
                  <a:lnTo>
                    <a:pt x="727" y="58"/>
                  </a:lnTo>
                  <a:lnTo>
                    <a:pt x="727" y="56"/>
                  </a:lnTo>
                  <a:lnTo>
                    <a:pt x="729" y="56"/>
                  </a:lnTo>
                  <a:lnTo>
                    <a:pt x="729" y="56"/>
                  </a:lnTo>
                  <a:lnTo>
                    <a:pt x="729" y="54"/>
                  </a:lnTo>
                  <a:lnTo>
                    <a:pt x="729" y="54"/>
                  </a:lnTo>
                  <a:lnTo>
                    <a:pt x="727" y="54"/>
                  </a:lnTo>
                  <a:lnTo>
                    <a:pt x="727" y="54"/>
                  </a:lnTo>
                  <a:lnTo>
                    <a:pt x="727" y="54"/>
                  </a:lnTo>
                  <a:lnTo>
                    <a:pt x="725" y="54"/>
                  </a:lnTo>
                  <a:lnTo>
                    <a:pt x="723" y="52"/>
                  </a:lnTo>
                  <a:lnTo>
                    <a:pt x="721" y="52"/>
                  </a:lnTo>
                  <a:lnTo>
                    <a:pt x="719" y="54"/>
                  </a:lnTo>
                  <a:lnTo>
                    <a:pt x="715" y="54"/>
                  </a:lnTo>
                  <a:lnTo>
                    <a:pt x="711" y="54"/>
                  </a:lnTo>
                  <a:lnTo>
                    <a:pt x="709" y="54"/>
                  </a:lnTo>
                  <a:lnTo>
                    <a:pt x="707" y="56"/>
                  </a:lnTo>
                  <a:lnTo>
                    <a:pt x="700" y="56"/>
                  </a:lnTo>
                  <a:lnTo>
                    <a:pt x="694" y="56"/>
                  </a:lnTo>
                  <a:lnTo>
                    <a:pt x="692" y="56"/>
                  </a:lnTo>
                  <a:lnTo>
                    <a:pt x="688" y="58"/>
                  </a:lnTo>
                  <a:lnTo>
                    <a:pt x="686" y="58"/>
                  </a:lnTo>
                  <a:lnTo>
                    <a:pt x="684" y="58"/>
                  </a:lnTo>
                  <a:lnTo>
                    <a:pt x="684" y="58"/>
                  </a:lnTo>
                  <a:lnTo>
                    <a:pt x="684" y="58"/>
                  </a:lnTo>
                  <a:lnTo>
                    <a:pt x="686" y="58"/>
                  </a:lnTo>
                  <a:close/>
                  <a:moveTo>
                    <a:pt x="4" y="475"/>
                  </a:moveTo>
                  <a:lnTo>
                    <a:pt x="4" y="475"/>
                  </a:lnTo>
                  <a:lnTo>
                    <a:pt x="2" y="477"/>
                  </a:lnTo>
                  <a:lnTo>
                    <a:pt x="2" y="477"/>
                  </a:lnTo>
                  <a:lnTo>
                    <a:pt x="2" y="477"/>
                  </a:lnTo>
                  <a:lnTo>
                    <a:pt x="2" y="477"/>
                  </a:lnTo>
                  <a:lnTo>
                    <a:pt x="4" y="475"/>
                  </a:lnTo>
                  <a:lnTo>
                    <a:pt x="4" y="475"/>
                  </a:lnTo>
                  <a:lnTo>
                    <a:pt x="4" y="475"/>
                  </a:lnTo>
                  <a:close/>
                  <a:moveTo>
                    <a:pt x="682" y="169"/>
                  </a:moveTo>
                  <a:lnTo>
                    <a:pt x="682" y="169"/>
                  </a:lnTo>
                  <a:lnTo>
                    <a:pt x="680" y="169"/>
                  </a:lnTo>
                  <a:lnTo>
                    <a:pt x="680" y="169"/>
                  </a:lnTo>
                  <a:lnTo>
                    <a:pt x="680" y="171"/>
                  </a:lnTo>
                  <a:lnTo>
                    <a:pt x="680" y="171"/>
                  </a:lnTo>
                  <a:lnTo>
                    <a:pt x="680" y="171"/>
                  </a:lnTo>
                  <a:lnTo>
                    <a:pt x="682" y="171"/>
                  </a:lnTo>
                  <a:lnTo>
                    <a:pt x="682" y="171"/>
                  </a:lnTo>
                  <a:lnTo>
                    <a:pt x="684" y="171"/>
                  </a:lnTo>
                  <a:lnTo>
                    <a:pt x="684" y="171"/>
                  </a:lnTo>
                  <a:lnTo>
                    <a:pt x="684" y="169"/>
                  </a:lnTo>
                  <a:lnTo>
                    <a:pt x="684" y="169"/>
                  </a:lnTo>
                  <a:lnTo>
                    <a:pt x="684" y="169"/>
                  </a:lnTo>
                  <a:lnTo>
                    <a:pt x="682" y="169"/>
                  </a:lnTo>
                  <a:close/>
                  <a:moveTo>
                    <a:pt x="725" y="99"/>
                  </a:moveTo>
                  <a:lnTo>
                    <a:pt x="725" y="99"/>
                  </a:lnTo>
                  <a:lnTo>
                    <a:pt x="725" y="99"/>
                  </a:lnTo>
                  <a:lnTo>
                    <a:pt x="723" y="99"/>
                  </a:lnTo>
                  <a:lnTo>
                    <a:pt x="721" y="99"/>
                  </a:lnTo>
                  <a:lnTo>
                    <a:pt x="719" y="99"/>
                  </a:lnTo>
                  <a:lnTo>
                    <a:pt x="717" y="99"/>
                  </a:lnTo>
                  <a:lnTo>
                    <a:pt x="715" y="99"/>
                  </a:lnTo>
                  <a:lnTo>
                    <a:pt x="713" y="101"/>
                  </a:lnTo>
                  <a:lnTo>
                    <a:pt x="711" y="101"/>
                  </a:lnTo>
                  <a:lnTo>
                    <a:pt x="711" y="101"/>
                  </a:lnTo>
                  <a:lnTo>
                    <a:pt x="711" y="103"/>
                  </a:lnTo>
                  <a:lnTo>
                    <a:pt x="711" y="103"/>
                  </a:lnTo>
                  <a:lnTo>
                    <a:pt x="711" y="103"/>
                  </a:lnTo>
                  <a:lnTo>
                    <a:pt x="715" y="103"/>
                  </a:lnTo>
                  <a:lnTo>
                    <a:pt x="717" y="103"/>
                  </a:lnTo>
                  <a:lnTo>
                    <a:pt x="721" y="103"/>
                  </a:lnTo>
                  <a:lnTo>
                    <a:pt x="723" y="103"/>
                  </a:lnTo>
                  <a:lnTo>
                    <a:pt x="723" y="103"/>
                  </a:lnTo>
                  <a:lnTo>
                    <a:pt x="723" y="101"/>
                  </a:lnTo>
                  <a:lnTo>
                    <a:pt x="725" y="101"/>
                  </a:lnTo>
                  <a:lnTo>
                    <a:pt x="725" y="101"/>
                  </a:lnTo>
                  <a:lnTo>
                    <a:pt x="725" y="101"/>
                  </a:lnTo>
                  <a:lnTo>
                    <a:pt x="725" y="101"/>
                  </a:lnTo>
                  <a:lnTo>
                    <a:pt x="725" y="99"/>
                  </a:lnTo>
                  <a:close/>
                  <a:moveTo>
                    <a:pt x="661" y="66"/>
                  </a:moveTo>
                  <a:lnTo>
                    <a:pt x="664" y="66"/>
                  </a:lnTo>
                  <a:lnTo>
                    <a:pt x="668" y="66"/>
                  </a:lnTo>
                  <a:lnTo>
                    <a:pt x="668" y="66"/>
                  </a:lnTo>
                  <a:lnTo>
                    <a:pt x="670" y="64"/>
                  </a:lnTo>
                  <a:lnTo>
                    <a:pt x="670" y="64"/>
                  </a:lnTo>
                  <a:lnTo>
                    <a:pt x="670" y="64"/>
                  </a:lnTo>
                  <a:lnTo>
                    <a:pt x="672" y="64"/>
                  </a:lnTo>
                  <a:lnTo>
                    <a:pt x="670" y="64"/>
                  </a:lnTo>
                  <a:lnTo>
                    <a:pt x="670" y="64"/>
                  </a:lnTo>
                  <a:lnTo>
                    <a:pt x="670" y="62"/>
                  </a:lnTo>
                  <a:lnTo>
                    <a:pt x="668" y="62"/>
                  </a:lnTo>
                  <a:lnTo>
                    <a:pt x="668" y="62"/>
                  </a:lnTo>
                  <a:lnTo>
                    <a:pt x="668" y="62"/>
                  </a:lnTo>
                  <a:lnTo>
                    <a:pt x="668" y="62"/>
                  </a:lnTo>
                  <a:lnTo>
                    <a:pt x="668" y="62"/>
                  </a:lnTo>
                  <a:lnTo>
                    <a:pt x="666" y="62"/>
                  </a:lnTo>
                  <a:lnTo>
                    <a:pt x="664" y="62"/>
                  </a:lnTo>
                  <a:lnTo>
                    <a:pt x="661" y="62"/>
                  </a:lnTo>
                  <a:lnTo>
                    <a:pt x="661" y="62"/>
                  </a:lnTo>
                  <a:lnTo>
                    <a:pt x="659" y="62"/>
                  </a:lnTo>
                  <a:lnTo>
                    <a:pt x="657" y="64"/>
                  </a:lnTo>
                  <a:lnTo>
                    <a:pt x="659" y="66"/>
                  </a:lnTo>
                  <a:lnTo>
                    <a:pt x="661" y="66"/>
                  </a:lnTo>
                  <a:close/>
                  <a:moveTo>
                    <a:pt x="46" y="459"/>
                  </a:moveTo>
                  <a:lnTo>
                    <a:pt x="46" y="459"/>
                  </a:lnTo>
                  <a:lnTo>
                    <a:pt x="48" y="454"/>
                  </a:lnTo>
                  <a:lnTo>
                    <a:pt x="48" y="454"/>
                  </a:lnTo>
                  <a:lnTo>
                    <a:pt x="48" y="454"/>
                  </a:lnTo>
                  <a:lnTo>
                    <a:pt x="48" y="454"/>
                  </a:lnTo>
                  <a:lnTo>
                    <a:pt x="48" y="454"/>
                  </a:lnTo>
                  <a:lnTo>
                    <a:pt x="46" y="457"/>
                  </a:lnTo>
                  <a:lnTo>
                    <a:pt x="43" y="457"/>
                  </a:lnTo>
                  <a:lnTo>
                    <a:pt x="43" y="457"/>
                  </a:lnTo>
                  <a:lnTo>
                    <a:pt x="43" y="459"/>
                  </a:lnTo>
                  <a:lnTo>
                    <a:pt x="43" y="459"/>
                  </a:lnTo>
                  <a:lnTo>
                    <a:pt x="46" y="459"/>
                  </a:lnTo>
                  <a:close/>
                  <a:moveTo>
                    <a:pt x="11" y="457"/>
                  </a:moveTo>
                  <a:lnTo>
                    <a:pt x="9" y="457"/>
                  </a:lnTo>
                  <a:lnTo>
                    <a:pt x="7" y="457"/>
                  </a:lnTo>
                  <a:lnTo>
                    <a:pt x="4" y="457"/>
                  </a:lnTo>
                  <a:lnTo>
                    <a:pt x="2" y="457"/>
                  </a:lnTo>
                  <a:lnTo>
                    <a:pt x="0" y="457"/>
                  </a:lnTo>
                  <a:lnTo>
                    <a:pt x="0" y="457"/>
                  </a:lnTo>
                  <a:lnTo>
                    <a:pt x="0" y="459"/>
                  </a:lnTo>
                  <a:lnTo>
                    <a:pt x="0" y="459"/>
                  </a:lnTo>
                  <a:lnTo>
                    <a:pt x="2" y="461"/>
                  </a:lnTo>
                  <a:lnTo>
                    <a:pt x="2" y="461"/>
                  </a:lnTo>
                  <a:lnTo>
                    <a:pt x="0" y="461"/>
                  </a:lnTo>
                  <a:lnTo>
                    <a:pt x="0" y="461"/>
                  </a:lnTo>
                  <a:lnTo>
                    <a:pt x="0" y="461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5"/>
                  </a:lnTo>
                  <a:lnTo>
                    <a:pt x="0" y="467"/>
                  </a:lnTo>
                  <a:lnTo>
                    <a:pt x="2" y="46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2" y="473"/>
                  </a:lnTo>
                  <a:lnTo>
                    <a:pt x="2" y="475"/>
                  </a:lnTo>
                  <a:lnTo>
                    <a:pt x="4" y="473"/>
                  </a:lnTo>
                  <a:lnTo>
                    <a:pt x="7" y="473"/>
                  </a:lnTo>
                  <a:lnTo>
                    <a:pt x="4" y="473"/>
                  </a:lnTo>
                  <a:lnTo>
                    <a:pt x="4" y="473"/>
                  </a:lnTo>
                  <a:lnTo>
                    <a:pt x="4" y="471"/>
                  </a:lnTo>
                  <a:lnTo>
                    <a:pt x="7" y="471"/>
                  </a:lnTo>
                  <a:lnTo>
                    <a:pt x="7" y="471"/>
                  </a:lnTo>
                  <a:lnTo>
                    <a:pt x="7" y="469"/>
                  </a:lnTo>
                  <a:lnTo>
                    <a:pt x="4" y="471"/>
                  </a:lnTo>
                  <a:lnTo>
                    <a:pt x="4" y="471"/>
                  </a:lnTo>
                  <a:lnTo>
                    <a:pt x="4" y="469"/>
                  </a:lnTo>
                  <a:lnTo>
                    <a:pt x="4" y="467"/>
                  </a:lnTo>
                  <a:lnTo>
                    <a:pt x="4" y="467"/>
                  </a:lnTo>
                  <a:lnTo>
                    <a:pt x="9" y="465"/>
                  </a:lnTo>
                  <a:lnTo>
                    <a:pt x="7" y="465"/>
                  </a:lnTo>
                  <a:lnTo>
                    <a:pt x="4" y="465"/>
                  </a:lnTo>
                  <a:lnTo>
                    <a:pt x="4" y="463"/>
                  </a:lnTo>
                  <a:lnTo>
                    <a:pt x="4" y="463"/>
                  </a:lnTo>
                  <a:lnTo>
                    <a:pt x="4" y="463"/>
                  </a:lnTo>
                  <a:lnTo>
                    <a:pt x="4" y="461"/>
                  </a:lnTo>
                  <a:lnTo>
                    <a:pt x="4" y="461"/>
                  </a:lnTo>
                  <a:lnTo>
                    <a:pt x="7" y="463"/>
                  </a:lnTo>
                  <a:lnTo>
                    <a:pt x="9" y="461"/>
                  </a:lnTo>
                  <a:lnTo>
                    <a:pt x="11" y="459"/>
                  </a:lnTo>
                  <a:lnTo>
                    <a:pt x="11" y="459"/>
                  </a:lnTo>
                  <a:lnTo>
                    <a:pt x="11" y="457"/>
                  </a:lnTo>
                  <a:lnTo>
                    <a:pt x="11" y="457"/>
                  </a:lnTo>
                  <a:lnTo>
                    <a:pt x="11" y="457"/>
                  </a:lnTo>
                  <a:close/>
                  <a:moveTo>
                    <a:pt x="39" y="463"/>
                  </a:moveTo>
                  <a:lnTo>
                    <a:pt x="39" y="463"/>
                  </a:lnTo>
                  <a:lnTo>
                    <a:pt x="39" y="463"/>
                  </a:lnTo>
                  <a:lnTo>
                    <a:pt x="39" y="465"/>
                  </a:lnTo>
                  <a:lnTo>
                    <a:pt x="39" y="465"/>
                  </a:lnTo>
                  <a:lnTo>
                    <a:pt x="37" y="467"/>
                  </a:lnTo>
                  <a:lnTo>
                    <a:pt x="39" y="467"/>
                  </a:lnTo>
                  <a:lnTo>
                    <a:pt x="39" y="469"/>
                  </a:lnTo>
                  <a:lnTo>
                    <a:pt x="39" y="469"/>
                  </a:lnTo>
                  <a:lnTo>
                    <a:pt x="41" y="467"/>
                  </a:lnTo>
                  <a:lnTo>
                    <a:pt x="41" y="465"/>
                  </a:lnTo>
                  <a:lnTo>
                    <a:pt x="41" y="463"/>
                  </a:lnTo>
                  <a:lnTo>
                    <a:pt x="39" y="463"/>
                  </a:lnTo>
                  <a:close/>
                  <a:moveTo>
                    <a:pt x="48" y="467"/>
                  </a:moveTo>
                  <a:lnTo>
                    <a:pt x="48" y="469"/>
                  </a:lnTo>
                  <a:lnTo>
                    <a:pt x="46" y="469"/>
                  </a:lnTo>
                  <a:lnTo>
                    <a:pt x="46" y="469"/>
                  </a:lnTo>
                  <a:lnTo>
                    <a:pt x="46" y="471"/>
                  </a:lnTo>
                  <a:lnTo>
                    <a:pt x="46" y="471"/>
                  </a:lnTo>
                  <a:lnTo>
                    <a:pt x="48" y="469"/>
                  </a:lnTo>
                  <a:lnTo>
                    <a:pt x="48" y="469"/>
                  </a:lnTo>
                  <a:lnTo>
                    <a:pt x="50" y="467"/>
                  </a:lnTo>
                  <a:lnTo>
                    <a:pt x="54" y="465"/>
                  </a:lnTo>
                  <a:lnTo>
                    <a:pt x="54" y="463"/>
                  </a:lnTo>
                  <a:lnTo>
                    <a:pt x="52" y="463"/>
                  </a:lnTo>
                  <a:lnTo>
                    <a:pt x="50" y="465"/>
                  </a:lnTo>
                  <a:lnTo>
                    <a:pt x="48" y="467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41" y="457"/>
                  </a:lnTo>
                  <a:lnTo>
                    <a:pt x="41" y="459"/>
                  </a:lnTo>
                  <a:lnTo>
                    <a:pt x="41" y="459"/>
                  </a:lnTo>
                  <a:lnTo>
                    <a:pt x="41" y="461"/>
                  </a:lnTo>
                  <a:lnTo>
                    <a:pt x="41" y="461"/>
                  </a:lnTo>
                  <a:lnTo>
                    <a:pt x="41" y="461"/>
                  </a:lnTo>
                  <a:lnTo>
                    <a:pt x="41" y="459"/>
                  </a:lnTo>
                  <a:lnTo>
                    <a:pt x="43" y="457"/>
                  </a:lnTo>
                  <a:lnTo>
                    <a:pt x="43" y="457"/>
                  </a:lnTo>
                  <a:lnTo>
                    <a:pt x="41" y="457"/>
                  </a:lnTo>
                  <a:close/>
                  <a:moveTo>
                    <a:pt x="62" y="506"/>
                  </a:moveTo>
                  <a:lnTo>
                    <a:pt x="60" y="506"/>
                  </a:lnTo>
                  <a:lnTo>
                    <a:pt x="60" y="506"/>
                  </a:lnTo>
                  <a:lnTo>
                    <a:pt x="58" y="508"/>
                  </a:lnTo>
                  <a:lnTo>
                    <a:pt x="58" y="510"/>
                  </a:lnTo>
                  <a:lnTo>
                    <a:pt x="58" y="512"/>
                  </a:lnTo>
                  <a:lnTo>
                    <a:pt x="58" y="512"/>
                  </a:lnTo>
                  <a:lnTo>
                    <a:pt x="60" y="510"/>
                  </a:lnTo>
                  <a:lnTo>
                    <a:pt x="60" y="508"/>
                  </a:lnTo>
                  <a:lnTo>
                    <a:pt x="62" y="508"/>
                  </a:lnTo>
                  <a:lnTo>
                    <a:pt x="62" y="508"/>
                  </a:lnTo>
                  <a:lnTo>
                    <a:pt x="62" y="506"/>
                  </a:lnTo>
                  <a:lnTo>
                    <a:pt x="62" y="506"/>
                  </a:lnTo>
                  <a:lnTo>
                    <a:pt x="62" y="506"/>
                  </a:lnTo>
                  <a:close/>
                  <a:moveTo>
                    <a:pt x="62" y="510"/>
                  </a:moveTo>
                  <a:lnTo>
                    <a:pt x="62" y="510"/>
                  </a:lnTo>
                  <a:lnTo>
                    <a:pt x="60" y="510"/>
                  </a:lnTo>
                  <a:lnTo>
                    <a:pt x="60" y="512"/>
                  </a:lnTo>
                  <a:lnTo>
                    <a:pt x="60" y="512"/>
                  </a:lnTo>
                  <a:lnTo>
                    <a:pt x="62" y="512"/>
                  </a:lnTo>
                  <a:lnTo>
                    <a:pt x="62" y="512"/>
                  </a:lnTo>
                  <a:lnTo>
                    <a:pt x="62" y="510"/>
                  </a:lnTo>
                  <a:lnTo>
                    <a:pt x="62" y="510"/>
                  </a:lnTo>
                  <a:lnTo>
                    <a:pt x="62" y="508"/>
                  </a:lnTo>
                  <a:lnTo>
                    <a:pt x="62" y="510"/>
                  </a:lnTo>
                  <a:close/>
                  <a:moveTo>
                    <a:pt x="60" y="516"/>
                  </a:moveTo>
                  <a:lnTo>
                    <a:pt x="60" y="518"/>
                  </a:lnTo>
                  <a:lnTo>
                    <a:pt x="62" y="518"/>
                  </a:lnTo>
                  <a:lnTo>
                    <a:pt x="62" y="518"/>
                  </a:lnTo>
                  <a:lnTo>
                    <a:pt x="62" y="520"/>
                  </a:lnTo>
                  <a:lnTo>
                    <a:pt x="62" y="520"/>
                  </a:lnTo>
                  <a:lnTo>
                    <a:pt x="64" y="522"/>
                  </a:lnTo>
                  <a:lnTo>
                    <a:pt x="64" y="520"/>
                  </a:lnTo>
                  <a:lnTo>
                    <a:pt x="64" y="518"/>
                  </a:lnTo>
                  <a:lnTo>
                    <a:pt x="64" y="518"/>
                  </a:lnTo>
                  <a:lnTo>
                    <a:pt x="62" y="516"/>
                  </a:lnTo>
                  <a:lnTo>
                    <a:pt x="62" y="516"/>
                  </a:lnTo>
                  <a:lnTo>
                    <a:pt x="60" y="516"/>
                  </a:lnTo>
                  <a:close/>
                  <a:moveTo>
                    <a:pt x="37" y="483"/>
                  </a:moveTo>
                  <a:lnTo>
                    <a:pt x="37" y="483"/>
                  </a:lnTo>
                  <a:lnTo>
                    <a:pt x="37" y="485"/>
                  </a:lnTo>
                  <a:lnTo>
                    <a:pt x="37" y="487"/>
                  </a:lnTo>
                  <a:lnTo>
                    <a:pt x="37" y="487"/>
                  </a:lnTo>
                  <a:lnTo>
                    <a:pt x="37" y="487"/>
                  </a:lnTo>
                  <a:lnTo>
                    <a:pt x="39" y="487"/>
                  </a:lnTo>
                  <a:lnTo>
                    <a:pt x="39" y="485"/>
                  </a:lnTo>
                  <a:lnTo>
                    <a:pt x="39" y="485"/>
                  </a:lnTo>
                  <a:lnTo>
                    <a:pt x="41" y="483"/>
                  </a:lnTo>
                  <a:lnTo>
                    <a:pt x="41" y="483"/>
                  </a:lnTo>
                  <a:lnTo>
                    <a:pt x="41" y="483"/>
                  </a:lnTo>
                  <a:lnTo>
                    <a:pt x="41" y="483"/>
                  </a:lnTo>
                  <a:lnTo>
                    <a:pt x="39" y="483"/>
                  </a:lnTo>
                  <a:lnTo>
                    <a:pt x="37" y="483"/>
                  </a:lnTo>
                  <a:close/>
                  <a:moveTo>
                    <a:pt x="31" y="520"/>
                  </a:moveTo>
                  <a:lnTo>
                    <a:pt x="31" y="520"/>
                  </a:lnTo>
                  <a:lnTo>
                    <a:pt x="31" y="518"/>
                  </a:lnTo>
                  <a:lnTo>
                    <a:pt x="33" y="518"/>
                  </a:lnTo>
                  <a:lnTo>
                    <a:pt x="33" y="516"/>
                  </a:lnTo>
                  <a:lnTo>
                    <a:pt x="33" y="516"/>
                  </a:lnTo>
                  <a:lnTo>
                    <a:pt x="31" y="514"/>
                  </a:lnTo>
                  <a:lnTo>
                    <a:pt x="29" y="516"/>
                  </a:lnTo>
                  <a:lnTo>
                    <a:pt x="29" y="516"/>
                  </a:lnTo>
                  <a:lnTo>
                    <a:pt x="29" y="516"/>
                  </a:lnTo>
                  <a:lnTo>
                    <a:pt x="29" y="518"/>
                  </a:lnTo>
                  <a:lnTo>
                    <a:pt x="27" y="518"/>
                  </a:lnTo>
                  <a:lnTo>
                    <a:pt x="27" y="518"/>
                  </a:lnTo>
                  <a:lnTo>
                    <a:pt x="29" y="518"/>
                  </a:lnTo>
                  <a:lnTo>
                    <a:pt x="29" y="520"/>
                  </a:lnTo>
                  <a:lnTo>
                    <a:pt x="29" y="520"/>
                  </a:lnTo>
                  <a:lnTo>
                    <a:pt x="31" y="520"/>
                  </a:lnTo>
                  <a:close/>
                  <a:moveTo>
                    <a:pt x="64" y="537"/>
                  </a:moveTo>
                  <a:lnTo>
                    <a:pt x="64" y="537"/>
                  </a:lnTo>
                  <a:lnTo>
                    <a:pt x="62" y="539"/>
                  </a:lnTo>
                  <a:lnTo>
                    <a:pt x="62" y="539"/>
                  </a:lnTo>
                  <a:lnTo>
                    <a:pt x="64" y="535"/>
                  </a:lnTo>
                  <a:lnTo>
                    <a:pt x="62" y="531"/>
                  </a:lnTo>
                  <a:lnTo>
                    <a:pt x="64" y="529"/>
                  </a:lnTo>
                  <a:lnTo>
                    <a:pt x="64" y="529"/>
                  </a:lnTo>
                  <a:lnTo>
                    <a:pt x="64" y="529"/>
                  </a:lnTo>
                  <a:lnTo>
                    <a:pt x="62" y="526"/>
                  </a:lnTo>
                  <a:lnTo>
                    <a:pt x="62" y="524"/>
                  </a:lnTo>
                  <a:lnTo>
                    <a:pt x="58" y="524"/>
                  </a:lnTo>
                  <a:lnTo>
                    <a:pt x="56" y="522"/>
                  </a:lnTo>
                  <a:lnTo>
                    <a:pt x="56" y="520"/>
                  </a:lnTo>
                  <a:lnTo>
                    <a:pt x="56" y="518"/>
                  </a:lnTo>
                  <a:lnTo>
                    <a:pt x="56" y="518"/>
                  </a:lnTo>
                  <a:lnTo>
                    <a:pt x="56" y="518"/>
                  </a:lnTo>
                  <a:lnTo>
                    <a:pt x="56" y="518"/>
                  </a:lnTo>
                  <a:lnTo>
                    <a:pt x="56" y="516"/>
                  </a:lnTo>
                  <a:lnTo>
                    <a:pt x="56" y="512"/>
                  </a:lnTo>
                  <a:lnTo>
                    <a:pt x="56" y="510"/>
                  </a:lnTo>
                  <a:lnTo>
                    <a:pt x="56" y="508"/>
                  </a:lnTo>
                  <a:lnTo>
                    <a:pt x="56" y="508"/>
                  </a:lnTo>
                  <a:lnTo>
                    <a:pt x="56" y="506"/>
                  </a:lnTo>
                  <a:lnTo>
                    <a:pt x="56" y="506"/>
                  </a:lnTo>
                  <a:lnTo>
                    <a:pt x="52" y="506"/>
                  </a:lnTo>
                  <a:lnTo>
                    <a:pt x="48" y="504"/>
                  </a:lnTo>
                  <a:lnTo>
                    <a:pt x="41" y="504"/>
                  </a:lnTo>
                  <a:lnTo>
                    <a:pt x="37" y="502"/>
                  </a:lnTo>
                  <a:lnTo>
                    <a:pt x="33" y="498"/>
                  </a:lnTo>
                  <a:lnTo>
                    <a:pt x="29" y="498"/>
                  </a:lnTo>
                  <a:lnTo>
                    <a:pt x="27" y="498"/>
                  </a:lnTo>
                  <a:lnTo>
                    <a:pt x="25" y="498"/>
                  </a:lnTo>
                  <a:lnTo>
                    <a:pt x="23" y="498"/>
                  </a:lnTo>
                  <a:lnTo>
                    <a:pt x="23" y="500"/>
                  </a:lnTo>
                  <a:lnTo>
                    <a:pt x="21" y="500"/>
                  </a:lnTo>
                  <a:lnTo>
                    <a:pt x="21" y="502"/>
                  </a:lnTo>
                  <a:lnTo>
                    <a:pt x="23" y="504"/>
                  </a:lnTo>
                  <a:lnTo>
                    <a:pt x="23" y="504"/>
                  </a:lnTo>
                  <a:lnTo>
                    <a:pt x="25" y="504"/>
                  </a:lnTo>
                  <a:lnTo>
                    <a:pt x="25" y="504"/>
                  </a:lnTo>
                  <a:lnTo>
                    <a:pt x="27" y="504"/>
                  </a:lnTo>
                  <a:lnTo>
                    <a:pt x="29" y="502"/>
                  </a:lnTo>
                  <a:lnTo>
                    <a:pt x="29" y="502"/>
                  </a:lnTo>
                  <a:lnTo>
                    <a:pt x="31" y="502"/>
                  </a:lnTo>
                  <a:lnTo>
                    <a:pt x="33" y="502"/>
                  </a:lnTo>
                  <a:lnTo>
                    <a:pt x="31" y="504"/>
                  </a:lnTo>
                  <a:lnTo>
                    <a:pt x="31" y="504"/>
                  </a:lnTo>
                  <a:lnTo>
                    <a:pt x="29" y="506"/>
                  </a:lnTo>
                  <a:lnTo>
                    <a:pt x="29" y="506"/>
                  </a:lnTo>
                  <a:lnTo>
                    <a:pt x="29" y="504"/>
                  </a:lnTo>
                  <a:lnTo>
                    <a:pt x="29" y="504"/>
                  </a:lnTo>
                  <a:lnTo>
                    <a:pt x="25" y="504"/>
                  </a:lnTo>
                  <a:lnTo>
                    <a:pt x="25" y="504"/>
                  </a:lnTo>
                  <a:lnTo>
                    <a:pt x="25" y="504"/>
                  </a:lnTo>
                  <a:lnTo>
                    <a:pt x="23" y="506"/>
                  </a:lnTo>
                  <a:lnTo>
                    <a:pt x="23" y="508"/>
                  </a:lnTo>
                  <a:lnTo>
                    <a:pt x="23" y="508"/>
                  </a:lnTo>
                  <a:lnTo>
                    <a:pt x="23" y="508"/>
                  </a:lnTo>
                  <a:lnTo>
                    <a:pt x="23" y="510"/>
                  </a:lnTo>
                  <a:lnTo>
                    <a:pt x="21" y="510"/>
                  </a:lnTo>
                  <a:lnTo>
                    <a:pt x="21" y="510"/>
                  </a:lnTo>
                  <a:lnTo>
                    <a:pt x="21" y="510"/>
                  </a:lnTo>
                  <a:lnTo>
                    <a:pt x="21" y="510"/>
                  </a:lnTo>
                  <a:lnTo>
                    <a:pt x="23" y="510"/>
                  </a:lnTo>
                  <a:lnTo>
                    <a:pt x="27" y="510"/>
                  </a:lnTo>
                  <a:lnTo>
                    <a:pt x="27" y="510"/>
                  </a:lnTo>
                  <a:lnTo>
                    <a:pt x="27" y="512"/>
                  </a:lnTo>
                  <a:lnTo>
                    <a:pt x="27" y="512"/>
                  </a:lnTo>
                  <a:lnTo>
                    <a:pt x="27" y="512"/>
                  </a:lnTo>
                  <a:lnTo>
                    <a:pt x="29" y="512"/>
                  </a:lnTo>
                  <a:lnTo>
                    <a:pt x="29" y="510"/>
                  </a:lnTo>
                  <a:lnTo>
                    <a:pt x="29" y="510"/>
                  </a:lnTo>
                  <a:lnTo>
                    <a:pt x="29" y="510"/>
                  </a:lnTo>
                  <a:lnTo>
                    <a:pt x="29" y="510"/>
                  </a:lnTo>
                  <a:lnTo>
                    <a:pt x="29" y="512"/>
                  </a:lnTo>
                  <a:lnTo>
                    <a:pt x="29" y="512"/>
                  </a:lnTo>
                  <a:lnTo>
                    <a:pt x="27" y="512"/>
                  </a:lnTo>
                  <a:lnTo>
                    <a:pt x="27" y="514"/>
                  </a:lnTo>
                  <a:lnTo>
                    <a:pt x="27" y="514"/>
                  </a:lnTo>
                  <a:lnTo>
                    <a:pt x="27" y="514"/>
                  </a:lnTo>
                  <a:lnTo>
                    <a:pt x="29" y="514"/>
                  </a:lnTo>
                  <a:lnTo>
                    <a:pt x="29" y="514"/>
                  </a:lnTo>
                  <a:lnTo>
                    <a:pt x="31" y="514"/>
                  </a:lnTo>
                  <a:lnTo>
                    <a:pt x="31" y="514"/>
                  </a:lnTo>
                  <a:lnTo>
                    <a:pt x="31" y="514"/>
                  </a:lnTo>
                  <a:lnTo>
                    <a:pt x="31" y="514"/>
                  </a:lnTo>
                  <a:lnTo>
                    <a:pt x="33" y="514"/>
                  </a:lnTo>
                  <a:lnTo>
                    <a:pt x="33" y="514"/>
                  </a:lnTo>
                  <a:lnTo>
                    <a:pt x="33" y="516"/>
                  </a:lnTo>
                  <a:lnTo>
                    <a:pt x="33" y="518"/>
                  </a:lnTo>
                  <a:lnTo>
                    <a:pt x="33" y="518"/>
                  </a:lnTo>
                  <a:lnTo>
                    <a:pt x="35" y="518"/>
                  </a:lnTo>
                  <a:lnTo>
                    <a:pt x="35" y="518"/>
                  </a:lnTo>
                  <a:lnTo>
                    <a:pt x="35" y="518"/>
                  </a:lnTo>
                  <a:lnTo>
                    <a:pt x="39" y="518"/>
                  </a:lnTo>
                  <a:lnTo>
                    <a:pt x="37" y="518"/>
                  </a:lnTo>
                  <a:lnTo>
                    <a:pt x="33" y="520"/>
                  </a:lnTo>
                  <a:lnTo>
                    <a:pt x="31" y="520"/>
                  </a:lnTo>
                  <a:lnTo>
                    <a:pt x="31" y="520"/>
                  </a:lnTo>
                  <a:lnTo>
                    <a:pt x="31" y="520"/>
                  </a:lnTo>
                  <a:lnTo>
                    <a:pt x="29" y="522"/>
                  </a:lnTo>
                  <a:lnTo>
                    <a:pt x="29" y="524"/>
                  </a:lnTo>
                  <a:lnTo>
                    <a:pt x="29" y="524"/>
                  </a:lnTo>
                  <a:lnTo>
                    <a:pt x="31" y="522"/>
                  </a:lnTo>
                  <a:lnTo>
                    <a:pt x="31" y="522"/>
                  </a:lnTo>
                  <a:lnTo>
                    <a:pt x="33" y="524"/>
                  </a:lnTo>
                  <a:lnTo>
                    <a:pt x="33" y="524"/>
                  </a:lnTo>
                  <a:lnTo>
                    <a:pt x="33" y="522"/>
                  </a:lnTo>
                  <a:lnTo>
                    <a:pt x="33" y="522"/>
                  </a:lnTo>
                  <a:lnTo>
                    <a:pt x="35" y="522"/>
                  </a:lnTo>
                  <a:lnTo>
                    <a:pt x="35" y="522"/>
                  </a:lnTo>
                  <a:lnTo>
                    <a:pt x="35" y="522"/>
                  </a:lnTo>
                  <a:lnTo>
                    <a:pt x="35" y="524"/>
                  </a:lnTo>
                  <a:lnTo>
                    <a:pt x="35" y="524"/>
                  </a:lnTo>
                  <a:lnTo>
                    <a:pt x="37" y="524"/>
                  </a:lnTo>
                  <a:lnTo>
                    <a:pt x="37" y="524"/>
                  </a:lnTo>
                  <a:lnTo>
                    <a:pt x="35" y="526"/>
                  </a:lnTo>
                  <a:lnTo>
                    <a:pt x="35" y="526"/>
                  </a:lnTo>
                  <a:lnTo>
                    <a:pt x="35" y="526"/>
                  </a:lnTo>
                  <a:lnTo>
                    <a:pt x="37" y="526"/>
                  </a:lnTo>
                  <a:lnTo>
                    <a:pt x="37" y="526"/>
                  </a:lnTo>
                  <a:lnTo>
                    <a:pt x="37" y="526"/>
                  </a:lnTo>
                  <a:lnTo>
                    <a:pt x="39" y="526"/>
                  </a:lnTo>
                  <a:lnTo>
                    <a:pt x="39" y="526"/>
                  </a:lnTo>
                  <a:lnTo>
                    <a:pt x="39" y="526"/>
                  </a:lnTo>
                  <a:lnTo>
                    <a:pt x="37" y="529"/>
                  </a:lnTo>
                  <a:lnTo>
                    <a:pt x="35" y="529"/>
                  </a:lnTo>
                  <a:lnTo>
                    <a:pt x="35" y="529"/>
                  </a:lnTo>
                  <a:lnTo>
                    <a:pt x="37" y="531"/>
                  </a:lnTo>
                  <a:lnTo>
                    <a:pt x="37" y="531"/>
                  </a:lnTo>
                  <a:lnTo>
                    <a:pt x="37" y="533"/>
                  </a:lnTo>
                  <a:lnTo>
                    <a:pt x="39" y="533"/>
                  </a:lnTo>
                  <a:lnTo>
                    <a:pt x="41" y="531"/>
                  </a:lnTo>
                  <a:lnTo>
                    <a:pt x="43" y="531"/>
                  </a:lnTo>
                  <a:lnTo>
                    <a:pt x="48" y="531"/>
                  </a:lnTo>
                  <a:lnTo>
                    <a:pt x="48" y="531"/>
                  </a:lnTo>
                  <a:lnTo>
                    <a:pt x="50" y="529"/>
                  </a:lnTo>
                  <a:lnTo>
                    <a:pt x="50" y="529"/>
                  </a:lnTo>
                  <a:lnTo>
                    <a:pt x="52" y="526"/>
                  </a:lnTo>
                  <a:lnTo>
                    <a:pt x="52" y="526"/>
                  </a:lnTo>
                  <a:lnTo>
                    <a:pt x="50" y="529"/>
                  </a:lnTo>
                  <a:lnTo>
                    <a:pt x="50" y="529"/>
                  </a:lnTo>
                  <a:lnTo>
                    <a:pt x="48" y="531"/>
                  </a:lnTo>
                  <a:lnTo>
                    <a:pt x="46" y="531"/>
                  </a:lnTo>
                  <a:lnTo>
                    <a:pt x="41" y="535"/>
                  </a:lnTo>
                  <a:lnTo>
                    <a:pt x="41" y="535"/>
                  </a:lnTo>
                  <a:lnTo>
                    <a:pt x="41" y="535"/>
                  </a:lnTo>
                  <a:lnTo>
                    <a:pt x="41" y="537"/>
                  </a:lnTo>
                  <a:lnTo>
                    <a:pt x="43" y="537"/>
                  </a:lnTo>
                  <a:lnTo>
                    <a:pt x="46" y="539"/>
                  </a:lnTo>
                  <a:lnTo>
                    <a:pt x="48" y="539"/>
                  </a:lnTo>
                  <a:lnTo>
                    <a:pt x="52" y="541"/>
                  </a:lnTo>
                  <a:lnTo>
                    <a:pt x="54" y="541"/>
                  </a:lnTo>
                  <a:lnTo>
                    <a:pt x="58" y="543"/>
                  </a:lnTo>
                  <a:lnTo>
                    <a:pt x="58" y="543"/>
                  </a:lnTo>
                  <a:lnTo>
                    <a:pt x="58" y="543"/>
                  </a:lnTo>
                  <a:lnTo>
                    <a:pt x="60" y="541"/>
                  </a:lnTo>
                  <a:lnTo>
                    <a:pt x="60" y="541"/>
                  </a:lnTo>
                  <a:lnTo>
                    <a:pt x="62" y="541"/>
                  </a:lnTo>
                  <a:lnTo>
                    <a:pt x="62" y="541"/>
                  </a:lnTo>
                  <a:lnTo>
                    <a:pt x="64" y="541"/>
                  </a:lnTo>
                  <a:lnTo>
                    <a:pt x="64" y="537"/>
                  </a:lnTo>
                  <a:lnTo>
                    <a:pt x="64" y="537"/>
                  </a:lnTo>
                  <a:lnTo>
                    <a:pt x="64" y="537"/>
                  </a:lnTo>
                  <a:lnTo>
                    <a:pt x="64" y="537"/>
                  </a:lnTo>
                  <a:close/>
                  <a:moveTo>
                    <a:pt x="33" y="524"/>
                  </a:moveTo>
                  <a:lnTo>
                    <a:pt x="33" y="524"/>
                  </a:lnTo>
                  <a:lnTo>
                    <a:pt x="33" y="524"/>
                  </a:lnTo>
                  <a:lnTo>
                    <a:pt x="33" y="526"/>
                  </a:lnTo>
                  <a:lnTo>
                    <a:pt x="33" y="526"/>
                  </a:lnTo>
                  <a:lnTo>
                    <a:pt x="35" y="524"/>
                  </a:lnTo>
                  <a:lnTo>
                    <a:pt x="35" y="524"/>
                  </a:lnTo>
                  <a:lnTo>
                    <a:pt x="33" y="524"/>
                  </a:lnTo>
                  <a:close/>
                  <a:moveTo>
                    <a:pt x="41" y="465"/>
                  </a:moveTo>
                  <a:lnTo>
                    <a:pt x="43" y="465"/>
                  </a:lnTo>
                  <a:lnTo>
                    <a:pt x="43" y="465"/>
                  </a:lnTo>
                  <a:lnTo>
                    <a:pt x="46" y="465"/>
                  </a:lnTo>
                  <a:lnTo>
                    <a:pt x="46" y="465"/>
                  </a:lnTo>
                  <a:lnTo>
                    <a:pt x="43" y="467"/>
                  </a:lnTo>
                  <a:lnTo>
                    <a:pt x="43" y="467"/>
                  </a:lnTo>
                  <a:lnTo>
                    <a:pt x="41" y="469"/>
                  </a:lnTo>
                  <a:lnTo>
                    <a:pt x="39" y="471"/>
                  </a:lnTo>
                  <a:lnTo>
                    <a:pt x="39" y="473"/>
                  </a:lnTo>
                  <a:lnTo>
                    <a:pt x="41" y="471"/>
                  </a:lnTo>
                  <a:lnTo>
                    <a:pt x="43" y="469"/>
                  </a:lnTo>
                  <a:lnTo>
                    <a:pt x="46" y="469"/>
                  </a:lnTo>
                  <a:lnTo>
                    <a:pt x="48" y="467"/>
                  </a:lnTo>
                  <a:lnTo>
                    <a:pt x="52" y="461"/>
                  </a:lnTo>
                  <a:lnTo>
                    <a:pt x="54" y="459"/>
                  </a:lnTo>
                  <a:lnTo>
                    <a:pt x="52" y="457"/>
                  </a:lnTo>
                  <a:lnTo>
                    <a:pt x="52" y="457"/>
                  </a:lnTo>
                  <a:lnTo>
                    <a:pt x="52" y="454"/>
                  </a:lnTo>
                  <a:lnTo>
                    <a:pt x="50" y="454"/>
                  </a:lnTo>
                  <a:lnTo>
                    <a:pt x="50" y="457"/>
                  </a:lnTo>
                  <a:lnTo>
                    <a:pt x="48" y="457"/>
                  </a:lnTo>
                  <a:lnTo>
                    <a:pt x="46" y="459"/>
                  </a:lnTo>
                  <a:lnTo>
                    <a:pt x="43" y="459"/>
                  </a:lnTo>
                  <a:lnTo>
                    <a:pt x="43" y="461"/>
                  </a:lnTo>
                  <a:lnTo>
                    <a:pt x="43" y="461"/>
                  </a:lnTo>
                  <a:lnTo>
                    <a:pt x="43" y="463"/>
                  </a:lnTo>
                  <a:lnTo>
                    <a:pt x="43" y="463"/>
                  </a:lnTo>
                  <a:lnTo>
                    <a:pt x="41" y="465"/>
                  </a:lnTo>
                  <a:close/>
                  <a:moveTo>
                    <a:pt x="25" y="442"/>
                  </a:moveTo>
                  <a:lnTo>
                    <a:pt x="25" y="442"/>
                  </a:lnTo>
                  <a:lnTo>
                    <a:pt x="27" y="440"/>
                  </a:lnTo>
                  <a:lnTo>
                    <a:pt x="27" y="440"/>
                  </a:lnTo>
                  <a:lnTo>
                    <a:pt x="25" y="440"/>
                  </a:lnTo>
                  <a:lnTo>
                    <a:pt x="23" y="442"/>
                  </a:lnTo>
                  <a:lnTo>
                    <a:pt x="19" y="442"/>
                  </a:lnTo>
                  <a:lnTo>
                    <a:pt x="19" y="442"/>
                  </a:lnTo>
                  <a:lnTo>
                    <a:pt x="17" y="444"/>
                  </a:lnTo>
                  <a:lnTo>
                    <a:pt x="17" y="444"/>
                  </a:lnTo>
                  <a:lnTo>
                    <a:pt x="15" y="446"/>
                  </a:lnTo>
                  <a:lnTo>
                    <a:pt x="15" y="448"/>
                  </a:lnTo>
                  <a:lnTo>
                    <a:pt x="13" y="448"/>
                  </a:lnTo>
                  <a:lnTo>
                    <a:pt x="9" y="448"/>
                  </a:lnTo>
                  <a:lnTo>
                    <a:pt x="9" y="448"/>
                  </a:lnTo>
                  <a:lnTo>
                    <a:pt x="9" y="448"/>
                  </a:lnTo>
                  <a:lnTo>
                    <a:pt x="9" y="448"/>
                  </a:lnTo>
                  <a:lnTo>
                    <a:pt x="9" y="448"/>
                  </a:lnTo>
                  <a:lnTo>
                    <a:pt x="15" y="446"/>
                  </a:lnTo>
                  <a:lnTo>
                    <a:pt x="17" y="444"/>
                  </a:lnTo>
                  <a:lnTo>
                    <a:pt x="17" y="444"/>
                  </a:lnTo>
                  <a:lnTo>
                    <a:pt x="17" y="442"/>
                  </a:lnTo>
                  <a:lnTo>
                    <a:pt x="19" y="442"/>
                  </a:lnTo>
                  <a:lnTo>
                    <a:pt x="19" y="440"/>
                  </a:lnTo>
                  <a:lnTo>
                    <a:pt x="19" y="440"/>
                  </a:lnTo>
                  <a:lnTo>
                    <a:pt x="17" y="440"/>
                  </a:lnTo>
                  <a:lnTo>
                    <a:pt x="15" y="442"/>
                  </a:lnTo>
                  <a:lnTo>
                    <a:pt x="15" y="440"/>
                  </a:lnTo>
                  <a:lnTo>
                    <a:pt x="11" y="440"/>
                  </a:lnTo>
                  <a:lnTo>
                    <a:pt x="11" y="440"/>
                  </a:lnTo>
                  <a:lnTo>
                    <a:pt x="9" y="440"/>
                  </a:lnTo>
                  <a:lnTo>
                    <a:pt x="9" y="440"/>
                  </a:lnTo>
                  <a:lnTo>
                    <a:pt x="7" y="442"/>
                  </a:lnTo>
                  <a:lnTo>
                    <a:pt x="4" y="444"/>
                  </a:lnTo>
                  <a:lnTo>
                    <a:pt x="2" y="444"/>
                  </a:lnTo>
                  <a:lnTo>
                    <a:pt x="2" y="446"/>
                  </a:lnTo>
                  <a:lnTo>
                    <a:pt x="2" y="448"/>
                  </a:lnTo>
                  <a:lnTo>
                    <a:pt x="2" y="448"/>
                  </a:lnTo>
                  <a:lnTo>
                    <a:pt x="2" y="450"/>
                  </a:lnTo>
                  <a:lnTo>
                    <a:pt x="2" y="450"/>
                  </a:lnTo>
                  <a:lnTo>
                    <a:pt x="2" y="452"/>
                  </a:lnTo>
                  <a:lnTo>
                    <a:pt x="4" y="454"/>
                  </a:lnTo>
                  <a:lnTo>
                    <a:pt x="4" y="454"/>
                  </a:lnTo>
                  <a:lnTo>
                    <a:pt x="4" y="454"/>
                  </a:lnTo>
                  <a:lnTo>
                    <a:pt x="2" y="454"/>
                  </a:lnTo>
                  <a:lnTo>
                    <a:pt x="2" y="452"/>
                  </a:lnTo>
                  <a:lnTo>
                    <a:pt x="0" y="452"/>
                  </a:lnTo>
                  <a:lnTo>
                    <a:pt x="0" y="454"/>
                  </a:lnTo>
                  <a:lnTo>
                    <a:pt x="0" y="454"/>
                  </a:lnTo>
                  <a:lnTo>
                    <a:pt x="0" y="457"/>
                  </a:lnTo>
                  <a:lnTo>
                    <a:pt x="2" y="457"/>
                  </a:lnTo>
                  <a:lnTo>
                    <a:pt x="9" y="454"/>
                  </a:lnTo>
                  <a:lnTo>
                    <a:pt x="11" y="454"/>
                  </a:lnTo>
                  <a:lnTo>
                    <a:pt x="13" y="452"/>
                  </a:lnTo>
                  <a:lnTo>
                    <a:pt x="15" y="450"/>
                  </a:lnTo>
                  <a:lnTo>
                    <a:pt x="17" y="448"/>
                  </a:lnTo>
                  <a:lnTo>
                    <a:pt x="21" y="444"/>
                  </a:lnTo>
                  <a:lnTo>
                    <a:pt x="25" y="442"/>
                  </a:lnTo>
                  <a:close/>
                  <a:moveTo>
                    <a:pt x="33" y="450"/>
                  </a:moveTo>
                  <a:lnTo>
                    <a:pt x="35" y="450"/>
                  </a:lnTo>
                  <a:lnTo>
                    <a:pt x="35" y="452"/>
                  </a:lnTo>
                  <a:lnTo>
                    <a:pt x="35" y="454"/>
                  </a:lnTo>
                  <a:lnTo>
                    <a:pt x="35" y="457"/>
                  </a:lnTo>
                  <a:lnTo>
                    <a:pt x="37" y="457"/>
                  </a:lnTo>
                  <a:lnTo>
                    <a:pt x="37" y="457"/>
                  </a:lnTo>
                  <a:lnTo>
                    <a:pt x="39" y="457"/>
                  </a:lnTo>
                  <a:lnTo>
                    <a:pt x="39" y="454"/>
                  </a:lnTo>
                  <a:lnTo>
                    <a:pt x="39" y="452"/>
                  </a:lnTo>
                  <a:lnTo>
                    <a:pt x="39" y="450"/>
                  </a:lnTo>
                  <a:lnTo>
                    <a:pt x="39" y="450"/>
                  </a:lnTo>
                  <a:lnTo>
                    <a:pt x="37" y="448"/>
                  </a:lnTo>
                  <a:lnTo>
                    <a:pt x="35" y="448"/>
                  </a:lnTo>
                  <a:lnTo>
                    <a:pt x="33" y="450"/>
                  </a:lnTo>
                  <a:close/>
                  <a:moveTo>
                    <a:pt x="39" y="442"/>
                  </a:moveTo>
                  <a:lnTo>
                    <a:pt x="37" y="444"/>
                  </a:lnTo>
                  <a:lnTo>
                    <a:pt x="37" y="444"/>
                  </a:lnTo>
                  <a:lnTo>
                    <a:pt x="37" y="444"/>
                  </a:lnTo>
                  <a:lnTo>
                    <a:pt x="37" y="444"/>
                  </a:lnTo>
                  <a:lnTo>
                    <a:pt x="37" y="444"/>
                  </a:lnTo>
                  <a:lnTo>
                    <a:pt x="37" y="444"/>
                  </a:lnTo>
                  <a:lnTo>
                    <a:pt x="37" y="444"/>
                  </a:lnTo>
                  <a:lnTo>
                    <a:pt x="37" y="444"/>
                  </a:lnTo>
                  <a:lnTo>
                    <a:pt x="37" y="444"/>
                  </a:lnTo>
                  <a:lnTo>
                    <a:pt x="39" y="444"/>
                  </a:lnTo>
                  <a:lnTo>
                    <a:pt x="39" y="444"/>
                  </a:lnTo>
                  <a:lnTo>
                    <a:pt x="39" y="444"/>
                  </a:lnTo>
                  <a:lnTo>
                    <a:pt x="39" y="444"/>
                  </a:lnTo>
                  <a:lnTo>
                    <a:pt x="39" y="444"/>
                  </a:lnTo>
                  <a:lnTo>
                    <a:pt x="39" y="444"/>
                  </a:lnTo>
                  <a:lnTo>
                    <a:pt x="41" y="444"/>
                  </a:lnTo>
                  <a:lnTo>
                    <a:pt x="43" y="444"/>
                  </a:lnTo>
                  <a:lnTo>
                    <a:pt x="43" y="442"/>
                  </a:lnTo>
                  <a:lnTo>
                    <a:pt x="46" y="442"/>
                  </a:lnTo>
                  <a:lnTo>
                    <a:pt x="43" y="442"/>
                  </a:lnTo>
                  <a:lnTo>
                    <a:pt x="43" y="440"/>
                  </a:lnTo>
                  <a:lnTo>
                    <a:pt x="43" y="440"/>
                  </a:lnTo>
                  <a:lnTo>
                    <a:pt x="43" y="440"/>
                  </a:lnTo>
                  <a:lnTo>
                    <a:pt x="39" y="442"/>
                  </a:lnTo>
                  <a:close/>
                  <a:moveTo>
                    <a:pt x="48" y="432"/>
                  </a:moveTo>
                  <a:lnTo>
                    <a:pt x="48" y="432"/>
                  </a:lnTo>
                  <a:lnTo>
                    <a:pt x="48" y="432"/>
                  </a:lnTo>
                  <a:lnTo>
                    <a:pt x="48" y="432"/>
                  </a:lnTo>
                  <a:lnTo>
                    <a:pt x="46" y="432"/>
                  </a:lnTo>
                  <a:lnTo>
                    <a:pt x="46" y="432"/>
                  </a:lnTo>
                  <a:lnTo>
                    <a:pt x="43" y="434"/>
                  </a:lnTo>
                  <a:lnTo>
                    <a:pt x="43" y="434"/>
                  </a:lnTo>
                  <a:lnTo>
                    <a:pt x="43" y="434"/>
                  </a:lnTo>
                  <a:lnTo>
                    <a:pt x="43" y="434"/>
                  </a:lnTo>
                  <a:lnTo>
                    <a:pt x="46" y="432"/>
                  </a:lnTo>
                  <a:lnTo>
                    <a:pt x="48" y="432"/>
                  </a:lnTo>
                  <a:close/>
                  <a:moveTo>
                    <a:pt x="830" y="76"/>
                  </a:moveTo>
                  <a:lnTo>
                    <a:pt x="830" y="76"/>
                  </a:lnTo>
                  <a:lnTo>
                    <a:pt x="830" y="78"/>
                  </a:lnTo>
                  <a:lnTo>
                    <a:pt x="830" y="78"/>
                  </a:lnTo>
                  <a:lnTo>
                    <a:pt x="832" y="78"/>
                  </a:lnTo>
                  <a:lnTo>
                    <a:pt x="832" y="78"/>
                  </a:lnTo>
                  <a:lnTo>
                    <a:pt x="830" y="78"/>
                  </a:lnTo>
                  <a:lnTo>
                    <a:pt x="830" y="78"/>
                  </a:lnTo>
                  <a:lnTo>
                    <a:pt x="828" y="78"/>
                  </a:lnTo>
                  <a:lnTo>
                    <a:pt x="826" y="78"/>
                  </a:lnTo>
                  <a:lnTo>
                    <a:pt x="826" y="78"/>
                  </a:lnTo>
                  <a:lnTo>
                    <a:pt x="826" y="80"/>
                  </a:lnTo>
                  <a:lnTo>
                    <a:pt x="826" y="80"/>
                  </a:lnTo>
                  <a:lnTo>
                    <a:pt x="826" y="80"/>
                  </a:lnTo>
                  <a:lnTo>
                    <a:pt x="828" y="80"/>
                  </a:lnTo>
                  <a:lnTo>
                    <a:pt x="832" y="82"/>
                  </a:lnTo>
                  <a:lnTo>
                    <a:pt x="834" y="82"/>
                  </a:lnTo>
                  <a:lnTo>
                    <a:pt x="836" y="82"/>
                  </a:lnTo>
                  <a:lnTo>
                    <a:pt x="834" y="82"/>
                  </a:lnTo>
                  <a:lnTo>
                    <a:pt x="834" y="82"/>
                  </a:lnTo>
                  <a:lnTo>
                    <a:pt x="830" y="82"/>
                  </a:lnTo>
                  <a:lnTo>
                    <a:pt x="830" y="82"/>
                  </a:lnTo>
                  <a:lnTo>
                    <a:pt x="830" y="84"/>
                  </a:lnTo>
                  <a:lnTo>
                    <a:pt x="830" y="84"/>
                  </a:lnTo>
                  <a:lnTo>
                    <a:pt x="834" y="84"/>
                  </a:lnTo>
                  <a:lnTo>
                    <a:pt x="834" y="86"/>
                  </a:lnTo>
                  <a:lnTo>
                    <a:pt x="836" y="86"/>
                  </a:lnTo>
                  <a:lnTo>
                    <a:pt x="840" y="86"/>
                  </a:lnTo>
                  <a:lnTo>
                    <a:pt x="842" y="86"/>
                  </a:lnTo>
                  <a:lnTo>
                    <a:pt x="844" y="86"/>
                  </a:lnTo>
                  <a:lnTo>
                    <a:pt x="848" y="86"/>
                  </a:lnTo>
                  <a:lnTo>
                    <a:pt x="850" y="86"/>
                  </a:lnTo>
                  <a:lnTo>
                    <a:pt x="852" y="86"/>
                  </a:lnTo>
                  <a:lnTo>
                    <a:pt x="852" y="86"/>
                  </a:lnTo>
                  <a:lnTo>
                    <a:pt x="857" y="84"/>
                  </a:lnTo>
                  <a:lnTo>
                    <a:pt x="859" y="84"/>
                  </a:lnTo>
                  <a:lnTo>
                    <a:pt x="859" y="84"/>
                  </a:lnTo>
                  <a:lnTo>
                    <a:pt x="859" y="86"/>
                  </a:lnTo>
                  <a:lnTo>
                    <a:pt x="859" y="89"/>
                  </a:lnTo>
                  <a:lnTo>
                    <a:pt x="859" y="91"/>
                  </a:lnTo>
                  <a:lnTo>
                    <a:pt x="861" y="91"/>
                  </a:lnTo>
                  <a:lnTo>
                    <a:pt x="861" y="93"/>
                  </a:lnTo>
                  <a:lnTo>
                    <a:pt x="859" y="93"/>
                  </a:lnTo>
                  <a:lnTo>
                    <a:pt x="859" y="95"/>
                  </a:lnTo>
                  <a:lnTo>
                    <a:pt x="859" y="95"/>
                  </a:lnTo>
                  <a:lnTo>
                    <a:pt x="857" y="95"/>
                  </a:lnTo>
                  <a:lnTo>
                    <a:pt x="857" y="95"/>
                  </a:lnTo>
                  <a:lnTo>
                    <a:pt x="852" y="97"/>
                  </a:lnTo>
                  <a:lnTo>
                    <a:pt x="850" y="99"/>
                  </a:lnTo>
                  <a:lnTo>
                    <a:pt x="850" y="99"/>
                  </a:lnTo>
                  <a:lnTo>
                    <a:pt x="848" y="99"/>
                  </a:lnTo>
                  <a:lnTo>
                    <a:pt x="848" y="101"/>
                  </a:lnTo>
                  <a:lnTo>
                    <a:pt x="848" y="101"/>
                  </a:lnTo>
                  <a:lnTo>
                    <a:pt x="848" y="101"/>
                  </a:lnTo>
                  <a:lnTo>
                    <a:pt x="848" y="101"/>
                  </a:lnTo>
                  <a:lnTo>
                    <a:pt x="848" y="103"/>
                  </a:lnTo>
                  <a:lnTo>
                    <a:pt x="848" y="103"/>
                  </a:lnTo>
                  <a:lnTo>
                    <a:pt x="846" y="103"/>
                  </a:lnTo>
                  <a:lnTo>
                    <a:pt x="846" y="103"/>
                  </a:lnTo>
                  <a:lnTo>
                    <a:pt x="846" y="105"/>
                  </a:lnTo>
                  <a:lnTo>
                    <a:pt x="844" y="107"/>
                  </a:lnTo>
                  <a:lnTo>
                    <a:pt x="844" y="107"/>
                  </a:lnTo>
                  <a:lnTo>
                    <a:pt x="846" y="109"/>
                  </a:lnTo>
                  <a:lnTo>
                    <a:pt x="846" y="109"/>
                  </a:lnTo>
                  <a:lnTo>
                    <a:pt x="848" y="109"/>
                  </a:lnTo>
                  <a:lnTo>
                    <a:pt x="850" y="109"/>
                  </a:lnTo>
                  <a:lnTo>
                    <a:pt x="850" y="109"/>
                  </a:lnTo>
                  <a:lnTo>
                    <a:pt x="852" y="109"/>
                  </a:lnTo>
                  <a:lnTo>
                    <a:pt x="852" y="109"/>
                  </a:lnTo>
                  <a:lnTo>
                    <a:pt x="852" y="107"/>
                  </a:lnTo>
                  <a:lnTo>
                    <a:pt x="857" y="107"/>
                  </a:lnTo>
                  <a:lnTo>
                    <a:pt x="857" y="107"/>
                  </a:lnTo>
                  <a:lnTo>
                    <a:pt x="854" y="107"/>
                  </a:lnTo>
                  <a:lnTo>
                    <a:pt x="854" y="109"/>
                  </a:lnTo>
                  <a:lnTo>
                    <a:pt x="857" y="109"/>
                  </a:lnTo>
                  <a:lnTo>
                    <a:pt x="857" y="109"/>
                  </a:lnTo>
                  <a:lnTo>
                    <a:pt x="859" y="109"/>
                  </a:lnTo>
                  <a:lnTo>
                    <a:pt x="863" y="111"/>
                  </a:lnTo>
                  <a:lnTo>
                    <a:pt x="865" y="111"/>
                  </a:lnTo>
                  <a:lnTo>
                    <a:pt x="867" y="111"/>
                  </a:lnTo>
                  <a:lnTo>
                    <a:pt x="869" y="111"/>
                  </a:lnTo>
                  <a:lnTo>
                    <a:pt x="871" y="109"/>
                  </a:lnTo>
                  <a:lnTo>
                    <a:pt x="873" y="109"/>
                  </a:lnTo>
                  <a:lnTo>
                    <a:pt x="873" y="109"/>
                  </a:lnTo>
                  <a:lnTo>
                    <a:pt x="873" y="109"/>
                  </a:lnTo>
                  <a:lnTo>
                    <a:pt x="873" y="107"/>
                  </a:lnTo>
                  <a:lnTo>
                    <a:pt x="875" y="107"/>
                  </a:lnTo>
                  <a:lnTo>
                    <a:pt x="875" y="107"/>
                  </a:lnTo>
                  <a:lnTo>
                    <a:pt x="875" y="107"/>
                  </a:lnTo>
                  <a:lnTo>
                    <a:pt x="877" y="107"/>
                  </a:lnTo>
                  <a:lnTo>
                    <a:pt x="877" y="107"/>
                  </a:lnTo>
                  <a:lnTo>
                    <a:pt x="877" y="107"/>
                  </a:lnTo>
                  <a:lnTo>
                    <a:pt x="877" y="107"/>
                  </a:lnTo>
                  <a:lnTo>
                    <a:pt x="877" y="109"/>
                  </a:lnTo>
                  <a:lnTo>
                    <a:pt x="877" y="109"/>
                  </a:lnTo>
                  <a:lnTo>
                    <a:pt x="879" y="109"/>
                  </a:lnTo>
                  <a:lnTo>
                    <a:pt x="881" y="107"/>
                  </a:lnTo>
                  <a:lnTo>
                    <a:pt x="883" y="107"/>
                  </a:lnTo>
                  <a:lnTo>
                    <a:pt x="883" y="107"/>
                  </a:lnTo>
                  <a:lnTo>
                    <a:pt x="883" y="107"/>
                  </a:lnTo>
                  <a:lnTo>
                    <a:pt x="883" y="107"/>
                  </a:lnTo>
                  <a:lnTo>
                    <a:pt x="883" y="107"/>
                  </a:lnTo>
                  <a:lnTo>
                    <a:pt x="881" y="109"/>
                  </a:lnTo>
                  <a:lnTo>
                    <a:pt x="879" y="109"/>
                  </a:lnTo>
                  <a:lnTo>
                    <a:pt x="879" y="111"/>
                  </a:lnTo>
                  <a:lnTo>
                    <a:pt x="877" y="111"/>
                  </a:lnTo>
                  <a:lnTo>
                    <a:pt x="879" y="111"/>
                  </a:lnTo>
                  <a:lnTo>
                    <a:pt x="879" y="111"/>
                  </a:lnTo>
                  <a:lnTo>
                    <a:pt x="883" y="111"/>
                  </a:lnTo>
                  <a:lnTo>
                    <a:pt x="887" y="111"/>
                  </a:lnTo>
                  <a:lnTo>
                    <a:pt x="891" y="111"/>
                  </a:lnTo>
                  <a:lnTo>
                    <a:pt x="893" y="111"/>
                  </a:lnTo>
                  <a:lnTo>
                    <a:pt x="898" y="111"/>
                  </a:lnTo>
                  <a:lnTo>
                    <a:pt x="898" y="111"/>
                  </a:lnTo>
                  <a:lnTo>
                    <a:pt x="898" y="111"/>
                  </a:lnTo>
                  <a:lnTo>
                    <a:pt x="900" y="111"/>
                  </a:lnTo>
                  <a:lnTo>
                    <a:pt x="902" y="111"/>
                  </a:lnTo>
                  <a:lnTo>
                    <a:pt x="904" y="111"/>
                  </a:lnTo>
                  <a:lnTo>
                    <a:pt x="906" y="111"/>
                  </a:lnTo>
                  <a:lnTo>
                    <a:pt x="906" y="111"/>
                  </a:lnTo>
                  <a:lnTo>
                    <a:pt x="908" y="111"/>
                  </a:lnTo>
                  <a:lnTo>
                    <a:pt x="912" y="111"/>
                  </a:lnTo>
                  <a:lnTo>
                    <a:pt x="912" y="111"/>
                  </a:lnTo>
                  <a:lnTo>
                    <a:pt x="912" y="111"/>
                  </a:lnTo>
                  <a:lnTo>
                    <a:pt x="912" y="109"/>
                  </a:lnTo>
                  <a:lnTo>
                    <a:pt x="914" y="109"/>
                  </a:lnTo>
                  <a:lnTo>
                    <a:pt x="914" y="111"/>
                  </a:lnTo>
                  <a:lnTo>
                    <a:pt x="914" y="111"/>
                  </a:lnTo>
                  <a:lnTo>
                    <a:pt x="916" y="111"/>
                  </a:lnTo>
                  <a:lnTo>
                    <a:pt x="916" y="111"/>
                  </a:lnTo>
                  <a:lnTo>
                    <a:pt x="918" y="109"/>
                  </a:lnTo>
                  <a:lnTo>
                    <a:pt x="918" y="109"/>
                  </a:lnTo>
                  <a:lnTo>
                    <a:pt x="918" y="111"/>
                  </a:lnTo>
                  <a:lnTo>
                    <a:pt x="918" y="111"/>
                  </a:lnTo>
                  <a:lnTo>
                    <a:pt x="920" y="111"/>
                  </a:lnTo>
                  <a:lnTo>
                    <a:pt x="922" y="111"/>
                  </a:lnTo>
                  <a:lnTo>
                    <a:pt x="924" y="111"/>
                  </a:lnTo>
                  <a:lnTo>
                    <a:pt x="930" y="111"/>
                  </a:lnTo>
                  <a:lnTo>
                    <a:pt x="932" y="111"/>
                  </a:lnTo>
                  <a:lnTo>
                    <a:pt x="935" y="111"/>
                  </a:lnTo>
                  <a:lnTo>
                    <a:pt x="937" y="109"/>
                  </a:lnTo>
                  <a:lnTo>
                    <a:pt x="937" y="109"/>
                  </a:lnTo>
                  <a:lnTo>
                    <a:pt x="939" y="107"/>
                  </a:lnTo>
                  <a:lnTo>
                    <a:pt x="939" y="107"/>
                  </a:lnTo>
                  <a:lnTo>
                    <a:pt x="939" y="107"/>
                  </a:lnTo>
                  <a:lnTo>
                    <a:pt x="939" y="107"/>
                  </a:lnTo>
                  <a:lnTo>
                    <a:pt x="939" y="105"/>
                  </a:lnTo>
                  <a:lnTo>
                    <a:pt x="939" y="105"/>
                  </a:lnTo>
                  <a:lnTo>
                    <a:pt x="939" y="105"/>
                  </a:lnTo>
                  <a:lnTo>
                    <a:pt x="941" y="107"/>
                  </a:lnTo>
                  <a:lnTo>
                    <a:pt x="941" y="107"/>
                  </a:lnTo>
                  <a:lnTo>
                    <a:pt x="943" y="107"/>
                  </a:lnTo>
                  <a:lnTo>
                    <a:pt x="941" y="107"/>
                  </a:lnTo>
                  <a:lnTo>
                    <a:pt x="941" y="107"/>
                  </a:lnTo>
                  <a:lnTo>
                    <a:pt x="941" y="109"/>
                  </a:lnTo>
                  <a:lnTo>
                    <a:pt x="941" y="109"/>
                  </a:lnTo>
                  <a:lnTo>
                    <a:pt x="941" y="111"/>
                  </a:lnTo>
                  <a:lnTo>
                    <a:pt x="941" y="111"/>
                  </a:lnTo>
                  <a:lnTo>
                    <a:pt x="943" y="111"/>
                  </a:lnTo>
                  <a:lnTo>
                    <a:pt x="943" y="111"/>
                  </a:lnTo>
                  <a:lnTo>
                    <a:pt x="945" y="111"/>
                  </a:lnTo>
                  <a:lnTo>
                    <a:pt x="949" y="111"/>
                  </a:lnTo>
                  <a:lnTo>
                    <a:pt x="949" y="111"/>
                  </a:lnTo>
                  <a:lnTo>
                    <a:pt x="951" y="111"/>
                  </a:lnTo>
                  <a:lnTo>
                    <a:pt x="953" y="111"/>
                  </a:lnTo>
                  <a:lnTo>
                    <a:pt x="957" y="111"/>
                  </a:lnTo>
                  <a:lnTo>
                    <a:pt x="959" y="111"/>
                  </a:lnTo>
                  <a:lnTo>
                    <a:pt x="969" y="111"/>
                  </a:lnTo>
                  <a:lnTo>
                    <a:pt x="969" y="111"/>
                  </a:lnTo>
                  <a:lnTo>
                    <a:pt x="971" y="109"/>
                  </a:lnTo>
                  <a:lnTo>
                    <a:pt x="971" y="109"/>
                  </a:lnTo>
                  <a:lnTo>
                    <a:pt x="974" y="107"/>
                  </a:lnTo>
                  <a:lnTo>
                    <a:pt x="974" y="107"/>
                  </a:lnTo>
                  <a:lnTo>
                    <a:pt x="974" y="107"/>
                  </a:lnTo>
                  <a:lnTo>
                    <a:pt x="974" y="107"/>
                  </a:lnTo>
                  <a:lnTo>
                    <a:pt x="974" y="105"/>
                  </a:lnTo>
                  <a:lnTo>
                    <a:pt x="974" y="105"/>
                  </a:lnTo>
                  <a:lnTo>
                    <a:pt x="974" y="105"/>
                  </a:lnTo>
                  <a:lnTo>
                    <a:pt x="976" y="105"/>
                  </a:lnTo>
                  <a:lnTo>
                    <a:pt x="978" y="107"/>
                  </a:lnTo>
                  <a:lnTo>
                    <a:pt x="982" y="105"/>
                  </a:lnTo>
                  <a:lnTo>
                    <a:pt x="984" y="105"/>
                  </a:lnTo>
                  <a:lnTo>
                    <a:pt x="984" y="105"/>
                  </a:lnTo>
                  <a:lnTo>
                    <a:pt x="984" y="105"/>
                  </a:lnTo>
                  <a:lnTo>
                    <a:pt x="982" y="103"/>
                  </a:lnTo>
                  <a:lnTo>
                    <a:pt x="982" y="103"/>
                  </a:lnTo>
                  <a:lnTo>
                    <a:pt x="978" y="105"/>
                  </a:lnTo>
                  <a:lnTo>
                    <a:pt x="978" y="105"/>
                  </a:lnTo>
                  <a:lnTo>
                    <a:pt x="976" y="105"/>
                  </a:lnTo>
                  <a:lnTo>
                    <a:pt x="976" y="103"/>
                  </a:lnTo>
                  <a:lnTo>
                    <a:pt x="976" y="103"/>
                  </a:lnTo>
                  <a:lnTo>
                    <a:pt x="980" y="103"/>
                  </a:lnTo>
                  <a:lnTo>
                    <a:pt x="986" y="101"/>
                  </a:lnTo>
                  <a:lnTo>
                    <a:pt x="988" y="101"/>
                  </a:lnTo>
                  <a:lnTo>
                    <a:pt x="988" y="101"/>
                  </a:lnTo>
                  <a:lnTo>
                    <a:pt x="988" y="99"/>
                  </a:lnTo>
                  <a:lnTo>
                    <a:pt x="988" y="97"/>
                  </a:lnTo>
                  <a:lnTo>
                    <a:pt x="988" y="97"/>
                  </a:lnTo>
                  <a:lnTo>
                    <a:pt x="984" y="97"/>
                  </a:lnTo>
                  <a:lnTo>
                    <a:pt x="982" y="97"/>
                  </a:lnTo>
                  <a:lnTo>
                    <a:pt x="982" y="97"/>
                  </a:lnTo>
                  <a:lnTo>
                    <a:pt x="986" y="97"/>
                  </a:lnTo>
                  <a:lnTo>
                    <a:pt x="986" y="97"/>
                  </a:lnTo>
                  <a:lnTo>
                    <a:pt x="986" y="97"/>
                  </a:lnTo>
                  <a:lnTo>
                    <a:pt x="984" y="95"/>
                  </a:lnTo>
                  <a:lnTo>
                    <a:pt x="982" y="95"/>
                  </a:lnTo>
                  <a:lnTo>
                    <a:pt x="978" y="95"/>
                  </a:lnTo>
                  <a:lnTo>
                    <a:pt x="976" y="95"/>
                  </a:lnTo>
                  <a:lnTo>
                    <a:pt x="976" y="95"/>
                  </a:lnTo>
                  <a:lnTo>
                    <a:pt x="976" y="95"/>
                  </a:lnTo>
                  <a:lnTo>
                    <a:pt x="978" y="95"/>
                  </a:lnTo>
                  <a:lnTo>
                    <a:pt x="976" y="93"/>
                  </a:lnTo>
                  <a:lnTo>
                    <a:pt x="971" y="93"/>
                  </a:lnTo>
                  <a:lnTo>
                    <a:pt x="967" y="93"/>
                  </a:lnTo>
                  <a:lnTo>
                    <a:pt x="965" y="93"/>
                  </a:lnTo>
                  <a:lnTo>
                    <a:pt x="963" y="93"/>
                  </a:lnTo>
                  <a:lnTo>
                    <a:pt x="957" y="93"/>
                  </a:lnTo>
                  <a:lnTo>
                    <a:pt x="955" y="93"/>
                  </a:lnTo>
                  <a:lnTo>
                    <a:pt x="951" y="93"/>
                  </a:lnTo>
                  <a:lnTo>
                    <a:pt x="949" y="93"/>
                  </a:lnTo>
                  <a:lnTo>
                    <a:pt x="947" y="93"/>
                  </a:lnTo>
                  <a:lnTo>
                    <a:pt x="945" y="93"/>
                  </a:lnTo>
                  <a:lnTo>
                    <a:pt x="939" y="95"/>
                  </a:lnTo>
                  <a:lnTo>
                    <a:pt x="937" y="95"/>
                  </a:lnTo>
                  <a:lnTo>
                    <a:pt x="935" y="95"/>
                  </a:lnTo>
                  <a:lnTo>
                    <a:pt x="928" y="97"/>
                  </a:lnTo>
                  <a:lnTo>
                    <a:pt x="926" y="97"/>
                  </a:lnTo>
                  <a:lnTo>
                    <a:pt x="922" y="97"/>
                  </a:lnTo>
                  <a:lnTo>
                    <a:pt x="920" y="97"/>
                  </a:lnTo>
                  <a:lnTo>
                    <a:pt x="920" y="99"/>
                  </a:lnTo>
                  <a:lnTo>
                    <a:pt x="920" y="99"/>
                  </a:lnTo>
                  <a:lnTo>
                    <a:pt x="916" y="99"/>
                  </a:lnTo>
                  <a:lnTo>
                    <a:pt x="916" y="99"/>
                  </a:lnTo>
                  <a:lnTo>
                    <a:pt x="914" y="97"/>
                  </a:lnTo>
                  <a:lnTo>
                    <a:pt x="912" y="97"/>
                  </a:lnTo>
                  <a:lnTo>
                    <a:pt x="910" y="95"/>
                  </a:lnTo>
                  <a:lnTo>
                    <a:pt x="908" y="97"/>
                  </a:lnTo>
                  <a:lnTo>
                    <a:pt x="904" y="97"/>
                  </a:lnTo>
                  <a:lnTo>
                    <a:pt x="904" y="97"/>
                  </a:lnTo>
                  <a:lnTo>
                    <a:pt x="904" y="97"/>
                  </a:lnTo>
                  <a:lnTo>
                    <a:pt x="904" y="97"/>
                  </a:lnTo>
                  <a:lnTo>
                    <a:pt x="898" y="97"/>
                  </a:lnTo>
                  <a:lnTo>
                    <a:pt x="896" y="95"/>
                  </a:lnTo>
                  <a:lnTo>
                    <a:pt x="896" y="95"/>
                  </a:lnTo>
                  <a:lnTo>
                    <a:pt x="893" y="95"/>
                  </a:lnTo>
                  <a:lnTo>
                    <a:pt x="893" y="95"/>
                  </a:lnTo>
                  <a:lnTo>
                    <a:pt x="891" y="95"/>
                  </a:lnTo>
                  <a:lnTo>
                    <a:pt x="891" y="97"/>
                  </a:lnTo>
                  <a:lnTo>
                    <a:pt x="891" y="97"/>
                  </a:lnTo>
                  <a:lnTo>
                    <a:pt x="891" y="97"/>
                  </a:lnTo>
                  <a:lnTo>
                    <a:pt x="889" y="97"/>
                  </a:lnTo>
                  <a:lnTo>
                    <a:pt x="889" y="97"/>
                  </a:lnTo>
                  <a:lnTo>
                    <a:pt x="889" y="97"/>
                  </a:lnTo>
                  <a:lnTo>
                    <a:pt x="887" y="97"/>
                  </a:lnTo>
                  <a:lnTo>
                    <a:pt x="885" y="97"/>
                  </a:lnTo>
                  <a:lnTo>
                    <a:pt x="883" y="97"/>
                  </a:lnTo>
                  <a:lnTo>
                    <a:pt x="883" y="97"/>
                  </a:lnTo>
                  <a:lnTo>
                    <a:pt x="887" y="95"/>
                  </a:lnTo>
                  <a:lnTo>
                    <a:pt x="889" y="95"/>
                  </a:lnTo>
                  <a:lnTo>
                    <a:pt x="889" y="93"/>
                  </a:lnTo>
                  <a:lnTo>
                    <a:pt x="891" y="93"/>
                  </a:lnTo>
                  <a:lnTo>
                    <a:pt x="889" y="93"/>
                  </a:lnTo>
                  <a:lnTo>
                    <a:pt x="889" y="93"/>
                  </a:lnTo>
                  <a:lnTo>
                    <a:pt x="887" y="93"/>
                  </a:lnTo>
                  <a:lnTo>
                    <a:pt x="887" y="93"/>
                  </a:lnTo>
                  <a:lnTo>
                    <a:pt x="887" y="91"/>
                  </a:lnTo>
                  <a:lnTo>
                    <a:pt x="887" y="91"/>
                  </a:lnTo>
                  <a:lnTo>
                    <a:pt x="885" y="91"/>
                  </a:lnTo>
                  <a:lnTo>
                    <a:pt x="885" y="89"/>
                  </a:lnTo>
                  <a:lnTo>
                    <a:pt x="883" y="89"/>
                  </a:lnTo>
                  <a:lnTo>
                    <a:pt x="879" y="89"/>
                  </a:lnTo>
                  <a:lnTo>
                    <a:pt x="879" y="89"/>
                  </a:lnTo>
                  <a:lnTo>
                    <a:pt x="877" y="89"/>
                  </a:lnTo>
                  <a:lnTo>
                    <a:pt x="875" y="89"/>
                  </a:lnTo>
                  <a:lnTo>
                    <a:pt x="875" y="86"/>
                  </a:lnTo>
                  <a:lnTo>
                    <a:pt x="877" y="86"/>
                  </a:lnTo>
                  <a:lnTo>
                    <a:pt x="881" y="86"/>
                  </a:lnTo>
                  <a:lnTo>
                    <a:pt x="885" y="89"/>
                  </a:lnTo>
                  <a:lnTo>
                    <a:pt x="896" y="86"/>
                  </a:lnTo>
                  <a:lnTo>
                    <a:pt x="898" y="86"/>
                  </a:lnTo>
                  <a:lnTo>
                    <a:pt x="898" y="86"/>
                  </a:lnTo>
                  <a:lnTo>
                    <a:pt x="898" y="86"/>
                  </a:lnTo>
                  <a:lnTo>
                    <a:pt x="900" y="86"/>
                  </a:lnTo>
                  <a:lnTo>
                    <a:pt x="883" y="84"/>
                  </a:lnTo>
                  <a:lnTo>
                    <a:pt x="879" y="84"/>
                  </a:lnTo>
                  <a:lnTo>
                    <a:pt x="879" y="84"/>
                  </a:lnTo>
                  <a:lnTo>
                    <a:pt x="879" y="82"/>
                  </a:lnTo>
                  <a:lnTo>
                    <a:pt x="879" y="82"/>
                  </a:lnTo>
                  <a:lnTo>
                    <a:pt x="881" y="82"/>
                  </a:lnTo>
                  <a:lnTo>
                    <a:pt x="881" y="82"/>
                  </a:lnTo>
                  <a:lnTo>
                    <a:pt x="885" y="82"/>
                  </a:lnTo>
                  <a:lnTo>
                    <a:pt x="887" y="84"/>
                  </a:lnTo>
                  <a:lnTo>
                    <a:pt x="889" y="82"/>
                  </a:lnTo>
                  <a:lnTo>
                    <a:pt x="889" y="82"/>
                  </a:lnTo>
                  <a:lnTo>
                    <a:pt x="889" y="82"/>
                  </a:lnTo>
                  <a:lnTo>
                    <a:pt x="887" y="82"/>
                  </a:lnTo>
                  <a:lnTo>
                    <a:pt x="885" y="80"/>
                  </a:lnTo>
                  <a:lnTo>
                    <a:pt x="883" y="80"/>
                  </a:lnTo>
                  <a:lnTo>
                    <a:pt x="881" y="80"/>
                  </a:lnTo>
                  <a:lnTo>
                    <a:pt x="879" y="80"/>
                  </a:lnTo>
                  <a:lnTo>
                    <a:pt x="871" y="80"/>
                  </a:lnTo>
                  <a:lnTo>
                    <a:pt x="867" y="82"/>
                  </a:lnTo>
                  <a:lnTo>
                    <a:pt x="865" y="80"/>
                  </a:lnTo>
                  <a:lnTo>
                    <a:pt x="857" y="82"/>
                  </a:lnTo>
                  <a:lnTo>
                    <a:pt x="857" y="84"/>
                  </a:lnTo>
                  <a:lnTo>
                    <a:pt x="857" y="82"/>
                  </a:lnTo>
                  <a:lnTo>
                    <a:pt x="859" y="82"/>
                  </a:lnTo>
                  <a:lnTo>
                    <a:pt x="861" y="82"/>
                  </a:lnTo>
                  <a:lnTo>
                    <a:pt x="863" y="80"/>
                  </a:lnTo>
                  <a:lnTo>
                    <a:pt x="863" y="80"/>
                  </a:lnTo>
                  <a:lnTo>
                    <a:pt x="863" y="80"/>
                  </a:lnTo>
                  <a:lnTo>
                    <a:pt x="865" y="80"/>
                  </a:lnTo>
                  <a:lnTo>
                    <a:pt x="865" y="80"/>
                  </a:lnTo>
                  <a:lnTo>
                    <a:pt x="865" y="78"/>
                  </a:lnTo>
                  <a:lnTo>
                    <a:pt x="865" y="78"/>
                  </a:lnTo>
                  <a:lnTo>
                    <a:pt x="863" y="78"/>
                  </a:lnTo>
                  <a:lnTo>
                    <a:pt x="863" y="78"/>
                  </a:lnTo>
                  <a:lnTo>
                    <a:pt x="861" y="76"/>
                  </a:lnTo>
                  <a:lnTo>
                    <a:pt x="861" y="76"/>
                  </a:lnTo>
                  <a:lnTo>
                    <a:pt x="859" y="78"/>
                  </a:lnTo>
                  <a:lnTo>
                    <a:pt x="857" y="76"/>
                  </a:lnTo>
                  <a:lnTo>
                    <a:pt x="852" y="76"/>
                  </a:lnTo>
                  <a:lnTo>
                    <a:pt x="848" y="76"/>
                  </a:lnTo>
                  <a:lnTo>
                    <a:pt x="844" y="74"/>
                  </a:lnTo>
                  <a:lnTo>
                    <a:pt x="842" y="74"/>
                  </a:lnTo>
                  <a:lnTo>
                    <a:pt x="840" y="76"/>
                  </a:lnTo>
                  <a:lnTo>
                    <a:pt x="836" y="76"/>
                  </a:lnTo>
                  <a:lnTo>
                    <a:pt x="834" y="76"/>
                  </a:lnTo>
                  <a:lnTo>
                    <a:pt x="832" y="76"/>
                  </a:lnTo>
                  <a:lnTo>
                    <a:pt x="830" y="76"/>
                  </a:lnTo>
                  <a:lnTo>
                    <a:pt x="830" y="76"/>
                  </a:lnTo>
                  <a:close/>
                  <a:moveTo>
                    <a:pt x="783" y="111"/>
                  </a:moveTo>
                  <a:lnTo>
                    <a:pt x="783" y="111"/>
                  </a:lnTo>
                  <a:lnTo>
                    <a:pt x="783" y="109"/>
                  </a:lnTo>
                  <a:lnTo>
                    <a:pt x="783" y="109"/>
                  </a:lnTo>
                  <a:lnTo>
                    <a:pt x="781" y="109"/>
                  </a:lnTo>
                  <a:lnTo>
                    <a:pt x="776" y="111"/>
                  </a:lnTo>
                  <a:lnTo>
                    <a:pt x="776" y="111"/>
                  </a:lnTo>
                  <a:lnTo>
                    <a:pt x="776" y="111"/>
                  </a:lnTo>
                  <a:lnTo>
                    <a:pt x="781" y="111"/>
                  </a:lnTo>
                  <a:lnTo>
                    <a:pt x="783" y="111"/>
                  </a:lnTo>
                  <a:close/>
                  <a:moveTo>
                    <a:pt x="830" y="130"/>
                  </a:moveTo>
                  <a:lnTo>
                    <a:pt x="832" y="128"/>
                  </a:lnTo>
                  <a:lnTo>
                    <a:pt x="834" y="126"/>
                  </a:lnTo>
                  <a:lnTo>
                    <a:pt x="836" y="126"/>
                  </a:lnTo>
                  <a:lnTo>
                    <a:pt x="836" y="126"/>
                  </a:lnTo>
                  <a:lnTo>
                    <a:pt x="838" y="126"/>
                  </a:lnTo>
                  <a:lnTo>
                    <a:pt x="842" y="123"/>
                  </a:lnTo>
                  <a:lnTo>
                    <a:pt x="844" y="121"/>
                  </a:lnTo>
                  <a:lnTo>
                    <a:pt x="846" y="121"/>
                  </a:lnTo>
                  <a:lnTo>
                    <a:pt x="848" y="121"/>
                  </a:lnTo>
                  <a:lnTo>
                    <a:pt x="846" y="119"/>
                  </a:lnTo>
                  <a:lnTo>
                    <a:pt x="846" y="119"/>
                  </a:lnTo>
                  <a:lnTo>
                    <a:pt x="842" y="119"/>
                  </a:lnTo>
                  <a:lnTo>
                    <a:pt x="836" y="117"/>
                  </a:lnTo>
                  <a:lnTo>
                    <a:pt x="834" y="119"/>
                  </a:lnTo>
                  <a:lnTo>
                    <a:pt x="828" y="119"/>
                  </a:lnTo>
                  <a:lnTo>
                    <a:pt x="828" y="119"/>
                  </a:lnTo>
                  <a:lnTo>
                    <a:pt x="828" y="117"/>
                  </a:lnTo>
                  <a:lnTo>
                    <a:pt x="826" y="117"/>
                  </a:lnTo>
                  <a:lnTo>
                    <a:pt x="826" y="117"/>
                  </a:lnTo>
                  <a:lnTo>
                    <a:pt x="822" y="117"/>
                  </a:lnTo>
                  <a:lnTo>
                    <a:pt x="820" y="115"/>
                  </a:lnTo>
                  <a:lnTo>
                    <a:pt x="817" y="115"/>
                  </a:lnTo>
                  <a:lnTo>
                    <a:pt x="813" y="117"/>
                  </a:lnTo>
                  <a:lnTo>
                    <a:pt x="811" y="117"/>
                  </a:lnTo>
                  <a:lnTo>
                    <a:pt x="805" y="117"/>
                  </a:lnTo>
                  <a:lnTo>
                    <a:pt x="803" y="117"/>
                  </a:lnTo>
                  <a:lnTo>
                    <a:pt x="799" y="117"/>
                  </a:lnTo>
                  <a:lnTo>
                    <a:pt x="799" y="117"/>
                  </a:lnTo>
                  <a:lnTo>
                    <a:pt x="797" y="119"/>
                  </a:lnTo>
                  <a:lnTo>
                    <a:pt x="797" y="119"/>
                  </a:lnTo>
                  <a:lnTo>
                    <a:pt x="795" y="119"/>
                  </a:lnTo>
                  <a:lnTo>
                    <a:pt x="795" y="119"/>
                  </a:lnTo>
                  <a:lnTo>
                    <a:pt x="795" y="119"/>
                  </a:lnTo>
                  <a:lnTo>
                    <a:pt x="795" y="121"/>
                  </a:lnTo>
                  <a:lnTo>
                    <a:pt x="795" y="123"/>
                  </a:lnTo>
                  <a:lnTo>
                    <a:pt x="795" y="123"/>
                  </a:lnTo>
                  <a:lnTo>
                    <a:pt x="797" y="123"/>
                  </a:lnTo>
                  <a:lnTo>
                    <a:pt x="797" y="123"/>
                  </a:lnTo>
                  <a:lnTo>
                    <a:pt x="795" y="123"/>
                  </a:lnTo>
                  <a:lnTo>
                    <a:pt x="793" y="123"/>
                  </a:lnTo>
                  <a:lnTo>
                    <a:pt x="791" y="121"/>
                  </a:lnTo>
                  <a:lnTo>
                    <a:pt x="789" y="121"/>
                  </a:lnTo>
                  <a:lnTo>
                    <a:pt x="787" y="123"/>
                  </a:lnTo>
                  <a:lnTo>
                    <a:pt x="787" y="123"/>
                  </a:lnTo>
                  <a:lnTo>
                    <a:pt x="787" y="123"/>
                  </a:lnTo>
                  <a:lnTo>
                    <a:pt x="785" y="123"/>
                  </a:lnTo>
                  <a:lnTo>
                    <a:pt x="785" y="126"/>
                  </a:lnTo>
                  <a:lnTo>
                    <a:pt x="781" y="128"/>
                  </a:lnTo>
                  <a:lnTo>
                    <a:pt x="778" y="132"/>
                  </a:lnTo>
                  <a:lnTo>
                    <a:pt x="778" y="132"/>
                  </a:lnTo>
                  <a:lnTo>
                    <a:pt x="776" y="134"/>
                  </a:lnTo>
                  <a:lnTo>
                    <a:pt x="774" y="134"/>
                  </a:lnTo>
                  <a:lnTo>
                    <a:pt x="774" y="136"/>
                  </a:lnTo>
                  <a:lnTo>
                    <a:pt x="772" y="136"/>
                  </a:lnTo>
                  <a:lnTo>
                    <a:pt x="772" y="136"/>
                  </a:lnTo>
                  <a:lnTo>
                    <a:pt x="772" y="140"/>
                  </a:lnTo>
                  <a:lnTo>
                    <a:pt x="770" y="142"/>
                  </a:lnTo>
                  <a:lnTo>
                    <a:pt x="768" y="146"/>
                  </a:lnTo>
                  <a:lnTo>
                    <a:pt x="764" y="148"/>
                  </a:lnTo>
                  <a:lnTo>
                    <a:pt x="766" y="148"/>
                  </a:lnTo>
                  <a:lnTo>
                    <a:pt x="772" y="148"/>
                  </a:lnTo>
                  <a:lnTo>
                    <a:pt x="772" y="148"/>
                  </a:lnTo>
                  <a:lnTo>
                    <a:pt x="776" y="148"/>
                  </a:lnTo>
                  <a:lnTo>
                    <a:pt x="778" y="148"/>
                  </a:lnTo>
                  <a:lnTo>
                    <a:pt x="781" y="146"/>
                  </a:lnTo>
                  <a:lnTo>
                    <a:pt x="783" y="144"/>
                  </a:lnTo>
                  <a:lnTo>
                    <a:pt x="789" y="142"/>
                  </a:lnTo>
                  <a:lnTo>
                    <a:pt x="791" y="142"/>
                  </a:lnTo>
                  <a:lnTo>
                    <a:pt x="791" y="140"/>
                  </a:lnTo>
                  <a:lnTo>
                    <a:pt x="791" y="140"/>
                  </a:lnTo>
                  <a:lnTo>
                    <a:pt x="791" y="140"/>
                  </a:lnTo>
                  <a:lnTo>
                    <a:pt x="791" y="138"/>
                  </a:lnTo>
                  <a:lnTo>
                    <a:pt x="791" y="138"/>
                  </a:lnTo>
                  <a:lnTo>
                    <a:pt x="789" y="138"/>
                  </a:lnTo>
                  <a:lnTo>
                    <a:pt x="787" y="138"/>
                  </a:lnTo>
                  <a:lnTo>
                    <a:pt x="795" y="136"/>
                  </a:lnTo>
                  <a:lnTo>
                    <a:pt x="797" y="136"/>
                  </a:lnTo>
                  <a:lnTo>
                    <a:pt x="807" y="138"/>
                  </a:lnTo>
                  <a:lnTo>
                    <a:pt x="809" y="138"/>
                  </a:lnTo>
                  <a:lnTo>
                    <a:pt x="811" y="138"/>
                  </a:lnTo>
                  <a:lnTo>
                    <a:pt x="815" y="136"/>
                  </a:lnTo>
                  <a:lnTo>
                    <a:pt x="817" y="134"/>
                  </a:lnTo>
                  <a:lnTo>
                    <a:pt x="822" y="134"/>
                  </a:lnTo>
                  <a:lnTo>
                    <a:pt x="824" y="132"/>
                  </a:lnTo>
                  <a:lnTo>
                    <a:pt x="826" y="130"/>
                  </a:lnTo>
                  <a:lnTo>
                    <a:pt x="826" y="130"/>
                  </a:lnTo>
                  <a:lnTo>
                    <a:pt x="824" y="130"/>
                  </a:lnTo>
                  <a:lnTo>
                    <a:pt x="828" y="130"/>
                  </a:lnTo>
                  <a:lnTo>
                    <a:pt x="830" y="130"/>
                  </a:lnTo>
                  <a:close/>
                  <a:moveTo>
                    <a:pt x="783" y="187"/>
                  </a:moveTo>
                  <a:lnTo>
                    <a:pt x="783" y="187"/>
                  </a:lnTo>
                  <a:lnTo>
                    <a:pt x="781" y="187"/>
                  </a:lnTo>
                  <a:lnTo>
                    <a:pt x="781" y="187"/>
                  </a:lnTo>
                  <a:lnTo>
                    <a:pt x="781" y="189"/>
                  </a:lnTo>
                  <a:lnTo>
                    <a:pt x="781" y="189"/>
                  </a:lnTo>
                  <a:lnTo>
                    <a:pt x="781" y="189"/>
                  </a:lnTo>
                  <a:lnTo>
                    <a:pt x="781" y="189"/>
                  </a:lnTo>
                  <a:lnTo>
                    <a:pt x="783" y="189"/>
                  </a:lnTo>
                  <a:lnTo>
                    <a:pt x="785" y="187"/>
                  </a:lnTo>
                  <a:lnTo>
                    <a:pt x="785" y="187"/>
                  </a:lnTo>
                  <a:lnTo>
                    <a:pt x="785" y="187"/>
                  </a:lnTo>
                  <a:lnTo>
                    <a:pt x="785" y="187"/>
                  </a:lnTo>
                  <a:lnTo>
                    <a:pt x="783" y="187"/>
                  </a:lnTo>
                  <a:close/>
                  <a:moveTo>
                    <a:pt x="803" y="212"/>
                  </a:moveTo>
                  <a:lnTo>
                    <a:pt x="803" y="212"/>
                  </a:lnTo>
                  <a:lnTo>
                    <a:pt x="803" y="212"/>
                  </a:lnTo>
                  <a:lnTo>
                    <a:pt x="803" y="212"/>
                  </a:lnTo>
                  <a:lnTo>
                    <a:pt x="803" y="214"/>
                  </a:lnTo>
                  <a:lnTo>
                    <a:pt x="805" y="214"/>
                  </a:lnTo>
                  <a:lnTo>
                    <a:pt x="805" y="214"/>
                  </a:lnTo>
                  <a:lnTo>
                    <a:pt x="805" y="214"/>
                  </a:lnTo>
                  <a:lnTo>
                    <a:pt x="807" y="212"/>
                  </a:lnTo>
                  <a:lnTo>
                    <a:pt x="807" y="212"/>
                  </a:lnTo>
                  <a:lnTo>
                    <a:pt x="809" y="212"/>
                  </a:lnTo>
                  <a:lnTo>
                    <a:pt x="809" y="210"/>
                  </a:lnTo>
                  <a:lnTo>
                    <a:pt x="811" y="210"/>
                  </a:lnTo>
                  <a:lnTo>
                    <a:pt x="811" y="208"/>
                  </a:lnTo>
                  <a:lnTo>
                    <a:pt x="811" y="208"/>
                  </a:lnTo>
                  <a:lnTo>
                    <a:pt x="813" y="206"/>
                  </a:lnTo>
                  <a:lnTo>
                    <a:pt x="813" y="206"/>
                  </a:lnTo>
                  <a:lnTo>
                    <a:pt x="813" y="206"/>
                  </a:lnTo>
                  <a:lnTo>
                    <a:pt x="811" y="204"/>
                  </a:lnTo>
                  <a:lnTo>
                    <a:pt x="809" y="206"/>
                  </a:lnTo>
                  <a:lnTo>
                    <a:pt x="807" y="206"/>
                  </a:lnTo>
                  <a:lnTo>
                    <a:pt x="807" y="208"/>
                  </a:lnTo>
                  <a:lnTo>
                    <a:pt x="805" y="208"/>
                  </a:lnTo>
                  <a:lnTo>
                    <a:pt x="805" y="208"/>
                  </a:lnTo>
                  <a:lnTo>
                    <a:pt x="805" y="208"/>
                  </a:lnTo>
                  <a:lnTo>
                    <a:pt x="805" y="210"/>
                  </a:lnTo>
                  <a:lnTo>
                    <a:pt x="803" y="210"/>
                  </a:lnTo>
                  <a:lnTo>
                    <a:pt x="803" y="212"/>
                  </a:lnTo>
                  <a:close/>
                  <a:moveTo>
                    <a:pt x="764" y="130"/>
                  </a:moveTo>
                  <a:lnTo>
                    <a:pt x="762" y="132"/>
                  </a:lnTo>
                  <a:lnTo>
                    <a:pt x="762" y="132"/>
                  </a:lnTo>
                  <a:lnTo>
                    <a:pt x="760" y="132"/>
                  </a:lnTo>
                  <a:lnTo>
                    <a:pt x="760" y="132"/>
                  </a:lnTo>
                  <a:lnTo>
                    <a:pt x="758" y="134"/>
                  </a:lnTo>
                  <a:lnTo>
                    <a:pt x="760" y="134"/>
                  </a:lnTo>
                  <a:lnTo>
                    <a:pt x="762" y="134"/>
                  </a:lnTo>
                  <a:lnTo>
                    <a:pt x="762" y="134"/>
                  </a:lnTo>
                  <a:lnTo>
                    <a:pt x="762" y="134"/>
                  </a:lnTo>
                  <a:lnTo>
                    <a:pt x="764" y="134"/>
                  </a:lnTo>
                  <a:lnTo>
                    <a:pt x="764" y="132"/>
                  </a:lnTo>
                  <a:lnTo>
                    <a:pt x="766" y="132"/>
                  </a:lnTo>
                  <a:lnTo>
                    <a:pt x="766" y="132"/>
                  </a:lnTo>
                  <a:lnTo>
                    <a:pt x="764" y="132"/>
                  </a:lnTo>
                  <a:lnTo>
                    <a:pt x="764" y="132"/>
                  </a:lnTo>
                  <a:lnTo>
                    <a:pt x="764" y="132"/>
                  </a:lnTo>
                  <a:lnTo>
                    <a:pt x="764" y="130"/>
                  </a:lnTo>
                  <a:close/>
                  <a:moveTo>
                    <a:pt x="834" y="93"/>
                  </a:moveTo>
                  <a:lnTo>
                    <a:pt x="836" y="93"/>
                  </a:lnTo>
                  <a:lnTo>
                    <a:pt x="836" y="93"/>
                  </a:lnTo>
                  <a:lnTo>
                    <a:pt x="836" y="93"/>
                  </a:lnTo>
                  <a:lnTo>
                    <a:pt x="836" y="93"/>
                  </a:lnTo>
                  <a:lnTo>
                    <a:pt x="836" y="91"/>
                  </a:lnTo>
                  <a:lnTo>
                    <a:pt x="836" y="91"/>
                  </a:lnTo>
                  <a:lnTo>
                    <a:pt x="838" y="91"/>
                  </a:lnTo>
                  <a:lnTo>
                    <a:pt x="838" y="91"/>
                  </a:lnTo>
                  <a:lnTo>
                    <a:pt x="838" y="91"/>
                  </a:lnTo>
                  <a:lnTo>
                    <a:pt x="834" y="91"/>
                  </a:lnTo>
                  <a:lnTo>
                    <a:pt x="834" y="91"/>
                  </a:lnTo>
                  <a:lnTo>
                    <a:pt x="832" y="91"/>
                  </a:lnTo>
                  <a:lnTo>
                    <a:pt x="832" y="91"/>
                  </a:lnTo>
                  <a:lnTo>
                    <a:pt x="832" y="91"/>
                  </a:lnTo>
                  <a:lnTo>
                    <a:pt x="832" y="91"/>
                  </a:lnTo>
                  <a:lnTo>
                    <a:pt x="832" y="93"/>
                  </a:lnTo>
                  <a:lnTo>
                    <a:pt x="832" y="93"/>
                  </a:lnTo>
                  <a:lnTo>
                    <a:pt x="832" y="93"/>
                  </a:lnTo>
                  <a:lnTo>
                    <a:pt x="832" y="93"/>
                  </a:lnTo>
                  <a:lnTo>
                    <a:pt x="832" y="93"/>
                  </a:lnTo>
                  <a:lnTo>
                    <a:pt x="834" y="93"/>
                  </a:lnTo>
                  <a:close/>
                  <a:moveTo>
                    <a:pt x="801" y="109"/>
                  </a:moveTo>
                  <a:lnTo>
                    <a:pt x="801" y="109"/>
                  </a:lnTo>
                  <a:lnTo>
                    <a:pt x="799" y="109"/>
                  </a:lnTo>
                  <a:lnTo>
                    <a:pt x="799" y="111"/>
                  </a:lnTo>
                  <a:lnTo>
                    <a:pt x="799" y="111"/>
                  </a:lnTo>
                  <a:lnTo>
                    <a:pt x="799" y="111"/>
                  </a:lnTo>
                  <a:lnTo>
                    <a:pt x="801" y="111"/>
                  </a:lnTo>
                  <a:lnTo>
                    <a:pt x="803" y="111"/>
                  </a:lnTo>
                  <a:lnTo>
                    <a:pt x="803" y="111"/>
                  </a:lnTo>
                  <a:lnTo>
                    <a:pt x="803" y="111"/>
                  </a:lnTo>
                  <a:lnTo>
                    <a:pt x="805" y="111"/>
                  </a:lnTo>
                  <a:lnTo>
                    <a:pt x="803" y="111"/>
                  </a:lnTo>
                  <a:lnTo>
                    <a:pt x="803" y="109"/>
                  </a:lnTo>
                  <a:lnTo>
                    <a:pt x="801" y="109"/>
                  </a:lnTo>
                  <a:close/>
                  <a:moveTo>
                    <a:pt x="799" y="103"/>
                  </a:moveTo>
                  <a:lnTo>
                    <a:pt x="799" y="103"/>
                  </a:lnTo>
                  <a:lnTo>
                    <a:pt x="797" y="105"/>
                  </a:lnTo>
                  <a:lnTo>
                    <a:pt x="797" y="105"/>
                  </a:lnTo>
                  <a:lnTo>
                    <a:pt x="799" y="105"/>
                  </a:lnTo>
                  <a:lnTo>
                    <a:pt x="799" y="105"/>
                  </a:lnTo>
                  <a:lnTo>
                    <a:pt x="799" y="105"/>
                  </a:lnTo>
                  <a:lnTo>
                    <a:pt x="799" y="105"/>
                  </a:lnTo>
                  <a:lnTo>
                    <a:pt x="799" y="105"/>
                  </a:lnTo>
                  <a:lnTo>
                    <a:pt x="801" y="105"/>
                  </a:lnTo>
                  <a:lnTo>
                    <a:pt x="801" y="105"/>
                  </a:lnTo>
                  <a:lnTo>
                    <a:pt x="803" y="107"/>
                  </a:lnTo>
                  <a:lnTo>
                    <a:pt x="807" y="107"/>
                  </a:lnTo>
                  <a:lnTo>
                    <a:pt x="809" y="107"/>
                  </a:lnTo>
                  <a:lnTo>
                    <a:pt x="811" y="109"/>
                  </a:lnTo>
                  <a:lnTo>
                    <a:pt x="811" y="109"/>
                  </a:lnTo>
                  <a:lnTo>
                    <a:pt x="811" y="109"/>
                  </a:lnTo>
                  <a:lnTo>
                    <a:pt x="813" y="109"/>
                  </a:lnTo>
                  <a:lnTo>
                    <a:pt x="817" y="109"/>
                  </a:lnTo>
                  <a:lnTo>
                    <a:pt x="820" y="109"/>
                  </a:lnTo>
                  <a:lnTo>
                    <a:pt x="824" y="109"/>
                  </a:lnTo>
                  <a:lnTo>
                    <a:pt x="826" y="109"/>
                  </a:lnTo>
                  <a:lnTo>
                    <a:pt x="826" y="109"/>
                  </a:lnTo>
                  <a:lnTo>
                    <a:pt x="826" y="109"/>
                  </a:lnTo>
                  <a:lnTo>
                    <a:pt x="828" y="107"/>
                  </a:lnTo>
                  <a:lnTo>
                    <a:pt x="828" y="107"/>
                  </a:lnTo>
                  <a:lnTo>
                    <a:pt x="828" y="107"/>
                  </a:lnTo>
                  <a:lnTo>
                    <a:pt x="830" y="107"/>
                  </a:lnTo>
                  <a:lnTo>
                    <a:pt x="830" y="105"/>
                  </a:lnTo>
                  <a:lnTo>
                    <a:pt x="830" y="105"/>
                  </a:lnTo>
                  <a:lnTo>
                    <a:pt x="832" y="103"/>
                  </a:lnTo>
                  <a:lnTo>
                    <a:pt x="832" y="103"/>
                  </a:lnTo>
                  <a:lnTo>
                    <a:pt x="832" y="103"/>
                  </a:lnTo>
                  <a:lnTo>
                    <a:pt x="834" y="103"/>
                  </a:lnTo>
                  <a:lnTo>
                    <a:pt x="834" y="101"/>
                  </a:lnTo>
                  <a:lnTo>
                    <a:pt x="834" y="101"/>
                  </a:lnTo>
                  <a:lnTo>
                    <a:pt x="834" y="99"/>
                  </a:lnTo>
                  <a:lnTo>
                    <a:pt x="834" y="99"/>
                  </a:lnTo>
                  <a:lnTo>
                    <a:pt x="832" y="97"/>
                  </a:lnTo>
                  <a:lnTo>
                    <a:pt x="832" y="95"/>
                  </a:lnTo>
                  <a:lnTo>
                    <a:pt x="830" y="95"/>
                  </a:lnTo>
                  <a:lnTo>
                    <a:pt x="828" y="95"/>
                  </a:lnTo>
                  <a:lnTo>
                    <a:pt x="826" y="95"/>
                  </a:lnTo>
                  <a:lnTo>
                    <a:pt x="817" y="97"/>
                  </a:lnTo>
                  <a:lnTo>
                    <a:pt x="813" y="97"/>
                  </a:lnTo>
                  <a:lnTo>
                    <a:pt x="811" y="99"/>
                  </a:lnTo>
                  <a:lnTo>
                    <a:pt x="809" y="99"/>
                  </a:lnTo>
                  <a:lnTo>
                    <a:pt x="807" y="101"/>
                  </a:lnTo>
                  <a:lnTo>
                    <a:pt x="807" y="101"/>
                  </a:lnTo>
                  <a:lnTo>
                    <a:pt x="805" y="101"/>
                  </a:lnTo>
                  <a:lnTo>
                    <a:pt x="803" y="101"/>
                  </a:lnTo>
                  <a:lnTo>
                    <a:pt x="799" y="103"/>
                  </a:lnTo>
                  <a:lnTo>
                    <a:pt x="799" y="103"/>
                  </a:lnTo>
                  <a:close/>
                  <a:moveTo>
                    <a:pt x="803" y="99"/>
                  </a:moveTo>
                  <a:lnTo>
                    <a:pt x="803" y="99"/>
                  </a:lnTo>
                  <a:lnTo>
                    <a:pt x="805" y="99"/>
                  </a:lnTo>
                  <a:lnTo>
                    <a:pt x="807" y="97"/>
                  </a:lnTo>
                  <a:lnTo>
                    <a:pt x="809" y="97"/>
                  </a:lnTo>
                  <a:lnTo>
                    <a:pt x="809" y="97"/>
                  </a:lnTo>
                  <a:lnTo>
                    <a:pt x="811" y="97"/>
                  </a:lnTo>
                  <a:lnTo>
                    <a:pt x="811" y="97"/>
                  </a:lnTo>
                  <a:lnTo>
                    <a:pt x="813" y="97"/>
                  </a:lnTo>
                  <a:lnTo>
                    <a:pt x="813" y="97"/>
                  </a:lnTo>
                  <a:lnTo>
                    <a:pt x="813" y="97"/>
                  </a:lnTo>
                  <a:lnTo>
                    <a:pt x="813" y="95"/>
                  </a:lnTo>
                  <a:lnTo>
                    <a:pt x="811" y="95"/>
                  </a:lnTo>
                  <a:lnTo>
                    <a:pt x="811" y="95"/>
                  </a:lnTo>
                  <a:lnTo>
                    <a:pt x="811" y="95"/>
                  </a:lnTo>
                  <a:lnTo>
                    <a:pt x="809" y="95"/>
                  </a:lnTo>
                  <a:lnTo>
                    <a:pt x="809" y="97"/>
                  </a:lnTo>
                  <a:lnTo>
                    <a:pt x="803" y="97"/>
                  </a:lnTo>
                  <a:lnTo>
                    <a:pt x="803" y="97"/>
                  </a:lnTo>
                  <a:lnTo>
                    <a:pt x="801" y="97"/>
                  </a:lnTo>
                  <a:lnTo>
                    <a:pt x="801" y="99"/>
                  </a:lnTo>
                  <a:lnTo>
                    <a:pt x="801" y="99"/>
                  </a:lnTo>
                  <a:lnTo>
                    <a:pt x="801" y="99"/>
                  </a:lnTo>
                  <a:lnTo>
                    <a:pt x="803" y="99"/>
                  </a:lnTo>
                  <a:close/>
                  <a:moveTo>
                    <a:pt x="867" y="66"/>
                  </a:moveTo>
                  <a:lnTo>
                    <a:pt x="865" y="66"/>
                  </a:lnTo>
                  <a:lnTo>
                    <a:pt x="861" y="66"/>
                  </a:lnTo>
                  <a:lnTo>
                    <a:pt x="859" y="66"/>
                  </a:lnTo>
                  <a:lnTo>
                    <a:pt x="857" y="66"/>
                  </a:lnTo>
                  <a:lnTo>
                    <a:pt x="850" y="66"/>
                  </a:lnTo>
                  <a:lnTo>
                    <a:pt x="850" y="66"/>
                  </a:lnTo>
                  <a:lnTo>
                    <a:pt x="848" y="66"/>
                  </a:lnTo>
                  <a:lnTo>
                    <a:pt x="848" y="68"/>
                  </a:lnTo>
                  <a:lnTo>
                    <a:pt x="848" y="68"/>
                  </a:lnTo>
                  <a:lnTo>
                    <a:pt x="848" y="70"/>
                  </a:lnTo>
                  <a:lnTo>
                    <a:pt x="848" y="70"/>
                  </a:lnTo>
                  <a:lnTo>
                    <a:pt x="865" y="70"/>
                  </a:lnTo>
                  <a:lnTo>
                    <a:pt x="871" y="70"/>
                  </a:lnTo>
                  <a:lnTo>
                    <a:pt x="871" y="70"/>
                  </a:lnTo>
                  <a:lnTo>
                    <a:pt x="873" y="70"/>
                  </a:lnTo>
                  <a:lnTo>
                    <a:pt x="875" y="70"/>
                  </a:lnTo>
                  <a:lnTo>
                    <a:pt x="879" y="68"/>
                  </a:lnTo>
                  <a:lnTo>
                    <a:pt x="881" y="66"/>
                  </a:lnTo>
                  <a:lnTo>
                    <a:pt x="881" y="66"/>
                  </a:lnTo>
                  <a:lnTo>
                    <a:pt x="881" y="66"/>
                  </a:lnTo>
                  <a:lnTo>
                    <a:pt x="879" y="66"/>
                  </a:lnTo>
                  <a:lnTo>
                    <a:pt x="879" y="66"/>
                  </a:lnTo>
                  <a:lnTo>
                    <a:pt x="873" y="66"/>
                  </a:lnTo>
                  <a:lnTo>
                    <a:pt x="867" y="66"/>
                  </a:lnTo>
                  <a:close/>
                  <a:moveTo>
                    <a:pt x="992" y="130"/>
                  </a:moveTo>
                  <a:lnTo>
                    <a:pt x="990" y="130"/>
                  </a:lnTo>
                  <a:lnTo>
                    <a:pt x="988" y="128"/>
                  </a:lnTo>
                  <a:lnTo>
                    <a:pt x="988" y="128"/>
                  </a:lnTo>
                  <a:lnTo>
                    <a:pt x="988" y="128"/>
                  </a:lnTo>
                  <a:lnTo>
                    <a:pt x="988" y="126"/>
                  </a:lnTo>
                  <a:lnTo>
                    <a:pt x="988" y="126"/>
                  </a:lnTo>
                  <a:lnTo>
                    <a:pt x="982" y="123"/>
                  </a:lnTo>
                  <a:lnTo>
                    <a:pt x="978" y="123"/>
                  </a:lnTo>
                  <a:lnTo>
                    <a:pt x="965" y="123"/>
                  </a:lnTo>
                  <a:lnTo>
                    <a:pt x="965" y="123"/>
                  </a:lnTo>
                  <a:lnTo>
                    <a:pt x="961" y="123"/>
                  </a:lnTo>
                  <a:lnTo>
                    <a:pt x="959" y="123"/>
                  </a:lnTo>
                  <a:lnTo>
                    <a:pt x="957" y="121"/>
                  </a:lnTo>
                  <a:lnTo>
                    <a:pt x="955" y="121"/>
                  </a:lnTo>
                  <a:lnTo>
                    <a:pt x="953" y="121"/>
                  </a:lnTo>
                  <a:lnTo>
                    <a:pt x="951" y="121"/>
                  </a:lnTo>
                  <a:lnTo>
                    <a:pt x="951" y="123"/>
                  </a:lnTo>
                  <a:lnTo>
                    <a:pt x="951" y="123"/>
                  </a:lnTo>
                  <a:lnTo>
                    <a:pt x="949" y="126"/>
                  </a:lnTo>
                  <a:lnTo>
                    <a:pt x="949" y="126"/>
                  </a:lnTo>
                  <a:lnTo>
                    <a:pt x="949" y="126"/>
                  </a:lnTo>
                  <a:lnTo>
                    <a:pt x="949" y="126"/>
                  </a:lnTo>
                  <a:lnTo>
                    <a:pt x="949" y="126"/>
                  </a:lnTo>
                  <a:lnTo>
                    <a:pt x="947" y="128"/>
                  </a:lnTo>
                  <a:lnTo>
                    <a:pt x="947" y="128"/>
                  </a:lnTo>
                  <a:lnTo>
                    <a:pt x="947" y="128"/>
                  </a:lnTo>
                  <a:lnTo>
                    <a:pt x="947" y="130"/>
                  </a:lnTo>
                  <a:lnTo>
                    <a:pt x="947" y="130"/>
                  </a:lnTo>
                  <a:lnTo>
                    <a:pt x="951" y="130"/>
                  </a:lnTo>
                  <a:lnTo>
                    <a:pt x="951" y="130"/>
                  </a:lnTo>
                  <a:lnTo>
                    <a:pt x="951" y="132"/>
                  </a:lnTo>
                  <a:lnTo>
                    <a:pt x="951" y="132"/>
                  </a:lnTo>
                  <a:lnTo>
                    <a:pt x="949" y="134"/>
                  </a:lnTo>
                  <a:lnTo>
                    <a:pt x="949" y="136"/>
                  </a:lnTo>
                  <a:lnTo>
                    <a:pt x="949" y="136"/>
                  </a:lnTo>
                  <a:lnTo>
                    <a:pt x="951" y="136"/>
                  </a:lnTo>
                  <a:lnTo>
                    <a:pt x="953" y="138"/>
                  </a:lnTo>
                  <a:lnTo>
                    <a:pt x="955" y="138"/>
                  </a:lnTo>
                  <a:lnTo>
                    <a:pt x="957" y="136"/>
                  </a:lnTo>
                  <a:lnTo>
                    <a:pt x="965" y="136"/>
                  </a:lnTo>
                  <a:lnTo>
                    <a:pt x="967" y="136"/>
                  </a:lnTo>
                  <a:lnTo>
                    <a:pt x="974" y="136"/>
                  </a:lnTo>
                  <a:lnTo>
                    <a:pt x="982" y="136"/>
                  </a:lnTo>
                  <a:lnTo>
                    <a:pt x="988" y="136"/>
                  </a:lnTo>
                  <a:lnTo>
                    <a:pt x="992" y="136"/>
                  </a:lnTo>
                  <a:lnTo>
                    <a:pt x="992" y="136"/>
                  </a:lnTo>
                  <a:lnTo>
                    <a:pt x="992" y="134"/>
                  </a:lnTo>
                  <a:lnTo>
                    <a:pt x="992" y="134"/>
                  </a:lnTo>
                  <a:lnTo>
                    <a:pt x="992" y="134"/>
                  </a:lnTo>
                  <a:lnTo>
                    <a:pt x="994" y="132"/>
                  </a:lnTo>
                  <a:lnTo>
                    <a:pt x="992" y="132"/>
                  </a:lnTo>
                  <a:lnTo>
                    <a:pt x="992" y="132"/>
                  </a:lnTo>
                  <a:lnTo>
                    <a:pt x="992" y="132"/>
                  </a:lnTo>
                  <a:lnTo>
                    <a:pt x="992" y="130"/>
                  </a:lnTo>
                  <a:lnTo>
                    <a:pt x="992" y="130"/>
                  </a:lnTo>
                  <a:close/>
                  <a:moveTo>
                    <a:pt x="906" y="72"/>
                  </a:moveTo>
                  <a:lnTo>
                    <a:pt x="910" y="72"/>
                  </a:lnTo>
                  <a:lnTo>
                    <a:pt x="910" y="72"/>
                  </a:lnTo>
                  <a:lnTo>
                    <a:pt x="912" y="72"/>
                  </a:lnTo>
                  <a:lnTo>
                    <a:pt x="912" y="72"/>
                  </a:lnTo>
                  <a:lnTo>
                    <a:pt x="912" y="70"/>
                  </a:lnTo>
                  <a:lnTo>
                    <a:pt x="914" y="70"/>
                  </a:lnTo>
                  <a:lnTo>
                    <a:pt x="912" y="70"/>
                  </a:lnTo>
                  <a:lnTo>
                    <a:pt x="912" y="68"/>
                  </a:lnTo>
                  <a:lnTo>
                    <a:pt x="910" y="68"/>
                  </a:lnTo>
                  <a:lnTo>
                    <a:pt x="908" y="68"/>
                  </a:lnTo>
                  <a:lnTo>
                    <a:pt x="906" y="68"/>
                  </a:lnTo>
                  <a:lnTo>
                    <a:pt x="904" y="68"/>
                  </a:lnTo>
                  <a:lnTo>
                    <a:pt x="902" y="68"/>
                  </a:lnTo>
                  <a:lnTo>
                    <a:pt x="902" y="68"/>
                  </a:lnTo>
                  <a:lnTo>
                    <a:pt x="900" y="68"/>
                  </a:lnTo>
                  <a:lnTo>
                    <a:pt x="900" y="70"/>
                  </a:lnTo>
                  <a:lnTo>
                    <a:pt x="898" y="70"/>
                  </a:lnTo>
                  <a:lnTo>
                    <a:pt x="898" y="70"/>
                  </a:lnTo>
                  <a:lnTo>
                    <a:pt x="898" y="72"/>
                  </a:lnTo>
                  <a:lnTo>
                    <a:pt x="904" y="72"/>
                  </a:lnTo>
                  <a:lnTo>
                    <a:pt x="906" y="72"/>
                  </a:lnTo>
                  <a:close/>
                  <a:moveTo>
                    <a:pt x="904" y="41"/>
                  </a:moveTo>
                  <a:lnTo>
                    <a:pt x="893" y="41"/>
                  </a:lnTo>
                  <a:lnTo>
                    <a:pt x="889" y="41"/>
                  </a:lnTo>
                  <a:lnTo>
                    <a:pt x="889" y="43"/>
                  </a:lnTo>
                  <a:lnTo>
                    <a:pt x="885" y="43"/>
                  </a:lnTo>
                  <a:lnTo>
                    <a:pt x="887" y="43"/>
                  </a:lnTo>
                  <a:lnTo>
                    <a:pt x="889" y="45"/>
                  </a:lnTo>
                  <a:lnTo>
                    <a:pt x="889" y="45"/>
                  </a:lnTo>
                  <a:lnTo>
                    <a:pt x="891" y="45"/>
                  </a:lnTo>
                  <a:lnTo>
                    <a:pt x="893" y="45"/>
                  </a:lnTo>
                  <a:lnTo>
                    <a:pt x="900" y="43"/>
                  </a:lnTo>
                  <a:lnTo>
                    <a:pt x="900" y="43"/>
                  </a:lnTo>
                  <a:lnTo>
                    <a:pt x="902" y="43"/>
                  </a:lnTo>
                  <a:lnTo>
                    <a:pt x="904" y="43"/>
                  </a:lnTo>
                  <a:lnTo>
                    <a:pt x="904" y="43"/>
                  </a:lnTo>
                  <a:lnTo>
                    <a:pt x="902" y="45"/>
                  </a:lnTo>
                  <a:lnTo>
                    <a:pt x="902" y="45"/>
                  </a:lnTo>
                  <a:lnTo>
                    <a:pt x="902" y="45"/>
                  </a:lnTo>
                  <a:lnTo>
                    <a:pt x="902" y="45"/>
                  </a:lnTo>
                  <a:lnTo>
                    <a:pt x="902" y="45"/>
                  </a:lnTo>
                  <a:lnTo>
                    <a:pt x="908" y="45"/>
                  </a:lnTo>
                  <a:lnTo>
                    <a:pt x="910" y="45"/>
                  </a:lnTo>
                  <a:lnTo>
                    <a:pt x="914" y="43"/>
                  </a:lnTo>
                  <a:lnTo>
                    <a:pt x="916" y="43"/>
                  </a:lnTo>
                  <a:lnTo>
                    <a:pt x="918" y="43"/>
                  </a:lnTo>
                  <a:lnTo>
                    <a:pt x="920" y="43"/>
                  </a:lnTo>
                  <a:lnTo>
                    <a:pt x="920" y="43"/>
                  </a:lnTo>
                  <a:lnTo>
                    <a:pt x="926" y="45"/>
                  </a:lnTo>
                  <a:lnTo>
                    <a:pt x="930" y="43"/>
                  </a:lnTo>
                  <a:lnTo>
                    <a:pt x="930" y="45"/>
                  </a:lnTo>
                  <a:lnTo>
                    <a:pt x="924" y="45"/>
                  </a:lnTo>
                  <a:lnTo>
                    <a:pt x="916" y="45"/>
                  </a:lnTo>
                  <a:lnTo>
                    <a:pt x="914" y="47"/>
                  </a:lnTo>
                  <a:lnTo>
                    <a:pt x="912" y="47"/>
                  </a:lnTo>
                  <a:lnTo>
                    <a:pt x="908" y="47"/>
                  </a:lnTo>
                  <a:lnTo>
                    <a:pt x="906" y="47"/>
                  </a:lnTo>
                  <a:lnTo>
                    <a:pt x="898" y="49"/>
                  </a:lnTo>
                  <a:lnTo>
                    <a:pt x="896" y="49"/>
                  </a:lnTo>
                  <a:lnTo>
                    <a:pt x="893" y="49"/>
                  </a:lnTo>
                  <a:lnTo>
                    <a:pt x="893" y="49"/>
                  </a:lnTo>
                  <a:lnTo>
                    <a:pt x="893" y="49"/>
                  </a:lnTo>
                  <a:lnTo>
                    <a:pt x="896" y="52"/>
                  </a:lnTo>
                  <a:lnTo>
                    <a:pt x="900" y="52"/>
                  </a:lnTo>
                  <a:lnTo>
                    <a:pt x="902" y="52"/>
                  </a:lnTo>
                  <a:lnTo>
                    <a:pt x="900" y="52"/>
                  </a:lnTo>
                  <a:lnTo>
                    <a:pt x="898" y="52"/>
                  </a:lnTo>
                  <a:lnTo>
                    <a:pt x="896" y="52"/>
                  </a:lnTo>
                  <a:lnTo>
                    <a:pt x="896" y="52"/>
                  </a:lnTo>
                  <a:lnTo>
                    <a:pt x="896" y="54"/>
                  </a:lnTo>
                  <a:lnTo>
                    <a:pt x="896" y="54"/>
                  </a:lnTo>
                  <a:lnTo>
                    <a:pt x="898" y="54"/>
                  </a:lnTo>
                  <a:lnTo>
                    <a:pt x="898" y="54"/>
                  </a:lnTo>
                  <a:lnTo>
                    <a:pt x="900" y="54"/>
                  </a:lnTo>
                  <a:lnTo>
                    <a:pt x="902" y="54"/>
                  </a:lnTo>
                  <a:lnTo>
                    <a:pt x="910" y="56"/>
                  </a:lnTo>
                  <a:lnTo>
                    <a:pt x="910" y="56"/>
                  </a:lnTo>
                  <a:lnTo>
                    <a:pt x="906" y="56"/>
                  </a:lnTo>
                  <a:lnTo>
                    <a:pt x="900" y="56"/>
                  </a:lnTo>
                  <a:lnTo>
                    <a:pt x="898" y="56"/>
                  </a:lnTo>
                  <a:lnTo>
                    <a:pt x="898" y="56"/>
                  </a:lnTo>
                  <a:lnTo>
                    <a:pt x="900" y="58"/>
                  </a:lnTo>
                  <a:lnTo>
                    <a:pt x="902" y="58"/>
                  </a:lnTo>
                  <a:lnTo>
                    <a:pt x="904" y="60"/>
                  </a:lnTo>
                  <a:lnTo>
                    <a:pt x="908" y="60"/>
                  </a:lnTo>
                  <a:lnTo>
                    <a:pt x="914" y="60"/>
                  </a:lnTo>
                  <a:lnTo>
                    <a:pt x="916" y="60"/>
                  </a:lnTo>
                  <a:lnTo>
                    <a:pt x="918" y="60"/>
                  </a:lnTo>
                  <a:lnTo>
                    <a:pt x="920" y="60"/>
                  </a:lnTo>
                  <a:lnTo>
                    <a:pt x="920" y="60"/>
                  </a:lnTo>
                  <a:lnTo>
                    <a:pt x="920" y="60"/>
                  </a:lnTo>
                  <a:lnTo>
                    <a:pt x="920" y="60"/>
                  </a:lnTo>
                  <a:lnTo>
                    <a:pt x="918" y="58"/>
                  </a:lnTo>
                  <a:lnTo>
                    <a:pt x="918" y="58"/>
                  </a:lnTo>
                  <a:lnTo>
                    <a:pt x="920" y="58"/>
                  </a:lnTo>
                  <a:lnTo>
                    <a:pt x="922" y="58"/>
                  </a:lnTo>
                  <a:lnTo>
                    <a:pt x="924" y="58"/>
                  </a:lnTo>
                  <a:lnTo>
                    <a:pt x="924" y="58"/>
                  </a:lnTo>
                  <a:lnTo>
                    <a:pt x="924" y="60"/>
                  </a:lnTo>
                  <a:lnTo>
                    <a:pt x="926" y="60"/>
                  </a:lnTo>
                  <a:lnTo>
                    <a:pt x="926" y="60"/>
                  </a:lnTo>
                  <a:lnTo>
                    <a:pt x="926" y="60"/>
                  </a:lnTo>
                  <a:lnTo>
                    <a:pt x="928" y="60"/>
                  </a:lnTo>
                  <a:lnTo>
                    <a:pt x="928" y="60"/>
                  </a:lnTo>
                  <a:lnTo>
                    <a:pt x="928" y="60"/>
                  </a:lnTo>
                  <a:lnTo>
                    <a:pt x="928" y="58"/>
                  </a:lnTo>
                  <a:lnTo>
                    <a:pt x="928" y="58"/>
                  </a:lnTo>
                  <a:lnTo>
                    <a:pt x="928" y="56"/>
                  </a:lnTo>
                  <a:lnTo>
                    <a:pt x="928" y="56"/>
                  </a:lnTo>
                  <a:lnTo>
                    <a:pt x="930" y="54"/>
                  </a:lnTo>
                  <a:lnTo>
                    <a:pt x="930" y="54"/>
                  </a:lnTo>
                  <a:lnTo>
                    <a:pt x="930" y="56"/>
                  </a:lnTo>
                  <a:lnTo>
                    <a:pt x="930" y="56"/>
                  </a:lnTo>
                  <a:lnTo>
                    <a:pt x="932" y="58"/>
                  </a:lnTo>
                  <a:lnTo>
                    <a:pt x="932" y="60"/>
                  </a:lnTo>
                  <a:lnTo>
                    <a:pt x="935" y="60"/>
                  </a:lnTo>
                  <a:lnTo>
                    <a:pt x="935" y="60"/>
                  </a:lnTo>
                  <a:lnTo>
                    <a:pt x="937" y="60"/>
                  </a:lnTo>
                  <a:lnTo>
                    <a:pt x="937" y="60"/>
                  </a:lnTo>
                  <a:lnTo>
                    <a:pt x="941" y="58"/>
                  </a:lnTo>
                  <a:lnTo>
                    <a:pt x="941" y="58"/>
                  </a:lnTo>
                  <a:lnTo>
                    <a:pt x="943" y="56"/>
                  </a:lnTo>
                  <a:lnTo>
                    <a:pt x="943" y="56"/>
                  </a:lnTo>
                  <a:lnTo>
                    <a:pt x="943" y="54"/>
                  </a:lnTo>
                  <a:lnTo>
                    <a:pt x="943" y="54"/>
                  </a:lnTo>
                  <a:lnTo>
                    <a:pt x="945" y="54"/>
                  </a:lnTo>
                  <a:lnTo>
                    <a:pt x="947" y="56"/>
                  </a:lnTo>
                  <a:lnTo>
                    <a:pt x="947" y="56"/>
                  </a:lnTo>
                  <a:lnTo>
                    <a:pt x="949" y="56"/>
                  </a:lnTo>
                  <a:lnTo>
                    <a:pt x="951" y="56"/>
                  </a:lnTo>
                  <a:lnTo>
                    <a:pt x="951" y="56"/>
                  </a:lnTo>
                  <a:lnTo>
                    <a:pt x="951" y="54"/>
                  </a:lnTo>
                  <a:lnTo>
                    <a:pt x="951" y="54"/>
                  </a:lnTo>
                  <a:lnTo>
                    <a:pt x="951" y="54"/>
                  </a:lnTo>
                  <a:lnTo>
                    <a:pt x="949" y="54"/>
                  </a:lnTo>
                  <a:lnTo>
                    <a:pt x="949" y="54"/>
                  </a:lnTo>
                  <a:lnTo>
                    <a:pt x="951" y="54"/>
                  </a:lnTo>
                  <a:lnTo>
                    <a:pt x="951" y="52"/>
                  </a:lnTo>
                  <a:lnTo>
                    <a:pt x="953" y="52"/>
                  </a:lnTo>
                  <a:lnTo>
                    <a:pt x="955" y="49"/>
                  </a:lnTo>
                  <a:lnTo>
                    <a:pt x="957" y="49"/>
                  </a:lnTo>
                  <a:lnTo>
                    <a:pt x="957" y="49"/>
                  </a:lnTo>
                  <a:lnTo>
                    <a:pt x="959" y="49"/>
                  </a:lnTo>
                  <a:lnTo>
                    <a:pt x="961" y="49"/>
                  </a:lnTo>
                  <a:lnTo>
                    <a:pt x="959" y="49"/>
                  </a:lnTo>
                  <a:lnTo>
                    <a:pt x="957" y="49"/>
                  </a:lnTo>
                  <a:lnTo>
                    <a:pt x="957" y="49"/>
                  </a:lnTo>
                  <a:lnTo>
                    <a:pt x="957" y="52"/>
                  </a:lnTo>
                  <a:lnTo>
                    <a:pt x="955" y="52"/>
                  </a:lnTo>
                  <a:lnTo>
                    <a:pt x="955" y="52"/>
                  </a:lnTo>
                  <a:lnTo>
                    <a:pt x="955" y="54"/>
                  </a:lnTo>
                  <a:lnTo>
                    <a:pt x="957" y="54"/>
                  </a:lnTo>
                  <a:lnTo>
                    <a:pt x="959" y="54"/>
                  </a:lnTo>
                  <a:lnTo>
                    <a:pt x="963" y="52"/>
                  </a:lnTo>
                  <a:lnTo>
                    <a:pt x="965" y="52"/>
                  </a:lnTo>
                  <a:lnTo>
                    <a:pt x="965" y="49"/>
                  </a:lnTo>
                  <a:lnTo>
                    <a:pt x="967" y="49"/>
                  </a:lnTo>
                  <a:lnTo>
                    <a:pt x="969" y="49"/>
                  </a:lnTo>
                  <a:lnTo>
                    <a:pt x="969" y="49"/>
                  </a:lnTo>
                  <a:lnTo>
                    <a:pt x="971" y="49"/>
                  </a:lnTo>
                  <a:lnTo>
                    <a:pt x="974" y="49"/>
                  </a:lnTo>
                  <a:lnTo>
                    <a:pt x="980" y="47"/>
                  </a:lnTo>
                  <a:lnTo>
                    <a:pt x="988" y="47"/>
                  </a:lnTo>
                  <a:lnTo>
                    <a:pt x="990" y="45"/>
                  </a:lnTo>
                  <a:lnTo>
                    <a:pt x="992" y="45"/>
                  </a:lnTo>
                  <a:lnTo>
                    <a:pt x="994" y="45"/>
                  </a:lnTo>
                  <a:lnTo>
                    <a:pt x="992" y="43"/>
                  </a:lnTo>
                  <a:lnTo>
                    <a:pt x="992" y="43"/>
                  </a:lnTo>
                  <a:lnTo>
                    <a:pt x="992" y="41"/>
                  </a:lnTo>
                  <a:lnTo>
                    <a:pt x="992" y="41"/>
                  </a:lnTo>
                  <a:lnTo>
                    <a:pt x="990" y="41"/>
                  </a:lnTo>
                  <a:lnTo>
                    <a:pt x="990" y="41"/>
                  </a:lnTo>
                  <a:lnTo>
                    <a:pt x="986" y="43"/>
                  </a:lnTo>
                  <a:lnTo>
                    <a:pt x="986" y="43"/>
                  </a:lnTo>
                  <a:lnTo>
                    <a:pt x="986" y="41"/>
                  </a:lnTo>
                  <a:lnTo>
                    <a:pt x="986" y="41"/>
                  </a:lnTo>
                  <a:lnTo>
                    <a:pt x="986" y="41"/>
                  </a:lnTo>
                  <a:lnTo>
                    <a:pt x="986" y="41"/>
                  </a:lnTo>
                  <a:lnTo>
                    <a:pt x="982" y="41"/>
                  </a:lnTo>
                  <a:lnTo>
                    <a:pt x="980" y="41"/>
                  </a:lnTo>
                  <a:lnTo>
                    <a:pt x="978" y="41"/>
                  </a:lnTo>
                  <a:lnTo>
                    <a:pt x="976" y="41"/>
                  </a:lnTo>
                  <a:lnTo>
                    <a:pt x="976" y="41"/>
                  </a:lnTo>
                  <a:lnTo>
                    <a:pt x="976" y="41"/>
                  </a:lnTo>
                  <a:lnTo>
                    <a:pt x="978" y="41"/>
                  </a:lnTo>
                  <a:lnTo>
                    <a:pt x="982" y="39"/>
                  </a:lnTo>
                  <a:lnTo>
                    <a:pt x="984" y="37"/>
                  </a:lnTo>
                  <a:lnTo>
                    <a:pt x="984" y="37"/>
                  </a:lnTo>
                  <a:lnTo>
                    <a:pt x="984" y="35"/>
                  </a:lnTo>
                  <a:lnTo>
                    <a:pt x="982" y="35"/>
                  </a:lnTo>
                  <a:lnTo>
                    <a:pt x="980" y="35"/>
                  </a:lnTo>
                  <a:lnTo>
                    <a:pt x="978" y="35"/>
                  </a:lnTo>
                  <a:lnTo>
                    <a:pt x="978" y="35"/>
                  </a:lnTo>
                  <a:lnTo>
                    <a:pt x="978" y="35"/>
                  </a:lnTo>
                  <a:lnTo>
                    <a:pt x="982" y="35"/>
                  </a:lnTo>
                  <a:lnTo>
                    <a:pt x="982" y="33"/>
                  </a:lnTo>
                  <a:lnTo>
                    <a:pt x="984" y="33"/>
                  </a:lnTo>
                  <a:lnTo>
                    <a:pt x="984" y="33"/>
                  </a:lnTo>
                  <a:lnTo>
                    <a:pt x="984" y="31"/>
                  </a:lnTo>
                  <a:lnTo>
                    <a:pt x="982" y="31"/>
                  </a:lnTo>
                  <a:lnTo>
                    <a:pt x="980" y="31"/>
                  </a:lnTo>
                  <a:lnTo>
                    <a:pt x="978" y="31"/>
                  </a:lnTo>
                  <a:lnTo>
                    <a:pt x="976" y="31"/>
                  </a:lnTo>
                  <a:lnTo>
                    <a:pt x="974" y="31"/>
                  </a:lnTo>
                  <a:lnTo>
                    <a:pt x="974" y="33"/>
                  </a:lnTo>
                  <a:lnTo>
                    <a:pt x="974" y="33"/>
                  </a:lnTo>
                  <a:lnTo>
                    <a:pt x="974" y="33"/>
                  </a:lnTo>
                  <a:lnTo>
                    <a:pt x="974" y="33"/>
                  </a:lnTo>
                  <a:lnTo>
                    <a:pt x="976" y="35"/>
                  </a:lnTo>
                  <a:lnTo>
                    <a:pt x="976" y="35"/>
                  </a:lnTo>
                  <a:lnTo>
                    <a:pt x="974" y="35"/>
                  </a:lnTo>
                  <a:lnTo>
                    <a:pt x="974" y="35"/>
                  </a:lnTo>
                  <a:lnTo>
                    <a:pt x="971" y="35"/>
                  </a:lnTo>
                  <a:lnTo>
                    <a:pt x="969" y="35"/>
                  </a:lnTo>
                  <a:lnTo>
                    <a:pt x="967" y="33"/>
                  </a:lnTo>
                  <a:lnTo>
                    <a:pt x="967" y="33"/>
                  </a:lnTo>
                  <a:lnTo>
                    <a:pt x="967" y="33"/>
                  </a:lnTo>
                  <a:lnTo>
                    <a:pt x="969" y="31"/>
                  </a:lnTo>
                  <a:lnTo>
                    <a:pt x="969" y="31"/>
                  </a:lnTo>
                  <a:lnTo>
                    <a:pt x="969" y="31"/>
                  </a:lnTo>
                  <a:lnTo>
                    <a:pt x="969" y="31"/>
                  </a:lnTo>
                  <a:lnTo>
                    <a:pt x="971" y="31"/>
                  </a:lnTo>
                  <a:lnTo>
                    <a:pt x="971" y="31"/>
                  </a:lnTo>
                  <a:lnTo>
                    <a:pt x="971" y="31"/>
                  </a:lnTo>
                  <a:lnTo>
                    <a:pt x="971" y="31"/>
                  </a:lnTo>
                  <a:lnTo>
                    <a:pt x="969" y="29"/>
                  </a:lnTo>
                  <a:lnTo>
                    <a:pt x="967" y="29"/>
                  </a:lnTo>
                  <a:lnTo>
                    <a:pt x="967" y="29"/>
                  </a:lnTo>
                  <a:lnTo>
                    <a:pt x="965" y="31"/>
                  </a:lnTo>
                  <a:lnTo>
                    <a:pt x="963" y="31"/>
                  </a:lnTo>
                  <a:lnTo>
                    <a:pt x="961" y="29"/>
                  </a:lnTo>
                  <a:lnTo>
                    <a:pt x="959" y="29"/>
                  </a:lnTo>
                  <a:lnTo>
                    <a:pt x="957" y="29"/>
                  </a:lnTo>
                  <a:lnTo>
                    <a:pt x="959" y="29"/>
                  </a:lnTo>
                  <a:lnTo>
                    <a:pt x="959" y="29"/>
                  </a:lnTo>
                  <a:lnTo>
                    <a:pt x="959" y="29"/>
                  </a:lnTo>
                  <a:lnTo>
                    <a:pt x="957" y="27"/>
                  </a:lnTo>
                  <a:lnTo>
                    <a:pt x="957" y="27"/>
                  </a:lnTo>
                  <a:lnTo>
                    <a:pt x="955" y="23"/>
                  </a:lnTo>
                  <a:lnTo>
                    <a:pt x="955" y="23"/>
                  </a:lnTo>
                  <a:lnTo>
                    <a:pt x="955" y="23"/>
                  </a:lnTo>
                  <a:lnTo>
                    <a:pt x="953" y="21"/>
                  </a:lnTo>
                  <a:lnTo>
                    <a:pt x="953" y="21"/>
                  </a:lnTo>
                  <a:lnTo>
                    <a:pt x="947" y="21"/>
                  </a:lnTo>
                  <a:lnTo>
                    <a:pt x="945" y="21"/>
                  </a:lnTo>
                  <a:lnTo>
                    <a:pt x="941" y="21"/>
                  </a:lnTo>
                  <a:lnTo>
                    <a:pt x="937" y="21"/>
                  </a:lnTo>
                  <a:lnTo>
                    <a:pt x="937" y="21"/>
                  </a:lnTo>
                  <a:lnTo>
                    <a:pt x="935" y="21"/>
                  </a:lnTo>
                  <a:lnTo>
                    <a:pt x="935" y="21"/>
                  </a:lnTo>
                  <a:lnTo>
                    <a:pt x="935" y="21"/>
                  </a:lnTo>
                  <a:lnTo>
                    <a:pt x="935" y="21"/>
                  </a:lnTo>
                  <a:lnTo>
                    <a:pt x="935" y="21"/>
                  </a:lnTo>
                  <a:lnTo>
                    <a:pt x="935" y="21"/>
                  </a:lnTo>
                  <a:lnTo>
                    <a:pt x="937" y="23"/>
                  </a:lnTo>
                  <a:lnTo>
                    <a:pt x="941" y="23"/>
                  </a:lnTo>
                  <a:lnTo>
                    <a:pt x="943" y="23"/>
                  </a:lnTo>
                  <a:lnTo>
                    <a:pt x="943" y="23"/>
                  </a:lnTo>
                  <a:lnTo>
                    <a:pt x="941" y="23"/>
                  </a:lnTo>
                  <a:lnTo>
                    <a:pt x="941" y="23"/>
                  </a:lnTo>
                  <a:lnTo>
                    <a:pt x="939" y="23"/>
                  </a:lnTo>
                  <a:lnTo>
                    <a:pt x="939" y="23"/>
                  </a:lnTo>
                  <a:lnTo>
                    <a:pt x="935" y="23"/>
                  </a:lnTo>
                  <a:lnTo>
                    <a:pt x="930" y="23"/>
                  </a:lnTo>
                  <a:lnTo>
                    <a:pt x="926" y="25"/>
                  </a:lnTo>
                  <a:lnTo>
                    <a:pt x="922" y="23"/>
                  </a:lnTo>
                  <a:lnTo>
                    <a:pt x="920" y="25"/>
                  </a:lnTo>
                  <a:lnTo>
                    <a:pt x="914" y="27"/>
                  </a:lnTo>
                  <a:lnTo>
                    <a:pt x="914" y="27"/>
                  </a:lnTo>
                  <a:lnTo>
                    <a:pt x="916" y="27"/>
                  </a:lnTo>
                  <a:lnTo>
                    <a:pt x="920" y="27"/>
                  </a:lnTo>
                  <a:lnTo>
                    <a:pt x="920" y="29"/>
                  </a:lnTo>
                  <a:lnTo>
                    <a:pt x="922" y="29"/>
                  </a:lnTo>
                  <a:lnTo>
                    <a:pt x="924" y="29"/>
                  </a:lnTo>
                  <a:lnTo>
                    <a:pt x="924" y="29"/>
                  </a:lnTo>
                  <a:lnTo>
                    <a:pt x="920" y="29"/>
                  </a:lnTo>
                  <a:lnTo>
                    <a:pt x="916" y="29"/>
                  </a:lnTo>
                  <a:lnTo>
                    <a:pt x="916" y="29"/>
                  </a:lnTo>
                  <a:lnTo>
                    <a:pt x="916" y="29"/>
                  </a:lnTo>
                  <a:lnTo>
                    <a:pt x="914" y="29"/>
                  </a:lnTo>
                  <a:lnTo>
                    <a:pt x="912" y="29"/>
                  </a:lnTo>
                  <a:lnTo>
                    <a:pt x="910" y="27"/>
                  </a:lnTo>
                  <a:lnTo>
                    <a:pt x="908" y="27"/>
                  </a:lnTo>
                  <a:lnTo>
                    <a:pt x="906" y="29"/>
                  </a:lnTo>
                  <a:lnTo>
                    <a:pt x="902" y="29"/>
                  </a:lnTo>
                  <a:lnTo>
                    <a:pt x="904" y="31"/>
                  </a:lnTo>
                  <a:lnTo>
                    <a:pt x="906" y="31"/>
                  </a:lnTo>
                  <a:lnTo>
                    <a:pt x="906" y="31"/>
                  </a:lnTo>
                  <a:lnTo>
                    <a:pt x="904" y="31"/>
                  </a:lnTo>
                  <a:lnTo>
                    <a:pt x="902" y="31"/>
                  </a:lnTo>
                  <a:lnTo>
                    <a:pt x="900" y="31"/>
                  </a:lnTo>
                  <a:lnTo>
                    <a:pt x="898" y="33"/>
                  </a:lnTo>
                  <a:lnTo>
                    <a:pt x="896" y="33"/>
                  </a:lnTo>
                  <a:lnTo>
                    <a:pt x="896" y="33"/>
                  </a:lnTo>
                  <a:lnTo>
                    <a:pt x="896" y="33"/>
                  </a:lnTo>
                  <a:lnTo>
                    <a:pt x="896" y="33"/>
                  </a:lnTo>
                  <a:lnTo>
                    <a:pt x="896" y="33"/>
                  </a:lnTo>
                  <a:lnTo>
                    <a:pt x="898" y="33"/>
                  </a:lnTo>
                  <a:lnTo>
                    <a:pt x="900" y="33"/>
                  </a:lnTo>
                  <a:lnTo>
                    <a:pt x="902" y="33"/>
                  </a:lnTo>
                  <a:lnTo>
                    <a:pt x="902" y="35"/>
                  </a:lnTo>
                  <a:lnTo>
                    <a:pt x="904" y="35"/>
                  </a:lnTo>
                  <a:lnTo>
                    <a:pt x="912" y="33"/>
                  </a:lnTo>
                  <a:lnTo>
                    <a:pt x="914" y="33"/>
                  </a:lnTo>
                  <a:lnTo>
                    <a:pt x="914" y="35"/>
                  </a:lnTo>
                  <a:lnTo>
                    <a:pt x="910" y="35"/>
                  </a:lnTo>
                  <a:lnTo>
                    <a:pt x="910" y="35"/>
                  </a:lnTo>
                  <a:lnTo>
                    <a:pt x="910" y="35"/>
                  </a:lnTo>
                  <a:lnTo>
                    <a:pt x="910" y="35"/>
                  </a:lnTo>
                  <a:lnTo>
                    <a:pt x="910" y="35"/>
                  </a:lnTo>
                  <a:lnTo>
                    <a:pt x="908" y="35"/>
                  </a:lnTo>
                  <a:lnTo>
                    <a:pt x="902" y="35"/>
                  </a:lnTo>
                  <a:lnTo>
                    <a:pt x="898" y="35"/>
                  </a:lnTo>
                  <a:lnTo>
                    <a:pt x="889" y="35"/>
                  </a:lnTo>
                  <a:lnTo>
                    <a:pt x="887" y="35"/>
                  </a:lnTo>
                  <a:lnTo>
                    <a:pt x="887" y="37"/>
                  </a:lnTo>
                  <a:lnTo>
                    <a:pt x="887" y="37"/>
                  </a:lnTo>
                  <a:lnTo>
                    <a:pt x="887" y="39"/>
                  </a:lnTo>
                  <a:lnTo>
                    <a:pt x="889" y="39"/>
                  </a:lnTo>
                  <a:lnTo>
                    <a:pt x="889" y="41"/>
                  </a:lnTo>
                  <a:lnTo>
                    <a:pt x="891" y="41"/>
                  </a:lnTo>
                  <a:lnTo>
                    <a:pt x="891" y="41"/>
                  </a:lnTo>
                  <a:lnTo>
                    <a:pt x="896" y="41"/>
                  </a:lnTo>
                  <a:lnTo>
                    <a:pt x="898" y="41"/>
                  </a:lnTo>
                  <a:lnTo>
                    <a:pt x="904" y="39"/>
                  </a:lnTo>
                  <a:lnTo>
                    <a:pt x="906" y="39"/>
                  </a:lnTo>
                  <a:lnTo>
                    <a:pt x="904" y="41"/>
                  </a:lnTo>
                  <a:lnTo>
                    <a:pt x="904" y="41"/>
                  </a:lnTo>
                  <a:close/>
                  <a:moveTo>
                    <a:pt x="898" y="82"/>
                  </a:moveTo>
                  <a:lnTo>
                    <a:pt x="898" y="80"/>
                  </a:lnTo>
                  <a:lnTo>
                    <a:pt x="900" y="80"/>
                  </a:lnTo>
                  <a:lnTo>
                    <a:pt x="902" y="80"/>
                  </a:lnTo>
                  <a:lnTo>
                    <a:pt x="902" y="80"/>
                  </a:lnTo>
                  <a:lnTo>
                    <a:pt x="902" y="80"/>
                  </a:lnTo>
                  <a:lnTo>
                    <a:pt x="902" y="78"/>
                  </a:lnTo>
                  <a:lnTo>
                    <a:pt x="902" y="78"/>
                  </a:lnTo>
                  <a:lnTo>
                    <a:pt x="900" y="78"/>
                  </a:lnTo>
                  <a:lnTo>
                    <a:pt x="898" y="78"/>
                  </a:lnTo>
                  <a:lnTo>
                    <a:pt x="896" y="78"/>
                  </a:lnTo>
                  <a:lnTo>
                    <a:pt x="893" y="78"/>
                  </a:lnTo>
                  <a:lnTo>
                    <a:pt x="893" y="80"/>
                  </a:lnTo>
                  <a:lnTo>
                    <a:pt x="891" y="80"/>
                  </a:lnTo>
                  <a:lnTo>
                    <a:pt x="891" y="80"/>
                  </a:lnTo>
                  <a:lnTo>
                    <a:pt x="893" y="82"/>
                  </a:lnTo>
                  <a:lnTo>
                    <a:pt x="893" y="82"/>
                  </a:lnTo>
                  <a:lnTo>
                    <a:pt x="893" y="82"/>
                  </a:lnTo>
                  <a:lnTo>
                    <a:pt x="893" y="82"/>
                  </a:lnTo>
                  <a:lnTo>
                    <a:pt x="896" y="82"/>
                  </a:lnTo>
                  <a:lnTo>
                    <a:pt x="898" y="82"/>
                  </a:lnTo>
                  <a:lnTo>
                    <a:pt x="898" y="82"/>
                  </a:lnTo>
                  <a:lnTo>
                    <a:pt x="898" y="82"/>
                  </a:lnTo>
                  <a:lnTo>
                    <a:pt x="898" y="82"/>
                  </a:lnTo>
                  <a:lnTo>
                    <a:pt x="898" y="82"/>
                  </a:lnTo>
                  <a:lnTo>
                    <a:pt x="898" y="82"/>
                  </a:lnTo>
                  <a:close/>
                  <a:moveTo>
                    <a:pt x="66" y="533"/>
                  </a:moveTo>
                  <a:lnTo>
                    <a:pt x="64" y="533"/>
                  </a:lnTo>
                  <a:lnTo>
                    <a:pt x="64" y="535"/>
                  </a:lnTo>
                  <a:lnTo>
                    <a:pt x="64" y="535"/>
                  </a:lnTo>
                  <a:lnTo>
                    <a:pt x="64" y="535"/>
                  </a:lnTo>
                  <a:lnTo>
                    <a:pt x="64" y="535"/>
                  </a:lnTo>
                  <a:lnTo>
                    <a:pt x="66" y="535"/>
                  </a:lnTo>
                  <a:lnTo>
                    <a:pt x="66" y="535"/>
                  </a:lnTo>
                  <a:lnTo>
                    <a:pt x="66" y="533"/>
                  </a:lnTo>
                  <a:lnTo>
                    <a:pt x="66" y="533"/>
                  </a:lnTo>
                  <a:lnTo>
                    <a:pt x="66" y="533"/>
                  </a:lnTo>
                  <a:close/>
                  <a:moveTo>
                    <a:pt x="844" y="64"/>
                  </a:moveTo>
                  <a:lnTo>
                    <a:pt x="846" y="64"/>
                  </a:lnTo>
                  <a:lnTo>
                    <a:pt x="844" y="64"/>
                  </a:lnTo>
                  <a:lnTo>
                    <a:pt x="844" y="64"/>
                  </a:lnTo>
                  <a:lnTo>
                    <a:pt x="844" y="64"/>
                  </a:lnTo>
                  <a:lnTo>
                    <a:pt x="844" y="66"/>
                  </a:lnTo>
                  <a:lnTo>
                    <a:pt x="846" y="64"/>
                  </a:lnTo>
                  <a:lnTo>
                    <a:pt x="848" y="64"/>
                  </a:lnTo>
                  <a:lnTo>
                    <a:pt x="850" y="64"/>
                  </a:lnTo>
                  <a:lnTo>
                    <a:pt x="854" y="64"/>
                  </a:lnTo>
                  <a:lnTo>
                    <a:pt x="861" y="64"/>
                  </a:lnTo>
                  <a:lnTo>
                    <a:pt x="863" y="62"/>
                  </a:lnTo>
                  <a:lnTo>
                    <a:pt x="863" y="62"/>
                  </a:lnTo>
                  <a:lnTo>
                    <a:pt x="865" y="62"/>
                  </a:lnTo>
                  <a:lnTo>
                    <a:pt x="867" y="62"/>
                  </a:lnTo>
                  <a:lnTo>
                    <a:pt x="871" y="62"/>
                  </a:lnTo>
                  <a:lnTo>
                    <a:pt x="871" y="62"/>
                  </a:lnTo>
                  <a:lnTo>
                    <a:pt x="871" y="60"/>
                  </a:lnTo>
                  <a:lnTo>
                    <a:pt x="871" y="60"/>
                  </a:lnTo>
                  <a:lnTo>
                    <a:pt x="869" y="60"/>
                  </a:lnTo>
                  <a:lnTo>
                    <a:pt x="871" y="60"/>
                  </a:lnTo>
                  <a:lnTo>
                    <a:pt x="873" y="58"/>
                  </a:lnTo>
                  <a:lnTo>
                    <a:pt x="875" y="58"/>
                  </a:lnTo>
                  <a:lnTo>
                    <a:pt x="875" y="58"/>
                  </a:lnTo>
                  <a:lnTo>
                    <a:pt x="875" y="58"/>
                  </a:lnTo>
                  <a:lnTo>
                    <a:pt x="875" y="56"/>
                  </a:lnTo>
                  <a:lnTo>
                    <a:pt x="873" y="56"/>
                  </a:lnTo>
                  <a:lnTo>
                    <a:pt x="871" y="56"/>
                  </a:lnTo>
                  <a:lnTo>
                    <a:pt x="867" y="56"/>
                  </a:lnTo>
                  <a:lnTo>
                    <a:pt x="865" y="56"/>
                  </a:lnTo>
                  <a:lnTo>
                    <a:pt x="865" y="56"/>
                  </a:lnTo>
                  <a:lnTo>
                    <a:pt x="865" y="56"/>
                  </a:lnTo>
                  <a:lnTo>
                    <a:pt x="865" y="54"/>
                  </a:lnTo>
                  <a:lnTo>
                    <a:pt x="865" y="54"/>
                  </a:lnTo>
                  <a:lnTo>
                    <a:pt x="865" y="54"/>
                  </a:lnTo>
                  <a:lnTo>
                    <a:pt x="861" y="54"/>
                  </a:lnTo>
                  <a:lnTo>
                    <a:pt x="859" y="52"/>
                  </a:lnTo>
                  <a:lnTo>
                    <a:pt x="859" y="52"/>
                  </a:lnTo>
                  <a:lnTo>
                    <a:pt x="857" y="52"/>
                  </a:lnTo>
                  <a:lnTo>
                    <a:pt x="850" y="52"/>
                  </a:lnTo>
                  <a:lnTo>
                    <a:pt x="850" y="52"/>
                  </a:lnTo>
                  <a:lnTo>
                    <a:pt x="848" y="52"/>
                  </a:lnTo>
                  <a:lnTo>
                    <a:pt x="846" y="52"/>
                  </a:lnTo>
                  <a:lnTo>
                    <a:pt x="846" y="54"/>
                  </a:lnTo>
                  <a:lnTo>
                    <a:pt x="846" y="54"/>
                  </a:lnTo>
                  <a:lnTo>
                    <a:pt x="846" y="56"/>
                  </a:lnTo>
                  <a:lnTo>
                    <a:pt x="842" y="56"/>
                  </a:lnTo>
                  <a:lnTo>
                    <a:pt x="842" y="56"/>
                  </a:lnTo>
                  <a:lnTo>
                    <a:pt x="842" y="56"/>
                  </a:lnTo>
                  <a:lnTo>
                    <a:pt x="842" y="56"/>
                  </a:lnTo>
                  <a:lnTo>
                    <a:pt x="842" y="56"/>
                  </a:lnTo>
                  <a:lnTo>
                    <a:pt x="842" y="58"/>
                  </a:lnTo>
                  <a:lnTo>
                    <a:pt x="844" y="58"/>
                  </a:lnTo>
                  <a:lnTo>
                    <a:pt x="842" y="58"/>
                  </a:lnTo>
                  <a:lnTo>
                    <a:pt x="844" y="60"/>
                  </a:lnTo>
                  <a:lnTo>
                    <a:pt x="842" y="60"/>
                  </a:lnTo>
                  <a:lnTo>
                    <a:pt x="848" y="60"/>
                  </a:lnTo>
                  <a:lnTo>
                    <a:pt x="850" y="60"/>
                  </a:lnTo>
                  <a:lnTo>
                    <a:pt x="850" y="60"/>
                  </a:lnTo>
                  <a:lnTo>
                    <a:pt x="850" y="60"/>
                  </a:lnTo>
                  <a:lnTo>
                    <a:pt x="848" y="60"/>
                  </a:lnTo>
                  <a:lnTo>
                    <a:pt x="846" y="62"/>
                  </a:lnTo>
                  <a:lnTo>
                    <a:pt x="842" y="62"/>
                  </a:lnTo>
                  <a:lnTo>
                    <a:pt x="842" y="62"/>
                  </a:lnTo>
                  <a:lnTo>
                    <a:pt x="842" y="62"/>
                  </a:lnTo>
                  <a:lnTo>
                    <a:pt x="842" y="62"/>
                  </a:lnTo>
                  <a:lnTo>
                    <a:pt x="844" y="64"/>
                  </a:lnTo>
                  <a:close/>
                  <a:moveTo>
                    <a:pt x="852" y="37"/>
                  </a:moveTo>
                  <a:lnTo>
                    <a:pt x="857" y="37"/>
                  </a:lnTo>
                  <a:lnTo>
                    <a:pt x="857" y="39"/>
                  </a:lnTo>
                  <a:lnTo>
                    <a:pt x="857" y="39"/>
                  </a:lnTo>
                  <a:lnTo>
                    <a:pt x="857" y="39"/>
                  </a:lnTo>
                  <a:lnTo>
                    <a:pt x="857" y="39"/>
                  </a:lnTo>
                  <a:lnTo>
                    <a:pt x="859" y="39"/>
                  </a:lnTo>
                  <a:lnTo>
                    <a:pt x="861" y="39"/>
                  </a:lnTo>
                  <a:lnTo>
                    <a:pt x="861" y="39"/>
                  </a:lnTo>
                  <a:lnTo>
                    <a:pt x="863" y="39"/>
                  </a:lnTo>
                  <a:lnTo>
                    <a:pt x="863" y="39"/>
                  </a:lnTo>
                  <a:lnTo>
                    <a:pt x="865" y="37"/>
                  </a:lnTo>
                  <a:lnTo>
                    <a:pt x="867" y="35"/>
                  </a:lnTo>
                  <a:lnTo>
                    <a:pt x="867" y="35"/>
                  </a:lnTo>
                  <a:lnTo>
                    <a:pt x="865" y="35"/>
                  </a:lnTo>
                  <a:lnTo>
                    <a:pt x="865" y="35"/>
                  </a:lnTo>
                  <a:lnTo>
                    <a:pt x="863" y="35"/>
                  </a:lnTo>
                  <a:lnTo>
                    <a:pt x="859" y="35"/>
                  </a:lnTo>
                  <a:lnTo>
                    <a:pt x="859" y="35"/>
                  </a:lnTo>
                  <a:lnTo>
                    <a:pt x="854" y="35"/>
                  </a:lnTo>
                  <a:lnTo>
                    <a:pt x="854" y="35"/>
                  </a:lnTo>
                  <a:lnTo>
                    <a:pt x="852" y="35"/>
                  </a:lnTo>
                  <a:lnTo>
                    <a:pt x="852" y="37"/>
                  </a:lnTo>
                  <a:lnTo>
                    <a:pt x="850" y="37"/>
                  </a:lnTo>
                  <a:lnTo>
                    <a:pt x="850" y="37"/>
                  </a:lnTo>
                  <a:lnTo>
                    <a:pt x="852" y="37"/>
                  </a:lnTo>
                  <a:lnTo>
                    <a:pt x="852" y="37"/>
                  </a:lnTo>
                  <a:close/>
                  <a:moveTo>
                    <a:pt x="789" y="66"/>
                  </a:moveTo>
                  <a:lnTo>
                    <a:pt x="791" y="66"/>
                  </a:lnTo>
                  <a:lnTo>
                    <a:pt x="793" y="66"/>
                  </a:lnTo>
                  <a:lnTo>
                    <a:pt x="795" y="66"/>
                  </a:lnTo>
                  <a:lnTo>
                    <a:pt x="797" y="66"/>
                  </a:lnTo>
                  <a:lnTo>
                    <a:pt x="801" y="66"/>
                  </a:lnTo>
                  <a:lnTo>
                    <a:pt x="801" y="66"/>
                  </a:lnTo>
                  <a:lnTo>
                    <a:pt x="801" y="66"/>
                  </a:lnTo>
                  <a:lnTo>
                    <a:pt x="801" y="64"/>
                  </a:lnTo>
                  <a:lnTo>
                    <a:pt x="801" y="64"/>
                  </a:lnTo>
                  <a:lnTo>
                    <a:pt x="799" y="64"/>
                  </a:lnTo>
                  <a:lnTo>
                    <a:pt x="797" y="64"/>
                  </a:lnTo>
                  <a:lnTo>
                    <a:pt x="795" y="64"/>
                  </a:lnTo>
                  <a:lnTo>
                    <a:pt x="791" y="64"/>
                  </a:lnTo>
                  <a:lnTo>
                    <a:pt x="789" y="64"/>
                  </a:lnTo>
                  <a:lnTo>
                    <a:pt x="789" y="64"/>
                  </a:lnTo>
                  <a:lnTo>
                    <a:pt x="787" y="64"/>
                  </a:lnTo>
                  <a:lnTo>
                    <a:pt x="787" y="66"/>
                  </a:lnTo>
                  <a:lnTo>
                    <a:pt x="787" y="66"/>
                  </a:lnTo>
                  <a:lnTo>
                    <a:pt x="789" y="66"/>
                  </a:lnTo>
                  <a:close/>
                  <a:moveTo>
                    <a:pt x="680" y="197"/>
                  </a:moveTo>
                  <a:lnTo>
                    <a:pt x="680" y="197"/>
                  </a:lnTo>
                  <a:lnTo>
                    <a:pt x="680" y="197"/>
                  </a:lnTo>
                  <a:lnTo>
                    <a:pt x="684" y="200"/>
                  </a:lnTo>
                  <a:lnTo>
                    <a:pt x="686" y="200"/>
                  </a:lnTo>
                  <a:lnTo>
                    <a:pt x="686" y="202"/>
                  </a:lnTo>
                  <a:lnTo>
                    <a:pt x="688" y="202"/>
                  </a:lnTo>
                  <a:lnTo>
                    <a:pt x="692" y="202"/>
                  </a:lnTo>
                  <a:lnTo>
                    <a:pt x="696" y="202"/>
                  </a:lnTo>
                  <a:lnTo>
                    <a:pt x="698" y="202"/>
                  </a:lnTo>
                  <a:lnTo>
                    <a:pt x="700" y="202"/>
                  </a:lnTo>
                  <a:lnTo>
                    <a:pt x="705" y="200"/>
                  </a:lnTo>
                  <a:lnTo>
                    <a:pt x="707" y="200"/>
                  </a:lnTo>
                  <a:lnTo>
                    <a:pt x="709" y="200"/>
                  </a:lnTo>
                  <a:lnTo>
                    <a:pt x="711" y="197"/>
                  </a:lnTo>
                  <a:lnTo>
                    <a:pt x="711" y="197"/>
                  </a:lnTo>
                  <a:lnTo>
                    <a:pt x="713" y="197"/>
                  </a:lnTo>
                  <a:lnTo>
                    <a:pt x="715" y="197"/>
                  </a:lnTo>
                  <a:lnTo>
                    <a:pt x="717" y="197"/>
                  </a:lnTo>
                  <a:lnTo>
                    <a:pt x="717" y="195"/>
                  </a:lnTo>
                  <a:lnTo>
                    <a:pt x="717" y="195"/>
                  </a:lnTo>
                  <a:lnTo>
                    <a:pt x="717" y="195"/>
                  </a:lnTo>
                  <a:lnTo>
                    <a:pt x="715" y="195"/>
                  </a:lnTo>
                  <a:lnTo>
                    <a:pt x="713" y="195"/>
                  </a:lnTo>
                  <a:lnTo>
                    <a:pt x="713" y="195"/>
                  </a:lnTo>
                  <a:lnTo>
                    <a:pt x="713" y="195"/>
                  </a:lnTo>
                  <a:lnTo>
                    <a:pt x="711" y="193"/>
                  </a:lnTo>
                  <a:lnTo>
                    <a:pt x="713" y="191"/>
                  </a:lnTo>
                  <a:lnTo>
                    <a:pt x="713" y="189"/>
                  </a:lnTo>
                  <a:lnTo>
                    <a:pt x="713" y="189"/>
                  </a:lnTo>
                  <a:lnTo>
                    <a:pt x="709" y="187"/>
                  </a:lnTo>
                  <a:lnTo>
                    <a:pt x="709" y="185"/>
                  </a:lnTo>
                  <a:lnTo>
                    <a:pt x="707" y="185"/>
                  </a:lnTo>
                  <a:lnTo>
                    <a:pt x="707" y="185"/>
                  </a:lnTo>
                  <a:lnTo>
                    <a:pt x="707" y="183"/>
                  </a:lnTo>
                  <a:lnTo>
                    <a:pt x="707" y="183"/>
                  </a:lnTo>
                  <a:lnTo>
                    <a:pt x="705" y="183"/>
                  </a:lnTo>
                  <a:lnTo>
                    <a:pt x="705" y="183"/>
                  </a:lnTo>
                  <a:lnTo>
                    <a:pt x="703" y="183"/>
                  </a:lnTo>
                  <a:lnTo>
                    <a:pt x="703" y="183"/>
                  </a:lnTo>
                  <a:lnTo>
                    <a:pt x="703" y="183"/>
                  </a:lnTo>
                  <a:lnTo>
                    <a:pt x="705" y="183"/>
                  </a:lnTo>
                  <a:lnTo>
                    <a:pt x="705" y="183"/>
                  </a:lnTo>
                  <a:lnTo>
                    <a:pt x="705" y="183"/>
                  </a:lnTo>
                  <a:lnTo>
                    <a:pt x="705" y="183"/>
                  </a:lnTo>
                  <a:lnTo>
                    <a:pt x="705" y="181"/>
                  </a:lnTo>
                  <a:lnTo>
                    <a:pt x="703" y="181"/>
                  </a:lnTo>
                  <a:lnTo>
                    <a:pt x="703" y="181"/>
                  </a:lnTo>
                  <a:lnTo>
                    <a:pt x="700" y="181"/>
                  </a:lnTo>
                  <a:lnTo>
                    <a:pt x="698" y="181"/>
                  </a:lnTo>
                  <a:lnTo>
                    <a:pt x="696" y="181"/>
                  </a:lnTo>
                  <a:lnTo>
                    <a:pt x="696" y="181"/>
                  </a:lnTo>
                  <a:lnTo>
                    <a:pt x="694" y="183"/>
                  </a:lnTo>
                  <a:lnTo>
                    <a:pt x="694" y="183"/>
                  </a:lnTo>
                  <a:lnTo>
                    <a:pt x="694" y="183"/>
                  </a:lnTo>
                  <a:lnTo>
                    <a:pt x="692" y="183"/>
                  </a:lnTo>
                  <a:lnTo>
                    <a:pt x="692" y="185"/>
                  </a:lnTo>
                  <a:lnTo>
                    <a:pt x="694" y="187"/>
                  </a:lnTo>
                  <a:lnTo>
                    <a:pt x="692" y="187"/>
                  </a:lnTo>
                  <a:lnTo>
                    <a:pt x="692" y="187"/>
                  </a:lnTo>
                  <a:lnTo>
                    <a:pt x="690" y="185"/>
                  </a:lnTo>
                  <a:lnTo>
                    <a:pt x="690" y="185"/>
                  </a:lnTo>
                  <a:lnTo>
                    <a:pt x="690" y="185"/>
                  </a:lnTo>
                  <a:lnTo>
                    <a:pt x="688" y="185"/>
                  </a:lnTo>
                  <a:lnTo>
                    <a:pt x="688" y="185"/>
                  </a:lnTo>
                  <a:lnTo>
                    <a:pt x="688" y="185"/>
                  </a:lnTo>
                  <a:lnTo>
                    <a:pt x="688" y="187"/>
                  </a:lnTo>
                  <a:lnTo>
                    <a:pt x="688" y="187"/>
                  </a:lnTo>
                  <a:lnTo>
                    <a:pt x="688" y="187"/>
                  </a:lnTo>
                  <a:lnTo>
                    <a:pt x="688" y="187"/>
                  </a:lnTo>
                  <a:lnTo>
                    <a:pt x="688" y="187"/>
                  </a:lnTo>
                  <a:lnTo>
                    <a:pt x="688" y="189"/>
                  </a:lnTo>
                  <a:lnTo>
                    <a:pt x="686" y="189"/>
                  </a:lnTo>
                  <a:lnTo>
                    <a:pt x="686" y="189"/>
                  </a:lnTo>
                  <a:lnTo>
                    <a:pt x="682" y="191"/>
                  </a:lnTo>
                  <a:lnTo>
                    <a:pt x="680" y="191"/>
                  </a:lnTo>
                  <a:lnTo>
                    <a:pt x="676" y="191"/>
                  </a:lnTo>
                  <a:lnTo>
                    <a:pt x="672" y="191"/>
                  </a:lnTo>
                  <a:lnTo>
                    <a:pt x="672" y="191"/>
                  </a:lnTo>
                  <a:lnTo>
                    <a:pt x="670" y="193"/>
                  </a:lnTo>
                  <a:lnTo>
                    <a:pt x="670" y="193"/>
                  </a:lnTo>
                  <a:lnTo>
                    <a:pt x="670" y="193"/>
                  </a:lnTo>
                  <a:lnTo>
                    <a:pt x="670" y="195"/>
                  </a:lnTo>
                  <a:lnTo>
                    <a:pt x="670" y="195"/>
                  </a:lnTo>
                  <a:lnTo>
                    <a:pt x="670" y="195"/>
                  </a:lnTo>
                  <a:lnTo>
                    <a:pt x="672" y="195"/>
                  </a:lnTo>
                  <a:lnTo>
                    <a:pt x="672" y="195"/>
                  </a:lnTo>
                  <a:lnTo>
                    <a:pt x="674" y="195"/>
                  </a:lnTo>
                  <a:lnTo>
                    <a:pt x="674" y="195"/>
                  </a:lnTo>
                  <a:lnTo>
                    <a:pt x="676" y="195"/>
                  </a:lnTo>
                  <a:lnTo>
                    <a:pt x="676" y="195"/>
                  </a:lnTo>
                  <a:lnTo>
                    <a:pt x="676" y="195"/>
                  </a:lnTo>
                  <a:lnTo>
                    <a:pt x="676" y="195"/>
                  </a:lnTo>
                  <a:lnTo>
                    <a:pt x="676" y="195"/>
                  </a:lnTo>
                  <a:lnTo>
                    <a:pt x="676" y="195"/>
                  </a:lnTo>
                  <a:lnTo>
                    <a:pt x="676" y="197"/>
                  </a:lnTo>
                  <a:lnTo>
                    <a:pt x="676" y="197"/>
                  </a:lnTo>
                  <a:lnTo>
                    <a:pt x="678" y="197"/>
                  </a:lnTo>
                  <a:lnTo>
                    <a:pt x="680" y="197"/>
                  </a:lnTo>
                  <a:lnTo>
                    <a:pt x="680" y="195"/>
                  </a:lnTo>
                  <a:lnTo>
                    <a:pt x="682" y="195"/>
                  </a:lnTo>
                  <a:lnTo>
                    <a:pt x="682" y="195"/>
                  </a:lnTo>
                  <a:lnTo>
                    <a:pt x="682" y="197"/>
                  </a:lnTo>
                  <a:lnTo>
                    <a:pt x="680" y="197"/>
                  </a:lnTo>
                  <a:close/>
                  <a:moveTo>
                    <a:pt x="727" y="121"/>
                  </a:moveTo>
                  <a:lnTo>
                    <a:pt x="727" y="123"/>
                  </a:lnTo>
                  <a:lnTo>
                    <a:pt x="727" y="123"/>
                  </a:lnTo>
                  <a:lnTo>
                    <a:pt x="727" y="123"/>
                  </a:lnTo>
                  <a:lnTo>
                    <a:pt x="727" y="123"/>
                  </a:lnTo>
                  <a:lnTo>
                    <a:pt x="729" y="126"/>
                  </a:lnTo>
                  <a:lnTo>
                    <a:pt x="729" y="126"/>
                  </a:lnTo>
                  <a:lnTo>
                    <a:pt x="729" y="126"/>
                  </a:lnTo>
                  <a:lnTo>
                    <a:pt x="729" y="126"/>
                  </a:lnTo>
                  <a:lnTo>
                    <a:pt x="727" y="128"/>
                  </a:lnTo>
                  <a:lnTo>
                    <a:pt x="727" y="126"/>
                  </a:lnTo>
                  <a:lnTo>
                    <a:pt x="727" y="126"/>
                  </a:lnTo>
                  <a:lnTo>
                    <a:pt x="725" y="123"/>
                  </a:lnTo>
                  <a:lnTo>
                    <a:pt x="723" y="126"/>
                  </a:lnTo>
                  <a:lnTo>
                    <a:pt x="721" y="126"/>
                  </a:lnTo>
                  <a:lnTo>
                    <a:pt x="719" y="126"/>
                  </a:lnTo>
                  <a:lnTo>
                    <a:pt x="717" y="126"/>
                  </a:lnTo>
                  <a:lnTo>
                    <a:pt x="717" y="126"/>
                  </a:lnTo>
                  <a:lnTo>
                    <a:pt x="717" y="128"/>
                  </a:lnTo>
                  <a:lnTo>
                    <a:pt x="717" y="128"/>
                  </a:lnTo>
                  <a:lnTo>
                    <a:pt x="721" y="130"/>
                  </a:lnTo>
                  <a:lnTo>
                    <a:pt x="723" y="130"/>
                  </a:lnTo>
                  <a:lnTo>
                    <a:pt x="725" y="130"/>
                  </a:lnTo>
                  <a:lnTo>
                    <a:pt x="725" y="130"/>
                  </a:lnTo>
                  <a:lnTo>
                    <a:pt x="727" y="128"/>
                  </a:lnTo>
                  <a:lnTo>
                    <a:pt x="729" y="128"/>
                  </a:lnTo>
                  <a:lnTo>
                    <a:pt x="729" y="130"/>
                  </a:lnTo>
                  <a:lnTo>
                    <a:pt x="731" y="130"/>
                  </a:lnTo>
                  <a:lnTo>
                    <a:pt x="729" y="130"/>
                  </a:lnTo>
                  <a:lnTo>
                    <a:pt x="729" y="130"/>
                  </a:lnTo>
                  <a:lnTo>
                    <a:pt x="727" y="130"/>
                  </a:lnTo>
                  <a:lnTo>
                    <a:pt x="727" y="130"/>
                  </a:lnTo>
                  <a:lnTo>
                    <a:pt x="725" y="130"/>
                  </a:lnTo>
                  <a:lnTo>
                    <a:pt x="725" y="130"/>
                  </a:lnTo>
                  <a:lnTo>
                    <a:pt x="723" y="130"/>
                  </a:lnTo>
                  <a:lnTo>
                    <a:pt x="723" y="132"/>
                  </a:lnTo>
                  <a:lnTo>
                    <a:pt x="723" y="132"/>
                  </a:lnTo>
                  <a:lnTo>
                    <a:pt x="723" y="132"/>
                  </a:lnTo>
                  <a:lnTo>
                    <a:pt x="725" y="132"/>
                  </a:lnTo>
                  <a:lnTo>
                    <a:pt x="725" y="132"/>
                  </a:lnTo>
                  <a:lnTo>
                    <a:pt x="725" y="132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5" y="134"/>
                  </a:lnTo>
                  <a:lnTo>
                    <a:pt x="723" y="134"/>
                  </a:lnTo>
                  <a:lnTo>
                    <a:pt x="723" y="136"/>
                  </a:lnTo>
                  <a:lnTo>
                    <a:pt x="723" y="134"/>
                  </a:lnTo>
                  <a:lnTo>
                    <a:pt x="721" y="134"/>
                  </a:lnTo>
                  <a:lnTo>
                    <a:pt x="721" y="134"/>
                  </a:lnTo>
                  <a:lnTo>
                    <a:pt x="719" y="136"/>
                  </a:lnTo>
                  <a:lnTo>
                    <a:pt x="717" y="136"/>
                  </a:lnTo>
                  <a:lnTo>
                    <a:pt x="717" y="136"/>
                  </a:lnTo>
                  <a:lnTo>
                    <a:pt x="711" y="138"/>
                  </a:lnTo>
                  <a:lnTo>
                    <a:pt x="709" y="138"/>
                  </a:lnTo>
                  <a:lnTo>
                    <a:pt x="707" y="138"/>
                  </a:lnTo>
                  <a:lnTo>
                    <a:pt x="707" y="138"/>
                  </a:lnTo>
                  <a:lnTo>
                    <a:pt x="707" y="136"/>
                  </a:lnTo>
                  <a:lnTo>
                    <a:pt x="707" y="136"/>
                  </a:lnTo>
                  <a:lnTo>
                    <a:pt x="707" y="134"/>
                  </a:lnTo>
                  <a:lnTo>
                    <a:pt x="707" y="134"/>
                  </a:lnTo>
                  <a:lnTo>
                    <a:pt x="707" y="134"/>
                  </a:lnTo>
                  <a:lnTo>
                    <a:pt x="707" y="134"/>
                  </a:lnTo>
                  <a:lnTo>
                    <a:pt x="707" y="132"/>
                  </a:lnTo>
                  <a:lnTo>
                    <a:pt x="705" y="132"/>
                  </a:lnTo>
                  <a:lnTo>
                    <a:pt x="703" y="132"/>
                  </a:lnTo>
                  <a:lnTo>
                    <a:pt x="700" y="132"/>
                  </a:lnTo>
                  <a:lnTo>
                    <a:pt x="698" y="134"/>
                  </a:lnTo>
                  <a:lnTo>
                    <a:pt x="696" y="134"/>
                  </a:lnTo>
                  <a:lnTo>
                    <a:pt x="694" y="134"/>
                  </a:lnTo>
                  <a:lnTo>
                    <a:pt x="694" y="136"/>
                  </a:lnTo>
                  <a:lnTo>
                    <a:pt x="692" y="136"/>
                  </a:lnTo>
                  <a:lnTo>
                    <a:pt x="692" y="136"/>
                  </a:lnTo>
                  <a:lnTo>
                    <a:pt x="692" y="138"/>
                  </a:lnTo>
                  <a:lnTo>
                    <a:pt x="692" y="140"/>
                  </a:lnTo>
                  <a:lnTo>
                    <a:pt x="696" y="140"/>
                  </a:lnTo>
                  <a:lnTo>
                    <a:pt x="696" y="142"/>
                  </a:lnTo>
                  <a:lnTo>
                    <a:pt x="696" y="142"/>
                  </a:lnTo>
                  <a:lnTo>
                    <a:pt x="696" y="142"/>
                  </a:lnTo>
                  <a:lnTo>
                    <a:pt x="696" y="144"/>
                  </a:lnTo>
                  <a:lnTo>
                    <a:pt x="696" y="144"/>
                  </a:lnTo>
                  <a:lnTo>
                    <a:pt x="698" y="144"/>
                  </a:lnTo>
                  <a:lnTo>
                    <a:pt x="700" y="144"/>
                  </a:lnTo>
                  <a:lnTo>
                    <a:pt x="700" y="144"/>
                  </a:lnTo>
                  <a:lnTo>
                    <a:pt x="700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5" y="146"/>
                  </a:lnTo>
                  <a:lnTo>
                    <a:pt x="705" y="146"/>
                  </a:lnTo>
                  <a:lnTo>
                    <a:pt x="707" y="146"/>
                  </a:lnTo>
                  <a:lnTo>
                    <a:pt x="707" y="148"/>
                  </a:lnTo>
                  <a:lnTo>
                    <a:pt x="707" y="150"/>
                  </a:lnTo>
                  <a:lnTo>
                    <a:pt x="709" y="152"/>
                  </a:lnTo>
                  <a:lnTo>
                    <a:pt x="709" y="154"/>
                  </a:lnTo>
                  <a:lnTo>
                    <a:pt x="711" y="154"/>
                  </a:lnTo>
                  <a:lnTo>
                    <a:pt x="709" y="156"/>
                  </a:lnTo>
                  <a:lnTo>
                    <a:pt x="709" y="156"/>
                  </a:lnTo>
                  <a:lnTo>
                    <a:pt x="709" y="158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3" y="158"/>
                  </a:lnTo>
                  <a:lnTo>
                    <a:pt x="715" y="158"/>
                  </a:lnTo>
                  <a:lnTo>
                    <a:pt x="717" y="158"/>
                  </a:lnTo>
                  <a:lnTo>
                    <a:pt x="717" y="158"/>
                  </a:lnTo>
                  <a:lnTo>
                    <a:pt x="721" y="156"/>
                  </a:lnTo>
                  <a:lnTo>
                    <a:pt x="723" y="156"/>
                  </a:lnTo>
                  <a:lnTo>
                    <a:pt x="723" y="156"/>
                  </a:lnTo>
                  <a:lnTo>
                    <a:pt x="723" y="154"/>
                  </a:lnTo>
                  <a:lnTo>
                    <a:pt x="723" y="152"/>
                  </a:lnTo>
                  <a:lnTo>
                    <a:pt x="723" y="152"/>
                  </a:lnTo>
                  <a:lnTo>
                    <a:pt x="725" y="150"/>
                  </a:lnTo>
                  <a:lnTo>
                    <a:pt x="727" y="150"/>
                  </a:lnTo>
                  <a:lnTo>
                    <a:pt x="727" y="150"/>
                  </a:lnTo>
                  <a:lnTo>
                    <a:pt x="727" y="150"/>
                  </a:lnTo>
                  <a:lnTo>
                    <a:pt x="725" y="150"/>
                  </a:lnTo>
                  <a:lnTo>
                    <a:pt x="725" y="152"/>
                  </a:lnTo>
                  <a:lnTo>
                    <a:pt x="725" y="152"/>
                  </a:lnTo>
                  <a:lnTo>
                    <a:pt x="725" y="152"/>
                  </a:lnTo>
                  <a:lnTo>
                    <a:pt x="725" y="152"/>
                  </a:lnTo>
                  <a:lnTo>
                    <a:pt x="731" y="154"/>
                  </a:lnTo>
                  <a:lnTo>
                    <a:pt x="733" y="154"/>
                  </a:lnTo>
                  <a:lnTo>
                    <a:pt x="737" y="152"/>
                  </a:lnTo>
                  <a:lnTo>
                    <a:pt x="737" y="152"/>
                  </a:lnTo>
                  <a:lnTo>
                    <a:pt x="739" y="152"/>
                  </a:lnTo>
                  <a:lnTo>
                    <a:pt x="742" y="150"/>
                  </a:lnTo>
                  <a:lnTo>
                    <a:pt x="746" y="150"/>
                  </a:lnTo>
                  <a:lnTo>
                    <a:pt x="748" y="148"/>
                  </a:lnTo>
                  <a:lnTo>
                    <a:pt x="748" y="148"/>
                  </a:lnTo>
                  <a:lnTo>
                    <a:pt x="748" y="148"/>
                  </a:lnTo>
                  <a:lnTo>
                    <a:pt x="748" y="148"/>
                  </a:lnTo>
                  <a:lnTo>
                    <a:pt x="750" y="146"/>
                  </a:lnTo>
                  <a:lnTo>
                    <a:pt x="752" y="146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4" y="144"/>
                  </a:lnTo>
                  <a:lnTo>
                    <a:pt x="756" y="142"/>
                  </a:lnTo>
                  <a:lnTo>
                    <a:pt x="756" y="142"/>
                  </a:lnTo>
                  <a:lnTo>
                    <a:pt x="758" y="140"/>
                  </a:lnTo>
                  <a:lnTo>
                    <a:pt x="760" y="140"/>
                  </a:lnTo>
                  <a:lnTo>
                    <a:pt x="760" y="138"/>
                  </a:lnTo>
                  <a:lnTo>
                    <a:pt x="760" y="138"/>
                  </a:lnTo>
                  <a:lnTo>
                    <a:pt x="760" y="138"/>
                  </a:lnTo>
                  <a:lnTo>
                    <a:pt x="760" y="138"/>
                  </a:lnTo>
                  <a:lnTo>
                    <a:pt x="756" y="138"/>
                  </a:lnTo>
                  <a:lnTo>
                    <a:pt x="754" y="138"/>
                  </a:lnTo>
                  <a:lnTo>
                    <a:pt x="752" y="138"/>
                  </a:lnTo>
                  <a:lnTo>
                    <a:pt x="752" y="138"/>
                  </a:lnTo>
                  <a:lnTo>
                    <a:pt x="754" y="138"/>
                  </a:lnTo>
                  <a:lnTo>
                    <a:pt x="754" y="138"/>
                  </a:lnTo>
                  <a:lnTo>
                    <a:pt x="756" y="136"/>
                  </a:lnTo>
                  <a:lnTo>
                    <a:pt x="754" y="136"/>
                  </a:lnTo>
                  <a:lnTo>
                    <a:pt x="754" y="136"/>
                  </a:lnTo>
                  <a:lnTo>
                    <a:pt x="754" y="136"/>
                  </a:lnTo>
                  <a:lnTo>
                    <a:pt x="754" y="134"/>
                  </a:lnTo>
                  <a:lnTo>
                    <a:pt x="756" y="134"/>
                  </a:lnTo>
                  <a:lnTo>
                    <a:pt x="756" y="134"/>
                  </a:lnTo>
                  <a:lnTo>
                    <a:pt x="754" y="134"/>
                  </a:lnTo>
                  <a:lnTo>
                    <a:pt x="754" y="134"/>
                  </a:lnTo>
                  <a:lnTo>
                    <a:pt x="752" y="134"/>
                  </a:lnTo>
                  <a:lnTo>
                    <a:pt x="750" y="134"/>
                  </a:lnTo>
                  <a:lnTo>
                    <a:pt x="748" y="134"/>
                  </a:lnTo>
                  <a:lnTo>
                    <a:pt x="746" y="134"/>
                  </a:lnTo>
                  <a:lnTo>
                    <a:pt x="744" y="134"/>
                  </a:lnTo>
                  <a:lnTo>
                    <a:pt x="744" y="134"/>
                  </a:lnTo>
                  <a:lnTo>
                    <a:pt x="744" y="134"/>
                  </a:lnTo>
                  <a:lnTo>
                    <a:pt x="744" y="134"/>
                  </a:lnTo>
                  <a:lnTo>
                    <a:pt x="744" y="134"/>
                  </a:lnTo>
                  <a:lnTo>
                    <a:pt x="746" y="132"/>
                  </a:lnTo>
                  <a:lnTo>
                    <a:pt x="748" y="132"/>
                  </a:lnTo>
                  <a:lnTo>
                    <a:pt x="756" y="130"/>
                  </a:lnTo>
                  <a:lnTo>
                    <a:pt x="760" y="128"/>
                  </a:lnTo>
                  <a:lnTo>
                    <a:pt x="764" y="128"/>
                  </a:lnTo>
                  <a:lnTo>
                    <a:pt x="764" y="128"/>
                  </a:lnTo>
                  <a:lnTo>
                    <a:pt x="764" y="126"/>
                  </a:lnTo>
                  <a:lnTo>
                    <a:pt x="764" y="126"/>
                  </a:lnTo>
                  <a:lnTo>
                    <a:pt x="762" y="126"/>
                  </a:lnTo>
                  <a:lnTo>
                    <a:pt x="762" y="126"/>
                  </a:lnTo>
                  <a:lnTo>
                    <a:pt x="760" y="126"/>
                  </a:lnTo>
                  <a:lnTo>
                    <a:pt x="760" y="126"/>
                  </a:lnTo>
                  <a:lnTo>
                    <a:pt x="762" y="126"/>
                  </a:lnTo>
                  <a:lnTo>
                    <a:pt x="762" y="126"/>
                  </a:lnTo>
                  <a:lnTo>
                    <a:pt x="762" y="126"/>
                  </a:lnTo>
                  <a:lnTo>
                    <a:pt x="764" y="126"/>
                  </a:lnTo>
                  <a:lnTo>
                    <a:pt x="766" y="126"/>
                  </a:lnTo>
                  <a:lnTo>
                    <a:pt x="768" y="126"/>
                  </a:lnTo>
                  <a:lnTo>
                    <a:pt x="768" y="123"/>
                  </a:lnTo>
                  <a:lnTo>
                    <a:pt x="770" y="123"/>
                  </a:lnTo>
                  <a:lnTo>
                    <a:pt x="770" y="123"/>
                  </a:lnTo>
                  <a:lnTo>
                    <a:pt x="770" y="123"/>
                  </a:lnTo>
                  <a:lnTo>
                    <a:pt x="772" y="121"/>
                  </a:lnTo>
                  <a:lnTo>
                    <a:pt x="772" y="121"/>
                  </a:lnTo>
                  <a:lnTo>
                    <a:pt x="770" y="121"/>
                  </a:lnTo>
                  <a:lnTo>
                    <a:pt x="770" y="121"/>
                  </a:lnTo>
                  <a:lnTo>
                    <a:pt x="768" y="119"/>
                  </a:lnTo>
                  <a:lnTo>
                    <a:pt x="766" y="119"/>
                  </a:lnTo>
                  <a:lnTo>
                    <a:pt x="764" y="119"/>
                  </a:lnTo>
                  <a:lnTo>
                    <a:pt x="764" y="121"/>
                  </a:lnTo>
                  <a:lnTo>
                    <a:pt x="760" y="121"/>
                  </a:lnTo>
                  <a:lnTo>
                    <a:pt x="756" y="121"/>
                  </a:lnTo>
                  <a:lnTo>
                    <a:pt x="752" y="121"/>
                  </a:lnTo>
                  <a:lnTo>
                    <a:pt x="750" y="121"/>
                  </a:lnTo>
                  <a:lnTo>
                    <a:pt x="748" y="123"/>
                  </a:lnTo>
                  <a:lnTo>
                    <a:pt x="742" y="119"/>
                  </a:lnTo>
                  <a:lnTo>
                    <a:pt x="739" y="119"/>
                  </a:lnTo>
                  <a:lnTo>
                    <a:pt x="739" y="119"/>
                  </a:lnTo>
                  <a:lnTo>
                    <a:pt x="737" y="121"/>
                  </a:lnTo>
                  <a:lnTo>
                    <a:pt x="739" y="121"/>
                  </a:lnTo>
                  <a:lnTo>
                    <a:pt x="739" y="121"/>
                  </a:lnTo>
                  <a:lnTo>
                    <a:pt x="742" y="121"/>
                  </a:lnTo>
                  <a:lnTo>
                    <a:pt x="742" y="121"/>
                  </a:lnTo>
                  <a:lnTo>
                    <a:pt x="739" y="121"/>
                  </a:lnTo>
                  <a:lnTo>
                    <a:pt x="737" y="121"/>
                  </a:lnTo>
                  <a:lnTo>
                    <a:pt x="735" y="121"/>
                  </a:lnTo>
                  <a:lnTo>
                    <a:pt x="729" y="121"/>
                  </a:lnTo>
                  <a:lnTo>
                    <a:pt x="729" y="121"/>
                  </a:lnTo>
                  <a:lnTo>
                    <a:pt x="727" y="121"/>
                  </a:lnTo>
                  <a:close/>
                  <a:moveTo>
                    <a:pt x="666" y="181"/>
                  </a:moveTo>
                  <a:lnTo>
                    <a:pt x="668" y="177"/>
                  </a:lnTo>
                  <a:lnTo>
                    <a:pt x="668" y="177"/>
                  </a:lnTo>
                  <a:lnTo>
                    <a:pt x="668" y="177"/>
                  </a:lnTo>
                  <a:lnTo>
                    <a:pt x="668" y="177"/>
                  </a:lnTo>
                  <a:lnTo>
                    <a:pt x="668" y="177"/>
                  </a:lnTo>
                  <a:lnTo>
                    <a:pt x="664" y="177"/>
                  </a:lnTo>
                  <a:lnTo>
                    <a:pt x="664" y="175"/>
                  </a:lnTo>
                  <a:lnTo>
                    <a:pt x="664" y="175"/>
                  </a:lnTo>
                  <a:lnTo>
                    <a:pt x="664" y="175"/>
                  </a:lnTo>
                  <a:lnTo>
                    <a:pt x="664" y="175"/>
                  </a:lnTo>
                  <a:lnTo>
                    <a:pt x="664" y="175"/>
                  </a:lnTo>
                  <a:lnTo>
                    <a:pt x="661" y="175"/>
                  </a:lnTo>
                  <a:lnTo>
                    <a:pt x="659" y="175"/>
                  </a:lnTo>
                  <a:lnTo>
                    <a:pt x="657" y="173"/>
                  </a:lnTo>
                  <a:lnTo>
                    <a:pt x="655" y="171"/>
                  </a:lnTo>
                  <a:lnTo>
                    <a:pt x="655" y="171"/>
                  </a:lnTo>
                  <a:lnTo>
                    <a:pt x="653" y="169"/>
                  </a:lnTo>
                  <a:lnTo>
                    <a:pt x="653" y="169"/>
                  </a:lnTo>
                  <a:lnTo>
                    <a:pt x="653" y="169"/>
                  </a:lnTo>
                  <a:lnTo>
                    <a:pt x="653" y="171"/>
                  </a:lnTo>
                  <a:lnTo>
                    <a:pt x="651" y="171"/>
                  </a:lnTo>
                  <a:lnTo>
                    <a:pt x="651" y="171"/>
                  </a:lnTo>
                  <a:lnTo>
                    <a:pt x="651" y="171"/>
                  </a:lnTo>
                  <a:lnTo>
                    <a:pt x="651" y="171"/>
                  </a:lnTo>
                  <a:lnTo>
                    <a:pt x="651" y="171"/>
                  </a:lnTo>
                  <a:lnTo>
                    <a:pt x="649" y="169"/>
                  </a:lnTo>
                  <a:lnTo>
                    <a:pt x="647" y="169"/>
                  </a:lnTo>
                  <a:lnTo>
                    <a:pt x="645" y="167"/>
                  </a:lnTo>
                  <a:lnTo>
                    <a:pt x="645" y="167"/>
                  </a:lnTo>
                  <a:lnTo>
                    <a:pt x="645" y="165"/>
                  </a:lnTo>
                  <a:lnTo>
                    <a:pt x="643" y="163"/>
                  </a:lnTo>
                  <a:lnTo>
                    <a:pt x="643" y="163"/>
                  </a:lnTo>
                  <a:lnTo>
                    <a:pt x="643" y="160"/>
                  </a:lnTo>
                  <a:lnTo>
                    <a:pt x="647" y="158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51" y="156"/>
                  </a:lnTo>
                  <a:lnTo>
                    <a:pt x="651" y="156"/>
                  </a:lnTo>
                  <a:lnTo>
                    <a:pt x="651" y="156"/>
                  </a:lnTo>
                  <a:lnTo>
                    <a:pt x="651" y="156"/>
                  </a:lnTo>
                  <a:lnTo>
                    <a:pt x="653" y="154"/>
                  </a:lnTo>
                  <a:lnTo>
                    <a:pt x="653" y="152"/>
                  </a:lnTo>
                  <a:lnTo>
                    <a:pt x="653" y="150"/>
                  </a:lnTo>
                  <a:lnTo>
                    <a:pt x="653" y="150"/>
                  </a:lnTo>
                  <a:lnTo>
                    <a:pt x="655" y="148"/>
                  </a:lnTo>
                  <a:lnTo>
                    <a:pt x="657" y="142"/>
                  </a:lnTo>
                  <a:lnTo>
                    <a:pt x="657" y="142"/>
                  </a:lnTo>
                  <a:lnTo>
                    <a:pt x="659" y="140"/>
                  </a:lnTo>
                  <a:lnTo>
                    <a:pt x="659" y="138"/>
                  </a:lnTo>
                  <a:lnTo>
                    <a:pt x="661" y="138"/>
                  </a:lnTo>
                  <a:lnTo>
                    <a:pt x="661" y="138"/>
                  </a:lnTo>
                  <a:lnTo>
                    <a:pt x="661" y="138"/>
                  </a:lnTo>
                  <a:lnTo>
                    <a:pt x="661" y="136"/>
                  </a:lnTo>
                  <a:lnTo>
                    <a:pt x="661" y="136"/>
                  </a:lnTo>
                  <a:lnTo>
                    <a:pt x="661" y="136"/>
                  </a:lnTo>
                  <a:lnTo>
                    <a:pt x="661" y="134"/>
                  </a:lnTo>
                  <a:lnTo>
                    <a:pt x="661" y="134"/>
                  </a:lnTo>
                  <a:lnTo>
                    <a:pt x="659" y="132"/>
                  </a:lnTo>
                  <a:lnTo>
                    <a:pt x="657" y="130"/>
                  </a:lnTo>
                  <a:lnTo>
                    <a:pt x="655" y="130"/>
                  </a:lnTo>
                  <a:lnTo>
                    <a:pt x="653" y="130"/>
                  </a:lnTo>
                  <a:lnTo>
                    <a:pt x="651" y="130"/>
                  </a:lnTo>
                  <a:lnTo>
                    <a:pt x="651" y="130"/>
                  </a:lnTo>
                  <a:lnTo>
                    <a:pt x="649" y="130"/>
                  </a:lnTo>
                  <a:lnTo>
                    <a:pt x="647" y="130"/>
                  </a:lnTo>
                  <a:lnTo>
                    <a:pt x="645" y="128"/>
                  </a:lnTo>
                  <a:lnTo>
                    <a:pt x="643" y="128"/>
                  </a:lnTo>
                  <a:lnTo>
                    <a:pt x="641" y="130"/>
                  </a:lnTo>
                  <a:lnTo>
                    <a:pt x="641" y="130"/>
                  </a:lnTo>
                  <a:lnTo>
                    <a:pt x="641" y="130"/>
                  </a:lnTo>
                  <a:lnTo>
                    <a:pt x="641" y="130"/>
                  </a:lnTo>
                  <a:lnTo>
                    <a:pt x="641" y="130"/>
                  </a:lnTo>
                  <a:lnTo>
                    <a:pt x="639" y="130"/>
                  </a:lnTo>
                  <a:lnTo>
                    <a:pt x="637" y="130"/>
                  </a:lnTo>
                  <a:lnTo>
                    <a:pt x="637" y="132"/>
                  </a:lnTo>
                  <a:lnTo>
                    <a:pt x="637" y="132"/>
                  </a:lnTo>
                  <a:lnTo>
                    <a:pt x="631" y="138"/>
                  </a:lnTo>
                  <a:lnTo>
                    <a:pt x="631" y="140"/>
                  </a:lnTo>
                  <a:lnTo>
                    <a:pt x="631" y="140"/>
                  </a:lnTo>
                  <a:lnTo>
                    <a:pt x="629" y="140"/>
                  </a:lnTo>
                  <a:lnTo>
                    <a:pt x="629" y="140"/>
                  </a:lnTo>
                  <a:lnTo>
                    <a:pt x="629" y="142"/>
                  </a:lnTo>
                  <a:lnTo>
                    <a:pt x="629" y="142"/>
                  </a:lnTo>
                  <a:lnTo>
                    <a:pt x="627" y="142"/>
                  </a:lnTo>
                  <a:lnTo>
                    <a:pt x="627" y="144"/>
                  </a:lnTo>
                  <a:lnTo>
                    <a:pt x="624" y="146"/>
                  </a:lnTo>
                  <a:lnTo>
                    <a:pt x="624" y="148"/>
                  </a:lnTo>
                  <a:lnTo>
                    <a:pt x="624" y="150"/>
                  </a:lnTo>
                  <a:lnTo>
                    <a:pt x="624" y="150"/>
                  </a:lnTo>
                  <a:lnTo>
                    <a:pt x="624" y="150"/>
                  </a:lnTo>
                  <a:lnTo>
                    <a:pt x="624" y="150"/>
                  </a:lnTo>
                  <a:lnTo>
                    <a:pt x="624" y="150"/>
                  </a:lnTo>
                  <a:lnTo>
                    <a:pt x="624" y="150"/>
                  </a:lnTo>
                  <a:lnTo>
                    <a:pt x="618" y="152"/>
                  </a:lnTo>
                  <a:lnTo>
                    <a:pt x="616" y="152"/>
                  </a:lnTo>
                  <a:lnTo>
                    <a:pt x="616" y="154"/>
                  </a:lnTo>
                  <a:lnTo>
                    <a:pt x="614" y="154"/>
                  </a:lnTo>
                  <a:lnTo>
                    <a:pt x="614" y="154"/>
                  </a:lnTo>
                  <a:lnTo>
                    <a:pt x="614" y="152"/>
                  </a:lnTo>
                  <a:lnTo>
                    <a:pt x="612" y="152"/>
                  </a:lnTo>
                  <a:lnTo>
                    <a:pt x="612" y="152"/>
                  </a:lnTo>
                  <a:lnTo>
                    <a:pt x="612" y="152"/>
                  </a:lnTo>
                  <a:lnTo>
                    <a:pt x="614" y="150"/>
                  </a:lnTo>
                  <a:lnTo>
                    <a:pt x="616" y="146"/>
                  </a:lnTo>
                  <a:lnTo>
                    <a:pt x="618" y="144"/>
                  </a:lnTo>
                  <a:lnTo>
                    <a:pt x="618" y="142"/>
                  </a:lnTo>
                  <a:lnTo>
                    <a:pt x="620" y="140"/>
                  </a:lnTo>
                  <a:lnTo>
                    <a:pt x="620" y="140"/>
                  </a:lnTo>
                  <a:lnTo>
                    <a:pt x="620" y="140"/>
                  </a:lnTo>
                  <a:lnTo>
                    <a:pt x="618" y="140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20" y="138"/>
                  </a:lnTo>
                  <a:lnTo>
                    <a:pt x="620" y="138"/>
                  </a:lnTo>
                  <a:lnTo>
                    <a:pt x="618" y="138"/>
                  </a:lnTo>
                  <a:lnTo>
                    <a:pt x="618" y="138"/>
                  </a:lnTo>
                  <a:lnTo>
                    <a:pt x="618" y="136"/>
                  </a:lnTo>
                  <a:lnTo>
                    <a:pt x="616" y="136"/>
                  </a:lnTo>
                  <a:lnTo>
                    <a:pt x="616" y="136"/>
                  </a:lnTo>
                  <a:lnTo>
                    <a:pt x="614" y="134"/>
                  </a:lnTo>
                  <a:lnTo>
                    <a:pt x="612" y="134"/>
                  </a:lnTo>
                  <a:lnTo>
                    <a:pt x="608" y="134"/>
                  </a:lnTo>
                  <a:lnTo>
                    <a:pt x="606" y="134"/>
                  </a:lnTo>
                  <a:lnTo>
                    <a:pt x="606" y="134"/>
                  </a:lnTo>
                  <a:lnTo>
                    <a:pt x="606" y="136"/>
                  </a:lnTo>
                  <a:lnTo>
                    <a:pt x="608" y="136"/>
                  </a:lnTo>
                  <a:lnTo>
                    <a:pt x="608" y="136"/>
                  </a:lnTo>
                  <a:lnTo>
                    <a:pt x="606" y="138"/>
                  </a:lnTo>
                  <a:lnTo>
                    <a:pt x="606" y="138"/>
                  </a:lnTo>
                  <a:lnTo>
                    <a:pt x="602" y="138"/>
                  </a:lnTo>
                  <a:lnTo>
                    <a:pt x="602" y="140"/>
                  </a:lnTo>
                  <a:lnTo>
                    <a:pt x="598" y="140"/>
                  </a:lnTo>
                  <a:lnTo>
                    <a:pt x="594" y="142"/>
                  </a:lnTo>
                  <a:lnTo>
                    <a:pt x="590" y="142"/>
                  </a:lnTo>
                  <a:lnTo>
                    <a:pt x="590" y="142"/>
                  </a:lnTo>
                  <a:lnTo>
                    <a:pt x="588" y="142"/>
                  </a:lnTo>
                  <a:lnTo>
                    <a:pt x="590" y="142"/>
                  </a:lnTo>
                  <a:lnTo>
                    <a:pt x="590" y="142"/>
                  </a:lnTo>
                  <a:lnTo>
                    <a:pt x="590" y="142"/>
                  </a:lnTo>
                  <a:lnTo>
                    <a:pt x="590" y="142"/>
                  </a:lnTo>
                  <a:lnTo>
                    <a:pt x="590" y="142"/>
                  </a:lnTo>
                  <a:lnTo>
                    <a:pt x="590" y="142"/>
                  </a:lnTo>
                  <a:lnTo>
                    <a:pt x="588" y="142"/>
                  </a:lnTo>
                  <a:lnTo>
                    <a:pt x="585" y="142"/>
                  </a:lnTo>
                  <a:lnTo>
                    <a:pt x="583" y="144"/>
                  </a:lnTo>
                  <a:lnTo>
                    <a:pt x="583" y="144"/>
                  </a:lnTo>
                  <a:lnTo>
                    <a:pt x="581" y="142"/>
                  </a:lnTo>
                  <a:lnTo>
                    <a:pt x="583" y="142"/>
                  </a:lnTo>
                  <a:lnTo>
                    <a:pt x="585" y="142"/>
                  </a:lnTo>
                  <a:lnTo>
                    <a:pt x="592" y="140"/>
                  </a:lnTo>
                  <a:lnTo>
                    <a:pt x="594" y="138"/>
                  </a:lnTo>
                  <a:lnTo>
                    <a:pt x="596" y="138"/>
                  </a:lnTo>
                  <a:lnTo>
                    <a:pt x="594" y="136"/>
                  </a:lnTo>
                  <a:lnTo>
                    <a:pt x="590" y="136"/>
                  </a:lnTo>
                  <a:lnTo>
                    <a:pt x="585" y="134"/>
                  </a:lnTo>
                  <a:lnTo>
                    <a:pt x="583" y="134"/>
                  </a:lnTo>
                  <a:lnTo>
                    <a:pt x="579" y="134"/>
                  </a:lnTo>
                  <a:lnTo>
                    <a:pt x="577" y="134"/>
                  </a:lnTo>
                  <a:lnTo>
                    <a:pt x="577" y="134"/>
                  </a:lnTo>
                  <a:lnTo>
                    <a:pt x="573" y="136"/>
                  </a:lnTo>
                  <a:lnTo>
                    <a:pt x="571" y="136"/>
                  </a:lnTo>
                  <a:lnTo>
                    <a:pt x="571" y="138"/>
                  </a:lnTo>
                  <a:lnTo>
                    <a:pt x="569" y="138"/>
                  </a:lnTo>
                  <a:lnTo>
                    <a:pt x="569" y="138"/>
                  </a:lnTo>
                  <a:lnTo>
                    <a:pt x="567" y="138"/>
                  </a:lnTo>
                  <a:lnTo>
                    <a:pt x="567" y="138"/>
                  </a:lnTo>
                  <a:lnTo>
                    <a:pt x="567" y="138"/>
                  </a:lnTo>
                  <a:lnTo>
                    <a:pt x="563" y="138"/>
                  </a:lnTo>
                  <a:lnTo>
                    <a:pt x="561" y="138"/>
                  </a:lnTo>
                  <a:lnTo>
                    <a:pt x="559" y="140"/>
                  </a:lnTo>
                  <a:lnTo>
                    <a:pt x="557" y="140"/>
                  </a:lnTo>
                  <a:lnTo>
                    <a:pt x="557" y="140"/>
                  </a:lnTo>
                  <a:lnTo>
                    <a:pt x="557" y="138"/>
                  </a:lnTo>
                  <a:lnTo>
                    <a:pt x="561" y="138"/>
                  </a:lnTo>
                  <a:lnTo>
                    <a:pt x="563" y="136"/>
                  </a:lnTo>
                  <a:lnTo>
                    <a:pt x="565" y="136"/>
                  </a:lnTo>
                  <a:lnTo>
                    <a:pt x="567" y="134"/>
                  </a:lnTo>
                  <a:lnTo>
                    <a:pt x="567" y="134"/>
                  </a:lnTo>
                  <a:lnTo>
                    <a:pt x="569" y="134"/>
                  </a:lnTo>
                  <a:lnTo>
                    <a:pt x="569" y="132"/>
                  </a:lnTo>
                  <a:lnTo>
                    <a:pt x="571" y="130"/>
                  </a:lnTo>
                  <a:lnTo>
                    <a:pt x="573" y="130"/>
                  </a:lnTo>
                  <a:lnTo>
                    <a:pt x="573" y="130"/>
                  </a:lnTo>
                  <a:lnTo>
                    <a:pt x="573" y="130"/>
                  </a:lnTo>
                  <a:lnTo>
                    <a:pt x="571" y="128"/>
                  </a:lnTo>
                  <a:lnTo>
                    <a:pt x="569" y="128"/>
                  </a:lnTo>
                  <a:lnTo>
                    <a:pt x="557" y="130"/>
                  </a:lnTo>
                  <a:lnTo>
                    <a:pt x="542" y="132"/>
                  </a:lnTo>
                  <a:lnTo>
                    <a:pt x="536" y="134"/>
                  </a:lnTo>
                  <a:lnTo>
                    <a:pt x="532" y="134"/>
                  </a:lnTo>
                  <a:lnTo>
                    <a:pt x="526" y="136"/>
                  </a:lnTo>
                  <a:lnTo>
                    <a:pt x="516" y="138"/>
                  </a:lnTo>
                  <a:lnTo>
                    <a:pt x="512" y="140"/>
                  </a:lnTo>
                  <a:lnTo>
                    <a:pt x="510" y="142"/>
                  </a:lnTo>
                  <a:lnTo>
                    <a:pt x="507" y="142"/>
                  </a:lnTo>
                  <a:lnTo>
                    <a:pt x="507" y="142"/>
                  </a:lnTo>
                  <a:lnTo>
                    <a:pt x="507" y="142"/>
                  </a:lnTo>
                  <a:lnTo>
                    <a:pt x="510" y="144"/>
                  </a:lnTo>
                  <a:lnTo>
                    <a:pt x="510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1" y="146"/>
                  </a:lnTo>
                  <a:lnTo>
                    <a:pt x="495" y="148"/>
                  </a:lnTo>
                  <a:lnTo>
                    <a:pt x="495" y="148"/>
                  </a:lnTo>
                  <a:lnTo>
                    <a:pt x="493" y="150"/>
                  </a:lnTo>
                  <a:lnTo>
                    <a:pt x="491" y="150"/>
                  </a:lnTo>
                  <a:lnTo>
                    <a:pt x="489" y="152"/>
                  </a:lnTo>
                  <a:lnTo>
                    <a:pt x="489" y="152"/>
                  </a:lnTo>
                  <a:lnTo>
                    <a:pt x="489" y="152"/>
                  </a:lnTo>
                  <a:lnTo>
                    <a:pt x="493" y="154"/>
                  </a:lnTo>
                  <a:lnTo>
                    <a:pt x="495" y="154"/>
                  </a:lnTo>
                  <a:lnTo>
                    <a:pt x="501" y="152"/>
                  </a:lnTo>
                  <a:lnTo>
                    <a:pt x="501" y="152"/>
                  </a:lnTo>
                  <a:lnTo>
                    <a:pt x="499" y="154"/>
                  </a:lnTo>
                  <a:lnTo>
                    <a:pt x="495" y="154"/>
                  </a:lnTo>
                  <a:lnTo>
                    <a:pt x="493" y="156"/>
                  </a:lnTo>
                  <a:lnTo>
                    <a:pt x="493" y="156"/>
                  </a:lnTo>
                  <a:lnTo>
                    <a:pt x="493" y="156"/>
                  </a:lnTo>
                  <a:lnTo>
                    <a:pt x="495" y="156"/>
                  </a:lnTo>
                  <a:lnTo>
                    <a:pt x="497" y="156"/>
                  </a:lnTo>
                  <a:lnTo>
                    <a:pt x="503" y="156"/>
                  </a:lnTo>
                  <a:lnTo>
                    <a:pt x="510" y="156"/>
                  </a:lnTo>
                  <a:lnTo>
                    <a:pt x="524" y="154"/>
                  </a:lnTo>
                  <a:lnTo>
                    <a:pt x="528" y="156"/>
                  </a:lnTo>
                  <a:lnTo>
                    <a:pt x="528" y="156"/>
                  </a:lnTo>
                  <a:lnTo>
                    <a:pt x="526" y="156"/>
                  </a:lnTo>
                  <a:lnTo>
                    <a:pt x="524" y="156"/>
                  </a:lnTo>
                  <a:lnTo>
                    <a:pt x="522" y="156"/>
                  </a:lnTo>
                  <a:lnTo>
                    <a:pt x="520" y="156"/>
                  </a:lnTo>
                  <a:lnTo>
                    <a:pt x="518" y="156"/>
                  </a:lnTo>
                  <a:lnTo>
                    <a:pt x="518" y="156"/>
                  </a:lnTo>
                  <a:lnTo>
                    <a:pt x="518" y="156"/>
                  </a:lnTo>
                  <a:lnTo>
                    <a:pt x="518" y="156"/>
                  </a:lnTo>
                  <a:lnTo>
                    <a:pt x="516" y="158"/>
                  </a:lnTo>
                  <a:lnTo>
                    <a:pt x="514" y="158"/>
                  </a:lnTo>
                  <a:lnTo>
                    <a:pt x="512" y="158"/>
                  </a:lnTo>
                  <a:lnTo>
                    <a:pt x="505" y="158"/>
                  </a:lnTo>
                  <a:lnTo>
                    <a:pt x="499" y="160"/>
                  </a:lnTo>
                  <a:lnTo>
                    <a:pt x="493" y="160"/>
                  </a:lnTo>
                  <a:lnTo>
                    <a:pt x="491" y="160"/>
                  </a:lnTo>
                  <a:lnTo>
                    <a:pt x="485" y="163"/>
                  </a:lnTo>
                  <a:lnTo>
                    <a:pt x="483" y="163"/>
                  </a:lnTo>
                  <a:lnTo>
                    <a:pt x="483" y="165"/>
                  </a:lnTo>
                  <a:lnTo>
                    <a:pt x="483" y="165"/>
                  </a:lnTo>
                  <a:lnTo>
                    <a:pt x="485" y="169"/>
                  </a:lnTo>
                  <a:lnTo>
                    <a:pt x="491" y="169"/>
                  </a:lnTo>
                  <a:lnTo>
                    <a:pt x="499" y="169"/>
                  </a:lnTo>
                  <a:lnTo>
                    <a:pt x="501" y="169"/>
                  </a:lnTo>
                  <a:lnTo>
                    <a:pt x="501" y="169"/>
                  </a:lnTo>
                  <a:lnTo>
                    <a:pt x="503" y="169"/>
                  </a:lnTo>
                  <a:lnTo>
                    <a:pt x="512" y="169"/>
                  </a:lnTo>
                  <a:lnTo>
                    <a:pt x="518" y="169"/>
                  </a:lnTo>
                  <a:lnTo>
                    <a:pt x="520" y="169"/>
                  </a:lnTo>
                  <a:lnTo>
                    <a:pt x="524" y="169"/>
                  </a:lnTo>
                  <a:lnTo>
                    <a:pt x="524" y="169"/>
                  </a:lnTo>
                  <a:lnTo>
                    <a:pt x="528" y="169"/>
                  </a:lnTo>
                  <a:lnTo>
                    <a:pt x="530" y="169"/>
                  </a:lnTo>
                  <a:lnTo>
                    <a:pt x="534" y="169"/>
                  </a:lnTo>
                  <a:lnTo>
                    <a:pt x="536" y="169"/>
                  </a:lnTo>
                  <a:lnTo>
                    <a:pt x="544" y="171"/>
                  </a:lnTo>
                  <a:lnTo>
                    <a:pt x="549" y="173"/>
                  </a:lnTo>
                  <a:lnTo>
                    <a:pt x="549" y="173"/>
                  </a:lnTo>
                  <a:lnTo>
                    <a:pt x="546" y="175"/>
                  </a:lnTo>
                  <a:lnTo>
                    <a:pt x="546" y="175"/>
                  </a:lnTo>
                  <a:lnTo>
                    <a:pt x="542" y="175"/>
                  </a:lnTo>
                  <a:lnTo>
                    <a:pt x="540" y="175"/>
                  </a:lnTo>
                  <a:lnTo>
                    <a:pt x="536" y="175"/>
                  </a:lnTo>
                  <a:lnTo>
                    <a:pt x="536" y="175"/>
                  </a:lnTo>
                  <a:lnTo>
                    <a:pt x="530" y="175"/>
                  </a:lnTo>
                  <a:lnTo>
                    <a:pt x="524" y="175"/>
                  </a:lnTo>
                  <a:lnTo>
                    <a:pt x="522" y="175"/>
                  </a:lnTo>
                  <a:lnTo>
                    <a:pt x="520" y="173"/>
                  </a:lnTo>
                  <a:lnTo>
                    <a:pt x="514" y="173"/>
                  </a:lnTo>
                  <a:lnTo>
                    <a:pt x="503" y="175"/>
                  </a:lnTo>
                  <a:lnTo>
                    <a:pt x="489" y="175"/>
                  </a:lnTo>
                  <a:lnTo>
                    <a:pt x="481" y="177"/>
                  </a:lnTo>
                  <a:lnTo>
                    <a:pt x="481" y="177"/>
                  </a:lnTo>
                  <a:lnTo>
                    <a:pt x="479" y="177"/>
                  </a:lnTo>
                  <a:lnTo>
                    <a:pt x="479" y="179"/>
                  </a:lnTo>
                  <a:lnTo>
                    <a:pt x="477" y="181"/>
                  </a:lnTo>
                  <a:lnTo>
                    <a:pt x="477" y="181"/>
                  </a:lnTo>
                  <a:lnTo>
                    <a:pt x="477" y="181"/>
                  </a:lnTo>
                  <a:lnTo>
                    <a:pt x="477" y="183"/>
                  </a:lnTo>
                  <a:lnTo>
                    <a:pt x="477" y="185"/>
                  </a:lnTo>
                  <a:lnTo>
                    <a:pt x="477" y="185"/>
                  </a:lnTo>
                  <a:lnTo>
                    <a:pt x="477" y="187"/>
                  </a:lnTo>
                  <a:lnTo>
                    <a:pt x="477" y="187"/>
                  </a:lnTo>
                  <a:lnTo>
                    <a:pt x="477" y="187"/>
                  </a:lnTo>
                  <a:lnTo>
                    <a:pt x="481" y="189"/>
                  </a:lnTo>
                  <a:lnTo>
                    <a:pt x="483" y="189"/>
                  </a:lnTo>
                  <a:lnTo>
                    <a:pt x="485" y="189"/>
                  </a:lnTo>
                  <a:lnTo>
                    <a:pt x="489" y="189"/>
                  </a:lnTo>
                  <a:lnTo>
                    <a:pt x="495" y="189"/>
                  </a:lnTo>
                  <a:lnTo>
                    <a:pt x="499" y="189"/>
                  </a:lnTo>
                  <a:lnTo>
                    <a:pt x="501" y="189"/>
                  </a:lnTo>
                  <a:lnTo>
                    <a:pt x="505" y="191"/>
                  </a:lnTo>
                  <a:lnTo>
                    <a:pt x="505" y="191"/>
                  </a:lnTo>
                  <a:lnTo>
                    <a:pt x="503" y="193"/>
                  </a:lnTo>
                  <a:lnTo>
                    <a:pt x="503" y="193"/>
                  </a:lnTo>
                  <a:lnTo>
                    <a:pt x="501" y="195"/>
                  </a:lnTo>
                  <a:lnTo>
                    <a:pt x="499" y="197"/>
                  </a:lnTo>
                  <a:lnTo>
                    <a:pt x="499" y="200"/>
                  </a:lnTo>
                  <a:lnTo>
                    <a:pt x="499" y="202"/>
                  </a:lnTo>
                  <a:lnTo>
                    <a:pt x="501" y="202"/>
                  </a:lnTo>
                  <a:lnTo>
                    <a:pt x="501" y="202"/>
                  </a:lnTo>
                  <a:lnTo>
                    <a:pt x="503" y="202"/>
                  </a:lnTo>
                  <a:lnTo>
                    <a:pt x="505" y="202"/>
                  </a:lnTo>
                  <a:lnTo>
                    <a:pt x="512" y="202"/>
                  </a:lnTo>
                  <a:lnTo>
                    <a:pt x="520" y="202"/>
                  </a:lnTo>
                  <a:lnTo>
                    <a:pt x="522" y="202"/>
                  </a:lnTo>
                  <a:lnTo>
                    <a:pt x="526" y="200"/>
                  </a:lnTo>
                  <a:lnTo>
                    <a:pt x="528" y="200"/>
                  </a:lnTo>
                  <a:lnTo>
                    <a:pt x="528" y="200"/>
                  </a:lnTo>
                  <a:lnTo>
                    <a:pt x="534" y="200"/>
                  </a:lnTo>
                  <a:lnTo>
                    <a:pt x="540" y="200"/>
                  </a:lnTo>
                  <a:lnTo>
                    <a:pt x="546" y="200"/>
                  </a:lnTo>
                  <a:lnTo>
                    <a:pt x="555" y="197"/>
                  </a:lnTo>
                  <a:lnTo>
                    <a:pt x="559" y="195"/>
                  </a:lnTo>
                  <a:lnTo>
                    <a:pt x="561" y="195"/>
                  </a:lnTo>
                  <a:lnTo>
                    <a:pt x="565" y="195"/>
                  </a:lnTo>
                  <a:lnTo>
                    <a:pt x="571" y="195"/>
                  </a:lnTo>
                  <a:lnTo>
                    <a:pt x="575" y="193"/>
                  </a:lnTo>
                  <a:lnTo>
                    <a:pt x="577" y="193"/>
                  </a:lnTo>
                  <a:lnTo>
                    <a:pt x="581" y="191"/>
                  </a:lnTo>
                  <a:lnTo>
                    <a:pt x="583" y="191"/>
                  </a:lnTo>
                  <a:lnTo>
                    <a:pt x="588" y="189"/>
                  </a:lnTo>
                  <a:lnTo>
                    <a:pt x="590" y="187"/>
                  </a:lnTo>
                  <a:lnTo>
                    <a:pt x="592" y="187"/>
                  </a:lnTo>
                  <a:lnTo>
                    <a:pt x="594" y="187"/>
                  </a:lnTo>
                  <a:lnTo>
                    <a:pt x="594" y="187"/>
                  </a:lnTo>
                  <a:lnTo>
                    <a:pt x="596" y="187"/>
                  </a:lnTo>
                  <a:lnTo>
                    <a:pt x="594" y="189"/>
                  </a:lnTo>
                  <a:lnTo>
                    <a:pt x="594" y="189"/>
                  </a:lnTo>
                  <a:lnTo>
                    <a:pt x="594" y="189"/>
                  </a:lnTo>
                  <a:lnTo>
                    <a:pt x="592" y="189"/>
                  </a:lnTo>
                  <a:lnTo>
                    <a:pt x="594" y="191"/>
                  </a:lnTo>
                  <a:lnTo>
                    <a:pt x="594" y="191"/>
                  </a:lnTo>
                  <a:lnTo>
                    <a:pt x="596" y="191"/>
                  </a:lnTo>
                  <a:lnTo>
                    <a:pt x="598" y="191"/>
                  </a:lnTo>
                  <a:lnTo>
                    <a:pt x="600" y="191"/>
                  </a:lnTo>
                  <a:lnTo>
                    <a:pt x="604" y="191"/>
                  </a:lnTo>
                  <a:lnTo>
                    <a:pt x="606" y="193"/>
                  </a:lnTo>
                  <a:lnTo>
                    <a:pt x="606" y="193"/>
                  </a:lnTo>
                  <a:lnTo>
                    <a:pt x="606" y="193"/>
                  </a:lnTo>
                  <a:lnTo>
                    <a:pt x="602" y="193"/>
                  </a:lnTo>
                  <a:lnTo>
                    <a:pt x="602" y="195"/>
                  </a:lnTo>
                  <a:lnTo>
                    <a:pt x="602" y="195"/>
                  </a:lnTo>
                  <a:lnTo>
                    <a:pt x="608" y="195"/>
                  </a:lnTo>
                  <a:lnTo>
                    <a:pt x="610" y="195"/>
                  </a:lnTo>
                  <a:lnTo>
                    <a:pt x="612" y="195"/>
                  </a:lnTo>
                  <a:lnTo>
                    <a:pt x="614" y="195"/>
                  </a:lnTo>
                  <a:lnTo>
                    <a:pt x="616" y="195"/>
                  </a:lnTo>
                  <a:lnTo>
                    <a:pt x="620" y="197"/>
                  </a:lnTo>
                  <a:lnTo>
                    <a:pt x="624" y="195"/>
                  </a:lnTo>
                  <a:lnTo>
                    <a:pt x="627" y="197"/>
                  </a:lnTo>
                  <a:lnTo>
                    <a:pt x="629" y="195"/>
                  </a:lnTo>
                  <a:lnTo>
                    <a:pt x="629" y="195"/>
                  </a:lnTo>
                  <a:lnTo>
                    <a:pt x="633" y="195"/>
                  </a:lnTo>
                  <a:lnTo>
                    <a:pt x="635" y="195"/>
                  </a:lnTo>
                  <a:lnTo>
                    <a:pt x="641" y="193"/>
                  </a:lnTo>
                  <a:lnTo>
                    <a:pt x="643" y="193"/>
                  </a:lnTo>
                  <a:lnTo>
                    <a:pt x="645" y="191"/>
                  </a:lnTo>
                  <a:lnTo>
                    <a:pt x="645" y="191"/>
                  </a:lnTo>
                  <a:lnTo>
                    <a:pt x="645" y="191"/>
                  </a:lnTo>
                  <a:lnTo>
                    <a:pt x="645" y="189"/>
                  </a:lnTo>
                  <a:lnTo>
                    <a:pt x="645" y="189"/>
                  </a:lnTo>
                  <a:lnTo>
                    <a:pt x="643" y="189"/>
                  </a:lnTo>
                  <a:lnTo>
                    <a:pt x="643" y="189"/>
                  </a:lnTo>
                  <a:lnTo>
                    <a:pt x="643" y="189"/>
                  </a:lnTo>
                  <a:lnTo>
                    <a:pt x="643" y="189"/>
                  </a:lnTo>
                  <a:lnTo>
                    <a:pt x="645" y="189"/>
                  </a:lnTo>
                  <a:lnTo>
                    <a:pt x="645" y="187"/>
                  </a:lnTo>
                  <a:lnTo>
                    <a:pt x="647" y="187"/>
                  </a:lnTo>
                  <a:lnTo>
                    <a:pt x="647" y="187"/>
                  </a:lnTo>
                  <a:lnTo>
                    <a:pt x="647" y="187"/>
                  </a:lnTo>
                  <a:lnTo>
                    <a:pt x="645" y="187"/>
                  </a:lnTo>
                  <a:lnTo>
                    <a:pt x="643" y="187"/>
                  </a:lnTo>
                  <a:lnTo>
                    <a:pt x="641" y="187"/>
                  </a:lnTo>
                  <a:lnTo>
                    <a:pt x="637" y="187"/>
                  </a:lnTo>
                  <a:lnTo>
                    <a:pt x="635" y="189"/>
                  </a:lnTo>
                  <a:lnTo>
                    <a:pt x="631" y="191"/>
                  </a:lnTo>
                  <a:lnTo>
                    <a:pt x="631" y="191"/>
                  </a:lnTo>
                  <a:lnTo>
                    <a:pt x="631" y="189"/>
                  </a:lnTo>
                  <a:lnTo>
                    <a:pt x="633" y="187"/>
                  </a:lnTo>
                  <a:lnTo>
                    <a:pt x="635" y="187"/>
                  </a:lnTo>
                  <a:lnTo>
                    <a:pt x="635" y="187"/>
                  </a:lnTo>
                  <a:lnTo>
                    <a:pt x="635" y="187"/>
                  </a:lnTo>
                  <a:lnTo>
                    <a:pt x="635" y="187"/>
                  </a:lnTo>
                  <a:lnTo>
                    <a:pt x="635" y="185"/>
                  </a:lnTo>
                  <a:lnTo>
                    <a:pt x="633" y="185"/>
                  </a:lnTo>
                  <a:lnTo>
                    <a:pt x="633" y="185"/>
                  </a:lnTo>
                  <a:lnTo>
                    <a:pt x="633" y="183"/>
                  </a:lnTo>
                  <a:lnTo>
                    <a:pt x="633" y="183"/>
                  </a:lnTo>
                  <a:lnTo>
                    <a:pt x="635" y="183"/>
                  </a:lnTo>
                  <a:lnTo>
                    <a:pt x="635" y="183"/>
                  </a:lnTo>
                  <a:lnTo>
                    <a:pt x="637" y="185"/>
                  </a:lnTo>
                  <a:lnTo>
                    <a:pt x="639" y="185"/>
                  </a:lnTo>
                  <a:lnTo>
                    <a:pt x="639" y="185"/>
                  </a:lnTo>
                  <a:lnTo>
                    <a:pt x="641" y="185"/>
                  </a:lnTo>
                  <a:lnTo>
                    <a:pt x="643" y="185"/>
                  </a:lnTo>
                  <a:lnTo>
                    <a:pt x="643" y="185"/>
                  </a:lnTo>
                  <a:lnTo>
                    <a:pt x="643" y="185"/>
                  </a:lnTo>
                  <a:lnTo>
                    <a:pt x="643" y="183"/>
                  </a:lnTo>
                  <a:lnTo>
                    <a:pt x="645" y="183"/>
                  </a:lnTo>
                  <a:lnTo>
                    <a:pt x="645" y="183"/>
                  </a:lnTo>
                  <a:lnTo>
                    <a:pt x="645" y="181"/>
                  </a:lnTo>
                  <a:lnTo>
                    <a:pt x="649" y="181"/>
                  </a:lnTo>
                  <a:lnTo>
                    <a:pt x="651" y="181"/>
                  </a:lnTo>
                  <a:lnTo>
                    <a:pt x="651" y="181"/>
                  </a:lnTo>
                  <a:lnTo>
                    <a:pt x="651" y="181"/>
                  </a:lnTo>
                  <a:lnTo>
                    <a:pt x="653" y="183"/>
                  </a:lnTo>
                  <a:lnTo>
                    <a:pt x="653" y="183"/>
                  </a:lnTo>
                  <a:lnTo>
                    <a:pt x="655" y="183"/>
                  </a:lnTo>
                  <a:lnTo>
                    <a:pt x="655" y="183"/>
                  </a:lnTo>
                  <a:lnTo>
                    <a:pt x="657" y="183"/>
                  </a:lnTo>
                  <a:lnTo>
                    <a:pt x="659" y="181"/>
                  </a:lnTo>
                  <a:lnTo>
                    <a:pt x="659" y="181"/>
                  </a:lnTo>
                  <a:lnTo>
                    <a:pt x="659" y="181"/>
                  </a:lnTo>
                  <a:lnTo>
                    <a:pt x="659" y="183"/>
                  </a:lnTo>
                  <a:lnTo>
                    <a:pt x="659" y="183"/>
                  </a:lnTo>
                  <a:lnTo>
                    <a:pt x="659" y="183"/>
                  </a:lnTo>
                  <a:lnTo>
                    <a:pt x="661" y="183"/>
                  </a:lnTo>
                  <a:lnTo>
                    <a:pt x="661" y="183"/>
                  </a:lnTo>
                  <a:lnTo>
                    <a:pt x="664" y="183"/>
                  </a:lnTo>
                  <a:lnTo>
                    <a:pt x="666" y="181"/>
                  </a:lnTo>
                  <a:lnTo>
                    <a:pt x="666" y="181"/>
                  </a:lnTo>
                  <a:close/>
                  <a:moveTo>
                    <a:pt x="721" y="187"/>
                  </a:moveTo>
                  <a:lnTo>
                    <a:pt x="721" y="187"/>
                  </a:lnTo>
                  <a:lnTo>
                    <a:pt x="721" y="187"/>
                  </a:lnTo>
                  <a:lnTo>
                    <a:pt x="719" y="189"/>
                  </a:lnTo>
                  <a:lnTo>
                    <a:pt x="719" y="189"/>
                  </a:lnTo>
                  <a:lnTo>
                    <a:pt x="721" y="189"/>
                  </a:lnTo>
                  <a:lnTo>
                    <a:pt x="721" y="189"/>
                  </a:lnTo>
                  <a:lnTo>
                    <a:pt x="723" y="187"/>
                  </a:lnTo>
                  <a:lnTo>
                    <a:pt x="723" y="187"/>
                  </a:lnTo>
                  <a:lnTo>
                    <a:pt x="725" y="187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3" y="183"/>
                  </a:lnTo>
                  <a:lnTo>
                    <a:pt x="723" y="183"/>
                  </a:lnTo>
                  <a:lnTo>
                    <a:pt x="721" y="185"/>
                  </a:lnTo>
                  <a:lnTo>
                    <a:pt x="719" y="185"/>
                  </a:lnTo>
                  <a:lnTo>
                    <a:pt x="719" y="185"/>
                  </a:lnTo>
                  <a:lnTo>
                    <a:pt x="717" y="187"/>
                  </a:lnTo>
                  <a:lnTo>
                    <a:pt x="717" y="187"/>
                  </a:lnTo>
                  <a:lnTo>
                    <a:pt x="717" y="187"/>
                  </a:lnTo>
                  <a:lnTo>
                    <a:pt x="717" y="187"/>
                  </a:lnTo>
                  <a:lnTo>
                    <a:pt x="717" y="189"/>
                  </a:lnTo>
                  <a:lnTo>
                    <a:pt x="719" y="187"/>
                  </a:lnTo>
                  <a:lnTo>
                    <a:pt x="719" y="187"/>
                  </a:lnTo>
                  <a:lnTo>
                    <a:pt x="721" y="185"/>
                  </a:lnTo>
                  <a:lnTo>
                    <a:pt x="721" y="185"/>
                  </a:lnTo>
                  <a:lnTo>
                    <a:pt x="721" y="185"/>
                  </a:lnTo>
                  <a:lnTo>
                    <a:pt x="721" y="185"/>
                  </a:lnTo>
                  <a:lnTo>
                    <a:pt x="723" y="185"/>
                  </a:lnTo>
                  <a:lnTo>
                    <a:pt x="721" y="185"/>
                  </a:lnTo>
                  <a:lnTo>
                    <a:pt x="721" y="187"/>
                  </a:lnTo>
                  <a:close/>
                  <a:moveTo>
                    <a:pt x="664" y="191"/>
                  </a:moveTo>
                  <a:lnTo>
                    <a:pt x="661" y="193"/>
                  </a:lnTo>
                  <a:lnTo>
                    <a:pt x="661" y="193"/>
                  </a:lnTo>
                  <a:lnTo>
                    <a:pt x="661" y="193"/>
                  </a:lnTo>
                  <a:lnTo>
                    <a:pt x="661" y="193"/>
                  </a:lnTo>
                  <a:lnTo>
                    <a:pt x="661" y="193"/>
                  </a:lnTo>
                  <a:lnTo>
                    <a:pt x="664" y="195"/>
                  </a:lnTo>
                  <a:lnTo>
                    <a:pt x="664" y="193"/>
                  </a:lnTo>
                  <a:lnTo>
                    <a:pt x="664" y="193"/>
                  </a:lnTo>
                  <a:lnTo>
                    <a:pt x="664" y="193"/>
                  </a:lnTo>
                  <a:lnTo>
                    <a:pt x="664" y="191"/>
                  </a:lnTo>
                  <a:lnTo>
                    <a:pt x="664" y="191"/>
                  </a:lnTo>
                  <a:lnTo>
                    <a:pt x="664" y="191"/>
                  </a:lnTo>
                  <a:close/>
                  <a:moveTo>
                    <a:pt x="655" y="197"/>
                  </a:moveTo>
                  <a:lnTo>
                    <a:pt x="655" y="197"/>
                  </a:lnTo>
                  <a:lnTo>
                    <a:pt x="657" y="197"/>
                  </a:lnTo>
                  <a:lnTo>
                    <a:pt x="657" y="197"/>
                  </a:lnTo>
                  <a:lnTo>
                    <a:pt x="657" y="197"/>
                  </a:lnTo>
                  <a:lnTo>
                    <a:pt x="659" y="195"/>
                  </a:lnTo>
                  <a:lnTo>
                    <a:pt x="659" y="195"/>
                  </a:lnTo>
                  <a:lnTo>
                    <a:pt x="659" y="195"/>
                  </a:lnTo>
                  <a:lnTo>
                    <a:pt x="659" y="193"/>
                  </a:lnTo>
                  <a:lnTo>
                    <a:pt x="659" y="193"/>
                  </a:lnTo>
                  <a:lnTo>
                    <a:pt x="657" y="193"/>
                  </a:lnTo>
                  <a:lnTo>
                    <a:pt x="657" y="193"/>
                  </a:lnTo>
                  <a:lnTo>
                    <a:pt x="657" y="193"/>
                  </a:lnTo>
                  <a:lnTo>
                    <a:pt x="655" y="193"/>
                  </a:lnTo>
                  <a:lnTo>
                    <a:pt x="655" y="193"/>
                  </a:lnTo>
                  <a:lnTo>
                    <a:pt x="655" y="195"/>
                  </a:lnTo>
                  <a:lnTo>
                    <a:pt x="653" y="195"/>
                  </a:lnTo>
                  <a:lnTo>
                    <a:pt x="653" y="197"/>
                  </a:lnTo>
                  <a:lnTo>
                    <a:pt x="653" y="197"/>
                  </a:lnTo>
                  <a:lnTo>
                    <a:pt x="653" y="197"/>
                  </a:lnTo>
                  <a:lnTo>
                    <a:pt x="653" y="197"/>
                  </a:lnTo>
                  <a:lnTo>
                    <a:pt x="655" y="197"/>
                  </a:lnTo>
                  <a:lnTo>
                    <a:pt x="655" y="197"/>
                  </a:lnTo>
                  <a:lnTo>
                    <a:pt x="655" y="197"/>
                  </a:lnTo>
                  <a:lnTo>
                    <a:pt x="655" y="197"/>
                  </a:lnTo>
                  <a:lnTo>
                    <a:pt x="655" y="197"/>
                  </a:lnTo>
                  <a:close/>
                  <a:moveTo>
                    <a:pt x="635" y="197"/>
                  </a:moveTo>
                  <a:lnTo>
                    <a:pt x="635" y="197"/>
                  </a:lnTo>
                  <a:lnTo>
                    <a:pt x="633" y="197"/>
                  </a:lnTo>
                  <a:lnTo>
                    <a:pt x="631" y="200"/>
                  </a:lnTo>
                  <a:lnTo>
                    <a:pt x="633" y="200"/>
                  </a:lnTo>
                  <a:lnTo>
                    <a:pt x="635" y="200"/>
                  </a:lnTo>
                  <a:lnTo>
                    <a:pt x="635" y="200"/>
                  </a:lnTo>
                  <a:lnTo>
                    <a:pt x="635" y="200"/>
                  </a:lnTo>
                  <a:lnTo>
                    <a:pt x="637" y="200"/>
                  </a:lnTo>
                  <a:lnTo>
                    <a:pt x="639" y="200"/>
                  </a:lnTo>
                  <a:lnTo>
                    <a:pt x="639" y="197"/>
                  </a:lnTo>
                  <a:lnTo>
                    <a:pt x="639" y="197"/>
                  </a:lnTo>
                  <a:lnTo>
                    <a:pt x="639" y="197"/>
                  </a:lnTo>
                  <a:lnTo>
                    <a:pt x="639" y="197"/>
                  </a:lnTo>
                  <a:lnTo>
                    <a:pt x="637" y="195"/>
                  </a:lnTo>
                  <a:lnTo>
                    <a:pt x="635" y="197"/>
                  </a:lnTo>
                  <a:close/>
                  <a:moveTo>
                    <a:pt x="655" y="187"/>
                  </a:moveTo>
                  <a:lnTo>
                    <a:pt x="655" y="187"/>
                  </a:lnTo>
                  <a:lnTo>
                    <a:pt x="655" y="187"/>
                  </a:lnTo>
                  <a:lnTo>
                    <a:pt x="657" y="187"/>
                  </a:lnTo>
                  <a:lnTo>
                    <a:pt x="657" y="187"/>
                  </a:lnTo>
                  <a:lnTo>
                    <a:pt x="657" y="187"/>
                  </a:lnTo>
                  <a:lnTo>
                    <a:pt x="659" y="187"/>
                  </a:lnTo>
                  <a:lnTo>
                    <a:pt x="659" y="185"/>
                  </a:lnTo>
                  <a:lnTo>
                    <a:pt x="659" y="185"/>
                  </a:lnTo>
                  <a:lnTo>
                    <a:pt x="657" y="185"/>
                  </a:lnTo>
                  <a:lnTo>
                    <a:pt x="657" y="185"/>
                  </a:lnTo>
                  <a:lnTo>
                    <a:pt x="655" y="185"/>
                  </a:lnTo>
                  <a:lnTo>
                    <a:pt x="655" y="185"/>
                  </a:lnTo>
                  <a:lnTo>
                    <a:pt x="655" y="185"/>
                  </a:lnTo>
                  <a:lnTo>
                    <a:pt x="657" y="185"/>
                  </a:lnTo>
                  <a:lnTo>
                    <a:pt x="657" y="187"/>
                  </a:lnTo>
                  <a:lnTo>
                    <a:pt x="657" y="187"/>
                  </a:lnTo>
                  <a:lnTo>
                    <a:pt x="655" y="187"/>
                  </a:lnTo>
                  <a:lnTo>
                    <a:pt x="655" y="187"/>
                  </a:lnTo>
                  <a:lnTo>
                    <a:pt x="655" y="187"/>
                  </a:lnTo>
                  <a:lnTo>
                    <a:pt x="655" y="187"/>
                  </a:lnTo>
                  <a:close/>
                  <a:moveTo>
                    <a:pt x="600" y="200"/>
                  </a:moveTo>
                  <a:lnTo>
                    <a:pt x="598" y="200"/>
                  </a:lnTo>
                  <a:lnTo>
                    <a:pt x="598" y="202"/>
                  </a:lnTo>
                  <a:lnTo>
                    <a:pt x="598" y="202"/>
                  </a:lnTo>
                  <a:lnTo>
                    <a:pt x="598" y="202"/>
                  </a:lnTo>
                  <a:lnTo>
                    <a:pt x="598" y="202"/>
                  </a:lnTo>
                  <a:lnTo>
                    <a:pt x="600" y="204"/>
                  </a:lnTo>
                  <a:lnTo>
                    <a:pt x="600" y="204"/>
                  </a:lnTo>
                  <a:lnTo>
                    <a:pt x="602" y="204"/>
                  </a:lnTo>
                  <a:lnTo>
                    <a:pt x="602" y="202"/>
                  </a:lnTo>
                  <a:lnTo>
                    <a:pt x="602" y="202"/>
                  </a:lnTo>
                  <a:lnTo>
                    <a:pt x="604" y="202"/>
                  </a:lnTo>
                  <a:lnTo>
                    <a:pt x="604" y="202"/>
                  </a:lnTo>
                  <a:lnTo>
                    <a:pt x="602" y="200"/>
                  </a:lnTo>
                  <a:lnTo>
                    <a:pt x="602" y="200"/>
                  </a:lnTo>
                  <a:lnTo>
                    <a:pt x="600" y="200"/>
                  </a:lnTo>
                  <a:close/>
                  <a:moveTo>
                    <a:pt x="754" y="93"/>
                  </a:moveTo>
                  <a:lnTo>
                    <a:pt x="750" y="93"/>
                  </a:lnTo>
                  <a:lnTo>
                    <a:pt x="750" y="93"/>
                  </a:lnTo>
                  <a:lnTo>
                    <a:pt x="748" y="95"/>
                  </a:lnTo>
                  <a:lnTo>
                    <a:pt x="742" y="95"/>
                  </a:lnTo>
                  <a:lnTo>
                    <a:pt x="742" y="95"/>
                  </a:lnTo>
                  <a:lnTo>
                    <a:pt x="742" y="97"/>
                  </a:lnTo>
                  <a:lnTo>
                    <a:pt x="742" y="97"/>
                  </a:lnTo>
                  <a:lnTo>
                    <a:pt x="742" y="97"/>
                  </a:lnTo>
                  <a:lnTo>
                    <a:pt x="756" y="95"/>
                  </a:lnTo>
                  <a:lnTo>
                    <a:pt x="758" y="97"/>
                  </a:lnTo>
                  <a:lnTo>
                    <a:pt x="762" y="95"/>
                  </a:lnTo>
                  <a:lnTo>
                    <a:pt x="774" y="95"/>
                  </a:lnTo>
                  <a:lnTo>
                    <a:pt x="783" y="95"/>
                  </a:lnTo>
                  <a:lnTo>
                    <a:pt x="781" y="95"/>
                  </a:lnTo>
                  <a:lnTo>
                    <a:pt x="776" y="95"/>
                  </a:lnTo>
                  <a:lnTo>
                    <a:pt x="774" y="95"/>
                  </a:lnTo>
                  <a:lnTo>
                    <a:pt x="774" y="95"/>
                  </a:lnTo>
                  <a:lnTo>
                    <a:pt x="770" y="97"/>
                  </a:lnTo>
                  <a:lnTo>
                    <a:pt x="766" y="97"/>
                  </a:lnTo>
                  <a:lnTo>
                    <a:pt x="760" y="99"/>
                  </a:lnTo>
                  <a:lnTo>
                    <a:pt x="760" y="99"/>
                  </a:lnTo>
                  <a:lnTo>
                    <a:pt x="758" y="99"/>
                  </a:lnTo>
                  <a:lnTo>
                    <a:pt x="760" y="99"/>
                  </a:lnTo>
                  <a:lnTo>
                    <a:pt x="762" y="101"/>
                  </a:lnTo>
                  <a:lnTo>
                    <a:pt x="764" y="101"/>
                  </a:lnTo>
                  <a:lnTo>
                    <a:pt x="762" y="101"/>
                  </a:lnTo>
                  <a:lnTo>
                    <a:pt x="760" y="101"/>
                  </a:lnTo>
                  <a:lnTo>
                    <a:pt x="758" y="101"/>
                  </a:lnTo>
                  <a:lnTo>
                    <a:pt x="758" y="103"/>
                  </a:lnTo>
                  <a:lnTo>
                    <a:pt x="758" y="103"/>
                  </a:lnTo>
                  <a:lnTo>
                    <a:pt x="758" y="105"/>
                  </a:lnTo>
                  <a:lnTo>
                    <a:pt x="762" y="105"/>
                  </a:lnTo>
                  <a:lnTo>
                    <a:pt x="764" y="105"/>
                  </a:lnTo>
                  <a:lnTo>
                    <a:pt x="768" y="103"/>
                  </a:lnTo>
                  <a:lnTo>
                    <a:pt x="768" y="103"/>
                  </a:lnTo>
                  <a:lnTo>
                    <a:pt x="768" y="103"/>
                  </a:lnTo>
                  <a:lnTo>
                    <a:pt x="770" y="105"/>
                  </a:lnTo>
                  <a:lnTo>
                    <a:pt x="772" y="103"/>
                  </a:lnTo>
                  <a:lnTo>
                    <a:pt x="774" y="103"/>
                  </a:lnTo>
                  <a:lnTo>
                    <a:pt x="774" y="105"/>
                  </a:lnTo>
                  <a:lnTo>
                    <a:pt x="776" y="105"/>
                  </a:lnTo>
                  <a:lnTo>
                    <a:pt x="781" y="103"/>
                  </a:lnTo>
                  <a:lnTo>
                    <a:pt x="781" y="103"/>
                  </a:lnTo>
                  <a:lnTo>
                    <a:pt x="783" y="103"/>
                  </a:lnTo>
                  <a:lnTo>
                    <a:pt x="785" y="103"/>
                  </a:lnTo>
                  <a:lnTo>
                    <a:pt x="785" y="103"/>
                  </a:lnTo>
                  <a:lnTo>
                    <a:pt x="785" y="103"/>
                  </a:lnTo>
                  <a:lnTo>
                    <a:pt x="785" y="101"/>
                  </a:lnTo>
                  <a:lnTo>
                    <a:pt x="785" y="101"/>
                  </a:lnTo>
                  <a:lnTo>
                    <a:pt x="785" y="101"/>
                  </a:lnTo>
                  <a:lnTo>
                    <a:pt x="785" y="103"/>
                  </a:lnTo>
                  <a:lnTo>
                    <a:pt x="787" y="103"/>
                  </a:lnTo>
                  <a:lnTo>
                    <a:pt x="787" y="103"/>
                  </a:lnTo>
                  <a:lnTo>
                    <a:pt x="789" y="103"/>
                  </a:lnTo>
                  <a:lnTo>
                    <a:pt x="789" y="103"/>
                  </a:lnTo>
                  <a:lnTo>
                    <a:pt x="789" y="101"/>
                  </a:lnTo>
                  <a:lnTo>
                    <a:pt x="789" y="101"/>
                  </a:lnTo>
                  <a:lnTo>
                    <a:pt x="791" y="99"/>
                  </a:lnTo>
                  <a:lnTo>
                    <a:pt x="795" y="97"/>
                  </a:lnTo>
                  <a:lnTo>
                    <a:pt x="797" y="97"/>
                  </a:lnTo>
                  <a:lnTo>
                    <a:pt x="797" y="99"/>
                  </a:lnTo>
                  <a:lnTo>
                    <a:pt x="797" y="99"/>
                  </a:lnTo>
                  <a:lnTo>
                    <a:pt x="799" y="97"/>
                  </a:lnTo>
                  <a:lnTo>
                    <a:pt x="801" y="95"/>
                  </a:lnTo>
                  <a:lnTo>
                    <a:pt x="801" y="95"/>
                  </a:lnTo>
                  <a:lnTo>
                    <a:pt x="797" y="93"/>
                  </a:lnTo>
                  <a:lnTo>
                    <a:pt x="797" y="93"/>
                  </a:lnTo>
                  <a:lnTo>
                    <a:pt x="799" y="93"/>
                  </a:lnTo>
                  <a:lnTo>
                    <a:pt x="801" y="93"/>
                  </a:lnTo>
                  <a:lnTo>
                    <a:pt x="801" y="93"/>
                  </a:lnTo>
                  <a:lnTo>
                    <a:pt x="803" y="91"/>
                  </a:lnTo>
                  <a:lnTo>
                    <a:pt x="803" y="91"/>
                  </a:lnTo>
                  <a:lnTo>
                    <a:pt x="805" y="89"/>
                  </a:lnTo>
                  <a:lnTo>
                    <a:pt x="807" y="89"/>
                  </a:lnTo>
                  <a:lnTo>
                    <a:pt x="807" y="89"/>
                  </a:lnTo>
                  <a:lnTo>
                    <a:pt x="809" y="86"/>
                  </a:lnTo>
                  <a:lnTo>
                    <a:pt x="809" y="86"/>
                  </a:lnTo>
                  <a:lnTo>
                    <a:pt x="809" y="86"/>
                  </a:lnTo>
                  <a:lnTo>
                    <a:pt x="809" y="84"/>
                  </a:lnTo>
                  <a:lnTo>
                    <a:pt x="809" y="84"/>
                  </a:lnTo>
                  <a:lnTo>
                    <a:pt x="809" y="84"/>
                  </a:lnTo>
                  <a:lnTo>
                    <a:pt x="811" y="84"/>
                  </a:lnTo>
                  <a:lnTo>
                    <a:pt x="811" y="82"/>
                  </a:lnTo>
                  <a:lnTo>
                    <a:pt x="811" y="82"/>
                  </a:lnTo>
                  <a:lnTo>
                    <a:pt x="811" y="82"/>
                  </a:lnTo>
                  <a:lnTo>
                    <a:pt x="809" y="82"/>
                  </a:lnTo>
                  <a:lnTo>
                    <a:pt x="807" y="82"/>
                  </a:lnTo>
                  <a:lnTo>
                    <a:pt x="807" y="82"/>
                  </a:lnTo>
                  <a:lnTo>
                    <a:pt x="807" y="80"/>
                  </a:lnTo>
                  <a:lnTo>
                    <a:pt x="805" y="80"/>
                  </a:lnTo>
                  <a:lnTo>
                    <a:pt x="801" y="80"/>
                  </a:lnTo>
                  <a:lnTo>
                    <a:pt x="801" y="80"/>
                  </a:lnTo>
                  <a:lnTo>
                    <a:pt x="799" y="82"/>
                  </a:lnTo>
                  <a:lnTo>
                    <a:pt x="799" y="84"/>
                  </a:lnTo>
                  <a:lnTo>
                    <a:pt x="795" y="84"/>
                  </a:lnTo>
                  <a:lnTo>
                    <a:pt x="795" y="82"/>
                  </a:lnTo>
                  <a:lnTo>
                    <a:pt x="793" y="80"/>
                  </a:lnTo>
                  <a:lnTo>
                    <a:pt x="793" y="80"/>
                  </a:lnTo>
                  <a:lnTo>
                    <a:pt x="789" y="80"/>
                  </a:lnTo>
                  <a:lnTo>
                    <a:pt x="787" y="80"/>
                  </a:lnTo>
                  <a:lnTo>
                    <a:pt x="783" y="82"/>
                  </a:lnTo>
                  <a:lnTo>
                    <a:pt x="778" y="82"/>
                  </a:lnTo>
                  <a:lnTo>
                    <a:pt x="778" y="82"/>
                  </a:lnTo>
                  <a:lnTo>
                    <a:pt x="778" y="84"/>
                  </a:lnTo>
                  <a:lnTo>
                    <a:pt x="778" y="84"/>
                  </a:lnTo>
                  <a:lnTo>
                    <a:pt x="778" y="84"/>
                  </a:lnTo>
                  <a:lnTo>
                    <a:pt x="783" y="84"/>
                  </a:lnTo>
                  <a:lnTo>
                    <a:pt x="785" y="84"/>
                  </a:lnTo>
                  <a:lnTo>
                    <a:pt x="785" y="86"/>
                  </a:lnTo>
                  <a:lnTo>
                    <a:pt x="785" y="86"/>
                  </a:lnTo>
                  <a:lnTo>
                    <a:pt x="783" y="86"/>
                  </a:lnTo>
                  <a:lnTo>
                    <a:pt x="781" y="86"/>
                  </a:lnTo>
                  <a:lnTo>
                    <a:pt x="778" y="86"/>
                  </a:lnTo>
                  <a:lnTo>
                    <a:pt x="778" y="86"/>
                  </a:lnTo>
                  <a:lnTo>
                    <a:pt x="781" y="86"/>
                  </a:lnTo>
                  <a:lnTo>
                    <a:pt x="783" y="86"/>
                  </a:lnTo>
                  <a:lnTo>
                    <a:pt x="783" y="89"/>
                  </a:lnTo>
                  <a:lnTo>
                    <a:pt x="787" y="89"/>
                  </a:lnTo>
                  <a:lnTo>
                    <a:pt x="783" y="89"/>
                  </a:lnTo>
                  <a:lnTo>
                    <a:pt x="781" y="89"/>
                  </a:lnTo>
                  <a:lnTo>
                    <a:pt x="781" y="89"/>
                  </a:lnTo>
                  <a:lnTo>
                    <a:pt x="778" y="89"/>
                  </a:lnTo>
                  <a:lnTo>
                    <a:pt x="778" y="89"/>
                  </a:lnTo>
                  <a:lnTo>
                    <a:pt x="778" y="89"/>
                  </a:lnTo>
                  <a:lnTo>
                    <a:pt x="781" y="91"/>
                  </a:lnTo>
                  <a:lnTo>
                    <a:pt x="781" y="91"/>
                  </a:lnTo>
                  <a:lnTo>
                    <a:pt x="781" y="91"/>
                  </a:lnTo>
                  <a:lnTo>
                    <a:pt x="778" y="91"/>
                  </a:lnTo>
                  <a:lnTo>
                    <a:pt x="776" y="91"/>
                  </a:lnTo>
                  <a:lnTo>
                    <a:pt x="776" y="91"/>
                  </a:lnTo>
                  <a:lnTo>
                    <a:pt x="776" y="91"/>
                  </a:lnTo>
                  <a:lnTo>
                    <a:pt x="772" y="86"/>
                  </a:lnTo>
                  <a:lnTo>
                    <a:pt x="772" y="86"/>
                  </a:lnTo>
                  <a:lnTo>
                    <a:pt x="772" y="86"/>
                  </a:lnTo>
                  <a:lnTo>
                    <a:pt x="772" y="86"/>
                  </a:lnTo>
                  <a:lnTo>
                    <a:pt x="772" y="84"/>
                  </a:lnTo>
                  <a:lnTo>
                    <a:pt x="772" y="84"/>
                  </a:lnTo>
                  <a:lnTo>
                    <a:pt x="770" y="84"/>
                  </a:lnTo>
                  <a:lnTo>
                    <a:pt x="768" y="84"/>
                  </a:lnTo>
                  <a:lnTo>
                    <a:pt x="768" y="84"/>
                  </a:lnTo>
                  <a:lnTo>
                    <a:pt x="766" y="84"/>
                  </a:lnTo>
                  <a:lnTo>
                    <a:pt x="764" y="84"/>
                  </a:lnTo>
                  <a:lnTo>
                    <a:pt x="762" y="84"/>
                  </a:lnTo>
                  <a:lnTo>
                    <a:pt x="760" y="86"/>
                  </a:lnTo>
                  <a:lnTo>
                    <a:pt x="762" y="86"/>
                  </a:lnTo>
                  <a:lnTo>
                    <a:pt x="762" y="86"/>
                  </a:lnTo>
                  <a:lnTo>
                    <a:pt x="766" y="86"/>
                  </a:lnTo>
                  <a:lnTo>
                    <a:pt x="766" y="86"/>
                  </a:lnTo>
                  <a:lnTo>
                    <a:pt x="762" y="89"/>
                  </a:lnTo>
                  <a:lnTo>
                    <a:pt x="760" y="89"/>
                  </a:lnTo>
                  <a:lnTo>
                    <a:pt x="760" y="89"/>
                  </a:lnTo>
                  <a:lnTo>
                    <a:pt x="760" y="89"/>
                  </a:lnTo>
                  <a:lnTo>
                    <a:pt x="760" y="91"/>
                  </a:lnTo>
                  <a:lnTo>
                    <a:pt x="762" y="91"/>
                  </a:lnTo>
                  <a:lnTo>
                    <a:pt x="762" y="91"/>
                  </a:lnTo>
                  <a:lnTo>
                    <a:pt x="760" y="91"/>
                  </a:lnTo>
                  <a:lnTo>
                    <a:pt x="760" y="91"/>
                  </a:lnTo>
                  <a:lnTo>
                    <a:pt x="760" y="93"/>
                  </a:lnTo>
                  <a:lnTo>
                    <a:pt x="760" y="93"/>
                  </a:lnTo>
                  <a:lnTo>
                    <a:pt x="760" y="93"/>
                  </a:lnTo>
                  <a:lnTo>
                    <a:pt x="764" y="93"/>
                  </a:lnTo>
                  <a:lnTo>
                    <a:pt x="764" y="93"/>
                  </a:lnTo>
                  <a:lnTo>
                    <a:pt x="762" y="93"/>
                  </a:lnTo>
                  <a:lnTo>
                    <a:pt x="760" y="93"/>
                  </a:lnTo>
                  <a:lnTo>
                    <a:pt x="760" y="93"/>
                  </a:lnTo>
                  <a:lnTo>
                    <a:pt x="758" y="93"/>
                  </a:lnTo>
                  <a:lnTo>
                    <a:pt x="756" y="91"/>
                  </a:lnTo>
                  <a:lnTo>
                    <a:pt x="754" y="93"/>
                  </a:lnTo>
                  <a:close/>
                  <a:moveTo>
                    <a:pt x="776" y="82"/>
                  </a:moveTo>
                  <a:lnTo>
                    <a:pt x="783" y="80"/>
                  </a:lnTo>
                  <a:lnTo>
                    <a:pt x="789" y="80"/>
                  </a:lnTo>
                  <a:lnTo>
                    <a:pt x="787" y="80"/>
                  </a:lnTo>
                  <a:lnTo>
                    <a:pt x="787" y="80"/>
                  </a:lnTo>
                  <a:lnTo>
                    <a:pt x="783" y="80"/>
                  </a:lnTo>
                  <a:lnTo>
                    <a:pt x="783" y="80"/>
                  </a:lnTo>
                  <a:lnTo>
                    <a:pt x="778" y="80"/>
                  </a:lnTo>
                  <a:lnTo>
                    <a:pt x="774" y="80"/>
                  </a:lnTo>
                  <a:lnTo>
                    <a:pt x="772" y="82"/>
                  </a:lnTo>
                  <a:lnTo>
                    <a:pt x="772" y="82"/>
                  </a:lnTo>
                  <a:lnTo>
                    <a:pt x="772" y="82"/>
                  </a:lnTo>
                  <a:lnTo>
                    <a:pt x="776" y="82"/>
                  </a:lnTo>
                  <a:close/>
                  <a:moveTo>
                    <a:pt x="737" y="89"/>
                  </a:moveTo>
                  <a:lnTo>
                    <a:pt x="737" y="89"/>
                  </a:lnTo>
                  <a:lnTo>
                    <a:pt x="735" y="91"/>
                  </a:lnTo>
                  <a:lnTo>
                    <a:pt x="735" y="91"/>
                  </a:lnTo>
                  <a:lnTo>
                    <a:pt x="744" y="91"/>
                  </a:lnTo>
                  <a:lnTo>
                    <a:pt x="744" y="91"/>
                  </a:lnTo>
                  <a:lnTo>
                    <a:pt x="739" y="93"/>
                  </a:lnTo>
                  <a:lnTo>
                    <a:pt x="739" y="93"/>
                  </a:lnTo>
                  <a:lnTo>
                    <a:pt x="742" y="93"/>
                  </a:lnTo>
                  <a:lnTo>
                    <a:pt x="748" y="93"/>
                  </a:lnTo>
                  <a:lnTo>
                    <a:pt x="748" y="93"/>
                  </a:lnTo>
                  <a:lnTo>
                    <a:pt x="750" y="93"/>
                  </a:lnTo>
                  <a:lnTo>
                    <a:pt x="752" y="91"/>
                  </a:lnTo>
                  <a:lnTo>
                    <a:pt x="756" y="91"/>
                  </a:lnTo>
                  <a:lnTo>
                    <a:pt x="756" y="91"/>
                  </a:lnTo>
                  <a:lnTo>
                    <a:pt x="756" y="91"/>
                  </a:lnTo>
                  <a:lnTo>
                    <a:pt x="754" y="91"/>
                  </a:lnTo>
                  <a:lnTo>
                    <a:pt x="754" y="89"/>
                  </a:lnTo>
                  <a:lnTo>
                    <a:pt x="754" y="89"/>
                  </a:lnTo>
                  <a:lnTo>
                    <a:pt x="756" y="86"/>
                  </a:lnTo>
                  <a:lnTo>
                    <a:pt x="756" y="86"/>
                  </a:lnTo>
                  <a:lnTo>
                    <a:pt x="756" y="86"/>
                  </a:lnTo>
                  <a:lnTo>
                    <a:pt x="752" y="86"/>
                  </a:lnTo>
                  <a:lnTo>
                    <a:pt x="746" y="86"/>
                  </a:lnTo>
                  <a:lnTo>
                    <a:pt x="739" y="86"/>
                  </a:lnTo>
                  <a:lnTo>
                    <a:pt x="735" y="86"/>
                  </a:lnTo>
                  <a:lnTo>
                    <a:pt x="733" y="89"/>
                  </a:lnTo>
                  <a:lnTo>
                    <a:pt x="733" y="89"/>
                  </a:lnTo>
                  <a:lnTo>
                    <a:pt x="737" y="89"/>
                  </a:lnTo>
                  <a:close/>
                  <a:moveTo>
                    <a:pt x="774" y="58"/>
                  </a:moveTo>
                  <a:lnTo>
                    <a:pt x="776" y="60"/>
                  </a:lnTo>
                  <a:lnTo>
                    <a:pt x="781" y="60"/>
                  </a:lnTo>
                  <a:lnTo>
                    <a:pt x="785" y="58"/>
                  </a:lnTo>
                  <a:lnTo>
                    <a:pt x="795" y="58"/>
                  </a:lnTo>
                  <a:lnTo>
                    <a:pt x="793" y="58"/>
                  </a:lnTo>
                  <a:lnTo>
                    <a:pt x="793" y="58"/>
                  </a:lnTo>
                  <a:lnTo>
                    <a:pt x="793" y="58"/>
                  </a:lnTo>
                  <a:lnTo>
                    <a:pt x="793" y="60"/>
                  </a:lnTo>
                  <a:lnTo>
                    <a:pt x="793" y="60"/>
                  </a:lnTo>
                  <a:lnTo>
                    <a:pt x="797" y="58"/>
                  </a:lnTo>
                  <a:lnTo>
                    <a:pt x="799" y="58"/>
                  </a:lnTo>
                  <a:lnTo>
                    <a:pt x="801" y="60"/>
                  </a:lnTo>
                  <a:lnTo>
                    <a:pt x="807" y="60"/>
                  </a:lnTo>
                  <a:lnTo>
                    <a:pt x="809" y="60"/>
                  </a:lnTo>
                  <a:lnTo>
                    <a:pt x="809" y="60"/>
                  </a:lnTo>
                  <a:lnTo>
                    <a:pt x="809" y="62"/>
                  </a:lnTo>
                  <a:lnTo>
                    <a:pt x="809" y="62"/>
                  </a:lnTo>
                  <a:lnTo>
                    <a:pt x="807" y="62"/>
                  </a:lnTo>
                  <a:lnTo>
                    <a:pt x="807" y="62"/>
                  </a:lnTo>
                  <a:lnTo>
                    <a:pt x="807" y="64"/>
                  </a:lnTo>
                  <a:lnTo>
                    <a:pt x="807" y="64"/>
                  </a:lnTo>
                  <a:lnTo>
                    <a:pt x="809" y="64"/>
                  </a:lnTo>
                  <a:lnTo>
                    <a:pt x="813" y="66"/>
                  </a:lnTo>
                  <a:lnTo>
                    <a:pt x="815" y="64"/>
                  </a:lnTo>
                  <a:lnTo>
                    <a:pt x="820" y="64"/>
                  </a:lnTo>
                  <a:lnTo>
                    <a:pt x="822" y="64"/>
                  </a:lnTo>
                  <a:lnTo>
                    <a:pt x="824" y="64"/>
                  </a:lnTo>
                  <a:lnTo>
                    <a:pt x="826" y="62"/>
                  </a:lnTo>
                  <a:lnTo>
                    <a:pt x="826" y="62"/>
                  </a:lnTo>
                  <a:lnTo>
                    <a:pt x="826" y="62"/>
                  </a:lnTo>
                  <a:lnTo>
                    <a:pt x="828" y="62"/>
                  </a:lnTo>
                  <a:lnTo>
                    <a:pt x="828" y="60"/>
                  </a:lnTo>
                  <a:lnTo>
                    <a:pt x="826" y="58"/>
                  </a:lnTo>
                  <a:lnTo>
                    <a:pt x="824" y="58"/>
                  </a:lnTo>
                  <a:lnTo>
                    <a:pt x="824" y="58"/>
                  </a:lnTo>
                  <a:lnTo>
                    <a:pt x="826" y="58"/>
                  </a:lnTo>
                  <a:lnTo>
                    <a:pt x="826" y="58"/>
                  </a:lnTo>
                  <a:lnTo>
                    <a:pt x="826" y="56"/>
                  </a:lnTo>
                  <a:lnTo>
                    <a:pt x="826" y="56"/>
                  </a:lnTo>
                  <a:lnTo>
                    <a:pt x="828" y="56"/>
                  </a:lnTo>
                  <a:lnTo>
                    <a:pt x="830" y="56"/>
                  </a:lnTo>
                  <a:lnTo>
                    <a:pt x="832" y="56"/>
                  </a:lnTo>
                  <a:lnTo>
                    <a:pt x="832" y="54"/>
                  </a:lnTo>
                  <a:lnTo>
                    <a:pt x="830" y="54"/>
                  </a:lnTo>
                  <a:lnTo>
                    <a:pt x="830" y="54"/>
                  </a:lnTo>
                  <a:lnTo>
                    <a:pt x="828" y="52"/>
                  </a:lnTo>
                  <a:lnTo>
                    <a:pt x="822" y="52"/>
                  </a:lnTo>
                  <a:lnTo>
                    <a:pt x="820" y="52"/>
                  </a:lnTo>
                  <a:lnTo>
                    <a:pt x="820" y="52"/>
                  </a:lnTo>
                  <a:lnTo>
                    <a:pt x="822" y="52"/>
                  </a:lnTo>
                  <a:lnTo>
                    <a:pt x="824" y="49"/>
                  </a:lnTo>
                  <a:lnTo>
                    <a:pt x="824" y="49"/>
                  </a:lnTo>
                  <a:lnTo>
                    <a:pt x="824" y="49"/>
                  </a:lnTo>
                  <a:lnTo>
                    <a:pt x="824" y="49"/>
                  </a:lnTo>
                  <a:lnTo>
                    <a:pt x="822" y="49"/>
                  </a:lnTo>
                  <a:lnTo>
                    <a:pt x="820" y="47"/>
                  </a:lnTo>
                  <a:lnTo>
                    <a:pt x="817" y="47"/>
                  </a:lnTo>
                  <a:lnTo>
                    <a:pt x="815" y="47"/>
                  </a:lnTo>
                  <a:lnTo>
                    <a:pt x="813" y="49"/>
                  </a:lnTo>
                  <a:lnTo>
                    <a:pt x="811" y="49"/>
                  </a:lnTo>
                  <a:lnTo>
                    <a:pt x="809" y="49"/>
                  </a:lnTo>
                  <a:lnTo>
                    <a:pt x="809" y="49"/>
                  </a:lnTo>
                  <a:lnTo>
                    <a:pt x="807" y="49"/>
                  </a:lnTo>
                  <a:lnTo>
                    <a:pt x="805" y="52"/>
                  </a:lnTo>
                  <a:lnTo>
                    <a:pt x="807" y="49"/>
                  </a:lnTo>
                  <a:lnTo>
                    <a:pt x="807" y="49"/>
                  </a:lnTo>
                  <a:lnTo>
                    <a:pt x="807" y="49"/>
                  </a:lnTo>
                  <a:lnTo>
                    <a:pt x="807" y="49"/>
                  </a:lnTo>
                  <a:lnTo>
                    <a:pt x="807" y="49"/>
                  </a:lnTo>
                  <a:lnTo>
                    <a:pt x="809" y="49"/>
                  </a:lnTo>
                  <a:lnTo>
                    <a:pt x="809" y="47"/>
                  </a:lnTo>
                  <a:lnTo>
                    <a:pt x="809" y="47"/>
                  </a:lnTo>
                  <a:lnTo>
                    <a:pt x="809" y="47"/>
                  </a:lnTo>
                  <a:lnTo>
                    <a:pt x="809" y="45"/>
                  </a:lnTo>
                  <a:lnTo>
                    <a:pt x="807" y="45"/>
                  </a:lnTo>
                  <a:lnTo>
                    <a:pt x="805" y="45"/>
                  </a:lnTo>
                  <a:lnTo>
                    <a:pt x="803" y="45"/>
                  </a:lnTo>
                  <a:lnTo>
                    <a:pt x="801" y="45"/>
                  </a:lnTo>
                  <a:lnTo>
                    <a:pt x="791" y="45"/>
                  </a:lnTo>
                  <a:lnTo>
                    <a:pt x="787" y="45"/>
                  </a:lnTo>
                  <a:lnTo>
                    <a:pt x="785" y="45"/>
                  </a:lnTo>
                  <a:lnTo>
                    <a:pt x="783" y="45"/>
                  </a:lnTo>
                  <a:lnTo>
                    <a:pt x="781" y="47"/>
                  </a:lnTo>
                  <a:lnTo>
                    <a:pt x="781" y="47"/>
                  </a:lnTo>
                  <a:lnTo>
                    <a:pt x="778" y="47"/>
                  </a:lnTo>
                  <a:lnTo>
                    <a:pt x="778" y="49"/>
                  </a:lnTo>
                  <a:lnTo>
                    <a:pt x="781" y="49"/>
                  </a:lnTo>
                  <a:lnTo>
                    <a:pt x="787" y="49"/>
                  </a:lnTo>
                  <a:lnTo>
                    <a:pt x="787" y="49"/>
                  </a:lnTo>
                  <a:lnTo>
                    <a:pt x="787" y="49"/>
                  </a:lnTo>
                  <a:lnTo>
                    <a:pt x="783" y="52"/>
                  </a:lnTo>
                  <a:lnTo>
                    <a:pt x="781" y="52"/>
                  </a:lnTo>
                  <a:lnTo>
                    <a:pt x="781" y="52"/>
                  </a:lnTo>
                  <a:lnTo>
                    <a:pt x="781" y="52"/>
                  </a:lnTo>
                  <a:lnTo>
                    <a:pt x="783" y="52"/>
                  </a:lnTo>
                  <a:lnTo>
                    <a:pt x="783" y="52"/>
                  </a:lnTo>
                  <a:lnTo>
                    <a:pt x="789" y="49"/>
                  </a:lnTo>
                  <a:lnTo>
                    <a:pt x="793" y="49"/>
                  </a:lnTo>
                  <a:lnTo>
                    <a:pt x="793" y="49"/>
                  </a:lnTo>
                  <a:lnTo>
                    <a:pt x="793" y="49"/>
                  </a:lnTo>
                  <a:lnTo>
                    <a:pt x="793" y="49"/>
                  </a:lnTo>
                  <a:lnTo>
                    <a:pt x="793" y="49"/>
                  </a:lnTo>
                  <a:lnTo>
                    <a:pt x="789" y="52"/>
                  </a:lnTo>
                  <a:lnTo>
                    <a:pt x="789" y="52"/>
                  </a:lnTo>
                  <a:lnTo>
                    <a:pt x="789" y="52"/>
                  </a:lnTo>
                  <a:lnTo>
                    <a:pt x="789" y="52"/>
                  </a:lnTo>
                  <a:lnTo>
                    <a:pt x="795" y="52"/>
                  </a:lnTo>
                  <a:lnTo>
                    <a:pt x="795" y="52"/>
                  </a:lnTo>
                  <a:lnTo>
                    <a:pt x="795" y="52"/>
                  </a:lnTo>
                  <a:lnTo>
                    <a:pt x="793" y="54"/>
                  </a:lnTo>
                  <a:lnTo>
                    <a:pt x="789" y="54"/>
                  </a:lnTo>
                  <a:lnTo>
                    <a:pt x="787" y="54"/>
                  </a:lnTo>
                  <a:lnTo>
                    <a:pt x="791" y="54"/>
                  </a:lnTo>
                  <a:lnTo>
                    <a:pt x="791" y="54"/>
                  </a:lnTo>
                  <a:lnTo>
                    <a:pt x="789" y="56"/>
                  </a:lnTo>
                  <a:lnTo>
                    <a:pt x="787" y="56"/>
                  </a:lnTo>
                  <a:lnTo>
                    <a:pt x="783" y="56"/>
                  </a:lnTo>
                  <a:lnTo>
                    <a:pt x="778" y="56"/>
                  </a:lnTo>
                  <a:lnTo>
                    <a:pt x="776" y="56"/>
                  </a:lnTo>
                  <a:lnTo>
                    <a:pt x="776" y="56"/>
                  </a:lnTo>
                  <a:lnTo>
                    <a:pt x="774" y="56"/>
                  </a:lnTo>
                  <a:lnTo>
                    <a:pt x="772" y="56"/>
                  </a:lnTo>
                  <a:lnTo>
                    <a:pt x="772" y="58"/>
                  </a:lnTo>
                  <a:lnTo>
                    <a:pt x="772" y="58"/>
                  </a:lnTo>
                  <a:lnTo>
                    <a:pt x="774" y="58"/>
                  </a:lnTo>
                  <a:close/>
                  <a:moveTo>
                    <a:pt x="791" y="60"/>
                  </a:moveTo>
                  <a:lnTo>
                    <a:pt x="791" y="60"/>
                  </a:lnTo>
                  <a:lnTo>
                    <a:pt x="791" y="58"/>
                  </a:lnTo>
                  <a:lnTo>
                    <a:pt x="791" y="60"/>
                  </a:lnTo>
                  <a:lnTo>
                    <a:pt x="789" y="60"/>
                  </a:lnTo>
                  <a:lnTo>
                    <a:pt x="785" y="60"/>
                  </a:lnTo>
                  <a:lnTo>
                    <a:pt x="785" y="60"/>
                  </a:lnTo>
                  <a:lnTo>
                    <a:pt x="785" y="60"/>
                  </a:lnTo>
                  <a:lnTo>
                    <a:pt x="785" y="60"/>
                  </a:lnTo>
                  <a:lnTo>
                    <a:pt x="787" y="60"/>
                  </a:lnTo>
                  <a:lnTo>
                    <a:pt x="787" y="60"/>
                  </a:lnTo>
                  <a:lnTo>
                    <a:pt x="791" y="60"/>
                  </a:lnTo>
                  <a:close/>
                  <a:moveTo>
                    <a:pt x="766" y="117"/>
                  </a:moveTo>
                  <a:lnTo>
                    <a:pt x="760" y="117"/>
                  </a:lnTo>
                  <a:lnTo>
                    <a:pt x="756" y="117"/>
                  </a:lnTo>
                  <a:lnTo>
                    <a:pt x="756" y="119"/>
                  </a:lnTo>
                  <a:lnTo>
                    <a:pt x="754" y="119"/>
                  </a:lnTo>
                  <a:lnTo>
                    <a:pt x="754" y="119"/>
                  </a:lnTo>
                  <a:lnTo>
                    <a:pt x="752" y="119"/>
                  </a:lnTo>
                  <a:lnTo>
                    <a:pt x="750" y="119"/>
                  </a:lnTo>
                  <a:lnTo>
                    <a:pt x="748" y="119"/>
                  </a:lnTo>
                  <a:lnTo>
                    <a:pt x="748" y="119"/>
                  </a:lnTo>
                  <a:lnTo>
                    <a:pt x="748" y="119"/>
                  </a:lnTo>
                  <a:lnTo>
                    <a:pt x="748" y="121"/>
                  </a:lnTo>
                  <a:lnTo>
                    <a:pt x="752" y="121"/>
                  </a:lnTo>
                  <a:lnTo>
                    <a:pt x="754" y="121"/>
                  </a:lnTo>
                  <a:lnTo>
                    <a:pt x="754" y="121"/>
                  </a:lnTo>
                  <a:lnTo>
                    <a:pt x="756" y="121"/>
                  </a:lnTo>
                  <a:lnTo>
                    <a:pt x="756" y="121"/>
                  </a:lnTo>
                  <a:lnTo>
                    <a:pt x="760" y="121"/>
                  </a:lnTo>
                  <a:lnTo>
                    <a:pt x="762" y="119"/>
                  </a:lnTo>
                  <a:lnTo>
                    <a:pt x="766" y="119"/>
                  </a:lnTo>
                  <a:lnTo>
                    <a:pt x="768" y="119"/>
                  </a:lnTo>
                  <a:lnTo>
                    <a:pt x="770" y="117"/>
                  </a:lnTo>
                  <a:lnTo>
                    <a:pt x="770" y="117"/>
                  </a:lnTo>
                  <a:lnTo>
                    <a:pt x="770" y="117"/>
                  </a:lnTo>
                  <a:lnTo>
                    <a:pt x="770" y="117"/>
                  </a:lnTo>
                  <a:lnTo>
                    <a:pt x="770" y="117"/>
                  </a:lnTo>
                  <a:lnTo>
                    <a:pt x="766" y="117"/>
                  </a:lnTo>
                  <a:close/>
                  <a:moveTo>
                    <a:pt x="748" y="84"/>
                  </a:moveTo>
                  <a:lnTo>
                    <a:pt x="750" y="84"/>
                  </a:lnTo>
                  <a:lnTo>
                    <a:pt x="752" y="84"/>
                  </a:lnTo>
                  <a:lnTo>
                    <a:pt x="754" y="84"/>
                  </a:lnTo>
                  <a:lnTo>
                    <a:pt x="754" y="84"/>
                  </a:lnTo>
                  <a:lnTo>
                    <a:pt x="754" y="84"/>
                  </a:lnTo>
                  <a:lnTo>
                    <a:pt x="754" y="82"/>
                  </a:lnTo>
                  <a:lnTo>
                    <a:pt x="750" y="82"/>
                  </a:lnTo>
                  <a:lnTo>
                    <a:pt x="750" y="82"/>
                  </a:lnTo>
                  <a:lnTo>
                    <a:pt x="750" y="82"/>
                  </a:lnTo>
                  <a:lnTo>
                    <a:pt x="750" y="82"/>
                  </a:lnTo>
                  <a:lnTo>
                    <a:pt x="748" y="82"/>
                  </a:lnTo>
                  <a:lnTo>
                    <a:pt x="746" y="82"/>
                  </a:lnTo>
                  <a:lnTo>
                    <a:pt x="748" y="80"/>
                  </a:lnTo>
                  <a:lnTo>
                    <a:pt x="748" y="80"/>
                  </a:lnTo>
                  <a:lnTo>
                    <a:pt x="748" y="80"/>
                  </a:lnTo>
                  <a:lnTo>
                    <a:pt x="748" y="80"/>
                  </a:lnTo>
                  <a:lnTo>
                    <a:pt x="746" y="80"/>
                  </a:lnTo>
                  <a:lnTo>
                    <a:pt x="742" y="80"/>
                  </a:lnTo>
                  <a:lnTo>
                    <a:pt x="742" y="82"/>
                  </a:lnTo>
                  <a:lnTo>
                    <a:pt x="739" y="82"/>
                  </a:lnTo>
                  <a:lnTo>
                    <a:pt x="739" y="82"/>
                  </a:lnTo>
                  <a:lnTo>
                    <a:pt x="739" y="82"/>
                  </a:lnTo>
                  <a:lnTo>
                    <a:pt x="737" y="84"/>
                  </a:lnTo>
                  <a:lnTo>
                    <a:pt x="737" y="84"/>
                  </a:lnTo>
                  <a:lnTo>
                    <a:pt x="739" y="84"/>
                  </a:lnTo>
                  <a:lnTo>
                    <a:pt x="748" y="84"/>
                  </a:lnTo>
                  <a:close/>
                  <a:moveTo>
                    <a:pt x="748" y="74"/>
                  </a:moveTo>
                  <a:lnTo>
                    <a:pt x="750" y="74"/>
                  </a:lnTo>
                  <a:lnTo>
                    <a:pt x="752" y="74"/>
                  </a:lnTo>
                  <a:lnTo>
                    <a:pt x="752" y="74"/>
                  </a:lnTo>
                  <a:lnTo>
                    <a:pt x="754" y="72"/>
                  </a:lnTo>
                  <a:lnTo>
                    <a:pt x="754" y="72"/>
                  </a:lnTo>
                  <a:lnTo>
                    <a:pt x="756" y="72"/>
                  </a:lnTo>
                  <a:lnTo>
                    <a:pt x="756" y="72"/>
                  </a:lnTo>
                  <a:lnTo>
                    <a:pt x="754" y="70"/>
                  </a:lnTo>
                  <a:lnTo>
                    <a:pt x="754" y="70"/>
                  </a:lnTo>
                  <a:lnTo>
                    <a:pt x="754" y="70"/>
                  </a:lnTo>
                  <a:lnTo>
                    <a:pt x="754" y="70"/>
                  </a:lnTo>
                  <a:lnTo>
                    <a:pt x="754" y="68"/>
                  </a:lnTo>
                  <a:lnTo>
                    <a:pt x="754" y="68"/>
                  </a:lnTo>
                  <a:lnTo>
                    <a:pt x="754" y="66"/>
                  </a:lnTo>
                  <a:lnTo>
                    <a:pt x="752" y="66"/>
                  </a:lnTo>
                  <a:lnTo>
                    <a:pt x="750" y="66"/>
                  </a:lnTo>
                  <a:lnTo>
                    <a:pt x="748" y="66"/>
                  </a:lnTo>
                  <a:lnTo>
                    <a:pt x="748" y="66"/>
                  </a:lnTo>
                  <a:lnTo>
                    <a:pt x="748" y="68"/>
                  </a:lnTo>
                  <a:lnTo>
                    <a:pt x="746" y="68"/>
                  </a:lnTo>
                  <a:lnTo>
                    <a:pt x="748" y="68"/>
                  </a:lnTo>
                  <a:lnTo>
                    <a:pt x="746" y="70"/>
                  </a:lnTo>
                  <a:lnTo>
                    <a:pt x="746" y="72"/>
                  </a:lnTo>
                  <a:lnTo>
                    <a:pt x="746" y="72"/>
                  </a:lnTo>
                  <a:lnTo>
                    <a:pt x="746" y="74"/>
                  </a:lnTo>
                  <a:lnTo>
                    <a:pt x="748" y="74"/>
                  </a:lnTo>
                  <a:close/>
                  <a:moveTo>
                    <a:pt x="799" y="294"/>
                  </a:moveTo>
                  <a:lnTo>
                    <a:pt x="801" y="294"/>
                  </a:lnTo>
                  <a:lnTo>
                    <a:pt x="801" y="292"/>
                  </a:lnTo>
                  <a:lnTo>
                    <a:pt x="801" y="292"/>
                  </a:lnTo>
                  <a:lnTo>
                    <a:pt x="803" y="290"/>
                  </a:lnTo>
                  <a:lnTo>
                    <a:pt x="801" y="290"/>
                  </a:lnTo>
                  <a:lnTo>
                    <a:pt x="801" y="290"/>
                  </a:lnTo>
                  <a:lnTo>
                    <a:pt x="801" y="290"/>
                  </a:lnTo>
                  <a:lnTo>
                    <a:pt x="799" y="290"/>
                  </a:lnTo>
                  <a:lnTo>
                    <a:pt x="797" y="290"/>
                  </a:lnTo>
                  <a:lnTo>
                    <a:pt x="793" y="290"/>
                  </a:lnTo>
                  <a:lnTo>
                    <a:pt x="789" y="292"/>
                  </a:lnTo>
                  <a:lnTo>
                    <a:pt x="789" y="292"/>
                  </a:lnTo>
                  <a:lnTo>
                    <a:pt x="787" y="292"/>
                  </a:lnTo>
                  <a:lnTo>
                    <a:pt x="785" y="290"/>
                  </a:lnTo>
                  <a:lnTo>
                    <a:pt x="785" y="292"/>
                  </a:lnTo>
                  <a:lnTo>
                    <a:pt x="776" y="296"/>
                  </a:lnTo>
                  <a:lnTo>
                    <a:pt x="772" y="298"/>
                  </a:lnTo>
                  <a:lnTo>
                    <a:pt x="772" y="298"/>
                  </a:lnTo>
                  <a:lnTo>
                    <a:pt x="772" y="298"/>
                  </a:lnTo>
                  <a:lnTo>
                    <a:pt x="772" y="300"/>
                  </a:lnTo>
                  <a:lnTo>
                    <a:pt x="772" y="300"/>
                  </a:lnTo>
                  <a:lnTo>
                    <a:pt x="772" y="302"/>
                  </a:lnTo>
                  <a:lnTo>
                    <a:pt x="770" y="302"/>
                  </a:lnTo>
                  <a:lnTo>
                    <a:pt x="770" y="304"/>
                  </a:lnTo>
                  <a:lnTo>
                    <a:pt x="776" y="302"/>
                  </a:lnTo>
                  <a:lnTo>
                    <a:pt x="778" y="302"/>
                  </a:lnTo>
                  <a:lnTo>
                    <a:pt x="778" y="302"/>
                  </a:lnTo>
                  <a:lnTo>
                    <a:pt x="781" y="302"/>
                  </a:lnTo>
                  <a:lnTo>
                    <a:pt x="781" y="302"/>
                  </a:lnTo>
                  <a:lnTo>
                    <a:pt x="789" y="300"/>
                  </a:lnTo>
                  <a:lnTo>
                    <a:pt x="791" y="298"/>
                  </a:lnTo>
                  <a:lnTo>
                    <a:pt x="793" y="298"/>
                  </a:lnTo>
                  <a:lnTo>
                    <a:pt x="797" y="296"/>
                  </a:lnTo>
                  <a:lnTo>
                    <a:pt x="799" y="294"/>
                  </a:lnTo>
                  <a:close/>
                  <a:moveTo>
                    <a:pt x="996" y="331"/>
                  </a:moveTo>
                  <a:lnTo>
                    <a:pt x="994" y="331"/>
                  </a:lnTo>
                  <a:lnTo>
                    <a:pt x="994" y="331"/>
                  </a:lnTo>
                  <a:lnTo>
                    <a:pt x="994" y="333"/>
                  </a:lnTo>
                  <a:lnTo>
                    <a:pt x="994" y="333"/>
                  </a:lnTo>
                  <a:lnTo>
                    <a:pt x="996" y="333"/>
                  </a:lnTo>
                  <a:lnTo>
                    <a:pt x="998" y="335"/>
                  </a:lnTo>
                  <a:lnTo>
                    <a:pt x="998" y="333"/>
                  </a:lnTo>
                  <a:lnTo>
                    <a:pt x="998" y="333"/>
                  </a:lnTo>
                  <a:lnTo>
                    <a:pt x="998" y="331"/>
                  </a:lnTo>
                  <a:lnTo>
                    <a:pt x="996" y="331"/>
                  </a:lnTo>
                  <a:lnTo>
                    <a:pt x="996" y="331"/>
                  </a:lnTo>
                  <a:close/>
                  <a:moveTo>
                    <a:pt x="1006" y="380"/>
                  </a:moveTo>
                  <a:lnTo>
                    <a:pt x="1006" y="380"/>
                  </a:lnTo>
                  <a:lnTo>
                    <a:pt x="1006" y="380"/>
                  </a:lnTo>
                  <a:lnTo>
                    <a:pt x="1006" y="380"/>
                  </a:lnTo>
                  <a:lnTo>
                    <a:pt x="1004" y="380"/>
                  </a:lnTo>
                  <a:lnTo>
                    <a:pt x="1004" y="380"/>
                  </a:lnTo>
                  <a:lnTo>
                    <a:pt x="1004" y="383"/>
                  </a:lnTo>
                  <a:lnTo>
                    <a:pt x="1006" y="383"/>
                  </a:lnTo>
                  <a:lnTo>
                    <a:pt x="1008" y="383"/>
                  </a:lnTo>
                  <a:lnTo>
                    <a:pt x="1008" y="383"/>
                  </a:lnTo>
                  <a:lnTo>
                    <a:pt x="1008" y="380"/>
                  </a:lnTo>
                  <a:lnTo>
                    <a:pt x="1006" y="380"/>
                  </a:lnTo>
                  <a:close/>
                  <a:moveTo>
                    <a:pt x="998" y="313"/>
                  </a:moveTo>
                  <a:lnTo>
                    <a:pt x="998" y="313"/>
                  </a:lnTo>
                  <a:lnTo>
                    <a:pt x="998" y="313"/>
                  </a:lnTo>
                  <a:lnTo>
                    <a:pt x="998" y="313"/>
                  </a:lnTo>
                  <a:lnTo>
                    <a:pt x="1000" y="315"/>
                  </a:lnTo>
                  <a:lnTo>
                    <a:pt x="1000" y="315"/>
                  </a:lnTo>
                  <a:lnTo>
                    <a:pt x="1002" y="317"/>
                  </a:lnTo>
                  <a:lnTo>
                    <a:pt x="1002" y="317"/>
                  </a:lnTo>
                  <a:lnTo>
                    <a:pt x="1002" y="317"/>
                  </a:lnTo>
                  <a:lnTo>
                    <a:pt x="1002" y="317"/>
                  </a:lnTo>
                  <a:lnTo>
                    <a:pt x="1004" y="317"/>
                  </a:lnTo>
                  <a:lnTo>
                    <a:pt x="1004" y="315"/>
                  </a:lnTo>
                  <a:lnTo>
                    <a:pt x="1006" y="315"/>
                  </a:lnTo>
                  <a:lnTo>
                    <a:pt x="1006" y="315"/>
                  </a:lnTo>
                  <a:lnTo>
                    <a:pt x="1006" y="313"/>
                  </a:lnTo>
                  <a:lnTo>
                    <a:pt x="1006" y="313"/>
                  </a:lnTo>
                  <a:lnTo>
                    <a:pt x="1006" y="313"/>
                  </a:lnTo>
                  <a:lnTo>
                    <a:pt x="1004" y="311"/>
                  </a:lnTo>
                  <a:lnTo>
                    <a:pt x="1002" y="311"/>
                  </a:lnTo>
                  <a:lnTo>
                    <a:pt x="998" y="313"/>
                  </a:lnTo>
                  <a:close/>
                  <a:moveTo>
                    <a:pt x="817" y="243"/>
                  </a:moveTo>
                  <a:lnTo>
                    <a:pt x="817" y="243"/>
                  </a:lnTo>
                  <a:lnTo>
                    <a:pt x="815" y="241"/>
                  </a:lnTo>
                  <a:lnTo>
                    <a:pt x="815" y="241"/>
                  </a:lnTo>
                  <a:lnTo>
                    <a:pt x="813" y="241"/>
                  </a:lnTo>
                  <a:lnTo>
                    <a:pt x="811" y="239"/>
                  </a:lnTo>
                  <a:lnTo>
                    <a:pt x="809" y="239"/>
                  </a:lnTo>
                  <a:lnTo>
                    <a:pt x="809" y="239"/>
                  </a:lnTo>
                  <a:lnTo>
                    <a:pt x="809" y="241"/>
                  </a:lnTo>
                  <a:lnTo>
                    <a:pt x="809" y="241"/>
                  </a:lnTo>
                  <a:lnTo>
                    <a:pt x="811" y="241"/>
                  </a:lnTo>
                  <a:lnTo>
                    <a:pt x="811" y="241"/>
                  </a:lnTo>
                  <a:lnTo>
                    <a:pt x="811" y="243"/>
                  </a:lnTo>
                  <a:lnTo>
                    <a:pt x="811" y="243"/>
                  </a:lnTo>
                  <a:lnTo>
                    <a:pt x="811" y="243"/>
                  </a:lnTo>
                  <a:lnTo>
                    <a:pt x="809" y="245"/>
                  </a:lnTo>
                  <a:lnTo>
                    <a:pt x="811" y="245"/>
                  </a:lnTo>
                  <a:lnTo>
                    <a:pt x="811" y="245"/>
                  </a:lnTo>
                  <a:lnTo>
                    <a:pt x="813" y="245"/>
                  </a:lnTo>
                  <a:lnTo>
                    <a:pt x="813" y="245"/>
                  </a:lnTo>
                  <a:lnTo>
                    <a:pt x="815" y="245"/>
                  </a:lnTo>
                  <a:lnTo>
                    <a:pt x="813" y="245"/>
                  </a:lnTo>
                  <a:lnTo>
                    <a:pt x="813" y="247"/>
                  </a:lnTo>
                  <a:lnTo>
                    <a:pt x="813" y="247"/>
                  </a:lnTo>
                  <a:lnTo>
                    <a:pt x="813" y="247"/>
                  </a:lnTo>
                  <a:lnTo>
                    <a:pt x="815" y="247"/>
                  </a:lnTo>
                  <a:lnTo>
                    <a:pt x="815" y="247"/>
                  </a:lnTo>
                  <a:lnTo>
                    <a:pt x="815" y="247"/>
                  </a:lnTo>
                  <a:lnTo>
                    <a:pt x="815" y="247"/>
                  </a:lnTo>
                  <a:lnTo>
                    <a:pt x="815" y="247"/>
                  </a:lnTo>
                  <a:lnTo>
                    <a:pt x="815" y="247"/>
                  </a:lnTo>
                  <a:lnTo>
                    <a:pt x="815" y="247"/>
                  </a:lnTo>
                  <a:lnTo>
                    <a:pt x="817" y="247"/>
                  </a:lnTo>
                  <a:lnTo>
                    <a:pt x="817" y="247"/>
                  </a:lnTo>
                  <a:lnTo>
                    <a:pt x="820" y="247"/>
                  </a:lnTo>
                  <a:lnTo>
                    <a:pt x="820" y="247"/>
                  </a:lnTo>
                  <a:lnTo>
                    <a:pt x="820" y="245"/>
                  </a:lnTo>
                  <a:lnTo>
                    <a:pt x="820" y="245"/>
                  </a:lnTo>
                  <a:lnTo>
                    <a:pt x="817" y="245"/>
                  </a:lnTo>
                  <a:lnTo>
                    <a:pt x="815" y="245"/>
                  </a:lnTo>
                  <a:lnTo>
                    <a:pt x="815" y="245"/>
                  </a:lnTo>
                  <a:lnTo>
                    <a:pt x="815" y="243"/>
                  </a:lnTo>
                  <a:lnTo>
                    <a:pt x="815" y="243"/>
                  </a:lnTo>
                  <a:lnTo>
                    <a:pt x="817" y="243"/>
                  </a:lnTo>
                  <a:close/>
                  <a:moveTo>
                    <a:pt x="1052" y="520"/>
                  </a:moveTo>
                  <a:lnTo>
                    <a:pt x="1056" y="518"/>
                  </a:lnTo>
                  <a:lnTo>
                    <a:pt x="1056" y="518"/>
                  </a:lnTo>
                  <a:lnTo>
                    <a:pt x="1054" y="518"/>
                  </a:lnTo>
                  <a:lnTo>
                    <a:pt x="1054" y="518"/>
                  </a:lnTo>
                  <a:lnTo>
                    <a:pt x="1052" y="518"/>
                  </a:lnTo>
                  <a:lnTo>
                    <a:pt x="1052" y="518"/>
                  </a:lnTo>
                  <a:lnTo>
                    <a:pt x="1052" y="518"/>
                  </a:lnTo>
                  <a:lnTo>
                    <a:pt x="1052" y="518"/>
                  </a:lnTo>
                  <a:lnTo>
                    <a:pt x="1049" y="520"/>
                  </a:lnTo>
                  <a:lnTo>
                    <a:pt x="1052" y="520"/>
                  </a:lnTo>
                  <a:lnTo>
                    <a:pt x="1052" y="520"/>
                  </a:lnTo>
                  <a:close/>
                  <a:moveTo>
                    <a:pt x="1054" y="477"/>
                  </a:moveTo>
                  <a:lnTo>
                    <a:pt x="1052" y="477"/>
                  </a:lnTo>
                  <a:lnTo>
                    <a:pt x="1049" y="479"/>
                  </a:lnTo>
                  <a:lnTo>
                    <a:pt x="1049" y="479"/>
                  </a:lnTo>
                  <a:lnTo>
                    <a:pt x="1049" y="479"/>
                  </a:lnTo>
                  <a:lnTo>
                    <a:pt x="1052" y="479"/>
                  </a:lnTo>
                  <a:lnTo>
                    <a:pt x="1052" y="479"/>
                  </a:lnTo>
                  <a:lnTo>
                    <a:pt x="1054" y="477"/>
                  </a:lnTo>
                  <a:close/>
                  <a:moveTo>
                    <a:pt x="1013" y="298"/>
                  </a:moveTo>
                  <a:lnTo>
                    <a:pt x="1010" y="298"/>
                  </a:lnTo>
                  <a:lnTo>
                    <a:pt x="1013" y="298"/>
                  </a:lnTo>
                  <a:lnTo>
                    <a:pt x="1013" y="300"/>
                  </a:lnTo>
                  <a:lnTo>
                    <a:pt x="1015" y="300"/>
                  </a:lnTo>
                  <a:lnTo>
                    <a:pt x="1017" y="300"/>
                  </a:lnTo>
                  <a:lnTo>
                    <a:pt x="1017" y="300"/>
                  </a:lnTo>
                  <a:lnTo>
                    <a:pt x="1019" y="298"/>
                  </a:lnTo>
                  <a:lnTo>
                    <a:pt x="1019" y="298"/>
                  </a:lnTo>
                  <a:lnTo>
                    <a:pt x="1019" y="296"/>
                  </a:lnTo>
                  <a:lnTo>
                    <a:pt x="1017" y="296"/>
                  </a:lnTo>
                  <a:lnTo>
                    <a:pt x="1015" y="296"/>
                  </a:lnTo>
                  <a:lnTo>
                    <a:pt x="1015" y="296"/>
                  </a:lnTo>
                  <a:lnTo>
                    <a:pt x="1013" y="298"/>
                  </a:lnTo>
                  <a:lnTo>
                    <a:pt x="1013" y="298"/>
                  </a:lnTo>
                  <a:lnTo>
                    <a:pt x="1013" y="298"/>
                  </a:lnTo>
                  <a:lnTo>
                    <a:pt x="1013" y="298"/>
                  </a:lnTo>
                  <a:close/>
                  <a:moveTo>
                    <a:pt x="1004" y="405"/>
                  </a:moveTo>
                  <a:lnTo>
                    <a:pt x="1004" y="405"/>
                  </a:lnTo>
                  <a:lnTo>
                    <a:pt x="1004" y="405"/>
                  </a:lnTo>
                  <a:lnTo>
                    <a:pt x="1002" y="407"/>
                  </a:lnTo>
                  <a:lnTo>
                    <a:pt x="1002" y="407"/>
                  </a:lnTo>
                  <a:lnTo>
                    <a:pt x="1004" y="407"/>
                  </a:lnTo>
                  <a:lnTo>
                    <a:pt x="1006" y="407"/>
                  </a:lnTo>
                  <a:lnTo>
                    <a:pt x="1006" y="407"/>
                  </a:lnTo>
                  <a:lnTo>
                    <a:pt x="1006" y="407"/>
                  </a:lnTo>
                  <a:lnTo>
                    <a:pt x="1006" y="405"/>
                  </a:lnTo>
                  <a:lnTo>
                    <a:pt x="1006" y="405"/>
                  </a:lnTo>
                  <a:lnTo>
                    <a:pt x="1004" y="405"/>
                  </a:lnTo>
                  <a:close/>
                  <a:moveTo>
                    <a:pt x="949" y="335"/>
                  </a:moveTo>
                  <a:lnTo>
                    <a:pt x="951" y="335"/>
                  </a:lnTo>
                  <a:lnTo>
                    <a:pt x="953" y="333"/>
                  </a:lnTo>
                  <a:lnTo>
                    <a:pt x="955" y="333"/>
                  </a:lnTo>
                  <a:lnTo>
                    <a:pt x="955" y="331"/>
                  </a:lnTo>
                  <a:lnTo>
                    <a:pt x="955" y="331"/>
                  </a:lnTo>
                  <a:lnTo>
                    <a:pt x="955" y="331"/>
                  </a:lnTo>
                  <a:lnTo>
                    <a:pt x="955" y="329"/>
                  </a:lnTo>
                  <a:lnTo>
                    <a:pt x="953" y="329"/>
                  </a:lnTo>
                  <a:lnTo>
                    <a:pt x="953" y="331"/>
                  </a:lnTo>
                  <a:lnTo>
                    <a:pt x="951" y="331"/>
                  </a:lnTo>
                  <a:lnTo>
                    <a:pt x="949" y="333"/>
                  </a:lnTo>
                  <a:lnTo>
                    <a:pt x="947" y="335"/>
                  </a:lnTo>
                  <a:lnTo>
                    <a:pt x="947" y="335"/>
                  </a:lnTo>
                  <a:lnTo>
                    <a:pt x="947" y="335"/>
                  </a:lnTo>
                  <a:lnTo>
                    <a:pt x="949" y="335"/>
                  </a:lnTo>
                  <a:close/>
                  <a:moveTo>
                    <a:pt x="715" y="477"/>
                  </a:moveTo>
                  <a:lnTo>
                    <a:pt x="715" y="477"/>
                  </a:lnTo>
                  <a:lnTo>
                    <a:pt x="717" y="479"/>
                  </a:lnTo>
                  <a:lnTo>
                    <a:pt x="717" y="479"/>
                  </a:lnTo>
                  <a:lnTo>
                    <a:pt x="719" y="479"/>
                  </a:lnTo>
                  <a:lnTo>
                    <a:pt x="719" y="477"/>
                  </a:lnTo>
                  <a:lnTo>
                    <a:pt x="719" y="477"/>
                  </a:lnTo>
                  <a:lnTo>
                    <a:pt x="719" y="477"/>
                  </a:lnTo>
                  <a:lnTo>
                    <a:pt x="721" y="477"/>
                  </a:lnTo>
                  <a:lnTo>
                    <a:pt x="721" y="475"/>
                  </a:lnTo>
                  <a:lnTo>
                    <a:pt x="721" y="475"/>
                  </a:lnTo>
                  <a:lnTo>
                    <a:pt x="715" y="477"/>
                  </a:lnTo>
                  <a:close/>
                  <a:moveTo>
                    <a:pt x="723" y="454"/>
                  </a:moveTo>
                  <a:lnTo>
                    <a:pt x="723" y="454"/>
                  </a:lnTo>
                  <a:lnTo>
                    <a:pt x="723" y="454"/>
                  </a:lnTo>
                  <a:lnTo>
                    <a:pt x="723" y="454"/>
                  </a:lnTo>
                  <a:lnTo>
                    <a:pt x="723" y="454"/>
                  </a:lnTo>
                  <a:lnTo>
                    <a:pt x="723" y="454"/>
                  </a:lnTo>
                  <a:lnTo>
                    <a:pt x="723" y="454"/>
                  </a:lnTo>
                  <a:lnTo>
                    <a:pt x="723" y="452"/>
                  </a:lnTo>
                  <a:lnTo>
                    <a:pt x="723" y="454"/>
                  </a:lnTo>
                  <a:close/>
                  <a:moveTo>
                    <a:pt x="647" y="309"/>
                  </a:moveTo>
                  <a:lnTo>
                    <a:pt x="647" y="309"/>
                  </a:lnTo>
                  <a:lnTo>
                    <a:pt x="649" y="309"/>
                  </a:lnTo>
                  <a:lnTo>
                    <a:pt x="649" y="309"/>
                  </a:lnTo>
                  <a:lnTo>
                    <a:pt x="649" y="309"/>
                  </a:lnTo>
                  <a:lnTo>
                    <a:pt x="649" y="309"/>
                  </a:lnTo>
                  <a:lnTo>
                    <a:pt x="649" y="306"/>
                  </a:lnTo>
                  <a:lnTo>
                    <a:pt x="647" y="309"/>
                  </a:lnTo>
                  <a:close/>
                  <a:moveTo>
                    <a:pt x="828" y="239"/>
                  </a:moveTo>
                  <a:lnTo>
                    <a:pt x="828" y="239"/>
                  </a:lnTo>
                  <a:lnTo>
                    <a:pt x="830" y="237"/>
                  </a:lnTo>
                  <a:lnTo>
                    <a:pt x="830" y="237"/>
                  </a:lnTo>
                  <a:lnTo>
                    <a:pt x="830" y="237"/>
                  </a:lnTo>
                  <a:lnTo>
                    <a:pt x="828" y="237"/>
                  </a:lnTo>
                  <a:lnTo>
                    <a:pt x="828" y="237"/>
                  </a:lnTo>
                  <a:lnTo>
                    <a:pt x="828" y="237"/>
                  </a:lnTo>
                  <a:lnTo>
                    <a:pt x="828" y="237"/>
                  </a:lnTo>
                  <a:lnTo>
                    <a:pt x="828" y="237"/>
                  </a:lnTo>
                  <a:lnTo>
                    <a:pt x="828" y="237"/>
                  </a:lnTo>
                  <a:lnTo>
                    <a:pt x="828" y="239"/>
                  </a:lnTo>
                  <a:close/>
                  <a:moveTo>
                    <a:pt x="924" y="354"/>
                  </a:moveTo>
                  <a:lnTo>
                    <a:pt x="924" y="354"/>
                  </a:lnTo>
                  <a:lnTo>
                    <a:pt x="922" y="354"/>
                  </a:lnTo>
                  <a:lnTo>
                    <a:pt x="922" y="356"/>
                  </a:lnTo>
                  <a:lnTo>
                    <a:pt x="922" y="356"/>
                  </a:lnTo>
                  <a:lnTo>
                    <a:pt x="922" y="358"/>
                  </a:lnTo>
                  <a:lnTo>
                    <a:pt x="922" y="358"/>
                  </a:lnTo>
                  <a:lnTo>
                    <a:pt x="922" y="356"/>
                  </a:lnTo>
                  <a:lnTo>
                    <a:pt x="922" y="358"/>
                  </a:lnTo>
                  <a:lnTo>
                    <a:pt x="924" y="356"/>
                  </a:lnTo>
                  <a:lnTo>
                    <a:pt x="924" y="356"/>
                  </a:lnTo>
                  <a:lnTo>
                    <a:pt x="924" y="356"/>
                  </a:lnTo>
                  <a:lnTo>
                    <a:pt x="924" y="356"/>
                  </a:lnTo>
                  <a:lnTo>
                    <a:pt x="924" y="354"/>
                  </a:lnTo>
                  <a:close/>
                  <a:moveTo>
                    <a:pt x="707" y="457"/>
                  </a:moveTo>
                  <a:lnTo>
                    <a:pt x="705" y="457"/>
                  </a:lnTo>
                  <a:lnTo>
                    <a:pt x="696" y="457"/>
                  </a:lnTo>
                  <a:lnTo>
                    <a:pt x="696" y="457"/>
                  </a:lnTo>
                  <a:lnTo>
                    <a:pt x="694" y="457"/>
                  </a:lnTo>
                  <a:lnTo>
                    <a:pt x="692" y="459"/>
                  </a:lnTo>
                  <a:lnTo>
                    <a:pt x="692" y="459"/>
                  </a:lnTo>
                  <a:lnTo>
                    <a:pt x="694" y="461"/>
                  </a:lnTo>
                  <a:lnTo>
                    <a:pt x="700" y="463"/>
                  </a:lnTo>
                  <a:lnTo>
                    <a:pt x="703" y="463"/>
                  </a:lnTo>
                  <a:lnTo>
                    <a:pt x="705" y="465"/>
                  </a:lnTo>
                  <a:lnTo>
                    <a:pt x="707" y="465"/>
                  </a:lnTo>
                  <a:lnTo>
                    <a:pt x="707" y="465"/>
                  </a:lnTo>
                  <a:lnTo>
                    <a:pt x="709" y="463"/>
                  </a:lnTo>
                  <a:lnTo>
                    <a:pt x="709" y="463"/>
                  </a:lnTo>
                  <a:lnTo>
                    <a:pt x="709" y="461"/>
                  </a:lnTo>
                  <a:lnTo>
                    <a:pt x="709" y="459"/>
                  </a:lnTo>
                  <a:lnTo>
                    <a:pt x="707" y="457"/>
                  </a:lnTo>
                  <a:close/>
                  <a:moveTo>
                    <a:pt x="939" y="296"/>
                  </a:moveTo>
                  <a:lnTo>
                    <a:pt x="941" y="296"/>
                  </a:lnTo>
                  <a:lnTo>
                    <a:pt x="943" y="296"/>
                  </a:lnTo>
                  <a:lnTo>
                    <a:pt x="943" y="296"/>
                  </a:lnTo>
                  <a:lnTo>
                    <a:pt x="945" y="296"/>
                  </a:lnTo>
                  <a:lnTo>
                    <a:pt x="945" y="296"/>
                  </a:lnTo>
                  <a:lnTo>
                    <a:pt x="945" y="296"/>
                  </a:lnTo>
                  <a:lnTo>
                    <a:pt x="945" y="296"/>
                  </a:lnTo>
                  <a:lnTo>
                    <a:pt x="945" y="296"/>
                  </a:lnTo>
                  <a:lnTo>
                    <a:pt x="945" y="294"/>
                  </a:lnTo>
                  <a:lnTo>
                    <a:pt x="943" y="292"/>
                  </a:lnTo>
                  <a:lnTo>
                    <a:pt x="941" y="292"/>
                  </a:lnTo>
                  <a:lnTo>
                    <a:pt x="939" y="292"/>
                  </a:lnTo>
                  <a:lnTo>
                    <a:pt x="939" y="292"/>
                  </a:lnTo>
                  <a:lnTo>
                    <a:pt x="937" y="292"/>
                  </a:lnTo>
                  <a:lnTo>
                    <a:pt x="937" y="292"/>
                  </a:lnTo>
                  <a:lnTo>
                    <a:pt x="939" y="294"/>
                  </a:lnTo>
                  <a:lnTo>
                    <a:pt x="939" y="294"/>
                  </a:lnTo>
                  <a:lnTo>
                    <a:pt x="939" y="296"/>
                  </a:lnTo>
                  <a:lnTo>
                    <a:pt x="939" y="296"/>
                  </a:lnTo>
                  <a:close/>
                  <a:moveTo>
                    <a:pt x="896" y="296"/>
                  </a:moveTo>
                  <a:lnTo>
                    <a:pt x="898" y="296"/>
                  </a:lnTo>
                  <a:lnTo>
                    <a:pt x="900" y="296"/>
                  </a:lnTo>
                  <a:lnTo>
                    <a:pt x="900" y="296"/>
                  </a:lnTo>
                  <a:lnTo>
                    <a:pt x="900" y="296"/>
                  </a:lnTo>
                  <a:lnTo>
                    <a:pt x="898" y="294"/>
                  </a:lnTo>
                  <a:lnTo>
                    <a:pt x="896" y="294"/>
                  </a:lnTo>
                  <a:lnTo>
                    <a:pt x="893" y="294"/>
                  </a:lnTo>
                  <a:lnTo>
                    <a:pt x="893" y="294"/>
                  </a:lnTo>
                  <a:lnTo>
                    <a:pt x="891" y="294"/>
                  </a:lnTo>
                  <a:lnTo>
                    <a:pt x="891" y="294"/>
                  </a:lnTo>
                  <a:lnTo>
                    <a:pt x="893" y="294"/>
                  </a:lnTo>
                  <a:lnTo>
                    <a:pt x="896" y="296"/>
                  </a:lnTo>
                  <a:close/>
                  <a:moveTo>
                    <a:pt x="1006" y="309"/>
                  </a:moveTo>
                  <a:lnTo>
                    <a:pt x="1004" y="309"/>
                  </a:lnTo>
                  <a:lnTo>
                    <a:pt x="1004" y="309"/>
                  </a:lnTo>
                  <a:lnTo>
                    <a:pt x="1004" y="306"/>
                  </a:lnTo>
                  <a:lnTo>
                    <a:pt x="1004" y="306"/>
                  </a:lnTo>
                  <a:lnTo>
                    <a:pt x="1004" y="306"/>
                  </a:lnTo>
                  <a:lnTo>
                    <a:pt x="1002" y="306"/>
                  </a:lnTo>
                  <a:lnTo>
                    <a:pt x="1002" y="309"/>
                  </a:lnTo>
                  <a:lnTo>
                    <a:pt x="1002" y="309"/>
                  </a:lnTo>
                  <a:lnTo>
                    <a:pt x="1002" y="309"/>
                  </a:lnTo>
                  <a:lnTo>
                    <a:pt x="1004" y="311"/>
                  </a:lnTo>
                  <a:lnTo>
                    <a:pt x="1004" y="311"/>
                  </a:lnTo>
                  <a:lnTo>
                    <a:pt x="1006" y="311"/>
                  </a:lnTo>
                  <a:lnTo>
                    <a:pt x="1006" y="311"/>
                  </a:lnTo>
                  <a:lnTo>
                    <a:pt x="1006" y="309"/>
                  </a:lnTo>
                  <a:lnTo>
                    <a:pt x="1006" y="309"/>
                  </a:lnTo>
                  <a:lnTo>
                    <a:pt x="1006" y="309"/>
                  </a:lnTo>
                  <a:lnTo>
                    <a:pt x="1006" y="309"/>
                  </a:lnTo>
                  <a:lnTo>
                    <a:pt x="1006" y="309"/>
                  </a:lnTo>
                  <a:close/>
                  <a:moveTo>
                    <a:pt x="1062" y="537"/>
                  </a:moveTo>
                  <a:lnTo>
                    <a:pt x="1062" y="537"/>
                  </a:lnTo>
                  <a:lnTo>
                    <a:pt x="1060" y="539"/>
                  </a:lnTo>
                  <a:lnTo>
                    <a:pt x="1058" y="539"/>
                  </a:lnTo>
                  <a:lnTo>
                    <a:pt x="1058" y="539"/>
                  </a:lnTo>
                  <a:lnTo>
                    <a:pt x="1056" y="539"/>
                  </a:lnTo>
                  <a:lnTo>
                    <a:pt x="1054" y="541"/>
                  </a:lnTo>
                  <a:lnTo>
                    <a:pt x="1054" y="539"/>
                  </a:lnTo>
                  <a:lnTo>
                    <a:pt x="1052" y="539"/>
                  </a:lnTo>
                  <a:lnTo>
                    <a:pt x="1049" y="541"/>
                  </a:lnTo>
                  <a:lnTo>
                    <a:pt x="1049" y="541"/>
                  </a:lnTo>
                  <a:lnTo>
                    <a:pt x="1047" y="541"/>
                  </a:lnTo>
                  <a:lnTo>
                    <a:pt x="1045" y="541"/>
                  </a:lnTo>
                  <a:lnTo>
                    <a:pt x="1045" y="541"/>
                  </a:lnTo>
                  <a:lnTo>
                    <a:pt x="1045" y="541"/>
                  </a:lnTo>
                  <a:lnTo>
                    <a:pt x="1049" y="541"/>
                  </a:lnTo>
                  <a:lnTo>
                    <a:pt x="1052" y="539"/>
                  </a:lnTo>
                  <a:lnTo>
                    <a:pt x="1052" y="539"/>
                  </a:lnTo>
                  <a:lnTo>
                    <a:pt x="1054" y="537"/>
                  </a:lnTo>
                  <a:lnTo>
                    <a:pt x="1054" y="537"/>
                  </a:lnTo>
                  <a:lnTo>
                    <a:pt x="1052" y="537"/>
                  </a:lnTo>
                  <a:lnTo>
                    <a:pt x="1049" y="537"/>
                  </a:lnTo>
                  <a:lnTo>
                    <a:pt x="1049" y="537"/>
                  </a:lnTo>
                  <a:lnTo>
                    <a:pt x="1049" y="535"/>
                  </a:lnTo>
                  <a:lnTo>
                    <a:pt x="1049" y="535"/>
                  </a:lnTo>
                  <a:lnTo>
                    <a:pt x="1052" y="535"/>
                  </a:lnTo>
                  <a:lnTo>
                    <a:pt x="1052" y="535"/>
                  </a:lnTo>
                  <a:lnTo>
                    <a:pt x="1052" y="535"/>
                  </a:lnTo>
                  <a:lnTo>
                    <a:pt x="1049" y="535"/>
                  </a:lnTo>
                  <a:lnTo>
                    <a:pt x="1047" y="535"/>
                  </a:lnTo>
                  <a:lnTo>
                    <a:pt x="1047" y="535"/>
                  </a:lnTo>
                  <a:lnTo>
                    <a:pt x="1052" y="533"/>
                  </a:lnTo>
                  <a:lnTo>
                    <a:pt x="1052" y="533"/>
                  </a:lnTo>
                  <a:lnTo>
                    <a:pt x="1054" y="531"/>
                  </a:lnTo>
                  <a:lnTo>
                    <a:pt x="1054" y="531"/>
                  </a:lnTo>
                  <a:lnTo>
                    <a:pt x="1054" y="531"/>
                  </a:lnTo>
                  <a:lnTo>
                    <a:pt x="1056" y="529"/>
                  </a:lnTo>
                  <a:lnTo>
                    <a:pt x="1058" y="529"/>
                  </a:lnTo>
                  <a:lnTo>
                    <a:pt x="1058" y="526"/>
                  </a:lnTo>
                  <a:lnTo>
                    <a:pt x="1058" y="526"/>
                  </a:lnTo>
                  <a:lnTo>
                    <a:pt x="1058" y="524"/>
                  </a:lnTo>
                  <a:lnTo>
                    <a:pt x="1056" y="524"/>
                  </a:lnTo>
                  <a:lnTo>
                    <a:pt x="1056" y="522"/>
                  </a:lnTo>
                  <a:lnTo>
                    <a:pt x="1054" y="522"/>
                  </a:lnTo>
                  <a:lnTo>
                    <a:pt x="1049" y="522"/>
                  </a:lnTo>
                  <a:lnTo>
                    <a:pt x="1049" y="522"/>
                  </a:lnTo>
                  <a:lnTo>
                    <a:pt x="1047" y="522"/>
                  </a:lnTo>
                  <a:lnTo>
                    <a:pt x="1047" y="524"/>
                  </a:lnTo>
                  <a:lnTo>
                    <a:pt x="1047" y="524"/>
                  </a:lnTo>
                  <a:lnTo>
                    <a:pt x="1045" y="524"/>
                  </a:lnTo>
                  <a:lnTo>
                    <a:pt x="1047" y="524"/>
                  </a:lnTo>
                  <a:lnTo>
                    <a:pt x="1047" y="522"/>
                  </a:lnTo>
                  <a:lnTo>
                    <a:pt x="1047" y="520"/>
                  </a:lnTo>
                  <a:lnTo>
                    <a:pt x="1047" y="520"/>
                  </a:lnTo>
                  <a:lnTo>
                    <a:pt x="1045" y="522"/>
                  </a:lnTo>
                  <a:lnTo>
                    <a:pt x="1043" y="522"/>
                  </a:lnTo>
                  <a:lnTo>
                    <a:pt x="1043" y="524"/>
                  </a:lnTo>
                  <a:lnTo>
                    <a:pt x="1041" y="524"/>
                  </a:lnTo>
                  <a:lnTo>
                    <a:pt x="1041" y="524"/>
                  </a:lnTo>
                  <a:lnTo>
                    <a:pt x="1039" y="524"/>
                  </a:lnTo>
                  <a:lnTo>
                    <a:pt x="1039" y="526"/>
                  </a:lnTo>
                  <a:lnTo>
                    <a:pt x="1037" y="526"/>
                  </a:lnTo>
                  <a:lnTo>
                    <a:pt x="1039" y="524"/>
                  </a:lnTo>
                  <a:lnTo>
                    <a:pt x="1037" y="524"/>
                  </a:lnTo>
                  <a:lnTo>
                    <a:pt x="1037" y="524"/>
                  </a:lnTo>
                  <a:lnTo>
                    <a:pt x="1035" y="526"/>
                  </a:lnTo>
                  <a:lnTo>
                    <a:pt x="1035" y="526"/>
                  </a:lnTo>
                  <a:lnTo>
                    <a:pt x="1035" y="526"/>
                  </a:lnTo>
                  <a:lnTo>
                    <a:pt x="1033" y="529"/>
                  </a:lnTo>
                  <a:lnTo>
                    <a:pt x="1033" y="529"/>
                  </a:lnTo>
                  <a:lnTo>
                    <a:pt x="1033" y="529"/>
                  </a:lnTo>
                  <a:lnTo>
                    <a:pt x="1033" y="529"/>
                  </a:lnTo>
                  <a:lnTo>
                    <a:pt x="1033" y="529"/>
                  </a:lnTo>
                  <a:lnTo>
                    <a:pt x="1033" y="529"/>
                  </a:lnTo>
                  <a:lnTo>
                    <a:pt x="1035" y="526"/>
                  </a:lnTo>
                  <a:lnTo>
                    <a:pt x="1035" y="524"/>
                  </a:lnTo>
                  <a:lnTo>
                    <a:pt x="1037" y="522"/>
                  </a:lnTo>
                  <a:lnTo>
                    <a:pt x="1037" y="522"/>
                  </a:lnTo>
                  <a:lnTo>
                    <a:pt x="1037" y="522"/>
                  </a:lnTo>
                  <a:lnTo>
                    <a:pt x="1037" y="520"/>
                  </a:lnTo>
                  <a:lnTo>
                    <a:pt x="1035" y="522"/>
                  </a:lnTo>
                  <a:lnTo>
                    <a:pt x="1035" y="522"/>
                  </a:lnTo>
                  <a:lnTo>
                    <a:pt x="1035" y="524"/>
                  </a:lnTo>
                  <a:lnTo>
                    <a:pt x="1033" y="524"/>
                  </a:lnTo>
                  <a:lnTo>
                    <a:pt x="1033" y="524"/>
                  </a:lnTo>
                  <a:lnTo>
                    <a:pt x="1035" y="522"/>
                  </a:lnTo>
                  <a:lnTo>
                    <a:pt x="1035" y="522"/>
                  </a:lnTo>
                  <a:lnTo>
                    <a:pt x="1035" y="522"/>
                  </a:lnTo>
                  <a:lnTo>
                    <a:pt x="1033" y="522"/>
                  </a:lnTo>
                  <a:lnTo>
                    <a:pt x="1029" y="522"/>
                  </a:lnTo>
                  <a:lnTo>
                    <a:pt x="1029" y="522"/>
                  </a:lnTo>
                  <a:lnTo>
                    <a:pt x="1025" y="522"/>
                  </a:lnTo>
                  <a:lnTo>
                    <a:pt x="1025" y="522"/>
                  </a:lnTo>
                  <a:lnTo>
                    <a:pt x="1027" y="520"/>
                  </a:lnTo>
                  <a:lnTo>
                    <a:pt x="1029" y="518"/>
                  </a:lnTo>
                  <a:lnTo>
                    <a:pt x="1029" y="518"/>
                  </a:lnTo>
                  <a:lnTo>
                    <a:pt x="1029" y="518"/>
                  </a:lnTo>
                  <a:lnTo>
                    <a:pt x="1027" y="518"/>
                  </a:lnTo>
                  <a:lnTo>
                    <a:pt x="1027" y="518"/>
                  </a:lnTo>
                  <a:lnTo>
                    <a:pt x="1025" y="520"/>
                  </a:lnTo>
                  <a:lnTo>
                    <a:pt x="1025" y="520"/>
                  </a:lnTo>
                  <a:lnTo>
                    <a:pt x="1027" y="518"/>
                  </a:lnTo>
                  <a:lnTo>
                    <a:pt x="1031" y="516"/>
                  </a:lnTo>
                  <a:lnTo>
                    <a:pt x="1033" y="514"/>
                  </a:lnTo>
                  <a:lnTo>
                    <a:pt x="1035" y="514"/>
                  </a:lnTo>
                  <a:lnTo>
                    <a:pt x="1035" y="512"/>
                  </a:lnTo>
                  <a:lnTo>
                    <a:pt x="1035" y="512"/>
                  </a:lnTo>
                  <a:lnTo>
                    <a:pt x="1033" y="514"/>
                  </a:lnTo>
                  <a:lnTo>
                    <a:pt x="1031" y="514"/>
                  </a:lnTo>
                  <a:lnTo>
                    <a:pt x="1031" y="512"/>
                  </a:lnTo>
                  <a:lnTo>
                    <a:pt x="1031" y="512"/>
                  </a:lnTo>
                  <a:lnTo>
                    <a:pt x="1027" y="512"/>
                  </a:lnTo>
                  <a:lnTo>
                    <a:pt x="1027" y="514"/>
                  </a:lnTo>
                  <a:lnTo>
                    <a:pt x="1027" y="514"/>
                  </a:lnTo>
                  <a:lnTo>
                    <a:pt x="1027" y="512"/>
                  </a:lnTo>
                  <a:lnTo>
                    <a:pt x="1027" y="512"/>
                  </a:lnTo>
                  <a:lnTo>
                    <a:pt x="1027" y="510"/>
                  </a:lnTo>
                  <a:lnTo>
                    <a:pt x="1027" y="510"/>
                  </a:lnTo>
                  <a:lnTo>
                    <a:pt x="1027" y="512"/>
                  </a:lnTo>
                  <a:lnTo>
                    <a:pt x="1025" y="512"/>
                  </a:lnTo>
                  <a:lnTo>
                    <a:pt x="1023" y="514"/>
                  </a:lnTo>
                  <a:lnTo>
                    <a:pt x="1023" y="514"/>
                  </a:lnTo>
                  <a:lnTo>
                    <a:pt x="1021" y="514"/>
                  </a:lnTo>
                  <a:lnTo>
                    <a:pt x="1019" y="516"/>
                  </a:lnTo>
                  <a:lnTo>
                    <a:pt x="1017" y="518"/>
                  </a:lnTo>
                  <a:lnTo>
                    <a:pt x="1015" y="520"/>
                  </a:lnTo>
                  <a:lnTo>
                    <a:pt x="1015" y="518"/>
                  </a:lnTo>
                  <a:lnTo>
                    <a:pt x="1017" y="518"/>
                  </a:lnTo>
                  <a:lnTo>
                    <a:pt x="1015" y="518"/>
                  </a:lnTo>
                  <a:lnTo>
                    <a:pt x="1015" y="516"/>
                  </a:lnTo>
                  <a:lnTo>
                    <a:pt x="1017" y="516"/>
                  </a:lnTo>
                  <a:lnTo>
                    <a:pt x="1017" y="516"/>
                  </a:lnTo>
                  <a:lnTo>
                    <a:pt x="1017" y="514"/>
                  </a:lnTo>
                  <a:lnTo>
                    <a:pt x="1019" y="514"/>
                  </a:lnTo>
                  <a:lnTo>
                    <a:pt x="1019" y="514"/>
                  </a:lnTo>
                  <a:lnTo>
                    <a:pt x="1019" y="512"/>
                  </a:lnTo>
                  <a:lnTo>
                    <a:pt x="1019" y="512"/>
                  </a:lnTo>
                  <a:lnTo>
                    <a:pt x="1023" y="510"/>
                  </a:lnTo>
                  <a:lnTo>
                    <a:pt x="1025" y="508"/>
                  </a:lnTo>
                  <a:lnTo>
                    <a:pt x="1025" y="506"/>
                  </a:lnTo>
                  <a:lnTo>
                    <a:pt x="1025" y="506"/>
                  </a:lnTo>
                  <a:lnTo>
                    <a:pt x="1027" y="506"/>
                  </a:lnTo>
                  <a:lnTo>
                    <a:pt x="1031" y="502"/>
                  </a:lnTo>
                  <a:lnTo>
                    <a:pt x="1031" y="502"/>
                  </a:lnTo>
                  <a:lnTo>
                    <a:pt x="1033" y="500"/>
                  </a:lnTo>
                  <a:lnTo>
                    <a:pt x="1033" y="500"/>
                  </a:lnTo>
                  <a:lnTo>
                    <a:pt x="1033" y="500"/>
                  </a:lnTo>
                  <a:lnTo>
                    <a:pt x="1035" y="498"/>
                  </a:lnTo>
                  <a:lnTo>
                    <a:pt x="1037" y="498"/>
                  </a:lnTo>
                  <a:lnTo>
                    <a:pt x="1039" y="494"/>
                  </a:lnTo>
                  <a:lnTo>
                    <a:pt x="1039" y="494"/>
                  </a:lnTo>
                  <a:lnTo>
                    <a:pt x="1039" y="494"/>
                  </a:lnTo>
                  <a:lnTo>
                    <a:pt x="1039" y="492"/>
                  </a:lnTo>
                  <a:lnTo>
                    <a:pt x="1039" y="492"/>
                  </a:lnTo>
                  <a:lnTo>
                    <a:pt x="1039" y="492"/>
                  </a:lnTo>
                  <a:lnTo>
                    <a:pt x="1039" y="492"/>
                  </a:lnTo>
                  <a:lnTo>
                    <a:pt x="1037" y="492"/>
                  </a:lnTo>
                  <a:lnTo>
                    <a:pt x="1037" y="492"/>
                  </a:lnTo>
                  <a:lnTo>
                    <a:pt x="1037" y="492"/>
                  </a:lnTo>
                  <a:lnTo>
                    <a:pt x="1037" y="489"/>
                  </a:lnTo>
                  <a:lnTo>
                    <a:pt x="1037" y="489"/>
                  </a:lnTo>
                  <a:lnTo>
                    <a:pt x="1039" y="489"/>
                  </a:lnTo>
                  <a:lnTo>
                    <a:pt x="1041" y="489"/>
                  </a:lnTo>
                  <a:lnTo>
                    <a:pt x="1043" y="487"/>
                  </a:lnTo>
                  <a:lnTo>
                    <a:pt x="1043" y="487"/>
                  </a:lnTo>
                  <a:lnTo>
                    <a:pt x="1045" y="487"/>
                  </a:lnTo>
                  <a:lnTo>
                    <a:pt x="1047" y="485"/>
                  </a:lnTo>
                  <a:lnTo>
                    <a:pt x="1047" y="485"/>
                  </a:lnTo>
                  <a:lnTo>
                    <a:pt x="1047" y="485"/>
                  </a:lnTo>
                  <a:lnTo>
                    <a:pt x="1047" y="485"/>
                  </a:lnTo>
                  <a:lnTo>
                    <a:pt x="1043" y="485"/>
                  </a:lnTo>
                  <a:lnTo>
                    <a:pt x="1043" y="485"/>
                  </a:lnTo>
                  <a:lnTo>
                    <a:pt x="1043" y="485"/>
                  </a:lnTo>
                  <a:lnTo>
                    <a:pt x="1043" y="487"/>
                  </a:lnTo>
                  <a:lnTo>
                    <a:pt x="1041" y="485"/>
                  </a:lnTo>
                  <a:lnTo>
                    <a:pt x="1041" y="485"/>
                  </a:lnTo>
                  <a:lnTo>
                    <a:pt x="1039" y="485"/>
                  </a:lnTo>
                  <a:lnTo>
                    <a:pt x="1035" y="487"/>
                  </a:lnTo>
                  <a:lnTo>
                    <a:pt x="1031" y="487"/>
                  </a:lnTo>
                  <a:lnTo>
                    <a:pt x="1029" y="489"/>
                  </a:lnTo>
                  <a:lnTo>
                    <a:pt x="1029" y="489"/>
                  </a:lnTo>
                  <a:lnTo>
                    <a:pt x="1027" y="489"/>
                  </a:lnTo>
                  <a:lnTo>
                    <a:pt x="1025" y="492"/>
                  </a:lnTo>
                  <a:lnTo>
                    <a:pt x="1025" y="494"/>
                  </a:lnTo>
                  <a:lnTo>
                    <a:pt x="1023" y="494"/>
                  </a:lnTo>
                  <a:lnTo>
                    <a:pt x="1021" y="496"/>
                  </a:lnTo>
                  <a:lnTo>
                    <a:pt x="1021" y="496"/>
                  </a:lnTo>
                  <a:lnTo>
                    <a:pt x="1021" y="496"/>
                  </a:lnTo>
                  <a:lnTo>
                    <a:pt x="1021" y="496"/>
                  </a:lnTo>
                  <a:lnTo>
                    <a:pt x="1021" y="498"/>
                  </a:lnTo>
                  <a:lnTo>
                    <a:pt x="1019" y="500"/>
                  </a:lnTo>
                  <a:lnTo>
                    <a:pt x="1017" y="500"/>
                  </a:lnTo>
                  <a:lnTo>
                    <a:pt x="1017" y="500"/>
                  </a:lnTo>
                  <a:lnTo>
                    <a:pt x="1015" y="500"/>
                  </a:lnTo>
                  <a:lnTo>
                    <a:pt x="1015" y="502"/>
                  </a:lnTo>
                  <a:lnTo>
                    <a:pt x="1015" y="502"/>
                  </a:lnTo>
                  <a:lnTo>
                    <a:pt x="1017" y="502"/>
                  </a:lnTo>
                  <a:lnTo>
                    <a:pt x="1017" y="502"/>
                  </a:lnTo>
                  <a:lnTo>
                    <a:pt x="1015" y="502"/>
                  </a:lnTo>
                  <a:lnTo>
                    <a:pt x="1015" y="502"/>
                  </a:lnTo>
                  <a:lnTo>
                    <a:pt x="1013" y="504"/>
                  </a:lnTo>
                  <a:lnTo>
                    <a:pt x="1010" y="504"/>
                  </a:lnTo>
                  <a:lnTo>
                    <a:pt x="1008" y="510"/>
                  </a:lnTo>
                  <a:lnTo>
                    <a:pt x="1004" y="512"/>
                  </a:lnTo>
                  <a:lnTo>
                    <a:pt x="1000" y="518"/>
                  </a:lnTo>
                  <a:lnTo>
                    <a:pt x="1000" y="518"/>
                  </a:lnTo>
                  <a:lnTo>
                    <a:pt x="1000" y="520"/>
                  </a:lnTo>
                  <a:lnTo>
                    <a:pt x="1000" y="522"/>
                  </a:lnTo>
                  <a:lnTo>
                    <a:pt x="1000" y="522"/>
                  </a:lnTo>
                  <a:lnTo>
                    <a:pt x="1000" y="522"/>
                  </a:lnTo>
                  <a:lnTo>
                    <a:pt x="998" y="520"/>
                  </a:lnTo>
                  <a:lnTo>
                    <a:pt x="998" y="520"/>
                  </a:lnTo>
                  <a:lnTo>
                    <a:pt x="996" y="522"/>
                  </a:lnTo>
                  <a:lnTo>
                    <a:pt x="994" y="522"/>
                  </a:lnTo>
                  <a:lnTo>
                    <a:pt x="994" y="524"/>
                  </a:lnTo>
                  <a:lnTo>
                    <a:pt x="994" y="524"/>
                  </a:lnTo>
                  <a:lnTo>
                    <a:pt x="994" y="526"/>
                  </a:lnTo>
                  <a:lnTo>
                    <a:pt x="994" y="526"/>
                  </a:lnTo>
                  <a:lnTo>
                    <a:pt x="996" y="526"/>
                  </a:lnTo>
                  <a:lnTo>
                    <a:pt x="996" y="526"/>
                  </a:lnTo>
                  <a:lnTo>
                    <a:pt x="994" y="526"/>
                  </a:lnTo>
                  <a:lnTo>
                    <a:pt x="994" y="529"/>
                  </a:lnTo>
                  <a:lnTo>
                    <a:pt x="994" y="531"/>
                  </a:lnTo>
                  <a:lnTo>
                    <a:pt x="994" y="531"/>
                  </a:lnTo>
                  <a:lnTo>
                    <a:pt x="994" y="531"/>
                  </a:lnTo>
                  <a:lnTo>
                    <a:pt x="994" y="531"/>
                  </a:lnTo>
                  <a:lnTo>
                    <a:pt x="994" y="531"/>
                  </a:lnTo>
                  <a:lnTo>
                    <a:pt x="992" y="529"/>
                  </a:lnTo>
                  <a:lnTo>
                    <a:pt x="990" y="529"/>
                  </a:lnTo>
                  <a:lnTo>
                    <a:pt x="990" y="529"/>
                  </a:lnTo>
                  <a:lnTo>
                    <a:pt x="990" y="529"/>
                  </a:lnTo>
                  <a:lnTo>
                    <a:pt x="988" y="531"/>
                  </a:lnTo>
                  <a:lnTo>
                    <a:pt x="986" y="533"/>
                  </a:lnTo>
                  <a:lnTo>
                    <a:pt x="984" y="535"/>
                  </a:lnTo>
                  <a:lnTo>
                    <a:pt x="982" y="537"/>
                  </a:lnTo>
                  <a:lnTo>
                    <a:pt x="982" y="539"/>
                  </a:lnTo>
                  <a:lnTo>
                    <a:pt x="980" y="537"/>
                  </a:lnTo>
                  <a:lnTo>
                    <a:pt x="980" y="537"/>
                  </a:lnTo>
                  <a:lnTo>
                    <a:pt x="980" y="537"/>
                  </a:lnTo>
                  <a:lnTo>
                    <a:pt x="980" y="537"/>
                  </a:lnTo>
                  <a:lnTo>
                    <a:pt x="982" y="535"/>
                  </a:lnTo>
                  <a:lnTo>
                    <a:pt x="980" y="535"/>
                  </a:lnTo>
                  <a:lnTo>
                    <a:pt x="976" y="537"/>
                  </a:lnTo>
                  <a:lnTo>
                    <a:pt x="976" y="539"/>
                  </a:lnTo>
                  <a:lnTo>
                    <a:pt x="974" y="539"/>
                  </a:lnTo>
                  <a:lnTo>
                    <a:pt x="978" y="539"/>
                  </a:lnTo>
                  <a:lnTo>
                    <a:pt x="982" y="539"/>
                  </a:lnTo>
                  <a:lnTo>
                    <a:pt x="982" y="539"/>
                  </a:lnTo>
                  <a:lnTo>
                    <a:pt x="984" y="539"/>
                  </a:lnTo>
                  <a:lnTo>
                    <a:pt x="986" y="539"/>
                  </a:lnTo>
                  <a:lnTo>
                    <a:pt x="986" y="539"/>
                  </a:lnTo>
                  <a:lnTo>
                    <a:pt x="984" y="541"/>
                  </a:lnTo>
                  <a:lnTo>
                    <a:pt x="982" y="541"/>
                  </a:lnTo>
                  <a:lnTo>
                    <a:pt x="980" y="543"/>
                  </a:lnTo>
                  <a:lnTo>
                    <a:pt x="976" y="545"/>
                  </a:lnTo>
                  <a:lnTo>
                    <a:pt x="969" y="549"/>
                  </a:lnTo>
                  <a:lnTo>
                    <a:pt x="967" y="549"/>
                  </a:lnTo>
                  <a:lnTo>
                    <a:pt x="967" y="551"/>
                  </a:lnTo>
                  <a:lnTo>
                    <a:pt x="967" y="551"/>
                  </a:lnTo>
                  <a:lnTo>
                    <a:pt x="967" y="553"/>
                  </a:lnTo>
                  <a:lnTo>
                    <a:pt x="967" y="555"/>
                  </a:lnTo>
                  <a:lnTo>
                    <a:pt x="967" y="555"/>
                  </a:lnTo>
                  <a:lnTo>
                    <a:pt x="969" y="557"/>
                  </a:lnTo>
                  <a:lnTo>
                    <a:pt x="971" y="555"/>
                  </a:lnTo>
                  <a:lnTo>
                    <a:pt x="976" y="555"/>
                  </a:lnTo>
                  <a:lnTo>
                    <a:pt x="978" y="555"/>
                  </a:lnTo>
                  <a:lnTo>
                    <a:pt x="980" y="555"/>
                  </a:lnTo>
                  <a:lnTo>
                    <a:pt x="982" y="553"/>
                  </a:lnTo>
                  <a:lnTo>
                    <a:pt x="982" y="553"/>
                  </a:lnTo>
                  <a:lnTo>
                    <a:pt x="982" y="555"/>
                  </a:lnTo>
                  <a:lnTo>
                    <a:pt x="982" y="555"/>
                  </a:lnTo>
                  <a:lnTo>
                    <a:pt x="986" y="555"/>
                  </a:lnTo>
                  <a:lnTo>
                    <a:pt x="988" y="555"/>
                  </a:lnTo>
                  <a:lnTo>
                    <a:pt x="990" y="555"/>
                  </a:lnTo>
                  <a:lnTo>
                    <a:pt x="992" y="555"/>
                  </a:lnTo>
                  <a:lnTo>
                    <a:pt x="1000" y="555"/>
                  </a:lnTo>
                  <a:lnTo>
                    <a:pt x="1002" y="557"/>
                  </a:lnTo>
                  <a:lnTo>
                    <a:pt x="1004" y="555"/>
                  </a:lnTo>
                  <a:lnTo>
                    <a:pt x="1006" y="555"/>
                  </a:lnTo>
                  <a:lnTo>
                    <a:pt x="1008" y="555"/>
                  </a:lnTo>
                  <a:lnTo>
                    <a:pt x="1010" y="555"/>
                  </a:lnTo>
                  <a:lnTo>
                    <a:pt x="1010" y="555"/>
                  </a:lnTo>
                  <a:lnTo>
                    <a:pt x="1013" y="553"/>
                  </a:lnTo>
                  <a:lnTo>
                    <a:pt x="1013" y="553"/>
                  </a:lnTo>
                  <a:lnTo>
                    <a:pt x="1013" y="553"/>
                  </a:lnTo>
                  <a:lnTo>
                    <a:pt x="1015" y="553"/>
                  </a:lnTo>
                  <a:lnTo>
                    <a:pt x="1017" y="553"/>
                  </a:lnTo>
                  <a:lnTo>
                    <a:pt x="1017" y="551"/>
                  </a:lnTo>
                  <a:lnTo>
                    <a:pt x="1017" y="553"/>
                  </a:lnTo>
                  <a:lnTo>
                    <a:pt x="1015" y="555"/>
                  </a:lnTo>
                  <a:lnTo>
                    <a:pt x="1013" y="557"/>
                  </a:lnTo>
                  <a:lnTo>
                    <a:pt x="1010" y="557"/>
                  </a:lnTo>
                  <a:lnTo>
                    <a:pt x="1013" y="557"/>
                  </a:lnTo>
                  <a:lnTo>
                    <a:pt x="1015" y="557"/>
                  </a:lnTo>
                  <a:lnTo>
                    <a:pt x="1017" y="557"/>
                  </a:lnTo>
                  <a:lnTo>
                    <a:pt x="1017" y="557"/>
                  </a:lnTo>
                  <a:lnTo>
                    <a:pt x="1019" y="557"/>
                  </a:lnTo>
                  <a:lnTo>
                    <a:pt x="1021" y="557"/>
                  </a:lnTo>
                  <a:lnTo>
                    <a:pt x="1021" y="557"/>
                  </a:lnTo>
                  <a:lnTo>
                    <a:pt x="1021" y="557"/>
                  </a:lnTo>
                  <a:lnTo>
                    <a:pt x="1021" y="557"/>
                  </a:lnTo>
                  <a:lnTo>
                    <a:pt x="1023" y="555"/>
                  </a:lnTo>
                  <a:lnTo>
                    <a:pt x="1023" y="555"/>
                  </a:lnTo>
                  <a:lnTo>
                    <a:pt x="1025" y="555"/>
                  </a:lnTo>
                  <a:lnTo>
                    <a:pt x="1027" y="555"/>
                  </a:lnTo>
                  <a:lnTo>
                    <a:pt x="1027" y="555"/>
                  </a:lnTo>
                  <a:lnTo>
                    <a:pt x="1029" y="555"/>
                  </a:lnTo>
                  <a:lnTo>
                    <a:pt x="1029" y="555"/>
                  </a:lnTo>
                  <a:lnTo>
                    <a:pt x="1031" y="555"/>
                  </a:lnTo>
                  <a:lnTo>
                    <a:pt x="1031" y="555"/>
                  </a:lnTo>
                  <a:lnTo>
                    <a:pt x="1029" y="557"/>
                  </a:lnTo>
                  <a:lnTo>
                    <a:pt x="1027" y="557"/>
                  </a:lnTo>
                  <a:lnTo>
                    <a:pt x="1025" y="559"/>
                  </a:lnTo>
                  <a:lnTo>
                    <a:pt x="1021" y="561"/>
                  </a:lnTo>
                  <a:lnTo>
                    <a:pt x="1021" y="563"/>
                  </a:lnTo>
                  <a:lnTo>
                    <a:pt x="1019" y="563"/>
                  </a:lnTo>
                  <a:lnTo>
                    <a:pt x="1017" y="563"/>
                  </a:lnTo>
                  <a:lnTo>
                    <a:pt x="1015" y="566"/>
                  </a:lnTo>
                  <a:lnTo>
                    <a:pt x="1013" y="566"/>
                  </a:lnTo>
                  <a:lnTo>
                    <a:pt x="1010" y="566"/>
                  </a:lnTo>
                  <a:lnTo>
                    <a:pt x="1010" y="568"/>
                  </a:lnTo>
                  <a:lnTo>
                    <a:pt x="1010" y="568"/>
                  </a:lnTo>
                  <a:lnTo>
                    <a:pt x="1010" y="568"/>
                  </a:lnTo>
                  <a:lnTo>
                    <a:pt x="1010" y="568"/>
                  </a:lnTo>
                  <a:lnTo>
                    <a:pt x="1010" y="570"/>
                  </a:lnTo>
                  <a:lnTo>
                    <a:pt x="1013" y="570"/>
                  </a:lnTo>
                  <a:lnTo>
                    <a:pt x="1015" y="570"/>
                  </a:lnTo>
                  <a:lnTo>
                    <a:pt x="1017" y="568"/>
                  </a:lnTo>
                  <a:lnTo>
                    <a:pt x="1017" y="568"/>
                  </a:lnTo>
                  <a:lnTo>
                    <a:pt x="1019" y="568"/>
                  </a:lnTo>
                  <a:lnTo>
                    <a:pt x="1019" y="568"/>
                  </a:lnTo>
                  <a:lnTo>
                    <a:pt x="1021" y="568"/>
                  </a:lnTo>
                  <a:lnTo>
                    <a:pt x="1023" y="566"/>
                  </a:lnTo>
                  <a:lnTo>
                    <a:pt x="1023" y="566"/>
                  </a:lnTo>
                  <a:lnTo>
                    <a:pt x="1025" y="563"/>
                  </a:lnTo>
                  <a:lnTo>
                    <a:pt x="1029" y="559"/>
                  </a:lnTo>
                  <a:lnTo>
                    <a:pt x="1029" y="559"/>
                  </a:lnTo>
                  <a:lnTo>
                    <a:pt x="1031" y="559"/>
                  </a:lnTo>
                  <a:lnTo>
                    <a:pt x="1031" y="559"/>
                  </a:lnTo>
                  <a:lnTo>
                    <a:pt x="1033" y="557"/>
                  </a:lnTo>
                  <a:lnTo>
                    <a:pt x="1035" y="557"/>
                  </a:lnTo>
                  <a:lnTo>
                    <a:pt x="1035" y="557"/>
                  </a:lnTo>
                  <a:lnTo>
                    <a:pt x="1033" y="559"/>
                  </a:lnTo>
                  <a:lnTo>
                    <a:pt x="1033" y="559"/>
                  </a:lnTo>
                  <a:lnTo>
                    <a:pt x="1035" y="559"/>
                  </a:lnTo>
                  <a:lnTo>
                    <a:pt x="1035" y="559"/>
                  </a:lnTo>
                  <a:lnTo>
                    <a:pt x="1035" y="557"/>
                  </a:lnTo>
                  <a:lnTo>
                    <a:pt x="1037" y="557"/>
                  </a:lnTo>
                  <a:lnTo>
                    <a:pt x="1039" y="553"/>
                  </a:lnTo>
                  <a:lnTo>
                    <a:pt x="1041" y="551"/>
                  </a:lnTo>
                  <a:lnTo>
                    <a:pt x="1041" y="551"/>
                  </a:lnTo>
                  <a:lnTo>
                    <a:pt x="1043" y="551"/>
                  </a:lnTo>
                  <a:lnTo>
                    <a:pt x="1043" y="553"/>
                  </a:lnTo>
                  <a:lnTo>
                    <a:pt x="1043" y="555"/>
                  </a:lnTo>
                  <a:lnTo>
                    <a:pt x="1043" y="557"/>
                  </a:lnTo>
                  <a:lnTo>
                    <a:pt x="1043" y="557"/>
                  </a:lnTo>
                  <a:lnTo>
                    <a:pt x="1043" y="559"/>
                  </a:lnTo>
                  <a:lnTo>
                    <a:pt x="1043" y="559"/>
                  </a:lnTo>
                  <a:lnTo>
                    <a:pt x="1041" y="561"/>
                  </a:lnTo>
                  <a:lnTo>
                    <a:pt x="1037" y="566"/>
                  </a:lnTo>
                  <a:lnTo>
                    <a:pt x="1037" y="568"/>
                  </a:lnTo>
                  <a:lnTo>
                    <a:pt x="1035" y="568"/>
                  </a:lnTo>
                  <a:lnTo>
                    <a:pt x="1035" y="570"/>
                  </a:lnTo>
                  <a:lnTo>
                    <a:pt x="1035" y="570"/>
                  </a:lnTo>
                  <a:lnTo>
                    <a:pt x="1037" y="570"/>
                  </a:lnTo>
                  <a:lnTo>
                    <a:pt x="1037" y="570"/>
                  </a:lnTo>
                  <a:lnTo>
                    <a:pt x="1037" y="570"/>
                  </a:lnTo>
                  <a:lnTo>
                    <a:pt x="1041" y="568"/>
                  </a:lnTo>
                  <a:lnTo>
                    <a:pt x="1041" y="566"/>
                  </a:lnTo>
                  <a:lnTo>
                    <a:pt x="1043" y="566"/>
                  </a:lnTo>
                  <a:lnTo>
                    <a:pt x="1045" y="563"/>
                  </a:lnTo>
                  <a:lnTo>
                    <a:pt x="1045" y="563"/>
                  </a:lnTo>
                  <a:lnTo>
                    <a:pt x="1045" y="563"/>
                  </a:lnTo>
                  <a:lnTo>
                    <a:pt x="1045" y="566"/>
                  </a:lnTo>
                  <a:lnTo>
                    <a:pt x="1043" y="566"/>
                  </a:lnTo>
                  <a:lnTo>
                    <a:pt x="1045" y="568"/>
                  </a:lnTo>
                  <a:lnTo>
                    <a:pt x="1043" y="568"/>
                  </a:lnTo>
                  <a:lnTo>
                    <a:pt x="1043" y="572"/>
                  </a:lnTo>
                  <a:lnTo>
                    <a:pt x="1043" y="574"/>
                  </a:lnTo>
                  <a:lnTo>
                    <a:pt x="1043" y="574"/>
                  </a:lnTo>
                  <a:lnTo>
                    <a:pt x="1043" y="574"/>
                  </a:lnTo>
                  <a:lnTo>
                    <a:pt x="1045" y="572"/>
                  </a:lnTo>
                  <a:lnTo>
                    <a:pt x="1047" y="572"/>
                  </a:lnTo>
                  <a:lnTo>
                    <a:pt x="1047" y="572"/>
                  </a:lnTo>
                  <a:lnTo>
                    <a:pt x="1047" y="572"/>
                  </a:lnTo>
                  <a:lnTo>
                    <a:pt x="1047" y="572"/>
                  </a:lnTo>
                  <a:lnTo>
                    <a:pt x="1049" y="574"/>
                  </a:lnTo>
                  <a:lnTo>
                    <a:pt x="1049" y="572"/>
                  </a:lnTo>
                  <a:lnTo>
                    <a:pt x="1049" y="572"/>
                  </a:lnTo>
                  <a:lnTo>
                    <a:pt x="1052" y="572"/>
                  </a:lnTo>
                  <a:lnTo>
                    <a:pt x="1052" y="570"/>
                  </a:lnTo>
                  <a:lnTo>
                    <a:pt x="1054" y="568"/>
                  </a:lnTo>
                  <a:lnTo>
                    <a:pt x="1056" y="566"/>
                  </a:lnTo>
                  <a:lnTo>
                    <a:pt x="1056" y="566"/>
                  </a:lnTo>
                  <a:lnTo>
                    <a:pt x="1056" y="566"/>
                  </a:lnTo>
                  <a:lnTo>
                    <a:pt x="1060" y="559"/>
                  </a:lnTo>
                  <a:lnTo>
                    <a:pt x="1060" y="557"/>
                  </a:lnTo>
                  <a:lnTo>
                    <a:pt x="1062" y="557"/>
                  </a:lnTo>
                  <a:lnTo>
                    <a:pt x="1062" y="555"/>
                  </a:lnTo>
                  <a:lnTo>
                    <a:pt x="1062" y="553"/>
                  </a:lnTo>
                  <a:lnTo>
                    <a:pt x="1062" y="553"/>
                  </a:lnTo>
                  <a:lnTo>
                    <a:pt x="1062" y="553"/>
                  </a:lnTo>
                  <a:lnTo>
                    <a:pt x="1060" y="553"/>
                  </a:lnTo>
                  <a:lnTo>
                    <a:pt x="1060" y="553"/>
                  </a:lnTo>
                  <a:lnTo>
                    <a:pt x="1058" y="555"/>
                  </a:lnTo>
                  <a:lnTo>
                    <a:pt x="1058" y="557"/>
                  </a:lnTo>
                  <a:lnTo>
                    <a:pt x="1056" y="557"/>
                  </a:lnTo>
                  <a:lnTo>
                    <a:pt x="1054" y="559"/>
                  </a:lnTo>
                  <a:lnTo>
                    <a:pt x="1054" y="557"/>
                  </a:lnTo>
                  <a:lnTo>
                    <a:pt x="1054" y="557"/>
                  </a:lnTo>
                  <a:lnTo>
                    <a:pt x="1054" y="555"/>
                  </a:lnTo>
                  <a:lnTo>
                    <a:pt x="1056" y="553"/>
                  </a:lnTo>
                  <a:lnTo>
                    <a:pt x="1056" y="551"/>
                  </a:lnTo>
                  <a:lnTo>
                    <a:pt x="1060" y="549"/>
                  </a:lnTo>
                  <a:lnTo>
                    <a:pt x="1060" y="549"/>
                  </a:lnTo>
                  <a:lnTo>
                    <a:pt x="1062" y="547"/>
                  </a:lnTo>
                  <a:lnTo>
                    <a:pt x="1062" y="547"/>
                  </a:lnTo>
                  <a:lnTo>
                    <a:pt x="1062" y="547"/>
                  </a:lnTo>
                  <a:lnTo>
                    <a:pt x="1062" y="545"/>
                  </a:lnTo>
                  <a:lnTo>
                    <a:pt x="1058" y="547"/>
                  </a:lnTo>
                  <a:lnTo>
                    <a:pt x="1056" y="549"/>
                  </a:lnTo>
                  <a:lnTo>
                    <a:pt x="1049" y="553"/>
                  </a:lnTo>
                  <a:lnTo>
                    <a:pt x="1047" y="555"/>
                  </a:lnTo>
                  <a:lnTo>
                    <a:pt x="1047" y="555"/>
                  </a:lnTo>
                  <a:lnTo>
                    <a:pt x="1045" y="555"/>
                  </a:lnTo>
                  <a:lnTo>
                    <a:pt x="1045" y="555"/>
                  </a:lnTo>
                  <a:lnTo>
                    <a:pt x="1045" y="553"/>
                  </a:lnTo>
                  <a:lnTo>
                    <a:pt x="1045" y="553"/>
                  </a:lnTo>
                  <a:lnTo>
                    <a:pt x="1045" y="553"/>
                  </a:lnTo>
                  <a:lnTo>
                    <a:pt x="1049" y="549"/>
                  </a:lnTo>
                  <a:lnTo>
                    <a:pt x="1049" y="549"/>
                  </a:lnTo>
                  <a:lnTo>
                    <a:pt x="1049" y="549"/>
                  </a:lnTo>
                  <a:lnTo>
                    <a:pt x="1049" y="549"/>
                  </a:lnTo>
                  <a:lnTo>
                    <a:pt x="1047" y="549"/>
                  </a:lnTo>
                  <a:lnTo>
                    <a:pt x="1047" y="549"/>
                  </a:lnTo>
                  <a:lnTo>
                    <a:pt x="1047" y="547"/>
                  </a:lnTo>
                  <a:lnTo>
                    <a:pt x="1049" y="547"/>
                  </a:lnTo>
                  <a:lnTo>
                    <a:pt x="1049" y="547"/>
                  </a:lnTo>
                  <a:lnTo>
                    <a:pt x="1052" y="547"/>
                  </a:lnTo>
                  <a:lnTo>
                    <a:pt x="1052" y="547"/>
                  </a:lnTo>
                  <a:lnTo>
                    <a:pt x="1052" y="545"/>
                  </a:lnTo>
                  <a:lnTo>
                    <a:pt x="1052" y="545"/>
                  </a:lnTo>
                  <a:lnTo>
                    <a:pt x="1054" y="545"/>
                  </a:lnTo>
                  <a:lnTo>
                    <a:pt x="1056" y="543"/>
                  </a:lnTo>
                  <a:lnTo>
                    <a:pt x="1056" y="543"/>
                  </a:lnTo>
                  <a:lnTo>
                    <a:pt x="1058" y="543"/>
                  </a:lnTo>
                  <a:lnTo>
                    <a:pt x="1058" y="543"/>
                  </a:lnTo>
                  <a:lnTo>
                    <a:pt x="1058" y="541"/>
                  </a:lnTo>
                  <a:lnTo>
                    <a:pt x="1060" y="541"/>
                  </a:lnTo>
                  <a:lnTo>
                    <a:pt x="1062" y="541"/>
                  </a:lnTo>
                  <a:lnTo>
                    <a:pt x="1062" y="539"/>
                  </a:lnTo>
                  <a:lnTo>
                    <a:pt x="1062" y="539"/>
                  </a:lnTo>
                  <a:lnTo>
                    <a:pt x="1062" y="537"/>
                  </a:lnTo>
                  <a:lnTo>
                    <a:pt x="1062" y="537"/>
                  </a:lnTo>
                  <a:lnTo>
                    <a:pt x="1062" y="537"/>
                  </a:lnTo>
                  <a:close/>
                  <a:moveTo>
                    <a:pt x="953" y="200"/>
                  </a:moveTo>
                  <a:lnTo>
                    <a:pt x="953" y="197"/>
                  </a:lnTo>
                  <a:lnTo>
                    <a:pt x="951" y="200"/>
                  </a:lnTo>
                  <a:lnTo>
                    <a:pt x="949" y="200"/>
                  </a:lnTo>
                  <a:lnTo>
                    <a:pt x="949" y="200"/>
                  </a:lnTo>
                  <a:lnTo>
                    <a:pt x="949" y="202"/>
                  </a:lnTo>
                  <a:lnTo>
                    <a:pt x="947" y="202"/>
                  </a:lnTo>
                  <a:lnTo>
                    <a:pt x="949" y="202"/>
                  </a:lnTo>
                  <a:lnTo>
                    <a:pt x="951" y="204"/>
                  </a:lnTo>
                  <a:lnTo>
                    <a:pt x="951" y="204"/>
                  </a:lnTo>
                  <a:lnTo>
                    <a:pt x="951" y="204"/>
                  </a:lnTo>
                  <a:lnTo>
                    <a:pt x="953" y="204"/>
                  </a:lnTo>
                  <a:lnTo>
                    <a:pt x="953" y="204"/>
                  </a:lnTo>
                  <a:lnTo>
                    <a:pt x="953" y="204"/>
                  </a:lnTo>
                  <a:lnTo>
                    <a:pt x="953" y="204"/>
                  </a:lnTo>
                  <a:lnTo>
                    <a:pt x="953" y="202"/>
                  </a:lnTo>
                  <a:lnTo>
                    <a:pt x="955" y="202"/>
                  </a:lnTo>
                  <a:lnTo>
                    <a:pt x="955" y="202"/>
                  </a:lnTo>
                  <a:lnTo>
                    <a:pt x="955" y="202"/>
                  </a:lnTo>
                  <a:lnTo>
                    <a:pt x="955" y="200"/>
                  </a:lnTo>
                  <a:lnTo>
                    <a:pt x="953" y="200"/>
                  </a:lnTo>
                  <a:close/>
                  <a:moveTo>
                    <a:pt x="951" y="208"/>
                  </a:moveTo>
                  <a:lnTo>
                    <a:pt x="949" y="210"/>
                  </a:lnTo>
                  <a:lnTo>
                    <a:pt x="949" y="210"/>
                  </a:lnTo>
                  <a:lnTo>
                    <a:pt x="949" y="210"/>
                  </a:lnTo>
                  <a:lnTo>
                    <a:pt x="949" y="212"/>
                  </a:lnTo>
                  <a:lnTo>
                    <a:pt x="951" y="212"/>
                  </a:lnTo>
                  <a:lnTo>
                    <a:pt x="951" y="212"/>
                  </a:lnTo>
                  <a:lnTo>
                    <a:pt x="955" y="212"/>
                  </a:lnTo>
                  <a:lnTo>
                    <a:pt x="961" y="212"/>
                  </a:lnTo>
                  <a:lnTo>
                    <a:pt x="963" y="212"/>
                  </a:lnTo>
                  <a:lnTo>
                    <a:pt x="963" y="212"/>
                  </a:lnTo>
                  <a:lnTo>
                    <a:pt x="963" y="212"/>
                  </a:lnTo>
                  <a:lnTo>
                    <a:pt x="965" y="210"/>
                  </a:lnTo>
                  <a:lnTo>
                    <a:pt x="965" y="210"/>
                  </a:lnTo>
                  <a:lnTo>
                    <a:pt x="965" y="210"/>
                  </a:lnTo>
                  <a:lnTo>
                    <a:pt x="963" y="210"/>
                  </a:lnTo>
                  <a:lnTo>
                    <a:pt x="959" y="210"/>
                  </a:lnTo>
                  <a:lnTo>
                    <a:pt x="957" y="208"/>
                  </a:lnTo>
                  <a:lnTo>
                    <a:pt x="955" y="208"/>
                  </a:lnTo>
                  <a:lnTo>
                    <a:pt x="951" y="208"/>
                  </a:lnTo>
                  <a:lnTo>
                    <a:pt x="951" y="208"/>
                  </a:lnTo>
                  <a:close/>
                  <a:moveTo>
                    <a:pt x="902" y="204"/>
                  </a:moveTo>
                  <a:lnTo>
                    <a:pt x="900" y="206"/>
                  </a:lnTo>
                  <a:lnTo>
                    <a:pt x="900" y="206"/>
                  </a:lnTo>
                  <a:lnTo>
                    <a:pt x="900" y="206"/>
                  </a:lnTo>
                  <a:lnTo>
                    <a:pt x="902" y="206"/>
                  </a:lnTo>
                  <a:lnTo>
                    <a:pt x="904" y="206"/>
                  </a:lnTo>
                  <a:lnTo>
                    <a:pt x="904" y="204"/>
                  </a:lnTo>
                  <a:lnTo>
                    <a:pt x="904" y="204"/>
                  </a:lnTo>
                  <a:lnTo>
                    <a:pt x="902" y="204"/>
                  </a:lnTo>
                  <a:close/>
                  <a:moveTo>
                    <a:pt x="928" y="183"/>
                  </a:moveTo>
                  <a:lnTo>
                    <a:pt x="928" y="183"/>
                  </a:lnTo>
                  <a:lnTo>
                    <a:pt x="928" y="183"/>
                  </a:lnTo>
                  <a:lnTo>
                    <a:pt x="928" y="183"/>
                  </a:lnTo>
                  <a:lnTo>
                    <a:pt x="926" y="183"/>
                  </a:lnTo>
                  <a:lnTo>
                    <a:pt x="926" y="183"/>
                  </a:lnTo>
                  <a:lnTo>
                    <a:pt x="924" y="183"/>
                  </a:lnTo>
                  <a:lnTo>
                    <a:pt x="920" y="185"/>
                  </a:lnTo>
                  <a:lnTo>
                    <a:pt x="918" y="187"/>
                  </a:lnTo>
                  <a:lnTo>
                    <a:pt x="920" y="187"/>
                  </a:lnTo>
                  <a:lnTo>
                    <a:pt x="920" y="185"/>
                  </a:lnTo>
                  <a:lnTo>
                    <a:pt x="922" y="185"/>
                  </a:lnTo>
                  <a:lnTo>
                    <a:pt x="924" y="185"/>
                  </a:lnTo>
                  <a:lnTo>
                    <a:pt x="926" y="185"/>
                  </a:lnTo>
                  <a:lnTo>
                    <a:pt x="930" y="185"/>
                  </a:lnTo>
                  <a:lnTo>
                    <a:pt x="930" y="183"/>
                  </a:lnTo>
                  <a:lnTo>
                    <a:pt x="930" y="183"/>
                  </a:lnTo>
                  <a:lnTo>
                    <a:pt x="930" y="183"/>
                  </a:lnTo>
                  <a:lnTo>
                    <a:pt x="930" y="183"/>
                  </a:lnTo>
                  <a:lnTo>
                    <a:pt x="928" y="183"/>
                  </a:lnTo>
                  <a:close/>
                  <a:moveTo>
                    <a:pt x="1271" y="8"/>
                  </a:moveTo>
                  <a:lnTo>
                    <a:pt x="1271" y="8"/>
                  </a:lnTo>
                  <a:lnTo>
                    <a:pt x="1271" y="8"/>
                  </a:lnTo>
                  <a:lnTo>
                    <a:pt x="1269" y="6"/>
                  </a:lnTo>
                  <a:lnTo>
                    <a:pt x="1261" y="6"/>
                  </a:lnTo>
                  <a:lnTo>
                    <a:pt x="1253" y="8"/>
                  </a:lnTo>
                  <a:lnTo>
                    <a:pt x="1253" y="8"/>
                  </a:lnTo>
                  <a:lnTo>
                    <a:pt x="1257" y="6"/>
                  </a:lnTo>
                  <a:lnTo>
                    <a:pt x="1257" y="6"/>
                  </a:lnTo>
                  <a:lnTo>
                    <a:pt x="1255" y="6"/>
                  </a:lnTo>
                  <a:lnTo>
                    <a:pt x="1253" y="4"/>
                  </a:lnTo>
                  <a:lnTo>
                    <a:pt x="1253" y="4"/>
                  </a:lnTo>
                  <a:lnTo>
                    <a:pt x="1253" y="4"/>
                  </a:lnTo>
                  <a:lnTo>
                    <a:pt x="1255" y="4"/>
                  </a:lnTo>
                  <a:lnTo>
                    <a:pt x="1255" y="4"/>
                  </a:lnTo>
                  <a:lnTo>
                    <a:pt x="1255" y="4"/>
                  </a:lnTo>
                  <a:lnTo>
                    <a:pt x="1255" y="4"/>
                  </a:lnTo>
                  <a:lnTo>
                    <a:pt x="1251" y="4"/>
                  </a:lnTo>
                  <a:lnTo>
                    <a:pt x="1249" y="4"/>
                  </a:lnTo>
                  <a:lnTo>
                    <a:pt x="1247" y="4"/>
                  </a:lnTo>
                  <a:lnTo>
                    <a:pt x="1245" y="4"/>
                  </a:lnTo>
                  <a:lnTo>
                    <a:pt x="1245" y="4"/>
                  </a:lnTo>
                  <a:lnTo>
                    <a:pt x="1245" y="2"/>
                  </a:lnTo>
                  <a:lnTo>
                    <a:pt x="1242" y="2"/>
                  </a:lnTo>
                  <a:lnTo>
                    <a:pt x="1242" y="2"/>
                  </a:lnTo>
                  <a:lnTo>
                    <a:pt x="1240" y="2"/>
                  </a:lnTo>
                  <a:lnTo>
                    <a:pt x="1240" y="2"/>
                  </a:lnTo>
                  <a:lnTo>
                    <a:pt x="1238" y="4"/>
                  </a:lnTo>
                  <a:lnTo>
                    <a:pt x="1238" y="4"/>
                  </a:lnTo>
                  <a:lnTo>
                    <a:pt x="1236" y="4"/>
                  </a:lnTo>
                  <a:lnTo>
                    <a:pt x="1236" y="4"/>
                  </a:lnTo>
                  <a:lnTo>
                    <a:pt x="1234" y="4"/>
                  </a:lnTo>
                  <a:lnTo>
                    <a:pt x="1230" y="4"/>
                  </a:lnTo>
                  <a:lnTo>
                    <a:pt x="1224" y="4"/>
                  </a:lnTo>
                  <a:lnTo>
                    <a:pt x="1222" y="4"/>
                  </a:lnTo>
                  <a:lnTo>
                    <a:pt x="1220" y="4"/>
                  </a:lnTo>
                  <a:lnTo>
                    <a:pt x="1216" y="6"/>
                  </a:lnTo>
                  <a:lnTo>
                    <a:pt x="1214" y="6"/>
                  </a:lnTo>
                  <a:lnTo>
                    <a:pt x="1208" y="6"/>
                  </a:lnTo>
                  <a:lnTo>
                    <a:pt x="1206" y="6"/>
                  </a:lnTo>
                  <a:lnTo>
                    <a:pt x="1208" y="4"/>
                  </a:lnTo>
                  <a:lnTo>
                    <a:pt x="1224" y="4"/>
                  </a:lnTo>
                  <a:lnTo>
                    <a:pt x="1226" y="4"/>
                  </a:lnTo>
                  <a:lnTo>
                    <a:pt x="1228" y="2"/>
                  </a:lnTo>
                  <a:lnTo>
                    <a:pt x="1228" y="2"/>
                  </a:lnTo>
                  <a:lnTo>
                    <a:pt x="1228" y="2"/>
                  </a:lnTo>
                  <a:lnTo>
                    <a:pt x="1220" y="2"/>
                  </a:lnTo>
                  <a:lnTo>
                    <a:pt x="1218" y="2"/>
                  </a:lnTo>
                  <a:lnTo>
                    <a:pt x="1214" y="2"/>
                  </a:lnTo>
                  <a:lnTo>
                    <a:pt x="1214" y="2"/>
                  </a:lnTo>
                  <a:lnTo>
                    <a:pt x="1212" y="2"/>
                  </a:lnTo>
                  <a:lnTo>
                    <a:pt x="1208" y="2"/>
                  </a:lnTo>
                  <a:lnTo>
                    <a:pt x="1201" y="2"/>
                  </a:lnTo>
                  <a:lnTo>
                    <a:pt x="1199" y="2"/>
                  </a:lnTo>
                  <a:lnTo>
                    <a:pt x="1199" y="0"/>
                  </a:lnTo>
                  <a:lnTo>
                    <a:pt x="1197" y="0"/>
                  </a:lnTo>
                  <a:lnTo>
                    <a:pt x="1197" y="0"/>
                  </a:lnTo>
                  <a:lnTo>
                    <a:pt x="1189" y="0"/>
                  </a:lnTo>
                  <a:lnTo>
                    <a:pt x="1187" y="0"/>
                  </a:lnTo>
                  <a:lnTo>
                    <a:pt x="1183" y="2"/>
                  </a:lnTo>
                  <a:lnTo>
                    <a:pt x="1183" y="2"/>
                  </a:lnTo>
                  <a:lnTo>
                    <a:pt x="1183" y="2"/>
                  </a:lnTo>
                  <a:lnTo>
                    <a:pt x="1185" y="2"/>
                  </a:lnTo>
                  <a:lnTo>
                    <a:pt x="1185" y="2"/>
                  </a:lnTo>
                  <a:lnTo>
                    <a:pt x="1183" y="2"/>
                  </a:lnTo>
                  <a:lnTo>
                    <a:pt x="1181" y="2"/>
                  </a:lnTo>
                  <a:lnTo>
                    <a:pt x="1177" y="0"/>
                  </a:lnTo>
                  <a:lnTo>
                    <a:pt x="1177" y="0"/>
                  </a:lnTo>
                  <a:lnTo>
                    <a:pt x="1169" y="0"/>
                  </a:lnTo>
                  <a:lnTo>
                    <a:pt x="1164" y="2"/>
                  </a:lnTo>
                  <a:lnTo>
                    <a:pt x="1162" y="2"/>
                  </a:lnTo>
                  <a:lnTo>
                    <a:pt x="1162" y="2"/>
                  </a:lnTo>
                  <a:lnTo>
                    <a:pt x="1160" y="2"/>
                  </a:lnTo>
                  <a:lnTo>
                    <a:pt x="1162" y="4"/>
                  </a:lnTo>
                  <a:lnTo>
                    <a:pt x="1167" y="4"/>
                  </a:lnTo>
                  <a:lnTo>
                    <a:pt x="1167" y="4"/>
                  </a:lnTo>
                  <a:lnTo>
                    <a:pt x="1160" y="4"/>
                  </a:lnTo>
                  <a:lnTo>
                    <a:pt x="1158" y="4"/>
                  </a:lnTo>
                  <a:lnTo>
                    <a:pt x="1156" y="2"/>
                  </a:lnTo>
                  <a:lnTo>
                    <a:pt x="1156" y="2"/>
                  </a:lnTo>
                  <a:lnTo>
                    <a:pt x="1154" y="2"/>
                  </a:lnTo>
                  <a:lnTo>
                    <a:pt x="1154" y="2"/>
                  </a:lnTo>
                  <a:lnTo>
                    <a:pt x="1142" y="2"/>
                  </a:lnTo>
                  <a:lnTo>
                    <a:pt x="1128" y="2"/>
                  </a:lnTo>
                  <a:lnTo>
                    <a:pt x="1128" y="2"/>
                  </a:lnTo>
                  <a:lnTo>
                    <a:pt x="1128" y="2"/>
                  </a:lnTo>
                  <a:lnTo>
                    <a:pt x="1132" y="4"/>
                  </a:lnTo>
                  <a:lnTo>
                    <a:pt x="1134" y="4"/>
                  </a:lnTo>
                  <a:lnTo>
                    <a:pt x="1134" y="4"/>
                  </a:lnTo>
                  <a:lnTo>
                    <a:pt x="1136" y="6"/>
                  </a:lnTo>
                  <a:lnTo>
                    <a:pt x="1136" y="6"/>
                  </a:lnTo>
                  <a:lnTo>
                    <a:pt x="1134" y="6"/>
                  </a:lnTo>
                  <a:lnTo>
                    <a:pt x="1132" y="6"/>
                  </a:lnTo>
                  <a:lnTo>
                    <a:pt x="1130" y="6"/>
                  </a:lnTo>
                  <a:lnTo>
                    <a:pt x="1130" y="6"/>
                  </a:lnTo>
                  <a:lnTo>
                    <a:pt x="1130" y="6"/>
                  </a:lnTo>
                  <a:lnTo>
                    <a:pt x="1130" y="6"/>
                  </a:lnTo>
                  <a:lnTo>
                    <a:pt x="1123" y="4"/>
                  </a:lnTo>
                  <a:lnTo>
                    <a:pt x="1121" y="2"/>
                  </a:lnTo>
                  <a:lnTo>
                    <a:pt x="1121" y="2"/>
                  </a:lnTo>
                  <a:lnTo>
                    <a:pt x="1117" y="2"/>
                  </a:lnTo>
                  <a:lnTo>
                    <a:pt x="1113" y="2"/>
                  </a:lnTo>
                  <a:lnTo>
                    <a:pt x="1107" y="2"/>
                  </a:lnTo>
                  <a:lnTo>
                    <a:pt x="1101" y="2"/>
                  </a:lnTo>
                  <a:lnTo>
                    <a:pt x="1097" y="2"/>
                  </a:lnTo>
                  <a:lnTo>
                    <a:pt x="1097" y="2"/>
                  </a:lnTo>
                  <a:lnTo>
                    <a:pt x="1099" y="4"/>
                  </a:lnTo>
                  <a:lnTo>
                    <a:pt x="1099" y="4"/>
                  </a:lnTo>
                  <a:lnTo>
                    <a:pt x="1101" y="4"/>
                  </a:lnTo>
                  <a:lnTo>
                    <a:pt x="1103" y="4"/>
                  </a:lnTo>
                  <a:lnTo>
                    <a:pt x="1107" y="4"/>
                  </a:lnTo>
                  <a:lnTo>
                    <a:pt x="1107" y="4"/>
                  </a:lnTo>
                  <a:lnTo>
                    <a:pt x="1105" y="4"/>
                  </a:lnTo>
                  <a:lnTo>
                    <a:pt x="1095" y="4"/>
                  </a:lnTo>
                  <a:lnTo>
                    <a:pt x="1091" y="4"/>
                  </a:lnTo>
                  <a:lnTo>
                    <a:pt x="1086" y="4"/>
                  </a:lnTo>
                  <a:lnTo>
                    <a:pt x="1084" y="4"/>
                  </a:lnTo>
                  <a:lnTo>
                    <a:pt x="1084" y="4"/>
                  </a:lnTo>
                  <a:lnTo>
                    <a:pt x="1084" y="4"/>
                  </a:lnTo>
                  <a:lnTo>
                    <a:pt x="1086" y="6"/>
                  </a:lnTo>
                  <a:lnTo>
                    <a:pt x="1084" y="6"/>
                  </a:lnTo>
                  <a:lnTo>
                    <a:pt x="1082" y="6"/>
                  </a:lnTo>
                  <a:lnTo>
                    <a:pt x="1080" y="6"/>
                  </a:lnTo>
                  <a:lnTo>
                    <a:pt x="1078" y="6"/>
                  </a:lnTo>
                  <a:lnTo>
                    <a:pt x="1074" y="6"/>
                  </a:lnTo>
                  <a:lnTo>
                    <a:pt x="1074" y="6"/>
                  </a:lnTo>
                  <a:lnTo>
                    <a:pt x="1074" y="6"/>
                  </a:lnTo>
                  <a:lnTo>
                    <a:pt x="1076" y="6"/>
                  </a:lnTo>
                  <a:lnTo>
                    <a:pt x="1076" y="6"/>
                  </a:lnTo>
                  <a:lnTo>
                    <a:pt x="1072" y="6"/>
                  </a:lnTo>
                  <a:lnTo>
                    <a:pt x="1070" y="8"/>
                  </a:lnTo>
                  <a:lnTo>
                    <a:pt x="1068" y="8"/>
                  </a:lnTo>
                  <a:lnTo>
                    <a:pt x="1068" y="8"/>
                  </a:lnTo>
                  <a:lnTo>
                    <a:pt x="1068" y="8"/>
                  </a:lnTo>
                  <a:lnTo>
                    <a:pt x="1070" y="10"/>
                  </a:lnTo>
                  <a:lnTo>
                    <a:pt x="1074" y="10"/>
                  </a:lnTo>
                  <a:lnTo>
                    <a:pt x="1084" y="12"/>
                  </a:lnTo>
                  <a:lnTo>
                    <a:pt x="1089" y="12"/>
                  </a:lnTo>
                  <a:lnTo>
                    <a:pt x="1089" y="14"/>
                  </a:lnTo>
                  <a:lnTo>
                    <a:pt x="1089" y="14"/>
                  </a:lnTo>
                  <a:lnTo>
                    <a:pt x="1086" y="14"/>
                  </a:lnTo>
                  <a:lnTo>
                    <a:pt x="1084" y="12"/>
                  </a:lnTo>
                  <a:lnTo>
                    <a:pt x="1082" y="12"/>
                  </a:lnTo>
                  <a:lnTo>
                    <a:pt x="1080" y="12"/>
                  </a:lnTo>
                  <a:lnTo>
                    <a:pt x="1072" y="10"/>
                  </a:lnTo>
                  <a:lnTo>
                    <a:pt x="1066" y="10"/>
                  </a:lnTo>
                  <a:lnTo>
                    <a:pt x="1064" y="10"/>
                  </a:lnTo>
                  <a:lnTo>
                    <a:pt x="1064" y="10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64" y="12"/>
                  </a:lnTo>
                  <a:lnTo>
                    <a:pt x="1064" y="12"/>
                  </a:lnTo>
                  <a:lnTo>
                    <a:pt x="1060" y="12"/>
                  </a:lnTo>
                  <a:lnTo>
                    <a:pt x="1060" y="12"/>
                  </a:lnTo>
                  <a:lnTo>
                    <a:pt x="1058" y="10"/>
                  </a:lnTo>
                  <a:lnTo>
                    <a:pt x="1058" y="10"/>
                  </a:lnTo>
                  <a:lnTo>
                    <a:pt x="1056" y="8"/>
                  </a:lnTo>
                  <a:lnTo>
                    <a:pt x="1054" y="8"/>
                  </a:lnTo>
                  <a:lnTo>
                    <a:pt x="1047" y="8"/>
                  </a:lnTo>
                  <a:lnTo>
                    <a:pt x="1047" y="8"/>
                  </a:lnTo>
                  <a:lnTo>
                    <a:pt x="1045" y="8"/>
                  </a:lnTo>
                  <a:lnTo>
                    <a:pt x="1045" y="8"/>
                  </a:lnTo>
                  <a:lnTo>
                    <a:pt x="1039" y="8"/>
                  </a:lnTo>
                  <a:lnTo>
                    <a:pt x="1037" y="8"/>
                  </a:lnTo>
                  <a:lnTo>
                    <a:pt x="1033" y="10"/>
                  </a:lnTo>
                  <a:lnTo>
                    <a:pt x="1031" y="10"/>
                  </a:lnTo>
                  <a:lnTo>
                    <a:pt x="1029" y="10"/>
                  </a:lnTo>
                  <a:lnTo>
                    <a:pt x="1025" y="10"/>
                  </a:lnTo>
                  <a:lnTo>
                    <a:pt x="1025" y="10"/>
                  </a:lnTo>
                  <a:lnTo>
                    <a:pt x="1035" y="12"/>
                  </a:lnTo>
                  <a:lnTo>
                    <a:pt x="1035" y="12"/>
                  </a:lnTo>
                  <a:lnTo>
                    <a:pt x="1035" y="12"/>
                  </a:lnTo>
                  <a:lnTo>
                    <a:pt x="1035" y="12"/>
                  </a:lnTo>
                  <a:lnTo>
                    <a:pt x="1033" y="12"/>
                  </a:lnTo>
                  <a:lnTo>
                    <a:pt x="1031" y="12"/>
                  </a:lnTo>
                  <a:lnTo>
                    <a:pt x="1029" y="12"/>
                  </a:lnTo>
                  <a:lnTo>
                    <a:pt x="1027" y="12"/>
                  </a:lnTo>
                  <a:lnTo>
                    <a:pt x="1025" y="12"/>
                  </a:lnTo>
                  <a:lnTo>
                    <a:pt x="1023" y="12"/>
                  </a:lnTo>
                  <a:lnTo>
                    <a:pt x="1021" y="12"/>
                  </a:lnTo>
                  <a:lnTo>
                    <a:pt x="1019" y="12"/>
                  </a:lnTo>
                  <a:lnTo>
                    <a:pt x="1017" y="12"/>
                  </a:lnTo>
                  <a:lnTo>
                    <a:pt x="1017" y="12"/>
                  </a:lnTo>
                  <a:lnTo>
                    <a:pt x="1015" y="12"/>
                  </a:lnTo>
                  <a:lnTo>
                    <a:pt x="1015" y="12"/>
                  </a:lnTo>
                  <a:lnTo>
                    <a:pt x="1013" y="12"/>
                  </a:lnTo>
                  <a:lnTo>
                    <a:pt x="1008" y="12"/>
                  </a:lnTo>
                  <a:lnTo>
                    <a:pt x="1002" y="12"/>
                  </a:lnTo>
                  <a:lnTo>
                    <a:pt x="998" y="12"/>
                  </a:lnTo>
                  <a:lnTo>
                    <a:pt x="996" y="12"/>
                  </a:lnTo>
                  <a:lnTo>
                    <a:pt x="992" y="14"/>
                  </a:lnTo>
                  <a:lnTo>
                    <a:pt x="990" y="14"/>
                  </a:lnTo>
                  <a:lnTo>
                    <a:pt x="984" y="14"/>
                  </a:lnTo>
                  <a:lnTo>
                    <a:pt x="982" y="14"/>
                  </a:lnTo>
                  <a:lnTo>
                    <a:pt x="976" y="14"/>
                  </a:lnTo>
                  <a:lnTo>
                    <a:pt x="971" y="14"/>
                  </a:lnTo>
                  <a:lnTo>
                    <a:pt x="969" y="17"/>
                  </a:lnTo>
                  <a:lnTo>
                    <a:pt x="967" y="17"/>
                  </a:lnTo>
                  <a:lnTo>
                    <a:pt x="965" y="17"/>
                  </a:lnTo>
                  <a:lnTo>
                    <a:pt x="967" y="17"/>
                  </a:lnTo>
                  <a:lnTo>
                    <a:pt x="967" y="17"/>
                  </a:lnTo>
                  <a:lnTo>
                    <a:pt x="969" y="17"/>
                  </a:lnTo>
                  <a:lnTo>
                    <a:pt x="974" y="17"/>
                  </a:lnTo>
                  <a:lnTo>
                    <a:pt x="976" y="17"/>
                  </a:lnTo>
                  <a:lnTo>
                    <a:pt x="978" y="17"/>
                  </a:lnTo>
                  <a:lnTo>
                    <a:pt x="978" y="17"/>
                  </a:lnTo>
                  <a:lnTo>
                    <a:pt x="984" y="17"/>
                  </a:lnTo>
                  <a:lnTo>
                    <a:pt x="984" y="17"/>
                  </a:lnTo>
                  <a:lnTo>
                    <a:pt x="974" y="19"/>
                  </a:lnTo>
                  <a:lnTo>
                    <a:pt x="971" y="19"/>
                  </a:lnTo>
                  <a:lnTo>
                    <a:pt x="974" y="19"/>
                  </a:lnTo>
                  <a:lnTo>
                    <a:pt x="976" y="19"/>
                  </a:lnTo>
                  <a:lnTo>
                    <a:pt x="990" y="19"/>
                  </a:lnTo>
                  <a:lnTo>
                    <a:pt x="996" y="19"/>
                  </a:lnTo>
                  <a:lnTo>
                    <a:pt x="998" y="19"/>
                  </a:lnTo>
                  <a:lnTo>
                    <a:pt x="1004" y="19"/>
                  </a:lnTo>
                  <a:lnTo>
                    <a:pt x="1002" y="19"/>
                  </a:lnTo>
                  <a:lnTo>
                    <a:pt x="998" y="19"/>
                  </a:lnTo>
                  <a:lnTo>
                    <a:pt x="994" y="19"/>
                  </a:lnTo>
                  <a:lnTo>
                    <a:pt x="990" y="19"/>
                  </a:lnTo>
                  <a:lnTo>
                    <a:pt x="984" y="21"/>
                  </a:lnTo>
                  <a:lnTo>
                    <a:pt x="980" y="21"/>
                  </a:lnTo>
                  <a:lnTo>
                    <a:pt x="980" y="21"/>
                  </a:lnTo>
                  <a:lnTo>
                    <a:pt x="984" y="21"/>
                  </a:lnTo>
                  <a:lnTo>
                    <a:pt x="982" y="21"/>
                  </a:lnTo>
                  <a:lnTo>
                    <a:pt x="980" y="21"/>
                  </a:lnTo>
                  <a:lnTo>
                    <a:pt x="976" y="23"/>
                  </a:lnTo>
                  <a:lnTo>
                    <a:pt x="974" y="23"/>
                  </a:lnTo>
                  <a:lnTo>
                    <a:pt x="974" y="23"/>
                  </a:lnTo>
                  <a:lnTo>
                    <a:pt x="976" y="25"/>
                  </a:lnTo>
                  <a:lnTo>
                    <a:pt x="978" y="25"/>
                  </a:lnTo>
                  <a:lnTo>
                    <a:pt x="984" y="23"/>
                  </a:lnTo>
                  <a:lnTo>
                    <a:pt x="1000" y="23"/>
                  </a:lnTo>
                  <a:lnTo>
                    <a:pt x="1006" y="23"/>
                  </a:lnTo>
                  <a:lnTo>
                    <a:pt x="1017" y="21"/>
                  </a:lnTo>
                  <a:lnTo>
                    <a:pt x="1021" y="21"/>
                  </a:lnTo>
                  <a:lnTo>
                    <a:pt x="1023" y="21"/>
                  </a:lnTo>
                  <a:lnTo>
                    <a:pt x="1025" y="21"/>
                  </a:lnTo>
                  <a:lnTo>
                    <a:pt x="1025" y="21"/>
                  </a:lnTo>
                  <a:lnTo>
                    <a:pt x="1015" y="23"/>
                  </a:lnTo>
                  <a:lnTo>
                    <a:pt x="1006" y="25"/>
                  </a:lnTo>
                  <a:lnTo>
                    <a:pt x="1002" y="25"/>
                  </a:lnTo>
                  <a:lnTo>
                    <a:pt x="996" y="25"/>
                  </a:lnTo>
                  <a:lnTo>
                    <a:pt x="988" y="25"/>
                  </a:lnTo>
                  <a:lnTo>
                    <a:pt x="978" y="25"/>
                  </a:lnTo>
                  <a:lnTo>
                    <a:pt x="978" y="25"/>
                  </a:lnTo>
                  <a:lnTo>
                    <a:pt x="978" y="25"/>
                  </a:lnTo>
                  <a:lnTo>
                    <a:pt x="978" y="27"/>
                  </a:lnTo>
                  <a:lnTo>
                    <a:pt x="978" y="27"/>
                  </a:lnTo>
                  <a:lnTo>
                    <a:pt x="980" y="27"/>
                  </a:lnTo>
                  <a:lnTo>
                    <a:pt x="982" y="27"/>
                  </a:lnTo>
                  <a:lnTo>
                    <a:pt x="984" y="27"/>
                  </a:lnTo>
                  <a:lnTo>
                    <a:pt x="986" y="29"/>
                  </a:lnTo>
                  <a:lnTo>
                    <a:pt x="988" y="29"/>
                  </a:lnTo>
                  <a:lnTo>
                    <a:pt x="992" y="29"/>
                  </a:lnTo>
                  <a:lnTo>
                    <a:pt x="996" y="27"/>
                  </a:lnTo>
                  <a:lnTo>
                    <a:pt x="1008" y="25"/>
                  </a:lnTo>
                  <a:lnTo>
                    <a:pt x="1010" y="25"/>
                  </a:lnTo>
                  <a:lnTo>
                    <a:pt x="1015" y="25"/>
                  </a:lnTo>
                  <a:lnTo>
                    <a:pt x="1027" y="23"/>
                  </a:lnTo>
                  <a:lnTo>
                    <a:pt x="1039" y="23"/>
                  </a:lnTo>
                  <a:lnTo>
                    <a:pt x="1039" y="23"/>
                  </a:lnTo>
                  <a:lnTo>
                    <a:pt x="1025" y="23"/>
                  </a:lnTo>
                  <a:lnTo>
                    <a:pt x="1019" y="25"/>
                  </a:lnTo>
                  <a:lnTo>
                    <a:pt x="1013" y="25"/>
                  </a:lnTo>
                  <a:lnTo>
                    <a:pt x="1004" y="27"/>
                  </a:lnTo>
                  <a:lnTo>
                    <a:pt x="1002" y="27"/>
                  </a:lnTo>
                  <a:lnTo>
                    <a:pt x="1000" y="29"/>
                  </a:lnTo>
                  <a:lnTo>
                    <a:pt x="998" y="29"/>
                  </a:lnTo>
                  <a:lnTo>
                    <a:pt x="998" y="29"/>
                  </a:lnTo>
                  <a:lnTo>
                    <a:pt x="1002" y="29"/>
                  </a:lnTo>
                  <a:lnTo>
                    <a:pt x="1002" y="29"/>
                  </a:lnTo>
                  <a:lnTo>
                    <a:pt x="1006" y="29"/>
                  </a:lnTo>
                  <a:lnTo>
                    <a:pt x="1010" y="29"/>
                  </a:lnTo>
                  <a:lnTo>
                    <a:pt x="1013" y="31"/>
                  </a:lnTo>
                  <a:lnTo>
                    <a:pt x="1019" y="29"/>
                  </a:lnTo>
                  <a:lnTo>
                    <a:pt x="1021" y="29"/>
                  </a:lnTo>
                  <a:lnTo>
                    <a:pt x="1023" y="29"/>
                  </a:lnTo>
                  <a:lnTo>
                    <a:pt x="1025" y="29"/>
                  </a:lnTo>
                  <a:lnTo>
                    <a:pt x="1029" y="29"/>
                  </a:lnTo>
                  <a:lnTo>
                    <a:pt x="1033" y="27"/>
                  </a:lnTo>
                  <a:lnTo>
                    <a:pt x="1039" y="27"/>
                  </a:lnTo>
                  <a:lnTo>
                    <a:pt x="1041" y="27"/>
                  </a:lnTo>
                  <a:lnTo>
                    <a:pt x="1045" y="27"/>
                  </a:lnTo>
                  <a:lnTo>
                    <a:pt x="1043" y="27"/>
                  </a:lnTo>
                  <a:lnTo>
                    <a:pt x="1037" y="29"/>
                  </a:lnTo>
                  <a:lnTo>
                    <a:pt x="1035" y="29"/>
                  </a:lnTo>
                  <a:lnTo>
                    <a:pt x="1037" y="29"/>
                  </a:lnTo>
                  <a:lnTo>
                    <a:pt x="1039" y="29"/>
                  </a:lnTo>
                  <a:lnTo>
                    <a:pt x="1049" y="29"/>
                  </a:lnTo>
                  <a:lnTo>
                    <a:pt x="1052" y="29"/>
                  </a:lnTo>
                  <a:lnTo>
                    <a:pt x="1056" y="29"/>
                  </a:lnTo>
                  <a:lnTo>
                    <a:pt x="1066" y="27"/>
                  </a:lnTo>
                  <a:lnTo>
                    <a:pt x="1070" y="27"/>
                  </a:lnTo>
                  <a:lnTo>
                    <a:pt x="1072" y="25"/>
                  </a:lnTo>
                  <a:lnTo>
                    <a:pt x="1074" y="25"/>
                  </a:lnTo>
                  <a:lnTo>
                    <a:pt x="1074" y="25"/>
                  </a:lnTo>
                  <a:lnTo>
                    <a:pt x="1076" y="25"/>
                  </a:lnTo>
                  <a:lnTo>
                    <a:pt x="1078" y="23"/>
                  </a:lnTo>
                  <a:lnTo>
                    <a:pt x="1080" y="23"/>
                  </a:lnTo>
                  <a:lnTo>
                    <a:pt x="1080" y="23"/>
                  </a:lnTo>
                  <a:lnTo>
                    <a:pt x="1082" y="23"/>
                  </a:lnTo>
                  <a:lnTo>
                    <a:pt x="1084" y="23"/>
                  </a:lnTo>
                  <a:lnTo>
                    <a:pt x="1091" y="21"/>
                  </a:lnTo>
                  <a:lnTo>
                    <a:pt x="1095" y="21"/>
                  </a:lnTo>
                  <a:lnTo>
                    <a:pt x="1107" y="19"/>
                  </a:lnTo>
                  <a:lnTo>
                    <a:pt x="1105" y="21"/>
                  </a:lnTo>
                  <a:lnTo>
                    <a:pt x="1099" y="21"/>
                  </a:lnTo>
                  <a:lnTo>
                    <a:pt x="1091" y="23"/>
                  </a:lnTo>
                  <a:lnTo>
                    <a:pt x="1086" y="23"/>
                  </a:lnTo>
                  <a:lnTo>
                    <a:pt x="1084" y="23"/>
                  </a:lnTo>
                  <a:lnTo>
                    <a:pt x="1082" y="25"/>
                  </a:lnTo>
                  <a:lnTo>
                    <a:pt x="1082" y="25"/>
                  </a:lnTo>
                  <a:lnTo>
                    <a:pt x="1084" y="25"/>
                  </a:lnTo>
                  <a:lnTo>
                    <a:pt x="1089" y="25"/>
                  </a:lnTo>
                  <a:lnTo>
                    <a:pt x="1095" y="25"/>
                  </a:lnTo>
                  <a:lnTo>
                    <a:pt x="1097" y="25"/>
                  </a:lnTo>
                  <a:lnTo>
                    <a:pt x="1099" y="25"/>
                  </a:lnTo>
                  <a:lnTo>
                    <a:pt x="1099" y="27"/>
                  </a:lnTo>
                  <a:lnTo>
                    <a:pt x="1097" y="27"/>
                  </a:lnTo>
                  <a:lnTo>
                    <a:pt x="1093" y="27"/>
                  </a:lnTo>
                  <a:lnTo>
                    <a:pt x="1082" y="27"/>
                  </a:lnTo>
                  <a:lnTo>
                    <a:pt x="1068" y="29"/>
                  </a:lnTo>
                  <a:lnTo>
                    <a:pt x="1068" y="29"/>
                  </a:lnTo>
                  <a:lnTo>
                    <a:pt x="1062" y="29"/>
                  </a:lnTo>
                  <a:lnTo>
                    <a:pt x="1052" y="31"/>
                  </a:lnTo>
                  <a:lnTo>
                    <a:pt x="1035" y="31"/>
                  </a:lnTo>
                  <a:lnTo>
                    <a:pt x="1033" y="33"/>
                  </a:lnTo>
                  <a:lnTo>
                    <a:pt x="1031" y="33"/>
                  </a:lnTo>
                  <a:lnTo>
                    <a:pt x="1029" y="33"/>
                  </a:lnTo>
                  <a:lnTo>
                    <a:pt x="1031" y="35"/>
                  </a:lnTo>
                  <a:lnTo>
                    <a:pt x="1033" y="35"/>
                  </a:lnTo>
                  <a:lnTo>
                    <a:pt x="1035" y="37"/>
                  </a:lnTo>
                  <a:lnTo>
                    <a:pt x="1037" y="37"/>
                  </a:lnTo>
                  <a:lnTo>
                    <a:pt x="1037" y="39"/>
                  </a:lnTo>
                  <a:lnTo>
                    <a:pt x="1039" y="39"/>
                  </a:lnTo>
                  <a:lnTo>
                    <a:pt x="1039" y="41"/>
                  </a:lnTo>
                  <a:lnTo>
                    <a:pt x="1043" y="41"/>
                  </a:lnTo>
                  <a:lnTo>
                    <a:pt x="1047" y="41"/>
                  </a:lnTo>
                  <a:lnTo>
                    <a:pt x="1049" y="41"/>
                  </a:lnTo>
                  <a:lnTo>
                    <a:pt x="1047" y="41"/>
                  </a:lnTo>
                  <a:lnTo>
                    <a:pt x="1043" y="41"/>
                  </a:lnTo>
                  <a:lnTo>
                    <a:pt x="1041" y="41"/>
                  </a:lnTo>
                  <a:lnTo>
                    <a:pt x="1039" y="41"/>
                  </a:lnTo>
                  <a:lnTo>
                    <a:pt x="1035" y="41"/>
                  </a:lnTo>
                  <a:lnTo>
                    <a:pt x="1033" y="41"/>
                  </a:lnTo>
                  <a:lnTo>
                    <a:pt x="1031" y="39"/>
                  </a:lnTo>
                  <a:lnTo>
                    <a:pt x="1031" y="39"/>
                  </a:lnTo>
                  <a:lnTo>
                    <a:pt x="1029" y="37"/>
                  </a:lnTo>
                  <a:lnTo>
                    <a:pt x="1029" y="37"/>
                  </a:lnTo>
                  <a:lnTo>
                    <a:pt x="1025" y="35"/>
                  </a:lnTo>
                  <a:lnTo>
                    <a:pt x="1023" y="35"/>
                  </a:lnTo>
                  <a:lnTo>
                    <a:pt x="1021" y="33"/>
                  </a:lnTo>
                  <a:lnTo>
                    <a:pt x="1019" y="33"/>
                  </a:lnTo>
                  <a:lnTo>
                    <a:pt x="1013" y="33"/>
                  </a:lnTo>
                  <a:lnTo>
                    <a:pt x="1008" y="33"/>
                  </a:lnTo>
                  <a:lnTo>
                    <a:pt x="996" y="33"/>
                  </a:lnTo>
                  <a:lnTo>
                    <a:pt x="994" y="33"/>
                  </a:lnTo>
                  <a:lnTo>
                    <a:pt x="990" y="35"/>
                  </a:lnTo>
                  <a:lnTo>
                    <a:pt x="990" y="37"/>
                  </a:lnTo>
                  <a:lnTo>
                    <a:pt x="988" y="39"/>
                  </a:lnTo>
                  <a:lnTo>
                    <a:pt x="990" y="39"/>
                  </a:lnTo>
                  <a:lnTo>
                    <a:pt x="990" y="39"/>
                  </a:lnTo>
                  <a:lnTo>
                    <a:pt x="994" y="41"/>
                  </a:lnTo>
                  <a:lnTo>
                    <a:pt x="996" y="41"/>
                  </a:lnTo>
                  <a:lnTo>
                    <a:pt x="998" y="41"/>
                  </a:lnTo>
                  <a:lnTo>
                    <a:pt x="998" y="43"/>
                  </a:lnTo>
                  <a:lnTo>
                    <a:pt x="1000" y="43"/>
                  </a:lnTo>
                  <a:lnTo>
                    <a:pt x="1000" y="45"/>
                  </a:lnTo>
                  <a:lnTo>
                    <a:pt x="1000" y="45"/>
                  </a:lnTo>
                  <a:lnTo>
                    <a:pt x="1002" y="47"/>
                  </a:lnTo>
                  <a:lnTo>
                    <a:pt x="1004" y="47"/>
                  </a:lnTo>
                  <a:lnTo>
                    <a:pt x="1004" y="47"/>
                  </a:lnTo>
                  <a:lnTo>
                    <a:pt x="1002" y="47"/>
                  </a:lnTo>
                  <a:lnTo>
                    <a:pt x="1000" y="47"/>
                  </a:lnTo>
                  <a:lnTo>
                    <a:pt x="998" y="47"/>
                  </a:lnTo>
                  <a:lnTo>
                    <a:pt x="996" y="47"/>
                  </a:lnTo>
                  <a:lnTo>
                    <a:pt x="994" y="47"/>
                  </a:lnTo>
                  <a:lnTo>
                    <a:pt x="994" y="47"/>
                  </a:lnTo>
                  <a:lnTo>
                    <a:pt x="994" y="49"/>
                  </a:lnTo>
                  <a:lnTo>
                    <a:pt x="994" y="49"/>
                  </a:lnTo>
                  <a:lnTo>
                    <a:pt x="994" y="49"/>
                  </a:lnTo>
                  <a:lnTo>
                    <a:pt x="996" y="49"/>
                  </a:lnTo>
                  <a:lnTo>
                    <a:pt x="1000" y="49"/>
                  </a:lnTo>
                  <a:lnTo>
                    <a:pt x="1006" y="49"/>
                  </a:lnTo>
                  <a:lnTo>
                    <a:pt x="1010" y="49"/>
                  </a:lnTo>
                  <a:lnTo>
                    <a:pt x="1013" y="49"/>
                  </a:lnTo>
                  <a:lnTo>
                    <a:pt x="1015" y="49"/>
                  </a:lnTo>
                  <a:lnTo>
                    <a:pt x="1019" y="49"/>
                  </a:lnTo>
                  <a:lnTo>
                    <a:pt x="1021" y="49"/>
                  </a:lnTo>
                  <a:lnTo>
                    <a:pt x="1021" y="49"/>
                  </a:lnTo>
                  <a:lnTo>
                    <a:pt x="1021" y="49"/>
                  </a:lnTo>
                  <a:lnTo>
                    <a:pt x="1019" y="49"/>
                  </a:lnTo>
                  <a:lnTo>
                    <a:pt x="1015" y="52"/>
                  </a:lnTo>
                  <a:lnTo>
                    <a:pt x="1015" y="52"/>
                  </a:lnTo>
                  <a:lnTo>
                    <a:pt x="1013" y="52"/>
                  </a:lnTo>
                  <a:lnTo>
                    <a:pt x="1006" y="52"/>
                  </a:lnTo>
                  <a:lnTo>
                    <a:pt x="1004" y="52"/>
                  </a:lnTo>
                  <a:lnTo>
                    <a:pt x="1002" y="52"/>
                  </a:lnTo>
                  <a:lnTo>
                    <a:pt x="1002" y="52"/>
                  </a:lnTo>
                  <a:lnTo>
                    <a:pt x="1000" y="52"/>
                  </a:lnTo>
                  <a:lnTo>
                    <a:pt x="996" y="52"/>
                  </a:lnTo>
                  <a:lnTo>
                    <a:pt x="988" y="52"/>
                  </a:lnTo>
                  <a:lnTo>
                    <a:pt x="988" y="49"/>
                  </a:lnTo>
                  <a:lnTo>
                    <a:pt x="984" y="49"/>
                  </a:lnTo>
                  <a:lnTo>
                    <a:pt x="980" y="52"/>
                  </a:lnTo>
                  <a:lnTo>
                    <a:pt x="974" y="52"/>
                  </a:lnTo>
                  <a:lnTo>
                    <a:pt x="965" y="52"/>
                  </a:lnTo>
                  <a:lnTo>
                    <a:pt x="963" y="54"/>
                  </a:lnTo>
                  <a:lnTo>
                    <a:pt x="959" y="56"/>
                  </a:lnTo>
                  <a:lnTo>
                    <a:pt x="955" y="56"/>
                  </a:lnTo>
                  <a:lnTo>
                    <a:pt x="953" y="58"/>
                  </a:lnTo>
                  <a:lnTo>
                    <a:pt x="951" y="58"/>
                  </a:lnTo>
                  <a:lnTo>
                    <a:pt x="949" y="60"/>
                  </a:lnTo>
                  <a:lnTo>
                    <a:pt x="949" y="60"/>
                  </a:lnTo>
                  <a:lnTo>
                    <a:pt x="955" y="60"/>
                  </a:lnTo>
                  <a:lnTo>
                    <a:pt x="957" y="60"/>
                  </a:lnTo>
                  <a:lnTo>
                    <a:pt x="961" y="60"/>
                  </a:lnTo>
                  <a:lnTo>
                    <a:pt x="965" y="58"/>
                  </a:lnTo>
                  <a:lnTo>
                    <a:pt x="967" y="58"/>
                  </a:lnTo>
                  <a:lnTo>
                    <a:pt x="963" y="60"/>
                  </a:lnTo>
                  <a:lnTo>
                    <a:pt x="961" y="62"/>
                  </a:lnTo>
                  <a:lnTo>
                    <a:pt x="967" y="62"/>
                  </a:lnTo>
                  <a:lnTo>
                    <a:pt x="969" y="60"/>
                  </a:lnTo>
                  <a:lnTo>
                    <a:pt x="971" y="60"/>
                  </a:lnTo>
                  <a:lnTo>
                    <a:pt x="978" y="58"/>
                  </a:lnTo>
                  <a:lnTo>
                    <a:pt x="984" y="56"/>
                  </a:lnTo>
                  <a:lnTo>
                    <a:pt x="978" y="60"/>
                  </a:lnTo>
                  <a:lnTo>
                    <a:pt x="982" y="60"/>
                  </a:lnTo>
                  <a:lnTo>
                    <a:pt x="982" y="60"/>
                  </a:lnTo>
                  <a:lnTo>
                    <a:pt x="984" y="60"/>
                  </a:lnTo>
                  <a:lnTo>
                    <a:pt x="980" y="60"/>
                  </a:lnTo>
                  <a:lnTo>
                    <a:pt x="980" y="60"/>
                  </a:lnTo>
                  <a:lnTo>
                    <a:pt x="974" y="62"/>
                  </a:lnTo>
                  <a:lnTo>
                    <a:pt x="969" y="62"/>
                  </a:lnTo>
                  <a:lnTo>
                    <a:pt x="965" y="64"/>
                  </a:lnTo>
                  <a:lnTo>
                    <a:pt x="965" y="66"/>
                  </a:lnTo>
                  <a:lnTo>
                    <a:pt x="961" y="68"/>
                  </a:lnTo>
                  <a:lnTo>
                    <a:pt x="963" y="68"/>
                  </a:lnTo>
                  <a:lnTo>
                    <a:pt x="965" y="70"/>
                  </a:lnTo>
                  <a:lnTo>
                    <a:pt x="969" y="68"/>
                  </a:lnTo>
                  <a:lnTo>
                    <a:pt x="974" y="68"/>
                  </a:lnTo>
                  <a:lnTo>
                    <a:pt x="976" y="68"/>
                  </a:lnTo>
                  <a:lnTo>
                    <a:pt x="978" y="68"/>
                  </a:lnTo>
                  <a:lnTo>
                    <a:pt x="982" y="68"/>
                  </a:lnTo>
                  <a:lnTo>
                    <a:pt x="984" y="66"/>
                  </a:lnTo>
                  <a:lnTo>
                    <a:pt x="996" y="64"/>
                  </a:lnTo>
                  <a:lnTo>
                    <a:pt x="996" y="62"/>
                  </a:lnTo>
                  <a:lnTo>
                    <a:pt x="996" y="64"/>
                  </a:lnTo>
                  <a:lnTo>
                    <a:pt x="994" y="64"/>
                  </a:lnTo>
                  <a:lnTo>
                    <a:pt x="994" y="64"/>
                  </a:lnTo>
                  <a:lnTo>
                    <a:pt x="990" y="66"/>
                  </a:lnTo>
                  <a:lnTo>
                    <a:pt x="984" y="68"/>
                  </a:lnTo>
                  <a:lnTo>
                    <a:pt x="980" y="68"/>
                  </a:lnTo>
                  <a:lnTo>
                    <a:pt x="980" y="70"/>
                  </a:lnTo>
                  <a:lnTo>
                    <a:pt x="978" y="70"/>
                  </a:lnTo>
                  <a:lnTo>
                    <a:pt x="976" y="70"/>
                  </a:lnTo>
                  <a:lnTo>
                    <a:pt x="974" y="70"/>
                  </a:lnTo>
                  <a:lnTo>
                    <a:pt x="967" y="70"/>
                  </a:lnTo>
                  <a:lnTo>
                    <a:pt x="965" y="70"/>
                  </a:lnTo>
                  <a:lnTo>
                    <a:pt x="963" y="70"/>
                  </a:lnTo>
                  <a:lnTo>
                    <a:pt x="957" y="70"/>
                  </a:lnTo>
                  <a:lnTo>
                    <a:pt x="957" y="68"/>
                  </a:lnTo>
                  <a:lnTo>
                    <a:pt x="957" y="68"/>
                  </a:lnTo>
                  <a:lnTo>
                    <a:pt x="955" y="66"/>
                  </a:lnTo>
                  <a:lnTo>
                    <a:pt x="955" y="66"/>
                  </a:lnTo>
                  <a:lnTo>
                    <a:pt x="951" y="64"/>
                  </a:lnTo>
                  <a:lnTo>
                    <a:pt x="949" y="64"/>
                  </a:lnTo>
                  <a:lnTo>
                    <a:pt x="947" y="64"/>
                  </a:lnTo>
                  <a:lnTo>
                    <a:pt x="945" y="64"/>
                  </a:lnTo>
                  <a:lnTo>
                    <a:pt x="941" y="64"/>
                  </a:lnTo>
                  <a:lnTo>
                    <a:pt x="937" y="66"/>
                  </a:lnTo>
                  <a:lnTo>
                    <a:pt x="935" y="66"/>
                  </a:lnTo>
                  <a:lnTo>
                    <a:pt x="935" y="68"/>
                  </a:lnTo>
                  <a:lnTo>
                    <a:pt x="935" y="70"/>
                  </a:lnTo>
                  <a:lnTo>
                    <a:pt x="935" y="70"/>
                  </a:lnTo>
                  <a:lnTo>
                    <a:pt x="935" y="70"/>
                  </a:lnTo>
                  <a:lnTo>
                    <a:pt x="937" y="72"/>
                  </a:lnTo>
                  <a:lnTo>
                    <a:pt x="937" y="72"/>
                  </a:lnTo>
                  <a:lnTo>
                    <a:pt x="939" y="72"/>
                  </a:lnTo>
                  <a:lnTo>
                    <a:pt x="939" y="72"/>
                  </a:lnTo>
                  <a:lnTo>
                    <a:pt x="939" y="74"/>
                  </a:lnTo>
                  <a:lnTo>
                    <a:pt x="939" y="74"/>
                  </a:lnTo>
                  <a:lnTo>
                    <a:pt x="939" y="74"/>
                  </a:lnTo>
                  <a:lnTo>
                    <a:pt x="937" y="74"/>
                  </a:lnTo>
                  <a:lnTo>
                    <a:pt x="932" y="74"/>
                  </a:lnTo>
                  <a:lnTo>
                    <a:pt x="930" y="74"/>
                  </a:lnTo>
                  <a:lnTo>
                    <a:pt x="928" y="74"/>
                  </a:lnTo>
                  <a:lnTo>
                    <a:pt x="924" y="74"/>
                  </a:lnTo>
                  <a:lnTo>
                    <a:pt x="922" y="74"/>
                  </a:lnTo>
                  <a:lnTo>
                    <a:pt x="920" y="74"/>
                  </a:lnTo>
                  <a:lnTo>
                    <a:pt x="916" y="76"/>
                  </a:lnTo>
                  <a:lnTo>
                    <a:pt x="906" y="78"/>
                  </a:lnTo>
                  <a:lnTo>
                    <a:pt x="902" y="80"/>
                  </a:lnTo>
                  <a:lnTo>
                    <a:pt x="900" y="82"/>
                  </a:lnTo>
                  <a:lnTo>
                    <a:pt x="900" y="82"/>
                  </a:lnTo>
                  <a:lnTo>
                    <a:pt x="906" y="84"/>
                  </a:lnTo>
                  <a:lnTo>
                    <a:pt x="908" y="84"/>
                  </a:lnTo>
                  <a:lnTo>
                    <a:pt x="910" y="82"/>
                  </a:lnTo>
                  <a:lnTo>
                    <a:pt x="912" y="80"/>
                  </a:lnTo>
                  <a:lnTo>
                    <a:pt x="914" y="78"/>
                  </a:lnTo>
                  <a:lnTo>
                    <a:pt x="912" y="82"/>
                  </a:lnTo>
                  <a:lnTo>
                    <a:pt x="910" y="84"/>
                  </a:lnTo>
                  <a:lnTo>
                    <a:pt x="914" y="84"/>
                  </a:lnTo>
                  <a:lnTo>
                    <a:pt x="918" y="84"/>
                  </a:lnTo>
                  <a:lnTo>
                    <a:pt x="922" y="82"/>
                  </a:lnTo>
                  <a:lnTo>
                    <a:pt x="922" y="84"/>
                  </a:lnTo>
                  <a:lnTo>
                    <a:pt x="924" y="84"/>
                  </a:lnTo>
                  <a:lnTo>
                    <a:pt x="928" y="84"/>
                  </a:lnTo>
                  <a:lnTo>
                    <a:pt x="930" y="82"/>
                  </a:lnTo>
                  <a:lnTo>
                    <a:pt x="932" y="82"/>
                  </a:lnTo>
                  <a:lnTo>
                    <a:pt x="935" y="82"/>
                  </a:lnTo>
                  <a:lnTo>
                    <a:pt x="935" y="82"/>
                  </a:lnTo>
                  <a:lnTo>
                    <a:pt x="935" y="82"/>
                  </a:lnTo>
                  <a:lnTo>
                    <a:pt x="935" y="84"/>
                  </a:lnTo>
                  <a:lnTo>
                    <a:pt x="939" y="84"/>
                  </a:lnTo>
                  <a:lnTo>
                    <a:pt x="941" y="86"/>
                  </a:lnTo>
                  <a:lnTo>
                    <a:pt x="943" y="86"/>
                  </a:lnTo>
                  <a:lnTo>
                    <a:pt x="953" y="84"/>
                  </a:lnTo>
                  <a:lnTo>
                    <a:pt x="959" y="80"/>
                  </a:lnTo>
                  <a:lnTo>
                    <a:pt x="959" y="82"/>
                  </a:lnTo>
                  <a:lnTo>
                    <a:pt x="959" y="84"/>
                  </a:lnTo>
                  <a:lnTo>
                    <a:pt x="963" y="84"/>
                  </a:lnTo>
                  <a:lnTo>
                    <a:pt x="976" y="84"/>
                  </a:lnTo>
                  <a:lnTo>
                    <a:pt x="978" y="82"/>
                  </a:lnTo>
                  <a:lnTo>
                    <a:pt x="978" y="82"/>
                  </a:lnTo>
                  <a:lnTo>
                    <a:pt x="978" y="80"/>
                  </a:lnTo>
                  <a:lnTo>
                    <a:pt x="978" y="80"/>
                  </a:lnTo>
                  <a:lnTo>
                    <a:pt x="978" y="80"/>
                  </a:lnTo>
                  <a:lnTo>
                    <a:pt x="978" y="80"/>
                  </a:lnTo>
                  <a:lnTo>
                    <a:pt x="980" y="80"/>
                  </a:lnTo>
                  <a:lnTo>
                    <a:pt x="980" y="80"/>
                  </a:lnTo>
                  <a:lnTo>
                    <a:pt x="980" y="80"/>
                  </a:lnTo>
                  <a:lnTo>
                    <a:pt x="982" y="80"/>
                  </a:lnTo>
                  <a:lnTo>
                    <a:pt x="982" y="82"/>
                  </a:lnTo>
                  <a:lnTo>
                    <a:pt x="982" y="82"/>
                  </a:lnTo>
                  <a:lnTo>
                    <a:pt x="984" y="82"/>
                  </a:lnTo>
                  <a:lnTo>
                    <a:pt x="986" y="82"/>
                  </a:lnTo>
                  <a:lnTo>
                    <a:pt x="986" y="82"/>
                  </a:lnTo>
                  <a:lnTo>
                    <a:pt x="988" y="82"/>
                  </a:lnTo>
                  <a:lnTo>
                    <a:pt x="990" y="82"/>
                  </a:lnTo>
                  <a:lnTo>
                    <a:pt x="990" y="82"/>
                  </a:lnTo>
                  <a:lnTo>
                    <a:pt x="990" y="84"/>
                  </a:lnTo>
                  <a:lnTo>
                    <a:pt x="990" y="84"/>
                  </a:lnTo>
                  <a:lnTo>
                    <a:pt x="988" y="84"/>
                  </a:lnTo>
                  <a:lnTo>
                    <a:pt x="988" y="86"/>
                  </a:lnTo>
                  <a:lnTo>
                    <a:pt x="986" y="86"/>
                  </a:lnTo>
                  <a:lnTo>
                    <a:pt x="986" y="86"/>
                  </a:lnTo>
                  <a:lnTo>
                    <a:pt x="988" y="86"/>
                  </a:lnTo>
                  <a:lnTo>
                    <a:pt x="988" y="86"/>
                  </a:lnTo>
                  <a:lnTo>
                    <a:pt x="994" y="86"/>
                  </a:lnTo>
                  <a:lnTo>
                    <a:pt x="998" y="86"/>
                  </a:lnTo>
                  <a:lnTo>
                    <a:pt x="1002" y="86"/>
                  </a:lnTo>
                  <a:lnTo>
                    <a:pt x="1006" y="84"/>
                  </a:lnTo>
                  <a:lnTo>
                    <a:pt x="1008" y="84"/>
                  </a:lnTo>
                  <a:lnTo>
                    <a:pt x="1013" y="84"/>
                  </a:lnTo>
                  <a:lnTo>
                    <a:pt x="1021" y="82"/>
                  </a:lnTo>
                  <a:lnTo>
                    <a:pt x="1023" y="80"/>
                  </a:lnTo>
                  <a:lnTo>
                    <a:pt x="1027" y="80"/>
                  </a:lnTo>
                  <a:lnTo>
                    <a:pt x="1027" y="78"/>
                  </a:lnTo>
                  <a:lnTo>
                    <a:pt x="1027" y="76"/>
                  </a:lnTo>
                  <a:lnTo>
                    <a:pt x="1027" y="76"/>
                  </a:lnTo>
                  <a:lnTo>
                    <a:pt x="1025" y="76"/>
                  </a:lnTo>
                  <a:lnTo>
                    <a:pt x="1025" y="76"/>
                  </a:lnTo>
                  <a:lnTo>
                    <a:pt x="1021" y="78"/>
                  </a:lnTo>
                  <a:lnTo>
                    <a:pt x="1019" y="78"/>
                  </a:lnTo>
                  <a:lnTo>
                    <a:pt x="1019" y="78"/>
                  </a:lnTo>
                  <a:lnTo>
                    <a:pt x="1017" y="76"/>
                  </a:lnTo>
                  <a:lnTo>
                    <a:pt x="1015" y="76"/>
                  </a:lnTo>
                  <a:lnTo>
                    <a:pt x="1017" y="76"/>
                  </a:lnTo>
                  <a:lnTo>
                    <a:pt x="1017" y="74"/>
                  </a:lnTo>
                  <a:lnTo>
                    <a:pt x="1019" y="74"/>
                  </a:lnTo>
                  <a:lnTo>
                    <a:pt x="1017" y="74"/>
                  </a:lnTo>
                  <a:lnTo>
                    <a:pt x="1013" y="74"/>
                  </a:lnTo>
                  <a:lnTo>
                    <a:pt x="1008" y="74"/>
                  </a:lnTo>
                  <a:lnTo>
                    <a:pt x="1008" y="74"/>
                  </a:lnTo>
                  <a:lnTo>
                    <a:pt x="1004" y="72"/>
                  </a:lnTo>
                  <a:lnTo>
                    <a:pt x="1004" y="72"/>
                  </a:lnTo>
                  <a:lnTo>
                    <a:pt x="1000" y="72"/>
                  </a:lnTo>
                  <a:lnTo>
                    <a:pt x="998" y="72"/>
                  </a:lnTo>
                  <a:lnTo>
                    <a:pt x="996" y="72"/>
                  </a:lnTo>
                  <a:lnTo>
                    <a:pt x="994" y="74"/>
                  </a:lnTo>
                  <a:lnTo>
                    <a:pt x="992" y="72"/>
                  </a:lnTo>
                  <a:lnTo>
                    <a:pt x="992" y="72"/>
                  </a:lnTo>
                  <a:lnTo>
                    <a:pt x="992" y="72"/>
                  </a:lnTo>
                  <a:lnTo>
                    <a:pt x="992" y="72"/>
                  </a:lnTo>
                  <a:lnTo>
                    <a:pt x="994" y="72"/>
                  </a:lnTo>
                  <a:lnTo>
                    <a:pt x="998" y="72"/>
                  </a:lnTo>
                  <a:lnTo>
                    <a:pt x="1000" y="72"/>
                  </a:lnTo>
                  <a:lnTo>
                    <a:pt x="1000" y="70"/>
                  </a:lnTo>
                  <a:lnTo>
                    <a:pt x="1000" y="70"/>
                  </a:lnTo>
                  <a:lnTo>
                    <a:pt x="1000" y="70"/>
                  </a:lnTo>
                  <a:lnTo>
                    <a:pt x="998" y="70"/>
                  </a:lnTo>
                  <a:lnTo>
                    <a:pt x="1000" y="68"/>
                  </a:lnTo>
                  <a:lnTo>
                    <a:pt x="1000" y="68"/>
                  </a:lnTo>
                  <a:lnTo>
                    <a:pt x="1002" y="70"/>
                  </a:lnTo>
                  <a:lnTo>
                    <a:pt x="1004" y="70"/>
                  </a:lnTo>
                  <a:lnTo>
                    <a:pt x="1006" y="72"/>
                  </a:lnTo>
                  <a:lnTo>
                    <a:pt x="1010" y="72"/>
                  </a:lnTo>
                  <a:lnTo>
                    <a:pt x="1015" y="72"/>
                  </a:lnTo>
                  <a:lnTo>
                    <a:pt x="1023" y="72"/>
                  </a:lnTo>
                  <a:lnTo>
                    <a:pt x="1025" y="72"/>
                  </a:lnTo>
                  <a:lnTo>
                    <a:pt x="1027" y="72"/>
                  </a:lnTo>
                  <a:lnTo>
                    <a:pt x="1031" y="70"/>
                  </a:lnTo>
                  <a:lnTo>
                    <a:pt x="1033" y="70"/>
                  </a:lnTo>
                  <a:lnTo>
                    <a:pt x="1035" y="70"/>
                  </a:lnTo>
                  <a:lnTo>
                    <a:pt x="1037" y="68"/>
                  </a:lnTo>
                  <a:lnTo>
                    <a:pt x="1039" y="68"/>
                  </a:lnTo>
                  <a:lnTo>
                    <a:pt x="1039" y="66"/>
                  </a:lnTo>
                  <a:lnTo>
                    <a:pt x="1041" y="64"/>
                  </a:lnTo>
                  <a:lnTo>
                    <a:pt x="1043" y="64"/>
                  </a:lnTo>
                  <a:lnTo>
                    <a:pt x="1043" y="64"/>
                  </a:lnTo>
                  <a:lnTo>
                    <a:pt x="1049" y="64"/>
                  </a:lnTo>
                  <a:lnTo>
                    <a:pt x="1054" y="64"/>
                  </a:lnTo>
                  <a:lnTo>
                    <a:pt x="1058" y="64"/>
                  </a:lnTo>
                  <a:lnTo>
                    <a:pt x="1062" y="62"/>
                  </a:lnTo>
                  <a:lnTo>
                    <a:pt x="1064" y="62"/>
                  </a:lnTo>
                  <a:lnTo>
                    <a:pt x="1066" y="62"/>
                  </a:lnTo>
                  <a:lnTo>
                    <a:pt x="1068" y="62"/>
                  </a:lnTo>
                  <a:lnTo>
                    <a:pt x="1074" y="60"/>
                  </a:lnTo>
                  <a:lnTo>
                    <a:pt x="1078" y="58"/>
                  </a:lnTo>
                  <a:lnTo>
                    <a:pt x="1078" y="58"/>
                  </a:lnTo>
                  <a:lnTo>
                    <a:pt x="1076" y="58"/>
                  </a:lnTo>
                  <a:lnTo>
                    <a:pt x="1072" y="56"/>
                  </a:lnTo>
                  <a:lnTo>
                    <a:pt x="1068" y="56"/>
                  </a:lnTo>
                  <a:lnTo>
                    <a:pt x="1070" y="56"/>
                  </a:lnTo>
                  <a:lnTo>
                    <a:pt x="1074" y="56"/>
                  </a:lnTo>
                  <a:lnTo>
                    <a:pt x="1080" y="56"/>
                  </a:lnTo>
                  <a:lnTo>
                    <a:pt x="1084" y="56"/>
                  </a:lnTo>
                  <a:lnTo>
                    <a:pt x="1091" y="54"/>
                  </a:lnTo>
                  <a:lnTo>
                    <a:pt x="1091" y="54"/>
                  </a:lnTo>
                  <a:lnTo>
                    <a:pt x="1093" y="54"/>
                  </a:lnTo>
                  <a:lnTo>
                    <a:pt x="1093" y="52"/>
                  </a:lnTo>
                  <a:lnTo>
                    <a:pt x="1091" y="52"/>
                  </a:lnTo>
                  <a:lnTo>
                    <a:pt x="1089" y="52"/>
                  </a:lnTo>
                  <a:lnTo>
                    <a:pt x="1084" y="52"/>
                  </a:lnTo>
                  <a:lnTo>
                    <a:pt x="1080" y="52"/>
                  </a:lnTo>
                  <a:lnTo>
                    <a:pt x="1080" y="49"/>
                  </a:lnTo>
                  <a:lnTo>
                    <a:pt x="1080" y="49"/>
                  </a:lnTo>
                  <a:lnTo>
                    <a:pt x="1078" y="49"/>
                  </a:lnTo>
                  <a:lnTo>
                    <a:pt x="1076" y="49"/>
                  </a:lnTo>
                  <a:lnTo>
                    <a:pt x="1072" y="49"/>
                  </a:lnTo>
                  <a:lnTo>
                    <a:pt x="1064" y="49"/>
                  </a:lnTo>
                  <a:lnTo>
                    <a:pt x="1062" y="49"/>
                  </a:lnTo>
                  <a:lnTo>
                    <a:pt x="1060" y="49"/>
                  </a:lnTo>
                  <a:lnTo>
                    <a:pt x="1060" y="49"/>
                  </a:lnTo>
                  <a:lnTo>
                    <a:pt x="1058" y="49"/>
                  </a:lnTo>
                  <a:lnTo>
                    <a:pt x="1056" y="49"/>
                  </a:lnTo>
                  <a:lnTo>
                    <a:pt x="1056" y="47"/>
                  </a:lnTo>
                  <a:lnTo>
                    <a:pt x="1056" y="47"/>
                  </a:lnTo>
                  <a:lnTo>
                    <a:pt x="1058" y="47"/>
                  </a:lnTo>
                  <a:lnTo>
                    <a:pt x="1062" y="47"/>
                  </a:lnTo>
                  <a:lnTo>
                    <a:pt x="1064" y="47"/>
                  </a:lnTo>
                  <a:lnTo>
                    <a:pt x="1068" y="47"/>
                  </a:lnTo>
                  <a:lnTo>
                    <a:pt x="1074" y="47"/>
                  </a:lnTo>
                  <a:lnTo>
                    <a:pt x="1076" y="47"/>
                  </a:lnTo>
                  <a:lnTo>
                    <a:pt x="1078" y="47"/>
                  </a:lnTo>
                  <a:lnTo>
                    <a:pt x="1080" y="47"/>
                  </a:lnTo>
                  <a:lnTo>
                    <a:pt x="1082" y="47"/>
                  </a:lnTo>
                  <a:lnTo>
                    <a:pt x="1086" y="47"/>
                  </a:lnTo>
                  <a:lnTo>
                    <a:pt x="1086" y="47"/>
                  </a:lnTo>
                  <a:lnTo>
                    <a:pt x="1089" y="49"/>
                  </a:lnTo>
                  <a:lnTo>
                    <a:pt x="1095" y="49"/>
                  </a:lnTo>
                  <a:lnTo>
                    <a:pt x="1097" y="47"/>
                  </a:lnTo>
                  <a:lnTo>
                    <a:pt x="1099" y="45"/>
                  </a:lnTo>
                  <a:lnTo>
                    <a:pt x="1097" y="45"/>
                  </a:lnTo>
                  <a:lnTo>
                    <a:pt x="1093" y="47"/>
                  </a:lnTo>
                  <a:lnTo>
                    <a:pt x="1091" y="45"/>
                  </a:lnTo>
                  <a:lnTo>
                    <a:pt x="1089" y="45"/>
                  </a:lnTo>
                  <a:lnTo>
                    <a:pt x="1086" y="45"/>
                  </a:lnTo>
                  <a:lnTo>
                    <a:pt x="1084" y="45"/>
                  </a:lnTo>
                  <a:lnTo>
                    <a:pt x="1084" y="43"/>
                  </a:lnTo>
                  <a:lnTo>
                    <a:pt x="1080" y="43"/>
                  </a:lnTo>
                  <a:lnTo>
                    <a:pt x="1078" y="43"/>
                  </a:lnTo>
                  <a:lnTo>
                    <a:pt x="1078" y="43"/>
                  </a:lnTo>
                  <a:lnTo>
                    <a:pt x="1084" y="43"/>
                  </a:lnTo>
                  <a:lnTo>
                    <a:pt x="1086" y="43"/>
                  </a:lnTo>
                  <a:lnTo>
                    <a:pt x="1089" y="43"/>
                  </a:lnTo>
                  <a:lnTo>
                    <a:pt x="1093" y="43"/>
                  </a:lnTo>
                  <a:lnTo>
                    <a:pt x="1095" y="43"/>
                  </a:lnTo>
                  <a:lnTo>
                    <a:pt x="1099" y="43"/>
                  </a:lnTo>
                  <a:lnTo>
                    <a:pt x="1103" y="43"/>
                  </a:lnTo>
                  <a:lnTo>
                    <a:pt x="1105" y="43"/>
                  </a:lnTo>
                  <a:lnTo>
                    <a:pt x="1107" y="43"/>
                  </a:lnTo>
                  <a:lnTo>
                    <a:pt x="1109" y="43"/>
                  </a:lnTo>
                  <a:lnTo>
                    <a:pt x="1113" y="43"/>
                  </a:lnTo>
                  <a:lnTo>
                    <a:pt x="1115" y="43"/>
                  </a:lnTo>
                  <a:lnTo>
                    <a:pt x="1115" y="43"/>
                  </a:lnTo>
                  <a:lnTo>
                    <a:pt x="1117" y="41"/>
                  </a:lnTo>
                  <a:lnTo>
                    <a:pt x="1117" y="41"/>
                  </a:lnTo>
                  <a:lnTo>
                    <a:pt x="1117" y="41"/>
                  </a:lnTo>
                  <a:lnTo>
                    <a:pt x="1117" y="39"/>
                  </a:lnTo>
                  <a:lnTo>
                    <a:pt x="1117" y="39"/>
                  </a:lnTo>
                  <a:lnTo>
                    <a:pt x="1115" y="39"/>
                  </a:lnTo>
                  <a:lnTo>
                    <a:pt x="1111" y="39"/>
                  </a:lnTo>
                  <a:lnTo>
                    <a:pt x="1107" y="39"/>
                  </a:lnTo>
                  <a:lnTo>
                    <a:pt x="1107" y="39"/>
                  </a:lnTo>
                  <a:lnTo>
                    <a:pt x="1109" y="37"/>
                  </a:lnTo>
                  <a:lnTo>
                    <a:pt x="1113" y="37"/>
                  </a:lnTo>
                  <a:lnTo>
                    <a:pt x="1115" y="39"/>
                  </a:lnTo>
                  <a:lnTo>
                    <a:pt x="1119" y="39"/>
                  </a:lnTo>
                  <a:lnTo>
                    <a:pt x="1128" y="41"/>
                  </a:lnTo>
                  <a:lnTo>
                    <a:pt x="1130" y="41"/>
                  </a:lnTo>
                  <a:lnTo>
                    <a:pt x="1132" y="39"/>
                  </a:lnTo>
                  <a:lnTo>
                    <a:pt x="1138" y="39"/>
                  </a:lnTo>
                  <a:lnTo>
                    <a:pt x="1140" y="39"/>
                  </a:lnTo>
                  <a:lnTo>
                    <a:pt x="1142" y="39"/>
                  </a:lnTo>
                  <a:lnTo>
                    <a:pt x="1142" y="37"/>
                  </a:lnTo>
                  <a:lnTo>
                    <a:pt x="1142" y="37"/>
                  </a:lnTo>
                  <a:lnTo>
                    <a:pt x="1140" y="37"/>
                  </a:lnTo>
                  <a:lnTo>
                    <a:pt x="1148" y="37"/>
                  </a:lnTo>
                  <a:lnTo>
                    <a:pt x="1150" y="35"/>
                  </a:lnTo>
                  <a:lnTo>
                    <a:pt x="1152" y="35"/>
                  </a:lnTo>
                  <a:lnTo>
                    <a:pt x="1150" y="35"/>
                  </a:lnTo>
                  <a:lnTo>
                    <a:pt x="1148" y="35"/>
                  </a:lnTo>
                  <a:lnTo>
                    <a:pt x="1140" y="35"/>
                  </a:lnTo>
                  <a:lnTo>
                    <a:pt x="1138" y="35"/>
                  </a:lnTo>
                  <a:lnTo>
                    <a:pt x="1136" y="35"/>
                  </a:lnTo>
                  <a:lnTo>
                    <a:pt x="1136" y="35"/>
                  </a:lnTo>
                  <a:lnTo>
                    <a:pt x="1138" y="35"/>
                  </a:lnTo>
                  <a:lnTo>
                    <a:pt x="1140" y="35"/>
                  </a:lnTo>
                  <a:lnTo>
                    <a:pt x="1140" y="35"/>
                  </a:lnTo>
                  <a:lnTo>
                    <a:pt x="1142" y="35"/>
                  </a:lnTo>
                  <a:lnTo>
                    <a:pt x="1148" y="35"/>
                  </a:lnTo>
                  <a:lnTo>
                    <a:pt x="1156" y="33"/>
                  </a:lnTo>
                  <a:lnTo>
                    <a:pt x="1158" y="33"/>
                  </a:lnTo>
                  <a:lnTo>
                    <a:pt x="1156" y="31"/>
                  </a:lnTo>
                  <a:lnTo>
                    <a:pt x="1156" y="29"/>
                  </a:lnTo>
                  <a:lnTo>
                    <a:pt x="1156" y="29"/>
                  </a:lnTo>
                  <a:lnTo>
                    <a:pt x="1158" y="31"/>
                  </a:lnTo>
                  <a:lnTo>
                    <a:pt x="1160" y="31"/>
                  </a:lnTo>
                  <a:lnTo>
                    <a:pt x="1160" y="31"/>
                  </a:lnTo>
                  <a:lnTo>
                    <a:pt x="1162" y="31"/>
                  </a:lnTo>
                  <a:lnTo>
                    <a:pt x="1164" y="31"/>
                  </a:lnTo>
                  <a:lnTo>
                    <a:pt x="1167" y="31"/>
                  </a:lnTo>
                  <a:lnTo>
                    <a:pt x="1175" y="29"/>
                  </a:lnTo>
                  <a:lnTo>
                    <a:pt x="1179" y="29"/>
                  </a:lnTo>
                  <a:lnTo>
                    <a:pt x="1189" y="27"/>
                  </a:lnTo>
                  <a:lnTo>
                    <a:pt x="1201" y="23"/>
                  </a:lnTo>
                  <a:lnTo>
                    <a:pt x="1208" y="23"/>
                  </a:lnTo>
                  <a:lnTo>
                    <a:pt x="1218" y="21"/>
                  </a:lnTo>
                  <a:lnTo>
                    <a:pt x="1226" y="19"/>
                  </a:lnTo>
                  <a:lnTo>
                    <a:pt x="1226" y="19"/>
                  </a:lnTo>
                  <a:lnTo>
                    <a:pt x="1222" y="19"/>
                  </a:lnTo>
                  <a:lnTo>
                    <a:pt x="1218" y="19"/>
                  </a:lnTo>
                  <a:lnTo>
                    <a:pt x="1189" y="21"/>
                  </a:lnTo>
                  <a:lnTo>
                    <a:pt x="1187" y="21"/>
                  </a:lnTo>
                  <a:lnTo>
                    <a:pt x="1185" y="21"/>
                  </a:lnTo>
                  <a:lnTo>
                    <a:pt x="1187" y="21"/>
                  </a:lnTo>
                  <a:lnTo>
                    <a:pt x="1206" y="19"/>
                  </a:lnTo>
                  <a:lnTo>
                    <a:pt x="1208" y="19"/>
                  </a:lnTo>
                  <a:lnTo>
                    <a:pt x="1208" y="19"/>
                  </a:lnTo>
                  <a:lnTo>
                    <a:pt x="1208" y="19"/>
                  </a:lnTo>
                  <a:lnTo>
                    <a:pt x="1210" y="17"/>
                  </a:lnTo>
                  <a:lnTo>
                    <a:pt x="1216" y="17"/>
                  </a:lnTo>
                  <a:lnTo>
                    <a:pt x="1220" y="17"/>
                  </a:lnTo>
                  <a:lnTo>
                    <a:pt x="1222" y="17"/>
                  </a:lnTo>
                  <a:lnTo>
                    <a:pt x="1224" y="17"/>
                  </a:lnTo>
                  <a:lnTo>
                    <a:pt x="1226" y="17"/>
                  </a:lnTo>
                  <a:lnTo>
                    <a:pt x="1232" y="17"/>
                  </a:lnTo>
                  <a:lnTo>
                    <a:pt x="1234" y="17"/>
                  </a:lnTo>
                  <a:lnTo>
                    <a:pt x="1236" y="14"/>
                  </a:lnTo>
                  <a:lnTo>
                    <a:pt x="1242" y="14"/>
                  </a:lnTo>
                  <a:lnTo>
                    <a:pt x="1255" y="12"/>
                  </a:lnTo>
                  <a:lnTo>
                    <a:pt x="1259" y="12"/>
                  </a:lnTo>
                  <a:lnTo>
                    <a:pt x="1261" y="12"/>
                  </a:lnTo>
                  <a:lnTo>
                    <a:pt x="1267" y="10"/>
                  </a:lnTo>
                  <a:lnTo>
                    <a:pt x="1271" y="10"/>
                  </a:lnTo>
                  <a:lnTo>
                    <a:pt x="1271" y="8"/>
                  </a:lnTo>
                  <a:lnTo>
                    <a:pt x="1271" y="8"/>
                  </a:lnTo>
                  <a:close/>
                  <a:moveTo>
                    <a:pt x="1047" y="183"/>
                  </a:moveTo>
                  <a:lnTo>
                    <a:pt x="1047" y="183"/>
                  </a:lnTo>
                  <a:lnTo>
                    <a:pt x="1045" y="185"/>
                  </a:lnTo>
                  <a:lnTo>
                    <a:pt x="1043" y="185"/>
                  </a:lnTo>
                  <a:lnTo>
                    <a:pt x="1047" y="185"/>
                  </a:lnTo>
                  <a:lnTo>
                    <a:pt x="1047" y="185"/>
                  </a:lnTo>
                  <a:lnTo>
                    <a:pt x="1049" y="185"/>
                  </a:lnTo>
                  <a:lnTo>
                    <a:pt x="1049" y="183"/>
                  </a:lnTo>
                  <a:lnTo>
                    <a:pt x="1049" y="183"/>
                  </a:lnTo>
                  <a:lnTo>
                    <a:pt x="1049" y="183"/>
                  </a:lnTo>
                  <a:lnTo>
                    <a:pt x="1047" y="183"/>
                  </a:lnTo>
                  <a:close/>
                  <a:moveTo>
                    <a:pt x="1086" y="222"/>
                  </a:moveTo>
                  <a:lnTo>
                    <a:pt x="1089" y="222"/>
                  </a:lnTo>
                  <a:lnTo>
                    <a:pt x="1089" y="222"/>
                  </a:lnTo>
                  <a:lnTo>
                    <a:pt x="1089" y="222"/>
                  </a:lnTo>
                  <a:lnTo>
                    <a:pt x="1086" y="222"/>
                  </a:lnTo>
                  <a:lnTo>
                    <a:pt x="1084" y="222"/>
                  </a:lnTo>
                  <a:lnTo>
                    <a:pt x="1084" y="224"/>
                  </a:lnTo>
                  <a:lnTo>
                    <a:pt x="1082" y="224"/>
                  </a:lnTo>
                  <a:lnTo>
                    <a:pt x="1082" y="224"/>
                  </a:lnTo>
                  <a:lnTo>
                    <a:pt x="1082" y="224"/>
                  </a:lnTo>
                  <a:lnTo>
                    <a:pt x="1084" y="224"/>
                  </a:lnTo>
                  <a:lnTo>
                    <a:pt x="1086" y="222"/>
                  </a:lnTo>
                  <a:close/>
                  <a:moveTo>
                    <a:pt x="998" y="93"/>
                  </a:moveTo>
                  <a:lnTo>
                    <a:pt x="1000" y="93"/>
                  </a:lnTo>
                  <a:lnTo>
                    <a:pt x="1002" y="93"/>
                  </a:lnTo>
                  <a:lnTo>
                    <a:pt x="1002" y="91"/>
                  </a:lnTo>
                  <a:lnTo>
                    <a:pt x="1002" y="91"/>
                  </a:lnTo>
                  <a:lnTo>
                    <a:pt x="1004" y="91"/>
                  </a:lnTo>
                  <a:lnTo>
                    <a:pt x="1006" y="89"/>
                  </a:lnTo>
                  <a:lnTo>
                    <a:pt x="1006" y="89"/>
                  </a:lnTo>
                  <a:lnTo>
                    <a:pt x="1006" y="89"/>
                  </a:lnTo>
                  <a:lnTo>
                    <a:pt x="1004" y="89"/>
                  </a:lnTo>
                  <a:lnTo>
                    <a:pt x="1000" y="91"/>
                  </a:lnTo>
                  <a:lnTo>
                    <a:pt x="998" y="91"/>
                  </a:lnTo>
                  <a:lnTo>
                    <a:pt x="994" y="91"/>
                  </a:lnTo>
                  <a:lnTo>
                    <a:pt x="994" y="93"/>
                  </a:lnTo>
                  <a:lnTo>
                    <a:pt x="996" y="93"/>
                  </a:lnTo>
                  <a:lnTo>
                    <a:pt x="998" y="93"/>
                  </a:lnTo>
                  <a:close/>
                  <a:moveTo>
                    <a:pt x="1039" y="500"/>
                  </a:moveTo>
                  <a:lnTo>
                    <a:pt x="1039" y="500"/>
                  </a:lnTo>
                  <a:lnTo>
                    <a:pt x="1039" y="500"/>
                  </a:lnTo>
                  <a:lnTo>
                    <a:pt x="1039" y="500"/>
                  </a:lnTo>
                  <a:lnTo>
                    <a:pt x="1039" y="500"/>
                  </a:lnTo>
                  <a:lnTo>
                    <a:pt x="1041" y="500"/>
                  </a:lnTo>
                  <a:lnTo>
                    <a:pt x="1041" y="500"/>
                  </a:lnTo>
                  <a:lnTo>
                    <a:pt x="1041" y="498"/>
                  </a:lnTo>
                  <a:lnTo>
                    <a:pt x="1041" y="498"/>
                  </a:lnTo>
                  <a:lnTo>
                    <a:pt x="1039" y="500"/>
                  </a:lnTo>
                  <a:lnTo>
                    <a:pt x="1039" y="500"/>
                  </a:lnTo>
                  <a:close/>
                  <a:moveTo>
                    <a:pt x="1043" y="520"/>
                  </a:moveTo>
                  <a:lnTo>
                    <a:pt x="1043" y="520"/>
                  </a:lnTo>
                  <a:lnTo>
                    <a:pt x="1041" y="520"/>
                  </a:lnTo>
                  <a:lnTo>
                    <a:pt x="1043" y="522"/>
                  </a:lnTo>
                  <a:lnTo>
                    <a:pt x="1043" y="522"/>
                  </a:lnTo>
                  <a:lnTo>
                    <a:pt x="1043" y="522"/>
                  </a:lnTo>
                  <a:lnTo>
                    <a:pt x="1043" y="520"/>
                  </a:lnTo>
                  <a:lnTo>
                    <a:pt x="1047" y="520"/>
                  </a:lnTo>
                  <a:lnTo>
                    <a:pt x="1047" y="520"/>
                  </a:lnTo>
                  <a:lnTo>
                    <a:pt x="1047" y="520"/>
                  </a:lnTo>
                  <a:lnTo>
                    <a:pt x="1045" y="520"/>
                  </a:lnTo>
                  <a:lnTo>
                    <a:pt x="1043" y="520"/>
                  </a:lnTo>
                  <a:lnTo>
                    <a:pt x="1043" y="520"/>
                  </a:lnTo>
                  <a:lnTo>
                    <a:pt x="1043" y="520"/>
                  </a:lnTo>
                  <a:lnTo>
                    <a:pt x="1043" y="520"/>
                  </a:lnTo>
                  <a:lnTo>
                    <a:pt x="1043" y="520"/>
                  </a:lnTo>
                  <a:close/>
                  <a:moveTo>
                    <a:pt x="1095" y="228"/>
                  </a:moveTo>
                  <a:lnTo>
                    <a:pt x="1093" y="226"/>
                  </a:lnTo>
                  <a:lnTo>
                    <a:pt x="1093" y="224"/>
                  </a:lnTo>
                  <a:lnTo>
                    <a:pt x="1091" y="224"/>
                  </a:lnTo>
                  <a:lnTo>
                    <a:pt x="1086" y="226"/>
                  </a:lnTo>
                  <a:lnTo>
                    <a:pt x="1084" y="226"/>
                  </a:lnTo>
                  <a:lnTo>
                    <a:pt x="1082" y="226"/>
                  </a:lnTo>
                  <a:lnTo>
                    <a:pt x="1082" y="226"/>
                  </a:lnTo>
                  <a:lnTo>
                    <a:pt x="1080" y="226"/>
                  </a:lnTo>
                  <a:lnTo>
                    <a:pt x="1080" y="226"/>
                  </a:lnTo>
                  <a:lnTo>
                    <a:pt x="1076" y="226"/>
                  </a:lnTo>
                  <a:lnTo>
                    <a:pt x="1072" y="226"/>
                  </a:lnTo>
                  <a:lnTo>
                    <a:pt x="1070" y="228"/>
                  </a:lnTo>
                  <a:lnTo>
                    <a:pt x="1070" y="228"/>
                  </a:lnTo>
                  <a:lnTo>
                    <a:pt x="1076" y="224"/>
                  </a:lnTo>
                  <a:lnTo>
                    <a:pt x="1076" y="224"/>
                  </a:lnTo>
                  <a:lnTo>
                    <a:pt x="1078" y="224"/>
                  </a:lnTo>
                  <a:lnTo>
                    <a:pt x="1078" y="224"/>
                  </a:lnTo>
                  <a:lnTo>
                    <a:pt x="1080" y="222"/>
                  </a:lnTo>
                  <a:lnTo>
                    <a:pt x="1082" y="222"/>
                  </a:lnTo>
                  <a:lnTo>
                    <a:pt x="1078" y="220"/>
                  </a:lnTo>
                  <a:lnTo>
                    <a:pt x="1076" y="220"/>
                  </a:lnTo>
                  <a:lnTo>
                    <a:pt x="1076" y="220"/>
                  </a:lnTo>
                  <a:lnTo>
                    <a:pt x="1074" y="220"/>
                  </a:lnTo>
                  <a:lnTo>
                    <a:pt x="1072" y="220"/>
                  </a:lnTo>
                  <a:lnTo>
                    <a:pt x="1072" y="220"/>
                  </a:lnTo>
                  <a:lnTo>
                    <a:pt x="1070" y="220"/>
                  </a:lnTo>
                  <a:lnTo>
                    <a:pt x="1068" y="220"/>
                  </a:lnTo>
                  <a:lnTo>
                    <a:pt x="1066" y="220"/>
                  </a:lnTo>
                  <a:lnTo>
                    <a:pt x="1066" y="220"/>
                  </a:lnTo>
                  <a:lnTo>
                    <a:pt x="1064" y="220"/>
                  </a:lnTo>
                  <a:lnTo>
                    <a:pt x="1062" y="220"/>
                  </a:lnTo>
                  <a:lnTo>
                    <a:pt x="1064" y="220"/>
                  </a:lnTo>
                  <a:lnTo>
                    <a:pt x="1066" y="220"/>
                  </a:lnTo>
                  <a:lnTo>
                    <a:pt x="1068" y="220"/>
                  </a:lnTo>
                  <a:lnTo>
                    <a:pt x="1070" y="220"/>
                  </a:lnTo>
                  <a:lnTo>
                    <a:pt x="1072" y="218"/>
                  </a:lnTo>
                  <a:lnTo>
                    <a:pt x="1074" y="216"/>
                  </a:lnTo>
                  <a:lnTo>
                    <a:pt x="1074" y="214"/>
                  </a:lnTo>
                  <a:lnTo>
                    <a:pt x="1072" y="216"/>
                  </a:lnTo>
                  <a:lnTo>
                    <a:pt x="1070" y="214"/>
                  </a:lnTo>
                  <a:lnTo>
                    <a:pt x="1070" y="212"/>
                  </a:lnTo>
                  <a:lnTo>
                    <a:pt x="1068" y="212"/>
                  </a:lnTo>
                  <a:lnTo>
                    <a:pt x="1066" y="212"/>
                  </a:lnTo>
                  <a:lnTo>
                    <a:pt x="1064" y="212"/>
                  </a:lnTo>
                  <a:lnTo>
                    <a:pt x="1064" y="212"/>
                  </a:lnTo>
                  <a:lnTo>
                    <a:pt x="1064" y="212"/>
                  </a:lnTo>
                  <a:lnTo>
                    <a:pt x="1066" y="210"/>
                  </a:lnTo>
                  <a:lnTo>
                    <a:pt x="1066" y="210"/>
                  </a:lnTo>
                  <a:lnTo>
                    <a:pt x="1068" y="210"/>
                  </a:lnTo>
                  <a:lnTo>
                    <a:pt x="1066" y="210"/>
                  </a:lnTo>
                  <a:lnTo>
                    <a:pt x="1066" y="208"/>
                  </a:lnTo>
                  <a:lnTo>
                    <a:pt x="1066" y="210"/>
                  </a:lnTo>
                  <a:lnTo>
                    <a:pt x="1062" y="210"/>
                  </a:lnTo>
                  <a:lnTo>
                    <a:pt x="1060" y="212"/>
                  </a:lnTo>
                  <a:lnTo>
                    <a:pt x="1058" y="212"/>
                  </a:lnTo>
                  <a:lnTo>
                    <a:pt x="1058" y="214"/>
                  </a:lnTo>
                  <a:lnTo>
                    <a:pt x="1058" y="214"/>
                  </a:lnTo>
                  <a:lnTo>
                    <a:pt x="1058" y="214"/>
                  </a:lnTo>
                  <a:lnTo>
                    <a:pt x="1058" y="214"/>
                  </a:lnTo>
                  <a:lnTo>
                    <a:pt x="1058" y="212"/>
                  </a:lnTo>
                  <a:lnTo>
                    <a:pt x="1060" y="210"/>
                  </a:lnTo>
                  <a:lnTo>
                    <a:pt x="1060" y="210"/>
                  </a:lnTo>
                  <a:lnTo>
                    <a:pt x="1058" y="210"/>
                  </a:lnTo>
                  <a:lnTo>
                    <a:pt x="1058" y="210"/>
                  </a:lnTo>
                  <a:lnTo>
                    <a:pt x="1056" y="210"/>
                  </a:lnTo>
                  <a:lnTo>
                    <a:pt x="1054" y="210"/>
                  </a:lnTo>
                  <a:lnTo>
                    <a:pt x="1054" y="210"/>
                  </a:lnTo>
                  <a:lnTo>
                    <a:pt x="1056" y="210"/>
                  </a:lnTo>
                  <a:lnTo>
                    <a:pt x="1056" y="208"/>
                  </a:lnTo>
                  <a:lnTo>
                    <a:pt x="1054" y="208"/>
                  </a:lnTo>
                  <a:lnTo>
                    <a:pt x="1052" y="210"/>
                  </a:lnTo>
                  <a:lnTo>
                    <a:pt x="1047" y="212"/>
                  </a:lnTo>
                  <a:lnTo>
                    <a:pt x="1047" y="212"/>
                  </a:lnTo>
                  <a:lnTo>
                    <a:pt x="1047" y="212"/>
                  </a:lnTo>
                  <a:lnTo>
                    <a:pt x="1045" y="212"/>
                  </a:lnTo>
                  <a:lnTo>
                    <a:pt x="1045" y="212"/>
                  </a:lnTo>
                  <a:lnTo>
                    <a:pt x="1047" y="210"/>
                  </a:lnTo>
                  <a:lnTo>
                    <a:pt x="1052" y="208"/>
                  </a:lnTo>
                  <a:lnTo>
                    <a:pt x="1052" y="208"/>
                  </a:lnTo>
                  <a:lnTo>
                    <a:pt x="1054" y="206"/>
                  </a:lnTo>
                  <a:lnTo>
                    <a:pt x="1049" y="206"/>
                  </a:lnTo>
                  <a:lnTo>
                    <a:pt x="1047" y="206"/>
                  </a:lnTo>
                  <a:lnTo>
                    <a:pt x="1047" y="208"/>
                  </a:lnTo>
                  <a:lnTo>
                    <a:pt x="1045" y="210"/>
                  </a:lnTo>
                  <a:lnTo>
                    <a:pt x="1045" y="210"/>
                  </a:lnTo>
                  <a:lnTo>
                    <a:pt x="1047" y="208"/>
                  </a:lnTo>
                  <a:lnTo>
                    <a:pt x="1045" y="208"/>
                  </a:lnTo>
                  <a:lnTo>
                    <a:pt x="1043" y="208"/>
                  </a:lnTo>
                  <a:lnTo>
                    <a:pt x="1043" y="208"/>
                  </a:lnTo>
                  <a:lnTo>
                    <a:pt x="1043" y="208"/>
                  </a:lnTo>
                  <a:lnTo>
                    <a:pt x="1045" y="206"/>
                  </a:lnTo>
                  <a:lnTo>
                    <a:pt x="1045" y="206"/>
                  </a:lnTo>
                  <a:lnTo>
                    <a:pt x="1045" y="206"/>
                  </a:lnTo>
                  <a:lnTo>
                    <a:pt x="1045" y="204"/>
                  </a:lnTo>
                  <a:lnTo>
                    <a:pt x="1045" y="204"/>
                  </a:lnTo>
                  <a:lnTo>
                    <a:pt x="1049" y="204"/>
                  </a:lnTo>
                  <a:lnTo>
                    <a:pt x="1049" y="202"/>
                  </a:lnTo>
                  <a:lnTo>
                    <a:pt x="1049" y="202"/>
                  </a:lnTo>
                  <a:lnTo>
                    <a:pt x="1047" y="202"/>
                  </a:lnTo>
                  <a:lnTo>
                    <a:pt x="1045" y="202"/>
                  </a:lnTo>
                  <a:lnTo>
                    <a:pt x="1043" y="202"/>
                  </a:lnTo>
                  <a:lnTo>
                    <a:pt x="1043" y="202"/>
                  </a:lnTo>
                  <a:lnTo>
                    <a:pt x="1041" y="202"/>
                  </a:lnTo>
                  <a:lnTo>
                    <a:pt x="1041" y="202"/>
                  </a:lnTo>
                  <a:lnTo>
                    <a:pt x="1039" y="202"/>
                  </a:lnTo>
                  <a:lnTo>
                    <a:pt x="1039" y="202"/>
                  </a:lnTo>
                  <a:lnTo>
                    <a:pt x="1037" y="202"/>
                  </a:lnTo>
                  <a:lnTo>
                    <a:pt x="1035" y="202"/>
                  </a:lnTo>
                  <a:lnTo>
                    <a:pt x="1035" y="202"/>
                  </a:lnTo>
                  <a:lnTo>
                    <a:pt x="1035" y="200"/>
                  </a:lnTo>
                  <a:lnTo>
                    <a:pt x="1035" y="200"/>
                  </a:lnTo>
                  <a:lnTo>
                    <a:pt x="1035" y="197"/>
                  </a:lnTo>
                  <a:lnTo>
                    <a:pt x="1033" y="197"/>
                  </a:lnTo>
                  <a:lnTo>
                    <a:pt x="1031" y="197"/>
                  </a:lnTo>
                  <a:lnTo>
                    <a:pt x="1027" y="197"/>
                  </a:lnTo>
                  <a:lnTo>
                    <a:pt x="1023" y="195"/>
                  </a:lnTo>
                  <a:lnTo>
                    <a:pt x="1023" y="195"/>
                  </a:lnTo>
                  <a:lnTo>
                    <a:pt x="1023" y="195"/>
                  </a:lnTo>
                  <a:lnTo>
                    <a:pt x="1025" y="195"/>
                  </a:lnTo>
                  <a:lnTo>
                    <a:pt x="1029" y="197"/>
                  </a:lnTo>
                  <a:lnTo>
                    <a:pt x="1031" y="197"/>
                  </a:lnTo>
                  <a:lnTo>
                    <a:pt x="1033" y="195"/>
                  </a:lnTo>
                  <a:lnTo>
                    <a:pt x="1033" y="195"/>
                  </a:lnTo>
                  <a:lnTo>
                    <a:pt x="1035" y="195"/>
                  </a:lnTo>
                  <a:lnTo>
                    <a:pt x="1037" y="197"/>
                  </a:lnTo>
                  <a:lnTo>
                    <a:pt x="1039" y="197"/>
                  </a:lnTo>
                  <a:lnTo>
                    <a:pt x="1041" y="195"/>
                  </a:lnTo>
                  <a:lnTo>
                    <a:pt x="1043" y="195"/>
                  </a:lnTo>
                  <a:lnTo>
                    <a:pt x="1043" y="193"/>
                  </a:lnTo>
                  <a:lnTo>
                    <a:pt x="1043" y="193"/>
                  </a:lnTo>
                  <a:lnTo>
                    <a:pt x="1041" y="191"/>
                  </a:lnTo>
                  <a:lnTo>
                    <a:pt x="1039" y="191"/>
                  </a:lnTo>
                  <a:lnTo>
                    <a:pt x="1037" y="191"/>
                  </a:lnTo>
                  <a:lnTo>
                    <a:pt x="1029" y="193"/>
                  </a:lnTo>
                  <a:lnTo>
                    <a:pt x="1029" y="191"/>
                  </a:lnTo>
                  <a:lnTo>
                    <a:pt x="1035" y="191"/>
                  </a:lnTo>
                  <a:lnTo>
                    <a:pt x="1037" y="189"/>
                  </a:lnTo>
                  <a:lnTo>
                    <a:pt x="1041" y="191"/>
                  </a:lnTo>
                  <a:lnTo>
                    <a:pt x="1043" y="189"/>
                  </a:lnTo>
                  <a:lnTo>
                    <a:pt x="1045" y="191"/>
                  </a:lnTo>
                  <a:lnTo>
                    <a:pt x="1047" y="191"/>
                  </a:lnTo>
                  <a:lnTo>
                    <a:pt x="1047" y="191"/>
                  </a:lnTo>
                  <a:lnTo>
                    <a:pt x="1049" y="191"/>
                  </a:lnTo>
                  <a:lnTo>
                    <a:pt x="1052" y="191"/>
                  </a:lnTo>
                  <a:lnTo>
                    <a:pt x="1056" y="191"/>
                  </a:lnTo>
                  <a:lnTo>
                    <a:pt x="1058" y="191"/>
                  </a:lnTo>
                  <a:lnTo>
                    <a:pt x="1058" y="191"/>
                  </a:lnTo>
                  <a:lnTo>
                    <a:pt x="1060" y="189"/>
                  </a:lnTo>
                  <a:lnTo>
                    <a:pt x="1060" y="189"/>
                  </a:lnTo>
                  <a:lnTo>
                    <a:pt x="1060" y="189"/>
                  </a:lnTo>
                  <a:lnTo>
                    <a:pt x="1058" y="189"/>
                  </a:lnTo>
                  <a:lnTo>
                    <a:pt x="1056" y="187"/>
                  </a:lnTo>
                  <a:lnTo>
                    <a:pt x="1054" y="187"/>
                  </a:lnTo>
                  <a:lnTo>
                    <a:pt x="1054" y="187"/>
                  </a:lnTo>
                  <a:lnTo>
                    <a:pt x="1049" y="187"/>
                  </a:lnTo>
                  <a:lnTo>
                    <a:pt x="1047" y="187"/>
                  </a:lnTo>
                  <a:lnTo>
                    <a:pt x="1047" y="187"/>
                  </a:lnTo>
                  <a:lnTo>
                    <a:pt x="1045" y="187"/>
                  </a:lnTo>
                  <a:lnTo>
                    <a:pt x="1041" y="185"/>
                  </a:lnTo>
                  <a:lnTo>
                    <a:pt x="1037" y="185"/>
                  </a:lnTo>
                  <a:lnTo>
                    <a:pt x="1033" y="185"/>
                  </a:lnTo>
                  <a:lnTo>
                    <a:pt x="1031" y="185"/>
                  </a:lnTo>
                  <a:lnTo>
                    <a:pt x="1031" y="185"/>
                  </a:lnTo>
                  <a:lnTo>
                    <a:pt x="1033" y="185"/>
                  </a:lnTo>
                  <a:lnTo>
                    <a:pt x="1037" y="183"/>
                  </a:lnTo>
                  <a:lnTo>
                    <a:pt x="1039" y="183"/>
                  </a:lnTo>
                  <a:lnTo>
                    <a:pt x="1043" y="183"/>
                  </a:lnTo>
                  <a:lnTo>
                    <a:pt x="1043" y="183"/>
                  </a:lnTo>
                  <a:lnTo>
                    <a:pt x="1045" y="183"/>
                  </a:lnTo>
                  <a:lnTo>
                    <a:pt x="1045" y="183"/>
                  </a:lnTo>
                  <a:lnTo>
                    <a:pt x="1047" y="183"/>
                  </a:lnTo>
                  <a:lnTo>
                    <a:pt x="1049" y="181"/>
                  </a:lnTo>
                  <a:lnTo>
                    <a:pt x="1052" y="181"/>
                  </a:lnTo>
                  <a:lnTo>
                    <a:pt x="1056" y="183"/>
                  </a:lnTo>
                  <a:lnTo>
                    <a:pt x="1058" y="183"/>
                  </a:lnTo>
                  <a:lnTo>
                    <a:pt x="1058" y="183"/>
                  </a:lnTo>
                  <a:lnTo>
                    <a:pt x="1058" y="183"/>
                  </a:lnTo>
                  <a:lnTo>
                    <a:pt x="1060" y="181"/>
                  </a:lnTo>
                  <a:lnTo>
                    <a:pt x="1060" y="181"/>
                  </a:lnTo>
                  <a:lnTo>
                    <a:pt x="1060" y="179"/>
                  </a:lnTo>
                  <a:lnTo>
                    <a:pt x="1060" y="177"/>
                  </a:lnTo>
                  <a:lnTo>
                    <a:pt x="1058" y="175"/>
                  </a:lnTo>
                  <a:lnTo>
                    <a:pt x="1056" y="175"/>
                  </a:lnTo>
                  <a:lnTo>
                    <a:pt x="1054" y="173"/>
                  </a:lnTo>
                  <a:lnTo>
                    <a:pt x="1054" y="173"/>
                  </a:lnTo>
                  <a:lnTo>
                    <a:pt x="1052" y="175"/>
                  </a:lnTo>
                  <a:lnTo>
                    <a:pt x="1049" y="175"/>
                  </a:lnTo>
                  <a:lnTo>
                    <a:pt x="1049" y="175"/>
                  </a:lnTo>
                  <a:lnTo>
                    <a:pt x="1049" y="175"/>
                  </a:lnTo>
                  <a:lnTo>
                    <a:pt x="1049" y="177"/>
                  </a:lnTo>
                  <a:lnTo>
                    <a:pt x="1049" y="177"/>
                  </a:lnTo>
                  <a:lnTo>
                    <a:pt x="1049" y="177"/>
                  </a:lnTo>
                  <a:lnTo>
                    <a:pt x="1047" y="177"/>
                  </a:lnTo>
                  <a:lnTo>
                    <a:pt x="1045" y="177"/>
                  </a:lnTo>
                  <a:lnTo>
                    <a:pt x="1045" y="177"/>
                  </a:lnTo>
                  <a:lnTo>
                    <a:pt x="1043" y="179"/>
                  </a:lnTo>
                  <a:lnTo>
                    <a:pt x="1041" y="179"/>
                  </a:lnTo>
                  <a:lnTo>
                    <a:pt x="1041" y="179"/>
                  </a:lnTo>
                  <a:lnTo>
                    <a:pt x="1039" y="179"/>
                  </a:lnTo>
                  <a:lnTo>
                    <a:pt x="1043" y="177"/>
                  </a:lnTo>
                  <a:lnTo>
                    <a:pt x="1043" y="177"/>
                  </a:lnTo>
                  <a:lnTo>
                    <a:pt x="1045" y="177"/>
                  </a:lnTo>
                  <a:lnTo>
                    <a:pt x="1045" y="175"/>
                  </a:lnTo>
                  <a:lnTo>
                    <a:pt x="1045" y="175"/>
                  </a:lnTo>
                  <a:lnTo>
                    <a:pt x="1045" y="175"/>
                  </a:lnTo>
                  <a:lnTo>
                    <a:pt x="1043" y="175"/>
                  </a:lnTo>
                  <a:lnTo>
                    <a:pt x="1039" y="175"/>
                  </a:lnTo>
                  <a:lnTo>
                    <a:pt x="1035" y="175"/>
                  </a:lnTo>
                  <a:lnTo>
                    <a:pt x="1033" y="177"/>
                  </a:lnTo>
                  <a:lnTo>
                    <a:pt x="1031" y="177"/>
                  </a:lnTo>
                  <a:lnTo>
                    <a:pt x="1029" y="177"/>
                  </a:lnTo>
                  <a:lnTo>
                    <a:pt x="1027" y="177"/>
                  </a:lnTo>
                  <a:lnTo>
                    <a:pt x="1029" y="177"/>
                  </a:lnTo>
                  <a:lnTo>
                    <a:pt x="1033" y="175"/>
                  </a:lnTo>
                  <a:lnTo>
                    <a:pt x="1037" y="175"/>
                  </a:lnTo>
                  <a:lnTo>
                    <a:pt x="1039" y="175"/>
                  </a:lnTo>
                  <a:lnTo>
                    <a:pt x="1041" y="175"/>
                  </a:lnTo>
                  <a:lnTo>
                    <a:pt x="1045" y="173"/>
                  </a:lnTo>
                  <a:lnTo>
                    <a:pt x="1045" y="173"/>
                  </a:lnTo>
                  <a:lnTo>
                    <a:pt x="1047" y="173"/>
                  </a:lnTo>
                  <a:lnTo>
                    <a:pt x="1049" y="173"/>
                  </a:lnTo>
                  <a:lnTo>
                    <a:pt x="1049" y="173"/>
                  </a:lnTo>
                  <a:lnTo>
                    <a:pt x="1052" y="171"/>
                  </a:lnTo>
                  <a:lnTo>
                    <a:pt x="1052" y="171"/>
                  </a:lnTo>
                  <a:lnTo>
                    <a:pt x="1054" y="171"/>
                  </a:lnTo>
                  <a:lnTo>
                    <a:pt x="1054" y="169"/>
                  </a:lnTo>
                  <a:lnTo>
                    <a:pt x="1054" y="169"/>
                  </a:lnTo>
                  <a:lnTo>
                    <a:pt x="1052" y="169"/>
                  </a:lnTo>
                  <a:lnTo>
                    <a:pt x="1049" y="169"/>
                  </a:lnTo>
                  <a:lnTo>
                    <a:pt x="1047" y="167"/>
                  </a:lnTo>
                  <a:lnTo>
                    <a:pt x="1045" y="167"/>
                  </a:lnTo>
                  <a:lnTo>
                    <a:pt x="1045" y="167"/>
                  </a:lnTo>
                  <a:lnTo>
                    <a:pt x="1043" y="167"/>
                  </a:lnTo>
                  <a:lnTo>
                    <a:pt x="1041" y="167"/>
                  </a:lnTo>
                  <a:lnTo>
                    <a:pt x="1041" y="167"/>
                  </a:lnTo>
                  <a:lnTo>
                    <a:pt x="1039" y="167"/>
                  </a:lnTo>
                  <a:lnTo>
                    <a:pt x="1037" y="165"/>
                  </a:lnTo>
                  <a:lnTo>
                    <a:pt x="1037" y="167"/>
                  </a:lnTo>
                  <a:lnTo>
                    <a:pt x="1033" y="167"/>
                  </a:lnTo>
                  <a:lnTo>
                    <a:pt x="1029" y="167"/>
                  </a:lnTo>
                  <a:lnTo>
                    <a:pt x="1025" y="169"/>
                  </a:lnTo>
                  <a:lnTo>
                    <a:pt x="1023" y="169"/>
                  </a:lnTo>
                  <a:lnTo>
                    <a:pt x="1021" y="171"/>
                  </a:lnTo>
                  <a:lnTo>
                    <a:pt x="1015" y="175"/>
                  </a:lnTo>
                  <a:lnTo>
                    <a:pt x="1013" y="177"/>
                  </a:lnTo>
                  <a:lnTo>
                    <a:pt x="1013" y="177"/>
                  </a:lnTo>
                  <a:lnTo>
                    <a:pt x="1019" y="173"/>
                  </a:lnTo>
                  <a:lnTo>
                    <a:pt x="1019" y="171"/>
                  </a:lnTo>
                  <a:lnTo>
                    <a:pt x="1019" y="171"/>
                  </a:lnTo>
                  <a:lnTo>
                    <a:pt x="1019" y="171"/>
                  </a:lnTo>
                  <a:lnTo>
                    <a:pt x="1019" y="171"/>
                  </a:lnTo>
                  <a:lnTo>
                    <a:pt x="1017" y="171"/>
                  </a:lnTo>
                  <a:lnTo>
                    <a:pt x="1015" y="171"/>
                  </a:lnTo>
                  <a:lnTo>
                    <a:pt x="1013" y="173"/>
                  </a:lnTo>
                  <a:lnTo>
                    <a:pt x="1013" y="173"/>
                  </a:lnTo>
                  <a:lnTo>
                    <a:pt x="1013" y="173"/>
                  </a:lnTo>
                  <a:lnTo>
                    <a:pt x="1010" y="171"/>
                  </a:lnTo>
                  <a:lnTo>
                    <a:pt x="1013" y="171"/>
                  </a:lnTo>
                  <a:lnTo>
                    <a:pt x="1013" y="171"/>
                  </a:lnTo>
                  <a:lnTo>
                    <a:pt x="1015" y="171"/>
                  </a:lnTo>
                  <a:lnTo>
                    <a:pt x="1017" y="169"/>
                  </a:lnTo>
                  <a:lnTo>
                    <a:pt x="1019" y="169"/>
                  </a:lnTo>
                  <a:lnTo>
                    <a:pt x="1021" y="169"/>
                  </a:lnTo>
                  <a:lnTo>
                    <a:pt x="1023" y="169"/>
                  </a:lnTo>
                  <a:lnTo>
                    <a:pt x="1029" y="167"/>
                  </a:lnTo>
                  <a:lnTo>
                    <a:pt x="1031" y="165"/>
                  </a:lnTo>
                  <a:lnTo>
                    <a:pt x="1031" y="165"/>
                  </a:lnTo>
                  <a:lnTo>
                    <a:pt x="1031" y="163"/>
                  </a:lnTo>
                  <a:lnTo>
                    <a:pt x="1033" y="163"/>
                  </a:lnTo>
                  <a:lnTo>
                    <a:pt x="1031" y="163"/>
                  </a:lnTo>
                  <a:lnTo>
                    <a:pt x="1031" y="160"/>
                  </a:lnTo>
                  <a:lnTo>
                    <a:pt x="1031" y="163"/>
                  </a:lnTo>
                  <a:lnTo>
                    <a:pt x="1027" y="163"/>
                  </a:lnTo>
                  <a:lnTo>
                    <a:pt x="1025" y="163"/>
                  </a:lnTo>
                  <a:lnTo>
                    <a:pt x="1023" y="163"/>
                  </a:lnTo>
                  <a:lnTo>
                    <a:pt x="1021" y="163"/>
                  </a:lnTo>
                  <a:lnTo>
                    <a:pt x="1017" y="163"/>
                  </a:lnTo>
                  <a:lnTo>
                    <a:pt x="1015" y="165"/>
                  </a:lnTo>
                  <a:lnTo>
                    <a:pt x="1013" y="165"/>
                  </a:lnTo>
                  <a:lnTo>
                    <a:pt x="1010" y="167"/>
                  </a:lnTo>
                  <a:lnTo>
                    <a:pt x="1006" y="167"/>
                  </a:lnTo>
                  <a:lnTo>
                    <a:pt x="1008" y="165"/>
                  </a:lnTo>
                  <a:lnTo>
                    <a:pt x="1010" y="165"/>
                  </a:lnTo>
                  <a:lnTo>
                    <a:pt x="1013" y="165"/>
                  </a:lnTo>
                  <a:lnTo>
                    <a:pt x="1017" y="163"/>
                  </a:lnTo>
                  <a:lnTo>
                    <a:pt x="1019" y="163"/>
                  </a:lnTo>
                  <a:lnTo>
                    <a:pt x="1019" y="163"/>
                  </a:lnTo>
                  <a:lnTo>
                    <a:pt x="1023" y="163"/>
                  </a:lnTo>
                  <a:lnTo>
                    <a:pt x="1023" y="163"/>
                  </a:lnTo>
                  <a:lnTo>
                    <a:pt x="1025" y="160"/>
                  </a:lnTo>
                  <a:lnTo>
                    <a:pt x="1029" y="160"/>
                  </a:lnTo>
                  <a:lnTo>
                    <a:pt x="1029" y="158"/>
                  </a:lnTo>
                  <a:lnTo>
                    <a:pt x="1029" y="158"/>
                  </a:lnTo>
                  <a:lnTo>
                    <a:pt x="1029" y="158"/>
                  </a:lnTo>
                  <a:lnTo>
                    <a:pt x="1029" y="156"/>
                  </a:lnTo>
                  <a:lnTo>
                    <a:pt x="1027" y="156"/>
                  </a:lnTo>
                  <a:lnTo>
                    <a:pt x="1027" y="156"/>
                  </a:lnTo>
                  <a:lnTo>
                    <a:pt x="1025" y="154"/>
                  </a:lnTo>
                  <a:lnTo>
                    <a:pt x="1023" y="154"/>
                  </a:lnTo>
                  <a:lnTo>
                    <a:pt x="1019" y="154"/>
                  </a:lnTo>
                  <a:lnTo>
                    <a:pt x="1017" y="154"/>
                  </a:lnTo>
                  <a:lnTo>
                    <a:pt x="1017" y="154"/>
                  </a:lnTo>
                  <a:lnTo>
                    <a:pt x="1017" y="154"/>
                  </a:lnTo>
                  <a:lnTo>
                    <a:pt x="1015" y="152"/>
                  </a:lnTo>
                  <a:lnTo>
                    <a:pt x="1008" y="154"/>
                  </a:lnTo>
                  <a:lnTo>
                    <a:pt x="1008" y="154"/>
                  </a:lnTo>
                  <a:lnTo>
                    <a:pt x="1006" y="156"/>
                  </a:lnTo>
                  <a:lnTo>
                    <a:pt x="1006" y="158"/>
                  </a:lnTo>
                  <a:lnTo>
                    <a:pt x="1006" y="158"/>
                  </a:lnTo>
                  <a:lnTo>
                    <a:pt x="1006" y="158"/>
                  </a:lnTo>
                  <a:lnTo>
                    <a:pt x="1004" y="158"/>
                  </a:lnTo>
                  <a:lnTo>
                    <a:pt x="1004" y="156"/>
                  </a:lnTo>
                  <a:lnTo>
                    <a:pt x="1004" y="154"/>
                  </a:lnTo>
                  <a:lnTo>
                    <a:pt x="1004" y="154"/>
                  </a:lnTo>
                  <a:lnTo>
                    <a:pt x="1000" y="154"/>
                  </a:lnTo>
                  <a:lnTo>
                    <a:pt x="1000" y="156"/>
                  </a:lnTo>
                  <a:lnTo>
                    <a:pt x="998" y="156"/>
                  </a:lnTo>
                  <a:lnTo>
                    <a:pt x="996" y="156"/>
                  </a:lnTo>
                  <a:lnTo>
                    <a:pt x="1002" y="154"/>
                  </a:lnTo>
                  <a:lnTo>
                    <a:pt x="1004" y="152"/>
                  </a:lnTo>
                  <a:lnTo>
                    <a:pt x="1006" y="152"/>
                  </a:lnTo>
                  <a:lnTo>
                    <a:pt x="1004" y="152"/>
                  </a:lnTo>
                  <a:lnTo>
                    <a:pt x="1004" y="152"/>
                  </a:lnTo>
                  <a:lnTo>
                    <a:pt x="1002" y="152"/>
                  </a:lnTo>
                  <a:lnTo>
                    <a:pt x="1000" y="152"/>
                  </a:lnTo>
                  <a:lnTo>
                    <a:pt x="996" y="152"/>
                  </a:lnTo>
                  <a:lnTo>
                    <a:pt x="996" y="154"/>
                  </a:lnTo>
                  <a:lnTo>
                    <a:pt x="994" y="154"/>
                  </a:lnTo>
                  <a:lnTo>
                    <a:pt x="990" y="156"/>
                  </a:lnTo>
                  <a:lnTo>
                    <a:pt x="988" y="158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6" y="158"/>
                  </a:lnTo>
                  <a:lnTo>
                    <a:pt x="988" y="156"/>
                  </a:lnTo>
                  <a:lnTo>
                    <a:pt x="990" y="156"/>
                  </a:lnTo>
                  <a:lnTo>
                    <a:pt x="990" y="156"/>
                  </a:lnTo>
                  <a:lnTo>
                    <a:pt x="990" y="154"/>
                  </a:lnTo>
                  <a:lnTo>
                    <a:pt x="992" y="154"/>
                  </a:lnTo>
                  <a:lnTo>
                    <a:pt x="994" y="152"/>
                  </a:lnTo>
                  <a:lnTo>
                    <a:pt x="990" y="152"/>
                  </a:lnTo>
                  <a:lnTo>
                    <a:pt x="988" y="152"/>
                  </a:lnTo>
                  <a:lnTo>
                    <a:pt x="988" y="152"/>
                  </a:lnTo>
                  <a:lnTo>
                    <a:pt x="992" y="152"/>
                  </a:lnTo>
                  <a:lnTo>
                    <a:pt x="994" y="152"/>
                  </a:lnTo>
                  <a:lnTo>
                    <a:pt x="996" y="152"/>
                  </a:lnTo>
                  <a:lnTo>
                    <a:pt x="1000" y="150"/>
                  </a:lnTo>
                  <a:lnTo>
                    <a:pt x="1000" y="150"/>
                  </a:lnTo>
                  <a:lnTo>
                    <a:pt x="1002" y="148"/>
                  </a:lnTo>
                  <a:lnTo>
                    <a:pt x="1002" y="148"/>
                  </a:lnTo>
                  <a:lnTo>
                    <a:pt x="1002" y="148"/>
                  </a:lnTo>
                  <a:lnTo>
                    <a:pt x="1002" y="148"/>
                  </a:lnTo>
                  <a:lnTo>
                    <a:pt x="1002" y="146"/>
                  </a:lnTo>
                  <a:lnTo>
                    <a:pt x="1000" y="146"/>
                  </a:lnTo>
                  <a:lnTo>
                    <a:pt x="998" y="146"/>
                  </a:lnTo>
                  <a:lnTo>
                    <a:pt x="996" y="146"/>
                  </a:lnTo>
                  <a:lnTo>
                    <a:pt x="994" y="148"/>
                  </a:lnTo>
                  <a:lnTo>
                    <a:pt x="990" y="148"/>
                  </a:lnTo>
                  <a:lnTo>
                    <a:pt x="986" y="150"/>
                  </a:lnTo>
                  <a:lnTo>
                    <a:pt x="984" y="150"/>
                  </a:lnTo>
                  <a:lnTo>
                    <a:pt x="982" y="152"/>
                  </a:lnTo>
                  <a:lnTo>
                    <a:pt x="980" y="152"/>
                  </a:lnTo>
                  <a:lnTo>
                    <a:pt x="980" y="152"/>
                  </a:lnTo>
                  <a:lnTo>
                    <a:pt x="980" y="152"/>
                  </a:lnTo>
                  <a:lnTo>
                    <a:pt x="982" y="150"/>
                  </a:lnTo>
                  <a:lnTo>
                    <a:pt x="986" y="148"/>
                  </a:lnTo>
                  <a:lnTo>
                    <a:pt x="988" y="148"/>
                  </a:lnTo>
                  <a:lnTo>
                    <a:pt x="990" y="148"/>
                  </a:lnTo>
                  <a:lnTo>
                    <a:pt x="996" y="144"/>
                  </a:lnTo>
                  <a:lnTo>
                    <a:pt x="996" y="144"/>
                  </a:lnTo>
                  <a:lnTo>
                    <a:pt x="998" y="144"/>
                  </a:lnTo>
                  <a:lnTo>
                    <a:pt x="998" y="142"/>
                  </a:lnTo>
                  <a:lnTo>
                    <a:pt x="998" y="142"/>
                  </a:lnTo>
                  <a:lnTo>
                    <a:pt x="996" y="140"/>
                  </a:lnTo>
                  <a:lnTo>
                    <a:pt x="994" y="140"/>
                  </a:lnTo>
                  <a:lnTo>
                    <a:pt x="992" y="140"/>
                  </a:lnTo>
                  <a:lnTo>
                    <a:pt x="990" y="140"/>
                  </a:lnTo>
                  <a:lnTo>
                    <a:pt x="988" y="140"/>
                  </a:lnTo>
                  <a:lnTo>
                    <a:pt x="988" y="140"/>
                  </a:lnTo>
                  <a:lnTo>
                    <a:pt x="986" y="138"/>
                  </a:lnTo>
                  <a:lnTo>
                    <a:pt x="984" y="138"/>
                  </a:lnTo>
                  <a:lnTo>
                    <a:pt x="982" y="138"/>
                  </a:lnTo>
                  <a:lnTo>
                    <a:pt x="978" y="138"/>
                  </a:lnTo>
                  <a:lnTo>
                    <a:pt x="974" y="138"/>
                  </a:lnTo>
                  <a:lnTo>
                    <a:pt x="971" y="138"/>
                  </a:lnTo>
                  <a:lnTo>
                    <a:pt x="969" y="138"/>
                  </a:lnTo>
                  <a:lnTo>
                    <a:pt x="963" y="140"/>
                  </a:lnTo>
                  <a:lnTo>
                    <a:pt x="963" y="140"/>
                  </a:lnTo>
                  <a:lnTo>
                    <a:pt x="961" y="140"/>
                  </a:lnTo>
                  <a:lnTo>
                    <a:pt x="961" y="140"/>
                  </a:lnTo>
                  <a:lnTo>
                    <a:pt x="961" y="142"/>
                  </a:lnTo>
                  <a:lnTo>
                    <a:pt x="961" y="142"/>
                  </a:lnTo>
                  <a:lnTo>
                    <a:pt x="961" y="142"/>
                  </a:lnTo>
                  <a:lnTo>
                    <a:pt x="965" y="144"/>
                  </a:lnTo>
                  <a:lnTo>
                    <a:pt x="967" y="144"/>
                  </a:lnTo>
                  <a:lnTo>
                    <a:pt x="967" y="144"/>
                  </a:lnTo>
                  <a:lnTo>
                    <a:pt x="967" y="146"/>
                  </a:lnTo>
                  <a:lnTo>
                    <a:pt x="965" y="146"/>
                  </a:lnTo>
                  <a:lnTo>
                    <a:pt x="961" y="144"/>
                  </a:lnTo>
                  <a:lnTo>
                    <a:pt x="959" y="144"/>
                  </a:lnTo>
                  <a:lnTo>
                    <a:pt x="959" y="144"/>
                  </a:lnTo>
                  <a:lnTo>
                    <a:pt x="957" y="144"/>
                  </a:lnTo>
                  <a:lnTo>
                    <a:pt x="957" y="142"/>
                  </a:lnTo>
                  <a:lnTo>
                    <a:pt x="955" y="144"/>
                  </a:lnTo>
                  <a:lnTo>
                    <a:pt x="951" y="146"/>
                  </a:lnTo>
                  <a:lnTo>
                    <a:pt x="951" y="148"/>
                  </a:lnTo>
                  <a:lnTo>
                    <a:pt x="951" y="148"/>
                  </a:lnTo>
                  <a:lnTo>
                    <a:pt x="953" y="148"/>
                  </a:lnTo>
                  <a:lnTo>
                    <a:pt x="951" y="150"/>
                  </a:lnTo>
                  <a:lnTo>
                    <a:pt x="951" y="150"/>
                  </a:lnTo>
                  <a:lnTo>
                    <a:pt x="951" y="150"/>
                  </a:lnTo>
                  <a:lnTo>
                    <a:pt x="951" y="148"/>
                  </a:lnTo>
                  <a:lnTo>
                    <a:pt x="949" y="148"/>
                  </a:lnTo>
                  <a:lnTo>
                    <a:pt x="949" y="146"/>
                  </a:lnTo>
                  <a:lnTo>
                    <a:pt x="951" y="146"/>
                  </a:lnTo>
                  <a:lnTo>
                    <a:pt x="953" y="144"/>
                  </a:lnTo>
                  <a:lnTo>
                    <a:pt x="951" y="142"/>
                  </a:lnTo>
                  <a:lnTo>
                    <a:pt x="951" y="142"/>
                  </a:lnTo>
                  <a:lnTo>
                    <a:pt x="949" y="144"/>
                  </a:lnTo>
                  <a:lnTo>
                    <a:pt x="947" y="144"/>
                  </a:lnTo>
                  <a:lnTo>
                    <a:pt x="945" y="144"/>
                  </a:lnTo>
                  <a:lnTo>
                    <a:pt x="945" y="142"/>
                  </a:lnTo>
                  <a:lnTo>
                    <a:pt x="945" y="142"/>
                  </a:lnTo>
                  <a:lnTo>
                    <a:pt x="945" y="142"/>
                  </a:lnTo>
                  <a:lnTo>
                    <a:pt x="943" y="142"/>
                  </a:lnTo>
                  <a:lnTo>
                    <a:pt x="943" y="142"/>
                  </a:lnTo>
                  <a:lnTo>
                    <a:pt x="941" y="142"/>
                  </a:lnTo>
                  <a:lnTo>
                    <a:pt x="941" y="144"/>
                  </a:lnTo>
                  <a:lnTo>
                    <a:pt x="941" y="144"/>
                  </a:lnTo>
                  <a:lnTo>
                    <a:pt x="941" y="146"/>
                  </a:lnTo>
                  <a:lnTo>
                    <a:pt x="941" y="146"/>
                  </a:lnTo>
                  <a:lnTo>
                    <a:pt x="939" y="144"/>
                  </a:lnTo>
                  <a:lnTo>
                    <a:pt x="939" y="144"/>
                  </a:lnTo>
                  <a:lnTo>
                    <a:pt x="935" y="146"/>
                  </a:lnTo>
                  <a:lnTo>
                    <a:pt x="928" y="148"/>
                  </a:lnTo>
                  <a:lnTo>
                    <a:pt x="926" y="148"/>
                  </a:lnTo>
                  <a:lnTo>
                    <a:pt x="926" y="150"/>
                  </a:lnTo>
                  <a:lnTo>
                    <a:pt x="926" y="150"/>
                  </a:lnTo>
                  <a:lnTo>
                    <a:pt x="926" y="150"/>
                  </a:lnTo>
                  <a:lnTo>
                    <a:pt x="926" y="148"/>
                  </a:lnTo>
                  <a:lnTo>
                    <a:pt x="926" y="148"/>
                  </a:lnTo>
                  <a:lnTo>
                    <a:pt x="926" y="148"/>
                  </a:lnTo>
                  <a:lnTo>
                    <a:pt x="926" y="148"/>
                  </a:lnTo>
                  <a:lnTo>
                    <a:pt x="928" y="146"/>
                  </a:lnTo>
                  <a:lnTo>
                    <a:pt x="928" y="146"/>
                  </a:lnTo>
                  <a:lnTo>
                    <a:pt x="928" y="146"/>
                  </a:lnTo>
                  <a:lnTo>
                    <a:pt x="930" y="146"/>
                  </a:lnTo>
                  <a:lnTo>
                    <a:pt x="930" y="146"/>
                  </a:lnTo>
                  <a:lnTo>
                    <a:pt x="928" y="146"/>
                  </a:lnTo>
                  <a:lnTo>
                    <a:pt x="928" y="144"/>
                  </a:lnTo>
                  <a:lnTo>
                    <a:pt x="930" y="144"/>
                  </a:lnTo>
                  <a:lnTo>
                    <a:pt x="935" y="144"/>
                  </a:lnTo>
                  <a:lnTo>
                    <a:pt x="937" y="142"/>
                  </a:lnTo>
                  <a:lnTo>
                    <a:pt x="937" y="142"/>
                  </a:lnTo>
                  <a:lnTo>
                    <a:pt x="935" y="142"/>
                  </a:lnTo>
                  <a:lnTo>
                    <a:pt x="926" y="144"/>
                  </a:lnTo>
                  <a:lnTo>
                    <a:pt x="928" y="144"/>
                  </a:lnTo>
                  <a:lnTo>
                    <a:pt x="932" y="142"/>
                  </a:lnTo>
                  <a:lnTo>
                    <a:pt x="937" y="140"/>
                  </a:lnTo>
                  <a:lnTo>
                    <a:pt x="941" y="138"/>
                  </a:lnTo>
                  <a:lnTo>
                    <a:pt x="943" y="138"/>
                  </a:lnTo>
                  <a:lnTo>
                    <a:pt x="945" y="138"/>
                  </a:lnTo>
                  <a:lnTo>
                    <a:pt x="945" y="136"/>
                  </a:lnTo>
                  <a:lnTo>
                    <a:pt x="943" y="136"/>
                  </a:lnTo>
                  <a:lnTo>
                    <a:pt x="943" y="136"/>
                  </a:lnTo>
                  <a:lnTo>
                    <a:pt x="943" y="134"/>
                  </a:lnTo>
                  <a:lnTo>
                    <a:pt x="943" y="134"/>
                  </a:lnTo>
                  <a:lnTo>
                    <a:pt x="945" y="132"/>
                  </a:lnTo>
                  <a:lnTo>
                    <a:pt x="945" y="132"/>
                  </a:lnTo>
                  <a:lnTo>
                    <a:pt x="945" y="132"/>
                  </a:lnTo>
                  <a:lnTo>
                    <a:pt x="945" y="130"/>
                  </a:lnTo>
                  <a:lnTo>
                    <a:pt x="943" y="130"/>
                  </a:lnTo>
                  <a:lnTo>
                    <a:pt x="943" y="130"/>
                  </a:lnTo>
                  <a:lnTo>
                    <a:pt x="943" y="126"/>
                  </a:lnTo>
                  <a:lnTo>
                    <a:pt x="943" y="123"/>
                  </a:lnTo>
                  <a:lnTo>
                    <a:pt x="943" y="123"/>
                  </a:lnTo>
                  <a:lnTo>
                    <a:pt x="943" y="123"/>
                  </a:lnTo>
                  <a:lnTo>
                    <a:pt x="939" y="123"/>
                  </a:lnTo>
                  <a:lnTo>
                    <a:pt x="937" y="123"/>
                  </a:lnTo>
                  <a:lnTo>
                    <a:pt x="930" y="123"/>
                  </a:lnTo>
                  <a:lnTo>
                    <a:pt x="928" y="123"/>
                  </a:lnTo>
                  <a:lnTo>
                    <a:pt x="928" y="123"/>
                  </a:lnTo>
                  <a:lnTo>
                    <a:pt x="926" y="123"/>
                  </a:lnTo>
                  <a:lnTo>
                    <a:pt x="922" y="123"/>
                  </a:lnTo>
                  <a:lnTo>
                    <a:pt x="916" y="126"/>
                  </a:lnTo>
                  <a:lnTo>
                    <a:pt x="914" y="126"/>
                  </a:lnTo>
                  <a:lnTo>
                    <a:pt x="914" y="126"/>
                  </a:lnTo>
                  <a:lnTo>
                    <a:pt x="914" y="128"/>
                  </a:lnTo>
                  <a:lnTo>
                    <a:pt x="914" y="128"/>
                  </a:lnTo>
                  <a:lnTo>
                    <a:pt x="912" y="126"/>
                  </a:lnTo>
                  <a:lnTo>
                    <a:pt x="908" y="128"/>
                  </a:lnTo>
                  <a:lnTo>
                    <a:pt x="904" y="128"/>
                  </a:lnTo>
                  <a:lnTo>
                    <a:pt x="900" y="128"/>
                  </a:lnTo>
                  <a:lnTo>
                    <a:pt x="891" y="132"/>
                  </a:lnTo>
                  <a:lnTo>
                    <a:pt x="891" y="132"/>
                  </a:lnTo>
                  <a:lnTo>
                    <a:pt x="893" y="134"/>
                  </a:lnTo>
                  <a:lnTo>
                    <a:pt x="900" y="136"/>
                  </a:lnTo>
                  <a:lnTo>
                    <a:pt x="900" y="136"/>
                  </a:lnTo>
                  <a:lnTo>
                    <a:pt x="893" y="134"/>
                  </a:lnTo>
                  <a:lnTo>
                    <a:pt x="891" y="134"/>
                  </a:lnTo>
                  <a:lnTo>
                    <a:pt x="889" y="134"/>
                  </a:lnTo>
                  <a:lnTo>
                    <a:pt x="887" y="134"/>
                  </a:lnTo>
                  <a:lnTo>
                    <a:pt x="885" y="136"/>
                  </a:lnTo>
                  <a:lnTo>
                    <a:pt x="885" y="136"/>
                  </a:lnTo>
                  <a:lnTo>
                    <a:pt x="883" y="136"/>
                  </a:lnTo>
                  <a:lnTo>
                    <a:pt x="883" y="138"/>
                  </a:lnTo>
                  <a:lnTo>
                    <a:pt x="881" y="138"/>
                  </a:lnTo>
                  <a:lnTo>
                    <a:pt x="881" y="140"/>
                  </a:lnTo>
                  <a:lnTo>
                    <a:pt x="881" y="140"/>
                  </a:lnTo>
                  <a:lnTo>
                    <a:pt x="881" y="140"/>
                  </a:lnTo>
                  <a:lnTo>
                    <a:pt x="883" y="142"/>
                  </a:lnTo>
                  <a:lnTo>
                    <a:pt x="883" y="142"/>
                  </a:lnTo>
                  <a:lnTo>
                    <a:pt x="883" y="142"/>
                  </a:lnTo>
                  <a:lnTo>
                    <a:pt x="885" y="142"/>
                  </a:lnTo>
                  <a:lnTo>
                    <a:pt x="887" y="142"/>
                  </a:lnTo>
                  <a:lnTo>
                    <a:pt x="887" y="142"/>
                  </a:lnTo>
                  <a:lnTo>
                    <a:pt x="889" y="142"/>
                  </a:lnTo>
                  <a:lnTo>
                    <a:pt x="889" y="142"/>
                  </a:lnTo>
                  <a:lnTo>
                    <a:pt x="887" y="144"/>
                  </a:lnTo>
                  <a:lnTo>
                    <a:pt x="887" y="144"/>
                  </a:lnTo>
                  <a:lnTo>
                    <a:pt x="887" y="144"/>
                  </a:lnTo>
                  <a:lnTo>
                    <a:pt x="887" y="146"/>
                  </a:lnTo>
                  <a:lnTo>
                    <a:pt x="889" y="146"/>
                  </a:lnTo>
                  <a:lnTo>
                    <a:pt x="889" y="148"/>
                  </a:lnTo>
                  <a:lnTo>
                    <a:pt x="889" y="148"/>
                  </a:lnTo>
                  <a:lnTo>
                    <a:pt x="889" y="148"/>
                  </a:lnTo>
                  <a:lnTo>
                    <a:pt x="887" y="146"/>
                  </a:lnTo>
                  <a:lnTo>
                    <a:pt x="883" y="144"/>
                  </a:lnTo>
                  <a:lnTo>
                    <a:pt x="879" y="144"/>
                  </a:lnTo>
                  <a:lnTo>
                    <a:pt x="879" y="144"/>
                  </a:lnTo>
                  <a:lnTo>
                    <a:pt x="875" y="146"/>
                  </a:lnTo>
                  <a:lnTo>
                    <a:pt x="873" y="148"/>
                  </a:lnTo>
                  <a:lnTo>
                    <a:pt x="871" y="148"/>
                  </a:lnTo>
                  <a:lnTo>
                    <a:pt x="871" y="148"/>
                  </a:lnTo>
                  <a:lnTo>
                    <a:pt x="871" y="148"/>
                  </a:lnTo>
                  <a:lnTo>
                    <a:pt x="871" y="150"/>
                  </a:lnTo>
                  <a:lnTo>
                    <a:pt x="873" y="150"/>
                  </a:lnTo>
                  <a:lnTo>
                    <a:pt x="873" y="152"/>
                  </a:lnTo>
                  <a:lnTo>
                    <a:pt x="873" y="152"/>
                  </a:lnTo>
                  <a:lnTo>
                    <a:pt x="873" y="152"/>
                  </a:lnTo>
                  <a:lnTo>
                    <a:pt x="875" y="152"/>
                  </a:lnTo>
                  <a:lnTo>
                    <a:pt x="875" y="152"/>
                  </a:lnTo>
                  <a:lnTo>
                    <a:pt x="877" y="152"/>
                  </a:lnTo>
                  <a:lnTo>
                    <a:pt x="879" y="154"/>
                  </a:lnTo>
                  <a:lnTo>
                    <a:pt x="879" y="154"/>
                  </a:lnTo>
                  <a:lnTo>
                    <a:pt x="877" y="156"/>
                  </a:lnTo>
                  <a:lnTo>
                    <a:pt x="877" y="156"/>
                  </a:lnTo>
                  <a:lnTo>
                    <a:pt x="875" y="158"/>
                  </a:lnTo>
                  <a:lnTo>
                    <a:pt x="871" y="163"/>
                  </a:lnTo>
                  <a:lnTo>
                    <a:pt x="869" y="163"/>
                  </a:lnTo>
                  <a:lnTo>
                    <a:pt x="869" y="163"/>
                  </a:lnTo>
                  <a:lnTo>
                    <a:pt x="867" y="163"/>
                  </a:lnTo>
                  <a:lnTo>
                    <a:pt x="867" y="163"/>
                  </a:lnTo>
                  <a:lnTo>
                    <a:pt x="867" y="163"/>
                  </a:lnTo>
                  <a:lnTo>
                    <a:pt x="867" y="163"/>
                  </a:lnTo>
                  <a:lnTo>
                    <a:pt x="869" y="160"/>
                  </a:lnTo>
                  <a:lnTo>
                    <a:pt x="867" y="160"/>
                  </a:lnTo>
                  <a:lnTo>
                    <a:pt x="861" y="160"/>
                  </a:lnTo>
                  <a:lnTo>
                    <a:pt x="859" y="160"/>
                  </a:lnTo>
                  <a:lnTo>
                    <a:pt x="854" y="163"/>
                  </a:lnTo>
                  <a:lnTo>
                    <a:pt x="852" y="163"/>
                  </a:lnTo>
                  <a:lnTo>
                    <a:pt x="848" y="163"/>
                  </a:lnTo>
                  <a:lnTo>
                    <a:pt x="848" y="163"/>
                  </a:lnTo>
                  <a:lnTo>
                    <a:pt x="850" y="163"/>
                  </a:lnTo>
                  <a:lnTo>
                    <a:pt x="854" y="163"/>
                  </a:lnTo>
                  <a:lnTo>
                    <a:pt x="859" y="160"/>
                  </a:lnTo>
                  <a:lnTo>
                    <a:pt x="861" y="160"/>
                  </a:lnTo>
                  <a:lnTo>
                    <a:pt x="865" y="160"/>
                  </a:lnTo>
                  <a:lnTo>
                    <a:pt x="869" y="158"/>
                  </a:lnTo>
                  <a:lnTo>
                    <a:pt x="871" y="158"/>
                  </a:lnTo>
                  <a:lnTo>
                    <a:pt x="871" y="156"/>
                  </a:lnTo>
                  <a:lnTo>
                    <a:pt x="869" y="156"/>
                  </a:lnTo>
                  <a:lnTo>
                    <a:pt x="869" y="154"/>
                  </a:lnTo>
                  <a:lnTo>
                    <a:pt x="867" y="154"/>
                  </a:lnTo>
                  <a:lnTo>
                    <a:pt x="865" y="152"/>
                  </a:lnTo>
                  <a:lnTo>
                    <a:pt x="865" y="150"/>
                  </a:lnTo>
                  <a:lnTo>
                    <a:pt x="867" y="148"/>
                  </a:lnTo>
                  <a:lnTo>
                    <a:pt x="867" y="146"/>
                  </a:lnTo>
                  <a:lnTo>
                    <a:pt x="867" y="146"/>
                  </a:lnTo>
                  <a:lnTo>
                    <a:pt x="869" y="144"/>
                  </a:lnTo>
                  <a:lnTo>
                    <a:pt x="871" y="142"/>
                  </a:lnTo>
                  <a:lnTo>
                    <a:pt x="873" y="142"/>
                  </a:lnTo>
                  <a:lnTo>
                    <a:pt x="873" y="140"/>
                  </a:lnTo>
                  <a:lnTo>
                    <a:pt x="871" y="138"/>
                  </a:lnTo>
                  <a:lnTo>
                    <a:pt x="873" y="138"/>
                  </a:lnTo>
                  <a:lnTo>
                    <a:pt x="873" y="136"/>
                  </a:lnTo>
                  <a:lnTo>
                    <a:pt x="875" y="136"/>
                  </a:lnTo>
                  <a:lnTo>
                    <a:pt x="875" y="134"/>
                  </a:lnTo>
                  <a:lnTo>
                    <a:pt x="877" y="134"/>
                  </a:lnTo>
                  <a:lnTo>
                    <a:pt x="885" y="130"/>
                  </a:lnTo>
                  <a:lnTo>
                    <a:pt x="887" y="130"/>
                  </a:lnTo>
                  <a:lnTo>
                    <a:pt x="893" y="126"/>
                  </a:lnTo>
                  <a:lnTo>
                    <a:pt x="898" y="126"/>
                  </a:lnTo>
                  <a:lnTo>
                    <a:pt x="902" y="123"/>
                  </a:lnTo>
                  <a:lnTo>
                    <a:pt x="906" y="123"/>
                  </a:lnTo>
                  <a:lnTo>
                    <a:pt x="906" y="123"/>
                  </a:lnTo>
                  <a:lnTo>
                    <a:pt x="906" y="121"/>
                  </a:lnTo>
                  <a:lnTo>
                    <a:pt x="906" y="121"/>
                  </a:lnTo>
                  <a:lnTo>
                    <a:pt x="906" y="121"/>
                  </a:lnTo>
                  <a:lnTo>
                    <a:pt x="896" y="121"/>
                  </a:lnTo>
                  <a:lnTo>
                    <a:pt x="891" y="121"/>
                  </a:lnTo>
                  <a:lnTo>
                    <a:pt x="887" y="121"/>
                  </a:lnTo>
                  <a:lnTo>
                    <a:pt x="877" y="121"/>
                  </a:lnTo>
                  <a:lnTo>
                    <a:pt x="875" y="123"/>
                  </a:lnTo>
                  <a:lnTo>
                    <a:pt x="871" y="123"/>
                  </a:lnTo>
                  <a:lnTo>
                    <a:pt x="867" y="126"/>
                  </a:lnTo>
                  <a:lnTo>
                    <a:pt x="859" y="128"/>
                  </a:lnTo>
                  <a:lnTo>
                    <a:pt x="859" y="128"/>
                  </a:lnTo>
                  <a:lnTo>
                    <a:pt x="859" y="128"/>
                  </a:lnTo>
                  <a:lnTo>
                    <a:pt x="857" y="128"/>
                  </a:lnTo>
                  <a:lnTo>
                    <a:pt x="857" y="130"/>
                  </a:lnTo>
                  <a:lnTo>
                    <a:pt x="854" y="130"/>
                  </a:lnTo>
                  <a:lnTo>
                    <a:pt x="850" y="130"/>
                  </a:lnTo>
                  <a:lnTo>
                    <a:pt x="848" y="132"/>
                  </a:lnTo>
                  <a:lnTo>
                    <a:pt x="848" y="132"/>
                  </a:lnTo>
                  <a:lnTo>
                    <a:pt x="846" y="134"/>
                  </a:lnTo>
                  <a:lnTo>
                    <a:pt x="846" y="134"/>
                  </a:lnTo>
                  <a:lnTo>
                    <a:pt x="844" y="136"/>
                  </a:lnTo>
                  <a:lnTo>
                    <a:pt x="842" y="136"/>
                  </a:lnTo>
                  <a:lnTo>
                    <a:pt x="838" y="138"/>
                  </a:lnTo>
                  <a:lnTo>
                    <a:pt x="836" y="140"/>
                  </a:lnTo>
                  <a:lnTo>
                    <a:pt x="832" y="142"/>
                  </a:lnTo>
                  <a:lnTo>
                    <a:pt x="832" y="142"/>
                  </a:lnTo>
                  <a:lnTo>
                    <a:pt x="830" y="142"/>
                  </a:lnTo>
                  <a:lnTo>
                    <a:pt x="830" y="144"/>
                  </a:lnTo>
                  <a:lnTo>
                    <a:pt x="830" y="144"/>
                  </a:lnTo>
                  <a:lnTo>
                    <a:pt x="828" y="144"/>
                  </a:lnTo>
                  <a:lnTo>
                    <a:pt x="830" y="146"/>
                  </a:lnTo>
                  <a:lnTo>
                    <a:pt x="830" y="146"/>
                  </a:lnTo>
                  <a:lnTo>
                    <a:pt x="830" y="146"/>
                  </a:lnTo>
                  <a:lnTo>
                    <a:pt x="826" y="148"/>
                  </a:lnTo>
                  <a:lnTo>
                    <a:pt x="822" y="148"/>
                  </a:lnTo>
                  <a:lnTo>
                    <a:pt x="822" y="150"/>
                  </a:lnTo>
                  <a:lnTo>
                    <a:pt x="822" y="150"/>
                  </a:lnTo>
                  <a:lnTo>
                    <a:pt x="822" y="152"/>
                  </a:lnTo>
                  <a:lnTo>
                    <a:pt x="820" y="154"/>
                  </a:lnTo>
                  <a:lnTo>
                    <a:pt x="817" y="156"/>
                  </a:lnTo>
                  <a:lnTo>
                    <a:pt x="817" y="156"/>
                  </a:lnTo>
                  <a:lnTo>
                    <a:pt x="820" y="156"/>
                  </a:lnTo>
                  <a:lnTo>
                    <a:pt x="822" y="158"/>
                  </a:lnTo>
                  <a:lnTo>
                    <a:pt x="824" y="158"/>
                  </a:lnTo>
                  <a:lnTo>
                    <a:pt x="830" y="160"/>
                  </a:lnTo>
                  <a:lnTo>
                    <a:pt x="834" y="160"/>
                  </a:lnTo>
                  <a:lnTo>
                    <a:pt x="836" y="160"/>
                  </a:lnTo>
                  <a:lnTo>
                    <a:pt x="838" y="160"/>
                  </a:lnTo>
                  <a:lnTo>
                    <a:pt x="838" y="160"/>
                  </a:lnTo>
                  <a:lnTo>
                    <a:pt x="840" y="163"/>
                  </a:lnTo>
                  <a:lnTo>
                    <a:pt x="842" y="163"/>
                  </a:lnTo>
                  <a:lnTo>
                    <a:pt x="842" y="163"/>
                  </a:lnTo>
                  <a:lnTo>
                    <a:pt x="838" y="165"/>
                  </a:lnTo>
                  <a:lnTo>
                    <a:pt x="834" y="165"/>
                  </a:lnTo>
                  <a:lnTo>
                    <a:pt x="832" y="165"/>
                  </a:lnTo>
                  <a:lnTo>
                    <a:pt x="828" y="163"/>
                  </a:lnTo>
                  <a:lnTo>
                    <a:pt x="828" y="163"/>
                  </a:lnTo>
                  <a:lnTo>
                    <a:pt x="826" y="163"/>
                  </a:lnTo>
                  <a:lnTo>
                    <a:pt x="822" y="163"/>
                  </a:lnTo>
                  <a:lnTo>
                    <a:pt x="817" y="163"/>
                  </a:lnTo>
                  <a:lnTo>
                    <a:pt x="815" y="163"/>
                  </a:lnTo>
                  <a:lnTo>
                    <a:pt x="817" y="163"/>
                  </a:lnTo>
                  <a:lnTo>
                    <a:pt x="815" y="163"/>
                  </a:lnTo>
                  <a:lnTo>
                    <a:pt x="815" y="167"/>
                  </a:lnTo>
                  <a:lnTo>
                    <a:pt x="815" y="167"/>
                  </a:lnTo>
                  <a:lnTo>
                    <a:pt x="815" y="171"/>
                  </a:lnTo>
                  <a:lnTo>
                    <a:pt x="815" y="171"/>
                  </a:lnTo>
                  <a:lnTo>
                    <a:pt x="817" y="171"/>
                  </a:lnTo>
                  <a:lnTo>
                    <a:pt x="820" y="171"/>
                  </a:lnTo>
                  <a:lnTo>
                    <a:pt x="822" y="173"/>
                  </a:lnTo>
                  <a:lnTo>
                    <a:pt x="824" y="175"/>
                  </a:lnTo>
                  <a:lnTo>
                    <a:pt x="824" y="175"/>
                  </a:lnTo>
                  <a:lnTo>
                    <a:pt x="824" y="175"/>
                  </a:lnTo>
                  <a:lnTo>
                    <a:pt x="826" y="173"/>
                  </a:lnTo>
                  <a:lnTo>
                    <a:pt x="828" y="173"/>
                  </a:lnTo>
                  <a:lnTo>
                    <a:pt x="828" y="173"/>
                  </a:lnTo>
                  <a:lnTo>
                    <a:pt x="832" y="173"/>
                  </a:lnTo>
                  <a:lnTo>
                    <a:pt x="834" y="173"/>
                  </a:lnTo>
                  <a:lnTo>
                    <a:pt x="834" y="173"/>
                  </a:lnTo>
                  <a:lnTo>
                    <a:pt x="834" y="173"/>
                  </a:lnTo>
                  <a:lnTo>
                    <a:pt x="834" y="173"/>
                  </a:lnTo>
                  <a:lnTo>
                    <a:pt x="834" y="173"/>
                  </a:lnTo>
                  <a:lnTo>
                    <a:pt x="838" y="173"/>
                  </a:lnTo>
                  <a:lnTo>
                    <a:pt x="838" y="173"/>
                  </a:lnTo>
                  <a:lnTo>
                    <a:pt x="840" y="173"/>
                  </a:lnTo>
                  <a:lnTo>
                    <a:pt x="844" y="171"/>
                  </a:lnTo>
                  <a:lnTo>
                    <a:pt x="842" y="171"/>
                  </a:lnTo>
                  <a:lnTo>
                    <a:pt x="842" y="173"/>
                  </a:lnTo>
                  <a:lnTo>
                    <a:pt x="840" y="173"/>
                  </a:lnTo>
                  <a:lnTo>
                    <a:pt x="840" y="175"/>
                  </a:lnTo>
                  <a:lnTo>
                    <a:pt x="840" y="175"/>
                  </a:lnTo>
                  <a:lnTo>
                    <a:pt x="840" y="177"/>
                  </a:lnTo>
                  <a:lnTo>
                    <a:pt x="840" y="177"/>
                  </a:lnTo>
                  <a:lnTo>
                    <a:pt x="844" y="177"/>
                  </a:lnTo>
                  <a:lnTo>
                    <a:pt x="850" y="177"/>
                  </a:lnTo>
                  <a:lnTo>
                    <a:pt x="854" y="177"/>
                  </a:lnTo>
                  <a:lnTo>
                    <a:pt x="857" y="177"/>
                  </a:lnTo>
                  <a:lnTo>
                    <a:pt x="857" y="177"/>
                  </a:lnTo>
                  <a:lnTo>
                    <a:pt x="857" y="177"/>
                  </a:lnTo>
                  <a:lnTo>
                    <a:pt x="859" y="179"/>
                  </a:lnTo>
                  <a:lnTo>
                    <a:pt x="867" y="179"/>
                  </a:lnTo>
                  <a:lnTo>
                    <a:pt x="871" y="179"/>
                  </a:lnTo>
                  <a:lnTo>
                    <a:pt x="875" y="179"/>
                  </a:lnTo>
                  <a:lnTo>
                    <a:pt x="875" y="179"/>
                  </a:lnTo>
                  <a:lnTo>
                    <a:pt x="877" y="179"/>
                  </a:lnTo>
                  <a:lnTo>
                    <a:pt x="881" y="181"/>
                  </a:lnTo>
                  <a:lnTo>
                    <a:pt x="883" y="181"/>
                  </a:lnTo>
                  <a:lnTo>
                    <a:pt x="885" y="181"/>
                  </a:lnTo>
                  <a:lnTo>
                    <a:pt x="887" y="181"/>
                  </a:lnTo>
                  <a:lnTo>
                    <a:pt x="893" y="179"/>
                  </a:lnTo>
                  <a:lnTo>
                    <a:pt x="898" y="183"/>
                  </a:lnTo>
                  <a:lnTo>
                    <a:pt x="900" y="181"/>
                  </a:lnTo>
                  <a:lnTo>
                    <a:pt x="900" y="181"/>
                  </a:lnTo>
                  <a:lnTo>
                    <a:pt x="900" y="181"/>
                  </a:lnTo>
                  <a:lnTo>
                    <a:pt x="898" y="179"/>
                  </a:lnTo>
                  <a:lnTo>
                    <a:pt x="898" y="179"/>
                  </a:lnTo>
                  <a:lnTo>
                    <a:pt x="896" y="179"/>
                  </a:lnTo>
                  <a:lnTo>
                    <a:pt x="896" y="179"/>
                  </a:lnTo>
                  <a:lnTo>
                    <a:pt x="893" y="177"/>
                  </a:lnTo>
                  <a:lnTo>
                    <a:pt x="893" y="177"/>
                  </a:lnTo>
                  <a:lnTo>
                    <a:pt x="896" y="177"/>
                  </a:lnTo>
                  <a:lnTo>
                    <a:pt x="900" y="177"/>
                  </a:lnTo>
                  <a:lnTo>
                    <a:pt x="904" y="177"/>
                  </a:lnTo>
                  <a:lnTo>
                    <a:pt x="904" y="177"/>
                  </a:lnTo>
                  <a:lnTo>
                    <a:pt x="908" y="179"/>
                  </a:lnTo>
                  <a:lnTo>
                    <a:pt x="908" y="179"/>
                  </a:lnTo>
                  <a:lnTo>
                    <a:pt x="910" y="179"/>
                  </a:lnTo>
                  <a:lnTo>
                    <a:pt x="914" y="179"/>
                  </a:lnTo>
                  <a:lnTo>
                    <a:pt x="916" y="181"/>
                  </a:lnTo>
                  <a:lnTo>
                    <a:pt x="918" y="179"/>
                  </a:lnTo>
                  <a:lnTo>
                    <a:pt x="922" y="179"/>
                  </a:lnTo>
                  <a:lnTo>
                    <a:pt x="924" y="179"/>
                  </a:lnTo>
                  <a:lnTo>
                    <a:pt x="926" y="179"/>
                  </a:lnTo>
                  <a:lnTo>
                    <a:pt x="926" y="177"/>
                  </a:lnTo>
                  <a:lnTo>
                    <a:pt x="926" y="177"/>
                  </a:lnTo>
                  <a:lnTo>
                    <a:pt x="928" y="175"/>
                  </a:lnTo>
                  <a:lnTo>
                    <a:pt x="928" y="175"/>
                  </a:lnTo>
                  <a:lnTo>
                    <a:pt x="928" y="175"/>
                  </a:lnTo>
                  <a:lnTo>
                    <a:pt x="926" y="173"/>
                  </a:lnTo>
                  <a:lnTo>
                    <a:pt x="924" y="173"/>
                  </a:lnTo>
                  <a:lnTo>
                    <a:pt x="924" y="173"/>
                  </a:lnTo>
                  <a:lnTo>
                    <a:pt x="924" y="171"/>
                  </a:lnTo>
                  <a:lnTo>
                    <a:pt x="924" y="171"/>
                  </a:lnTo>
                  <a:lnTo>
                    <a:pt x="926" y="171"/>
                  </a:lnTo>
                  <a:lnTo>
                    <a:pt x="928" y="169"/>
                  </a:lnTo>
                  <a:lnTo>
                    <a:pt x="930" y="169"/>
                  </a:lnTo>
                  <a:lnTo>
                    <a:pt x="930" y="169"/>
                  </a:lnTo>
                  <a:lnTo>
                    <a:pt x="930" y="171"/>
                  </a:lnTo>
                  <a:lnTo>
                    <a:pt x="930" y="171"/>
                  </a:lnTo>
                  <a:lnTo>
                    <a:pt x="930" y="171"/>
                  </a:lnTo>
                  <a:lnTo>
                    <a:pt x="932" y="173"/>
                  </a:lnTo>
                  <a:lnTo>
                    <a:pt x="932" y="173"/>
                  </a:lnTo>
                  <a:lnTo>
                    <a:pt x="932" y="173"/>
                  </a:lnTo>
                  <a:lnTo>
                    <a:pt x="935" y="175"/>
                  </a:lnTo>
                  <a:lnTo>
                    <a:pt x="935" y="175"/>
                  </a:lnTo>
                  <a:lnTo>
                    <a:pt x="937" y="175"/>
                  </a:lnTo>
                  <a:lnTo>
                    <a:pt x="941" y="175"/>
                  </a:lnTo>
                  <a:lnTo>
                    <a:pt x="941" y="175"/>
                  </a:lnTo>
                  <a:lnTo>
                    <a:pt x="941" y="175"/>
                  </a:lnTo>
                  <a:lnTo>
                    <a:pt x="939" y="177"/>
                  </a:lnTo>
                  <a:lnTo>
                    <a:pt x="939" y="179"/>
                  </a:lnTo>
                  <a:lnTo>
                    <a:pt x="939" y="179"/>
                  </a:lnTo>
                  <a:lnTo>
                    <a:pt x="939" y="181"/>
                  </a:lnTo>
                  <a:lnTo>
                    <a:pt x="939" y="181"/>
                  </a:lnTo>
                  <a:lnTo>
                    <a:pt x="943" y="181"/>
                  </a:lnTo>
                  <a:lnTo>
                    <a:pt x="945" y="181"/>
                  </a:lnTo>
                  <a:lnTo>
                    <a:pt x="945" y="181"/>
                  </a:lnTo>
                  <a:lnTo>
                    <a:pt x="945" y="181"/>
                  </a:lnTo>
                  <a:lnTo>
                    <a:pt x="945" y="183"/>
                  </a:lnTo>
                  <a:lnTo>
                    <a:pt x="943" y="183"/>
                  </a:lnTo>
                  <a:lnTo>
                    <a:pt x="941" y="183"/>
                  </a:lnTo>
                  <a:lnTo>
                    <a:pt x="941" y="183"/>
                  </a:lnTo>
                  <a:lnTo>
                    <a:pt x="941" y="183"/>
                  </a:lnTo>
                  <a:lnTo>
                    <a:pt x="941" y="185"/>
                  </a:lnTo>
                  <a:lnTo>
                    <a:pt x="943" y="185"/>
                  </a:lnTo>
                  <a:lnTo>
                    <a:pt x="945" y="185"/>
                  </a:lnTo>
                  <a:lnTo>
                    <a:pt x="945" y="185"/>
                  </a:lnTo>
                  <a:lnTo>
                    <a:pt x="947" y="183"/>
                  </a:lnTo>
                  <a:lnTo>
                    <a:pt x="949" y="183"/>
                  </a:lnTo>
                  <a:lnTo>
                    <a:pt x="949" y="183"/>
                  </a:lnTo>
                  <a:lnTo>
                    <a:pt x="951" y="183"/>
                  </a:lnTo>
                  <a:lnTo>
                    <a:pt x="951" y="183"/>
                  </a:lnTo>
                  <a:lnTo>
                    <a:pt x="949" y="185"/>
                  </a:lnTo>
                  <a:lnTo>
                    <a:pt x="947" y="185"/>
                  </a:lnTo>
                  <a:lnTo>
                    <a:pt x="947" y="185"/>
                  </a:lnTo>
                  <a:lnTo>
                    <a:pt x="947" y="185"/>
                  </a:lnTo>
                  <a:lnTo>
                    <a:pt x="947" y="187"/>
                  </a:lnTo>
                  <a:lnTo>
                    <a:pt x="947" y="187"/>
                  </a:lnTo>
                  <a:lnTo>
                    <a:pt x="947" y="187"/>
                  </a:lnTo>
                  <a:lnTo>
                    <a:pt x="949" y="187"/>
                  </a:lnTo>
                  <a:lnTo>
                    <a:pt x="951" y="187"/>
                  </a:lnTo>
                  <a:lnTo>
                    <a:pt x="953" y="189"/>
                  </a:lnTo>
                  <a:lnTo>
                    <a:pt x="953" y="189"/>
                  </a:lnTo>
                  <a:lnTo>
                    <a:pt x="953" y="191"/>
                  </a:lnTo>
                  <a:lnTo>
                    <a:pt x="953" y="191"/>
                  </a:lnTo>
                  <a:lnTo>
                    <a:pt x="951" y="191"/>
                  </a:lnTo>
                  <a:lnTo>
                    <a:pt x="949" y="193"/>
                  </a:lnTo>
                  <a:lnTo>
                    <a:pt x="947" y="193"/>
                  </a:lnTo>
                  <a:lnTo>
                    <a:pt x="945" y="193"/>
                  </a:lnTo>
                  <a:lnTo>
                    <a:pt x="943" y="193"/>
                  </a:lnTo>
                  <a:lnTo>
                    <a:pt x="941" y="193"/>
                  </a:lnTo>
                  <a:lnTo>
                    <a:pt x="941" y="193"/>
                  </a:lnTo>
                  <a:lnTo>
                    <a:pt x="939" y="193"/>
                  </a:lnTo>
                  <a:lnTo>
                    <a:pt x="939" y="195"/>
                  </a:lnTo>
                  <a:lnTo>
                    <a:pt x="937" y="197"/>
                  </a:lnTo>
                  <a:lnTo>
                    <a:pt x="937" y="197"/>
                  </a:lnTo>
                  <a:lnTo>
                    <a:pt x="937" y="197"/>
                  </a:lnTo>
                  <a:lnTo>
                    <a:pt x="937" y="197"/>
                  </a:lnTo>
                  <a:lnTo>
                    <a:pt x="937" y="197"/>
                  </a:lnTo>
                  <a:lnTo>
                    <a:pt x="939" y="200"/>
                  </a:lnTo>
                  <a:lnTo>
                    <a:pt x="941" y="197"/>
                  </a:lnTo>
                  <a:lnTo>
                    <a:pt x="947" y="195"/>
                  </a:lnTo>
                  <a:lnTo>
                    <a:pt x="949" y="195"/>
                  </a:lnTo>
                  <a:lnTo>
                    <a:pt x="951" y="195"/>
                  </a:lnTo>
                  <a:lnTo>
                    <a:pt x="953" y="193"/>
                  </a:lnTo>
                  <a:lnTo>
                    <a:pt x="953" y="195"/>
                  </a:lnTo>
                  <a:lnTo>
                    <a:pt x="955" y="195"/>
                  </a:lnTo>
                  <a:lnTo>
                    <a:pt x="957" y="195"/>
                  </a:lnTo>
                  <a:lnTo>
                    <a:pt x="959" y="193"/>
                  </a:lnTo>
                  <a:lnTo>
                    <a:pt x="961" y="193"/>
                  </a:lnTo>
                  <a:lnTo>
                    <a:pt x="961" y="193"/>
                  </a:lnTo>
                  <a:lnTo>
                    <a:pt x="961" y="193"/>
                  </a:lnTo>
                  <a:lnTo>
                    <a:pt x="961" y="193"/>
                  </a:lnTo>
                  <a:lnTo>
                    <a:pt x="959" y="193"/>
                  </a:lnTo>
                  <a:lnTo>
                    <a:pt x="957" y="193"/>
                  </a:lnTo>
                  <a:lnTo>
                    <a:pt x="959" y="195"/>
                  </a:lnTo>
                  <a:lnTo>
                    <a:pt x="959" y="195"/>
                  </a:lnTo>
                  <a:lnTo>
                    <a:pt x="959" y="195"/>
                  </a:lnTo>
                  <a:lnTo>
                    <a:pt x="959" y="195"/>
                  </a:lnTo>
                  <a:lnTo>
                    <a:pt x="957" y="197"/>
                  </a:lnTo>
                  <a:lnTo>
                    <a:pt x="957" y="197"/>
                  </a:lnTo>
                  <a:lnTo>
                    <a:pt x="957" y="197"/>
                  </a:lnTo>
                  <a:lnTo>
                    <a:pt x="959" y="197"/>
                  </a:lnTo>
                  <a:lnTo>
                    <a:pt x="959" y="197"/>
                  </a:lnTo>
                  <a:lnTo>
                    <a:pt x="959" y="197"/>
                  </a:lnTo>
                  <a:lnTo>
                    <a:pt x="959" y="197"/>
                  </a:lnTo>
                  <a:lnTo>
                    <a:pt x="959" y="197"/>
                  </a:lnTo>
                  <a:lnTo>
                    <a:pt x="959" y="200"/>
                  </a:lnTo>
                  <a:lnTo>
                    <a:pt x="961" y="202"/>
                  </a:lnTo>
                  <a:lnTo>
                    <a:pt x="961" y="202"/>
                  </a:lnTo>
                  <a:lnTo>
                    <a:pt x="963" y="202"/>
                  </a:lnTo>
                  <a:lnTo>
                    <a:pt x="965" y="202"/>
                  </a:lnTo>
                  <a:lnTo>
                    <a:pt x="965" y="200"/>
                  </a:lnTo>
                  <a:lnTo>
                    <a:pt x="965" y="197"/>
                  </a:lnTo>
                  <a:lnTo>
                    <a:pt x="965" y="197"/>
                  </a:lnTo>
                  <a:lnTo>
                    <a:pt x="967" y="197"/>
                  </a:lnTo>
                  <a:lnTo>
                    <a:pt x="967" y="197"/>
                  </a:lnTo>
                  <a:lnTo>
                    <a:pt x="967" y="200"/>
                  </a:lnTo>
                  <a:lnTo>
                    <a:pt x="967" y="200"/>
                  </a:lnTo>
                  <a:lnTo>
                    <a:pt x="967" y="200"/>
                  </a:lnTo>
                  <a:lnTo>
                    <a:pt x="967" y="200"/>
                  </a:lnTo>
                  <a:lnTo>
                    <a:pt x="965" y="202"/>
                  </a:lnTo>
                  <a:lnTo>
                    <a:pt x="965" y="202"/>
                  </a:lnTo>
                  <a:lnTo>
                    <a:pt x="965" y="202"/>
                  </a:lnTo>
                  <a:lnTo>
                    <a:pt x="965" y="204"/>
                  </a:lnTo>
                  <a:lnTo>
                    <a:pt x="965" y="204"/>
                  </a:lnTo>
                  <a:lnTo>
                    <a:pt x="965" y="206"/>
                  </a:lnTo>
                  <a:lnTo>
                    <a:pt x="967" y="204"/>
                  </a:lnTo>
                  <a:lnTo>
                    <a:pt x="971" y="204"/>
                  </a:lnTo>
                  <a:lnTo>
                    <a:pt x="971" y="204"/>
                  </a:lnTo>
                  <a:lnTo>
                    <a:pt x="969" y="204"/>
                  </a:lnTo>
                  <a:lnTo>
                    <a:pt x="969" y="206"/>
                  </a:lnTo>
                  <a:lnTo>
                    <a:pt x="971" y="208"/>
                  </a:lnTo>
                  <a:lnTo>
                    <a:pt x="971" y="210"/>
                  </a:lnTo>
                  <a:lnTo>
                    <a:pt x="971" y="212"/>
                  </a:lnTo>
                  <a:lnTo>
                    <a:pt x="971" y="214"/>
                  </a:lnTo>
                  <a:lnTo>
                    <a:pt x="971" y="220"/>
                  </a:lnTo>
                  <a:lnTo>
                    <a:pt x="971" y="220"/>
                  </a:lnTo>
                  <a:lnTo>
                    <a:pt x="971" y="220"/>
                  </a:lnTo>
                  <a:lnTo>
                    <a:pt x="971" y="220"/>
                  </a:lnTo>
                  <a:lnTo>
                    <a:pt x="967" y="222"/>
                  </a:lnTo>
                  <a:lnTo>
                    <a:pt x="967" y="224"/>
                  </a:lnTo>
                  <a:lnTo>
                    <a:pt x="963" y="224"/>
                  </a:lnTo>
                  <a:lnTo>
                    <a:pt x="961" y="224"/>
                  </a:lnTo>
                  <a:lnTo>
                    <a:pt x="959" y="226"/>
                  </a:lnTo>
                  <a:lnTo>
                    <a:pt x="957" y="228"/>
                  </a:lnTo>
                  <a:lnTo>
                    <a:pt x="957" y="228"/>
                  </a:lnTo>
                  <a:lnTo>
                    <a:pt x="955" y="230"/>
                  </a:lnTo>
                  <a:lnTo>
                    <a:pt x="953" y="230"/>
                  </a:lnTo>
                  <a:lnTo>
                    <a:pt x="953" y="230"/>
                  </a:lnTo>
                  <a:lnTo>
                    <a:pt x="951" y="230"/>
                  </a:lnTo>
                  <a:lnTo>
                    <a:pt x="949" y="232"/>
                  </a:lnTo>
                  <a:lnTo>
                    <a:pt x="947" y="232"/>
                  </a:lnTo>
                  <a:lnTo>
                    <a:pt x="941" y="234"/>
                  </a:lnTo>
                  <a:lnTo>
                    <a:pt x="935" y="239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2" y="241"/>
                  </a:lnTo>
                  <a:lnTo>
                    <a:pt x="935" y="243"/>
                  </a:lnTo>
                  <a:lnTo>
                    <a:pt x="937" y="245"/>
                  </a:lnTo>
                  <a:lnTo>
                    <a:pt x="937" y="245"/>
                  </a:lnTo>
                  <a:lnTo>
                    <a:pt x="937" y="247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5" y="249"/>
                  </a:lnTo>
                  <a:lnTo>
                    <a:pt x="932" y="249"/>
                  </a:lnTo>
                  <a:lnTo>
                    <a:pt x="930" y="249"/>
                  </a:lnTo>
                  <a:lnTo>
                    <a:pt x="928" y="249"/>
                  </a:lnTo>
                  <a:lnTo>
                    <a:pt x="926" y="249"/>
                  </a:lnTo>
                  <a:lnTo>
                    <a:pt x="924" y="251"/>
                  </a:lnTo>
                  <a:lnTo>
                    <a:pt x="922" y="251"/>
                  </a:lnTo>
                  <a:lnTo>
                    <a:pt x="922" y="251"/>
                  </a:lnTo>
                  <a:lnTo>
                    <a:pt x="920" y="251"/>
                  </a:lnTo>
                  <a:lnTo>
                    <a:pt x="918" y="251"/>
                  </a:lnTo>
                  <a:lnTo>
                    <a:pt x="916" y="251"/>
                  </a:lnTo>
                  <a:lnTo>
                    <a:pt x="916" y="251"/>
                  </a:lnTo>
                  <a:lnTo>
                    <a:pt x="914" y="251"/>
                  </a:lnTo>
                  <a:lnTo>
                    <a:pt x="914" y="253"/>
                  </a:lnTo>
                  <a:lnTo>
                    <a:pt x="912" y="253"/>
                  </a:lnTo>
                  <a:lnTo>
                    <a:pt x="908" y="253"/>
                  </a:lnTo>
                  <a:lnTo>
                    <a:pt x="906" y="253"/>
                  </a:lnTo>
                  <a:lnTo>
                    <a:pt x="906" y="253"/>
                  </a:lnTo>
                  <a:lnTo>
                    <a:pt x="908" y="255"/>
                  </a:lnTo>
                  <a:lnTo>
                    <a:pt x="908" y="255"/>
                  </a:lnTo>
                  <a:lnTo>
                    <a:pt x="908" y="257"/>
                  </a:lnTo>
                  <a:lnTo>
                    <a:pt x="908" y="257"/>
                  </a:lnTo>
                  <a:lnTo>
                    <a:pt x="908" y="257"/>
                  </a:lnTo>
                  <a:lnTo>
                    <a:pt x="906" y="257"/>
                  </a:lnTo>
                  <a:lnTo>
                    <a:pt x="906" y="259"/>
                  </a:lnTo>
                  <a:lnTo>
                    <a:pt x="906" y="259"/>
                  </a:lnTo>
                  <a:lnTo>
                    <a:pt x="906" y="259"/>
                  </a:lnTo>
                  <a:lnTo>
                    <a:pt x="904" y="259"/>
                  </a:lnTo>
                  <a:lnTo>
                    <a:pt x="904" y="259"/>
                  </a:lnTo>
                  <a:lnTo>
                    <a:pt x="904" y="259"/>
                  </a:lnTo>
                  <a:lnTo>
                    <a:pt x="906" y="257"/>
                  </a:lnTo>
                  <a:lnTo>
                    <a:pt x="906" y="257"/>
                  </a:lnTo>
                  <a:lnTo>
                    <a:pt x="906" y="257"/>
                  </a:lnTo>
                  <a:lnTo>
                    <a:pt x="906" y="255"/>
                  </a:lnTo>
                  <a:lnTo>
                    <a:pt x="906" y="253"/>
                  </a:lnTo>
                  <a:lnTo>
                    <a:pt x="902" y="253"/>
                  </a:lnTo>
                  <a:lnTo>
                    <a:pt x="898" y="251"/>
                  </a:lnTo>
                  <a:lnTo>
                    <a:pt x="896" y="251"/>
                  </a:lnTo>
                  <a:lnTo>
                    <a:pt x="893" y="251"/>
                  </a:lnTo>
                  <a:lnTo>
                    <a:pt x="891" y="251"/>
                  </a:lnTo>
                  <a:lnTo>
                    <a:pt x="889" y="249"/>
                  </a:lnTo>
                  <a:lnTo>
                    <a:pt x="889" y="249"/>
                  </a:lnTo>
                  <a:lnTo>
                    <a:pt x="889" y="251"/>
                  </a:lnTo>
                  <a:lnTo>
                    <a:pt x="887" y="251"/>
                  </a:lnTo>
                  <a:lnTo>
                    <a:pt x="887" y="251"/>
                  </a:lnTo>
                  <a:lnTo>
                    <a:pt x="885" y="251"/>
                  </a:lnTo>
                  <a:lnTo>
                    <a:pt x="885" y="253"/>
                  </a:lnTo>
                  <a:lnTo>
                    <a:pt x="885" y="253"/>
                  </a:lnTo>
                  <a:lnTo>
                    <a:pt x="885" y="255"/>
                  </a:lnTo>
                  <a:lnTo>
                    <a:pt x="877" y="255"/>
                  </a:lnTo>
                  <a:lnTo>
                    <a:pt x="875" y="257"/>
                  </a:lnTo>
                  <a:lnTo>
                    <a:pt x="875" y="257"/>
                  </a:lnTo>
                  <a:lnTo>
                    <a:pt x="873" y="257"/>
                  </a:lnTo>
                  <a:lnTo>
                    <a:pt x="871" y="261"/>
                  </a:lnTo>
                  <a:lnTo>
                    <a:pt x="871" y="261"/>
                  </a:lnTo>
                  <a:lnTo>
                    <a:pt x="871" y="261"/>
                  </a:lnTo>
                  <a:lnTo>
                    <a:pt x="869" y="263"/>
                  </a:lnTo>
                  <a:lnTo>
                    <a:pt x="869" y="263"/>
                  </a:lnTo>
                  <a:lnTo>
                    <a:pt x="869" y="265"/>
                  </a:lnTo>
                  <a:lnTo>
                    <a:pt x="869" y="265"/>
                  </a:lnTo>
                  <a:lnTo>
                    <a:pt x="871" y="267"/>
                  </a:lnTo>
                  <a:lnTo>
                    <a:pt x="871" y="267"/>
                  </a:lnTo>
                  <a:lnTo>
                    <a:pt x="873" y="267"/>
                  </a:lnTo>
                  <a:lnTo>
                    <a:pt x="875" y="267"/>
                  </a:lnTo>
                  <a:lnTo>
                    <a:pt x="875" y="269"/>
                  </a:lnTo>
                  <a:lnTo>
                    <a:pt x="877" y="269"/>
                  </a:lnTo>
                  <a:lnTo>
                    <a:pt x="877" y="269"/>
                  </a:lnTo>
                  <a:lnTo>
                    <a:pt x="879" y="269"/>
                  </a:lnTo>
                  <a:lnTo>
                    <a:pt x="881" y="269"/>
                  </a:lnTo>
                  <a:lnTo>
                    <a:pt x="883" y="269"/>
                  </a:lnTo>
                  <a:lnTo>
                    <a:pt x="885" y="269"/>
                  </a:lnTo>
                  <a:lnTo>
                    <a:pt x="885" y="267"/>
                  </a:lnTo>
                  <a:lnTo>
                    <a:pt x="885" y="269"/>
                  </a:lnTo>
                  <a:lnTo>
                    <a:pt x="887" y="267"/>
                  </a:lnTo>
                  <a:lnTo>
                    <a:pt x="891" y="267"/>
                  </a:lnTo>
                  <a:lnTo>
                    <a:pt x="893" y="267"/>
                  </a:lnTo>
                  <a:lnTo>
                    <a:pt x="896" y="267"/>
                  </a:lnTo>
                  <a:lnTo>
                    <a:pt x="896" y="267"/>
                  </a:lnTo>
                  <a:lnTo>
                    <a:pt x="898" y="265"/>
                  </a:lnTo>
                  <a:lnTo>
                    <a:pt x="902" y="265"/>
                  </a:lnTo>
                  <a:lnTo>
                    <a:pt x="904" y="265"/>
                  </a:lnTo>
                  <a:lnTo>
                    <a:pt x="904" y="265"/>
                  </a:lnTo>
                  <a:lnTo>
                    <a:pt x="906" y="265"/>
                  </a:lnTo>
                  <a:lnTo>
                    <a:pt x="908" y="265"/>
                  </a:lnTo>
                  <a:lnTo>
                    <a:pt x="910" y="265"/>
                  </a:lnTo>
                  <a:lnTo>
                    <a:pt x="912" y="263"/>
                  </a:lnTo>
                  <a:lnTo>
                    <a:pt x="912" y="263"/>
                  </a:lnTo>
                  <a:lnTo>
                    <a:pt x="912" y="261"/>
                  </a:lnTo>
                  <a:lnTo>
                    <a:pt x="912" y="261"/>
                  </a:lnTo>
                  <a:lnTo>
                    <a:pt x="912" y="261"/>
                  </a:lnTo>
                  <a:lnTo>
                    <a:pt x="912" y="261"/>
                  </a:lnTo>
                  <a:lnTo>
                    <a:pt x="914" y="261"/>
                  </a:lnTo>
                  <a:lnTo>
                    <a:pt x="914" y="259"/>
                  </a:lnTo>
                  <a:lnTo>
                    <a:pt x="914" y="259"/>
                  </a:lnTo>
                  <a:lnTo>
                    <a:pt x="916" y="259"/>
                  </a:lnTo>
                  <a:lnTo>
                    <a:pt x="916" y="261"/>
                  </a:lnTo>
                  <a:lnTo>
                    <a:pt x="914" y="261"/>
                  </a:lnTo>
                  <a:lnTo>
                    <a:pt x="914" y="263"/>
                  </a:lnTo>
                  <a:lnTo>
                    <a:pt x="916" y="263"/>
                  </a:lnTo>
                  <a:lnTo>
                    <a:pt x="916" y="263"/>
                  </a:lnTo>
                  <a:lnTo>
                    <a:pt x="918" y="263"/>
                  </a:lnTo>
                  <a:lnTo>
                    <a:pt x="918" y="263"/>
                  </a:lnTo>
                  <a:lnTo>
                    <a:pt x="918" y="265"/>
                  </a:lnTo>
                  <a:lnTo>
                    <a:pt x="918" y="265"/>
                  </a:lnTo>
                  <a:lnTo>
                    <a:pt x="918" y="267"/>
                  </a:lnTo>
                  <a:lnTo>
                    <a:pt x="918" y="267"/>
                  </a:lnTo>
                  <a:lnTo>
                    <a:pt x="918" y="265"/>
                  </a:lnTo>
                  <a:lnTo>
                    <a:pt x="920" y="265"/>
                  </a:lnTo>
                  <a:lnTo>
                    <a:pt x="922" y="263"/>
                  </a:lnTo>
                  <a:lnTo>
                    <a:pt x="922" y="263"/>
                  </a:lnTo>
                  <a:lnTo>
                    <a:pt x="922" y="263"/>
                  </a:lnTo>
                  <a:lnTo>
                    <a:pt x="924" y="263"/>
                  </a:lnTo>
                  <a:lnTo>
                    <a:pt x="924" y="263"/>
                  </a:lnTo>
                  <a:lnTo>
                    <a:pt x="928" y="263"/>
                  </a:lnTo>
                  <a:lnTo>
                    <a:pt x="928" y="263"/>
                  </a:lnTo>
                  <a:lnTo>
                    <a:pt x="928" y="263"/>
                  </a:lnTo>
                  <a:lnTo>
                    <a:pt x="926" y="267"/>
                  </a:lnTo>
                  <a:lnTo>
                    <a:pt x="924" y="267"/>
                  </a:lnTo>
                  <a:lnTo>
                    <a:pt x="926" y="267"/>
                  </a:lnTo>
                  <a:lnTo>
                    <a:pt x="926" y="267"/>
                  </a:lnTo>
                  <a:lnTo>
                    <a:pt x="926" y="269"/>
                  </a:lnTo>
                  <a:lnTo>
                    <a:pt x="928" y="272"/>
                  </a:lnTo>
                  <a:lnTo>
                    <a:pt x="930" y="274"/>
                  </a:lnTo>
                  <a:lnTo>
                    <a:pt x="930" y="274"/>
                  </a:lnTo>
                  <a:lnTo>
                    <a:pt x="930" y="274"/>
                  </a:lnTo>
                  <a:lnTo>
                    <a:pt x="930" y="276"/>
                  </a:lnTo>
                  <a:lnTo>
                    <a:pt x="930" y="276"/>
                  </a:lnTo>
                  <a:lnTo>
                    <a:pt x="930" y="276"/>
                  </a:lnTo>
                  <a:lnTo>
                    <a:pt x="935" y="276"/>
                  </a:lnTo>
                  <a:lnTo>
                    <a:pt x="935" y="276"/>
                  </a:lnTo>
                  <a:lnTo>
                    <a:pt x="937" y="276"/>
                  </a:lnTo>
                  <a:lnTo>
                    <a:pt x="935" y="276"/>
                  </a:lnTo>
                  <a:lnTo>
                    <a:pt x="935" y="276"/>
                  </a:lnTo>
                  <a:lnTo>
                    <a:pt x="932" y="278"/>
                  </a:lnTo>
                  <a:lnTo>
                    <a:pt x="932" y="278"/>
                  </a:lnTo>
                  <a:lnTo>
                    <a:pt x="932" y="278"/>
                  </a:lnTo>
                  <a:lnTo>
                    <a:pt x="939" y="278"/>
                  </a:lnTo>
                  <a:lnTo>
                    <a:pt x="939" y="278"/>
                  </a:lnTo>
                  <a:lnTo>
                    <a:pt x="941" y="280"/>
                  </a:lnTo>
                  <a:lnTo>
                    <a:pt x="941" y="280"/>
                  </a:lnTo>
                  <a:lnTo>
                    <a:pt x="941" y="280"/>
                  </a:lnTo>
                  <a:lnTo>
                    <a:pt x="941" y="280"/>
                  </a:lnTo>
                  <a:lnTo>
                    <a:pt x="943" y="280"/>
                  </a:lnTo>
                  <a:lnTo>
                    <a:pt x="943" y="280"/>
                  </a:lnTo>
                  <a:lnTo>
                    <a:pt x="941" y="282"/>
                  </a:lnTo>
                  <a:lnTo>
                    <a:pt x="939" y="282"/>
                  </a:lnTo>
                  <a:lnTo>
                    <a:pt x="937" y="282"/>
                  </a:lnTo>
                  <a:lnTo>
                    <a:pt x="935" y="282"/>
                  </a:lnTo>
                  <a:lnTo>
                    <a:pt x="932" y="282"/>
                  </a:lnTo>
                  <a:lnTo>
                    <a:pt x="932" y="284"/>
                  </a:lnTo>
                  <a:lnTo>
                    <a:pt x="935" y="284"/>
                  </a:lnTo>
                  <a:lnTo>
                    <a:pt x="935" y="286"/>
                  </a:lnTo>
                  <a:lnTo>
                    <a:pt x="937" y="288"/>
                  </a:lnTo>
                  <a:lnTo>
                    <a:pt x="937" y="288"/>
                  </a:lnTo>
                  <a:lnTo>
                    <a:pt x="939" y="290"/>
                  </a:lnTo>
                  <a:lnTo>
                    <a:pt x="943" y="288"/>
                  </a:lnTo>
                  <a:lnTo>
                    <a:pt x="943" y="288"/>
                  </a:lnTo>
                  <a:lnTo>
                    <a:pt x="941" y="290"/>
                  </a:lnTo>
                  <a:lnTo>
                    <a:pt x="939" y="290"/>
                  </a:lnTo>
                  <a:lnTo>
                    <a:pt x="941" y="290"/>
                  </a:lnTo>
                  <a:lnTo>
                    <a:pt x="943" y="292"/>
                  </a:lnTo>
                  <a:lnTo>
                    <a:pt x="945" y="292"/>
                  </a:lnTo>
                  <a:lnTo>
                    <a:pt x="947" y="294"/>
                  </a:lnTo>
                  <a:lnTo>
                    <a:pt x="949" y="294"/>
                  </a:lnTo>
                  <a:lnTo>
                    <a:pt x="951" y="294"/>
                  </a:lnTo>
                  <a:lnTo>
                    <a:pt x="951" y="294"/>
                  </a:lnTo>
                  <a:lnTo>
                    <a:pt x="953" y="294"/>
                  </a:lnTo>
                  <a:lnTo>
                    <a:pt x="955" y="294"/>
                  </a:lnTo>
                  <a:lnTo>
                    <a:pt x="957" y="294"/>
                  </a:lnTo>
                  <a:lnTo>
                    <a:pt x="957" y="296"/>
                  </a:lnTo>
                  <a:lnTo>
                    <a:pt x="959" y="298"/>
                  </a:lnTo>
                  <a:lnTo>
                    <a:pt x="959" y="300"/>
                  </a:lnTo>
                  <a:lnTo>
                    <a:pt x="963" y="300"/>
                  </a:lnTo>
                  <a:lnTo>
                    <a:pt x="963" y="302"/>
                  </a:lnTo>
                  <a:lnTo>
                    <a:pt x="963" y="302"/>
                  </a:lnTo>
                  <a:lnTo>
                    <a:pt x="965" y="302"/>
                  </a:lnTo>
                  <a:lnTo>
                    <a:pt x="978" y="304"/>
                  </a:lnTo>
                  <a:lnTo>
                    <a:pt x="978" y="304"/>
                  </a:lnTo>
                  <a:lnTo>
                    <a:pt x="978" y="304"/>
                  </a:lnTo>
                  <a:lnTo>
                    <a:pt x="980" y="304"/>
                  </a:lnTo>
                  <a:lnTo>
                    <a:pt x="984" y="306"/>
                  </a:lnTo>
                  <a:lnTo>
                    <a:pt x="986" y="306"/>
                  </a:lnTo>
                  <a:lnTo>
                    <a:pt x="988" y="309"/>
                  </a:lnTo>
                  <a:lnTo>
                    <a:pt x="988" y="309"/>
                  </a:lnTo>
                  <a:lnTo>
                    <a:pt x="990" y="309"/>
                  </a:lnTo>
                  <a:lnTo>
                    <a:pt x="992" y="309"/>
                  </a:lnTo>
                  <a:lnTo>
                    <a:pt x="992" y="309"/>
                  </a:lnTo>
                  <a:lnTo>
                    <a:pt x="992" y="306"/>
                  </a:lnTo>
                  <a:lnTo>
                    <a:pt x="992" y="304"/>
                  </a:lnTo>
                  <a:lnTo>
                    <a:pt x="994" y="304"/>
                  </a:lnTo>
                  <a:lnTo>
                    <a:pt x="994" y="304"/>
                  </a:lnTo>
                  <a:lnTo>
                    <a:pt x="996" y="304"/>
                  </a:lnTo>
                  <a:lnTo>
                    <a:pt x="996" y="302"/>
                  </a:lnTo>
                  <a:lnTo>
                    <a:pt x="996" y="302"/>
                  </a:lnTo>
                  <a:lnTo>
                    <a:pt x="994" y="302"/>
                  </a:lnTo>
                  <a:lnTo>
                    <a:pt x="994" y="300"/>
                  </a:lnTo>
                  <a:lnTo>
                    <a:pt x="992" y="300"/>
                  </a:lnTo>
                  <a:lnTo>
                    <a:pt x="992" y="298"/>
                  </a:lnTo>
                  <a:lnTo>
                    <a:pt x="992" y="298"/>
                  </a:lnTo>
                  <a:lnTo>
                    <a:pt x="992" y="296"/>
                  </a:lnTo>
                  <a:lnTo>
                    <a:pt x="990" y="296"/>
                  </a:lnTo>
                  <a:lnTo>
                    <a:pt x="988" y="294"/>
                  </a:lnTo>
                  <a:lnTo>
                    <a:pt x="988" y="294"/>
                  </a:lnTo>
                  <a:lnTo>
                    <a:pt x="986" y="292"/>
                  </a:lnTo>
                  <a:lnTo>
                    <a:pt x="986" y="292"/>
                  </a:lnTo>
                  <a:lnTo>
                    <a:pt x="986" y="292"/>
                  </a:lnTo>
                  <a:lnTo>
                    <a:pt x="984" y="290"/>
                  </a:lnTo>
                  <a:lnTo>
                    <a:pt x="982" y="290"/>
                  </a:lnTo>
                  <a:lnTo>
                    <a:pt x="982" y="290"/>
                  </a:lnTo>
                  <a:lnTo>
                    <a:pt x="984" y="288"/>
                  </a:lnTo>
                  <a:lnTo>
                    <a:pt x="984" y="288"/>
                  </a:lnTo>
                  <a:lnTo>
                    <a:pt x="982" y="288"/>
                  </a:lnTo>
                  <a:lnTo>
                    <a:pt x="980" y="288"/>
                  </a:lnTo>
                  <a:lnTo>
                    <a:pt x="978" y="286"/>
                  </a:lnTo>
                  <a:lnTo>
                    <a:pt x="978" y="286"/>
                  </a:lnTo>
                  <a:lnTo>
                    <a:pt x="978" y="284"/>
                  </a:lnTo>
                  <a:lnTo>
                    <a:pt x="976" y="282"/>
                  </a:lnTo>
                  <a:lnTo>
                    <a:pt x="976" y="282"/>
                  </a:lnTo>
                  <a:lnTo>
                    <a:pt x="976" y="280"/>
                  </a:lnTo>
                  <a:lnTo>
                    <a:pt x="974" y="278"/>
                  </a:lnTo>
                  <a:lnTo>
                    <a:pt x="976" y="278"/>
                  </a:lnTo>
                  <a:lnTo>
                    <a:pt x="978" y="278"/>
                  </a:lnTo>
                  <a:lnTo>
                    <a:pt x="980" y="278"/>
                  </a:lnTo>
                  <a:lnTo>
                    <a:pt x="982" y="280"/>
                  </a:lnTo>
                  <a:lnTo>
                    <a:pt x="986" y="282"/>
                  </a:lnTo>
                  <a:lnTo>
                    <a:pt x="986" y="282"/>
                  </a:lnTo>
                  <a:lnTo>
                    <a:pt x="986" y="282"/>
                  </a:lnTo>
                  <a:lnTo>
                    <a:pt x="986" y="282"/>
                  </a:lnTo>
                  <a:lnTo>
                    <a:pt x="988" y="280"/>
                  </a:lnTo>
                  <a:lnTo>
                    <a:pt x="988" y="278"/>
                  </a:lnTo>
                  <a:lnTo>
                    <a:pt x="988" y="278"/>
                  </a:lnTo>
                  <a:lnTo>
                    <a:pt x="988" y="280"/>
                  </a:lnTo>
                  <a:lnTo>
                    <a:pt x="990" y="282"/>
                  </a:lnTo>
                  <a:lnTo>
                    <a:pt x="992" y="284"/>
                  </a:lnTo>
                  <a:lnTo>
                    <a:pt x="992" y="284"/>
                  </a:lnTo>
                  <a:lnTo>
                    <a:pt x="994" y="284"/>
                  </a:lnTo>
                  <a:lnTo>
                    <a:pt x="994" y="284"/>
                  </a:lnTo>
                  <a:lnTo>
                    <a:pt x="994" y="286"/>
                  </a:lnTo>
                  <a:lnTo>
                    <a:pt x="994" y="286"/>
                  </a:lnTo>
                  <a:lnTo>
                    <a:pt x="996" y="286"/>
                  </a:lnTo>
                  <a:lnTo>
                    <a:pt x="996" y="288"/>
                  </a:lnTo>
                  <a:lnTo>
                    <a:pt x="996" y="288"/>
                  </a:lnTo>
                  <a:lnTo>
                    <a:pt x="996" y="288"/>
                  </a:lnTo>
                  <a:lnTo>
                    <a:pt x="996" y="288"/>
                  </a:lnTo>
                  <a:lnTo>
                    <a:pt x="996" y="288"/>
                  </a:lnTo>
                  <a:lnTo>
                    <a:pt x="996" y="288"/>
                  </a:lnTo>
                  <a:lnTo>
                    <a:pt x="998" y="286"/>
                  </a:lnTo>
                  <a:lnTo>
                    <a:pt x="998" y="286"/>
                  </a:lnTo>
                  <a:lnTo>
                    <a:pt x="998" y="286"/>
                  </a:lnTo>
                  <a:lnTo>
                    <a:pt x="998" y="288"/>
                  </a:lnTo>
                  <a:lnTo>
                    <a:pt x="998" y="290"/>
                  </a:lnTo>
                  <a:lnTo>
                    <a:pt x="1000" y="290"/>
                  </a:lnTo>
                  <a:lnTo>
                    <a:pt x="1000" y="290"/>
                  </a:lnTo>
                  <a:lnTo>
                    <a:pt x="1000" y="290"/>
                  </a:lnTo>
                  <a:lnTo>
                    <a:pt x="1002" y="288"/>
                  </a:lnTo>
                  <a:lnTo>
                    <a:pt x="1002" y="288"/>
                  </a:lnTo>
                  <a:lnTo>
                    <a:pt x="1002" y="288"/>
                  </a:lnTo>
                  <a:lnTo>
                    <a:pt x="1004" y="290"/>
                  </a:lnTo>
                  <a:lnTo>
                    <a:pt x="1004" y="290"/>
                  </a:lnTo>
                  <a:lnTo>
                    <a:pt x="1004" y="290"/>
                  </a:lnTo>
                  <a:lnTo>
                    <a:pt x="1004" y="292"/>
                  </a:lnTo>
                  <a:lnTo>
                    <a:pt x="1004" y="292"/>
                  </a:lnTo>
                  <a:lnTo>
                    <a:pt x="1006" y="290"/>
                  </a:lnTo>
                  <a:lnTo>
                    <a:pt x="1006" y="290"/>
                  </a:lnTo>
                  <a:lnTo>
                    <a:pt x="1008" y="292"/>
                  </a:lnTo>
                  <a:lnTo>
                    <a:pt x="1008" y="294"/>
                  </a:lnTo>
                  <a:lnTo>
                    <a:pt x="1010" y="294"/>
                  </a:lnTo>
                  <a:lnTo>
                    <a:pt x="1010" y="296"/>
                  </a:lnTo>
                  <a:lnTo>
                    <a:pt x="1010" y="296"/>
                  </a:lnTo>
                  <a:lnTo>
                    <a:pt x="1013" y="296"/>
                  </a:lnTo>
                  <a:lnTo>
                    <a:pt x="1013" y="294"/>
                  </a:lnTo>
                  <a:lnTo>
                    <a:pt x="1013" y="290"/>
                  </a:lnTo>
                  <a:lnTo>
                    <a:pt x="1015" y="290"/>
                  </a:lnTo>
                  <a:lnTo>
                    <a:pt x="1017" y="292"/>
                  </a:lnTo>
                  <a:lnTo>
                    <a:pt x="1017" y="292"/>
                  </a:lnTo>
                  <a:lnTo>
                    <a:pt x="1019" y="292"/>
                  </a:lnTo>
                  <a:lnTo>
                    <a:pt x="1019" y="292"/>
                  </a:lnTo>
                  <a:lnTo>
                    <a:pt x="1019" y="290"/>
                  </a:lnTo>
                  <a:lnTo>
                    <a:pt x="1019" y="290"/>
                  </a:lnTo>
                  <a:lnTo>
                    <a:pt x="1019" y="290"/>
                  </a:lnTo>
                  <a:lnTo>
                    <a:pt x="1019" y="288"/>
                  </a:lnTo>
                  <a:lnTo>
                    <a:pt x="1019" y="288"/>
                  </a:lnTo>
                  <a:lnTo>
                    <a:pt x="1019" y="286"/>
                  </a:lnTo>
                  <a:lnTo>
                    <a:pt x="1019" y="286"/>
                  </a:lnTo>
                  <a:lnTo>
                    <a:pt x="1019" y="286"/>
                  </a:lnTo>
                  <a:lnTo>
                    <a:pt x="1019" y="286"/>
                  </a:lnTo>
                  <a:lnTo>
                    <a:pt x="1019" y="284"/>
                  </a:lnTo>
                  <a:lnTo>
                    <a:pt x="1021" y="282"/>
                  </a:lnTo>
                  <a:lnTo>
                    <a:pt x="1021" y="280"/>
                  </a:lnTo>
                  <a:lnTo>
                    <a:pt x="1021" y="278"/>
                  </a:lnTo>
                  <a:lnTo>
                    <a:pt x="1021" y="278"/>
                  </a:lnTo>
                  <a:lnTo>
                    <a:pt x="1021" y="278"/>
                  </a:lnTo>
                  <a:lnTo>
                    <a:pt x="1023" y="280"/>
                  </a:lnTo>
                  <a:lnTo>
                    <a:pt x="1023" y="280"/>
                  </a:lnTo>
                  <a:lnTo>
                    <a:pt x="1023" y="280"/>
                  </a:lnTo>
                  <a:lnTo>
                    <a:pt x="1023" y="286"/>
                  </a:lnTo>
                  <a:lnTo>
                    <a:pt x="1023" y="286"/>
                  </a:lnTo>
                  <a:lnTo>
                    <a:pt x="1023" y="286"/>
                  </a:lnTo>
                  <a:lnTo>
                    <a:pt x="1025" y="286"/>
                  </a:lnTo>
                  <a:lnTo>
                    <a:pt x="1025" y="284"/>
                  </a:lnTo>
                  <a:lnTo>
                    <a:pt x="1027" y="282"/>
                  </a:lnTo>
                  <a:lnTo>
                    <a:pt x="1027" y="280"/>
                  </a:lnTo>
                  <a:lnTo>
                    <a:pt x="1029" y="278"/>
                  </a:lnTo>
                  <a:lnTo>
                    <a:pt x="1029" y="278"/>
                  </a:lnTo>
                  <a:lnTo>
                    <a:pt x="1031" y="278"/>
                  </a:lnTo>
                  <a:lnTo>
                    <a:pt x="1031" y="278"/>
                  </a:lnTo>
                  <a:lnTo>
                    <a:pt x="1031" y="276"/>
                  </a:lnTo>
                  <a:lnTo>
                    <a:pt x="1029" y="276"/>
                  </a:lnTo>
                  <a:lnTo>
                    <a:pt x="1027" y="276"/>
                  </a:lnTo>
                  <a:lnTo>
                    <a:pt x="1027" y="276"/>
                  </a:lnTo>
                  <a:lnTo>
                    <a:pt x="1029" y="274"/>
                  </a:lnTo>
                  <a:lnTo>
                    <a:pt x="1031" y="274"/>
                  </a:lnTo>
                  <a:lnTo>
                    <a:pt x="1031" y="274"/>
                  </a:lnTo>
                  <a:lnTo>
                    <a:pt x="1029" y="274"/>
                  </a:lnTo>
                  <a:lnTo>
                    <a:pt x="1027" y="274"/>
                  </a:lnTo>
                  <a:lnTo>
                    <a:pt x="1025" y="274"/>
                  </a:lnTo>
                  <a:lnTo>
                    <a:pt x="1025" y="274"/>
                  </a:lnTo>
                  <a:lnTo>
                    <a:pt x="1025" y="274"/>
                  </a:lnTo>
                  <a:lnTo>
                    <a:pt x="1025" y="272"/>
                  </a:lnTo>
                  <a:lnTo>
                    <a:pt x="1025" y="272"/>
                  </a:lnTo>
                  <a:lnTo>
                    <a:pt x="1025" y="272"/>
                  </a:lnTo>
                  <a:lnTo>
                    <a:pt x="1025" y="269"/>
                  </a:lnTo>
                  <a:lnTo>
                    <a:pt x="1023" y="269"/>
                  </a:lnTo>
                  <a:lnTo>
                    <a:pt x="1021" y="269"/>
                  </a:lnTo>
                  <a:lnTo>
                    <a:pt x="1021" y="267"/>
                  </a:lnTo>
                  <a:lnTo>
                    <a:pt x="1023" y="267"/>
                  </a:lnTo>
                  <a:lnTo>
                    <a:pt x="1025" y="267"/>
                  </a:lnTo>
                  <a:lnTo>
                    <a:pt x="1027" y="267"/>
                  </a:lnTo>
                  <a:lnTo>
                    <a:pt x="1029" y="265"/>
                  </a:lnTo>
                  <a:lnTo>
                    <a:pt x="1029" y="265"/>
                  </a:lnTo>
                  <a:lnTo>
                    <a:pt x="1029" y="265"/>
                  </a:lnTo>
                  <a:lnTo>
                    <a:pt x="1025" y="265"/>
                  </a:lnTo>
                  <a:lnTo>
                    <a:pt x="1025" y="265"/>
                  </a:lnTo>
                  <a:lnTo>
                    <a:pt x="1025" y="265"/>
                  </a:lnTo>
                  <a:lnTo>
                    <a:pt x="1027" y="263"/>
                  </a:lnTo>
                  <a:lnTo>
                    <a:pt x="1029" y="263"/>
                  </a:lnTo>
                  <a:lnTo>
                    <a:pt x="1027" y="261"/>
                  </a:lnTo>
                  <a:lnTo>
                    <a:pt x="1027" y="261"/>
                  </a:lnTo>
                  <a:lnTo>
                    <a:pt x="1025" y="261"/>
                  </a:lnTo>
                  <a:lnTo>
                    <a:pt x="1025" y="261"/>
                  </a:lnTo>
                  <a:lnTo>
                    <a:pt x="1025" y="259"/>
                  </a:lnTo>
                  <a:lnTo>
                    <a:pt x="1023" y="259"/>
                  </a:lnTo>
                  <a:lnTo>
                    <a:pt x="1021" y="259"/>
                  </a:lnTo>
                  <a:lnTo>
                    <a:pt x="1021" y="261"/>
                  </a:lnTo>
                  <a:lnTo>
                    <a:pt x="1019" y="261"/>
                  </a:lnTo>
                  <a:lnTo>
                    <a:pt x="1019" y="261"/>
                  </a:lnTo>
                  <a:lnTo>
                    <a:pt x="1017" y="261"/>
                  </a:lnTo>
                  <a:lnTo>
                    <a:pt x="1017" y="261"/>
                  </a:lnTo>
                  <a:lnTo>
                    <a:pt x="1019" y="259"/>
                  </a:lnTo>
                  <a:lnTo>
                    <a:pt x="1019" y="259"/>
                  </a:lnTo>
                  <a:lnTo>
                    <a:pt x="1019" y="259"/>
                  </a:lnTo>
                  <a:lnTo>
                    <a:pt x="1017" y="257"/>
                  </a:lnTo>
                  <a:lnTo>
                    <a:pt x="1015" y="257"/>
                  </a:lnTo>
                  <a:lnTo>
                    <a:pt x="1015" y="257"/>
                  </a:lnTo>
                  <a:lnTo>
                    <a:pt x="1013" y="259"/>
                  </a:lnTo>
                  <a:lnTo>
                    <a:pt x="1013" y="259"/>
                  </a:lnTo>
                  <a:lnTo>
                    <a:pt x="1013" y="259"/>
                  </a:lnTo>
                  <a:lnTo>
                    <a:pt x="1015" y="257"/>
                  </a:lnTo>
                  <a:lnTo>
                    <a:pt x="1015" y="255"/>
                  </a:lnTo>
                  <a:lnTo>
                    <a:pt x="1015" y="255"/>
                  </a:lnTo>
                  <a:lnTo>
                    <a:pt x="1013" y="255"/>
                  </a:lnTo>
                  <a:lnTo>
                    <a:pt x="1013" y="255"/>
                  </a:lnTo>
                  <a:lnTo>
                    <a:pt x="1013" y="255"/>
                  </a:lnTo>
                  <a:lnTo>
                    <a:pt x="1013" y="255"/>
                  </a:lnTo>
                  <a:lnTo>
                    <a:pt x="1013" y="255"/>
                  </a:lnTo>
                  <a:lnTo>
                    <a:pt x="1013" y="255"/>
                  </a:lnTo>
                  <a:lnTo>
                    <a:pt x="1013" y="253"/>
                  </a:lnTo>
                  <a:lnTo>
                    <a:pt x="1013" y="253"/>
                  </a:lnTo>
                  <a:lnTo>
                    <a:pt x="1010" y="251"/>
                  </a:lnTo>
                  <a:lnTo>
                    <a:pt x="1010" y="251"/>
                  </a:lnTo>
                  <a:lnTo>
                    <a:pt x="1010" y="251"/>
                  </a:lnTo>
                  <a:lnTo>
                    <a:pt x="1015" y="251"/>
                  </a:lnTo>
                  <a:lnTo>
                    <a:pt x="1015" y="251"/>
                  </a:lnTo>
                  <a:lnTo>
                    <a:pt x="1013" y="249"/>
                  </a:lnTo>
                  <a:lnTo>
                    <a:pt x="1013" y="249"/>
                  </a:lnTo>
                  <a:lnTo>
                    <a:pt x="1013" y="249"/>
                  </a:lnTo>
                  <a:lnTo>
                    <a:pt x="1013" y="247"/>
                  </a:lnTo>
                  <a:lnTo>
                    <a:pt x="1010" y="247"/>
                  </a:lnTo>
                  <a:lnTo>
                    <a:pt x="1010" y="247"/>
                  </a:lnTo>
                  <a:lnTo>
                    <a:pt x="1010" y="247"/>
                  </a:lnTo>
                  <a:lnTo>
                    <a:pt x="1008" y="247"/>
                  </a:lnTo>
                  <a:lnTo>
                    <a:pt x="1006" y="249"/>
                  </a:lnTo>
                  <a:lnTo>
                    <a:pt x="1004" y="249"/>
                  </a:lnTo>
                  <a:lnTo>
                    <a:pt x="1004" y="247"/>
                  </a:lnTo>
                  <a:lnTo>
                    <a:pt x="1006" y="247"/>
                  </a:lnTo>
                  <a:lnTo>
                    <a:pt x="1008" y="245"/>
                  </a:lnTo>
                  <a:lnTo>
                    <a:pt x="1008" y="245"/>
                  </a:lnTo>
                  <a:lnTo>
                    <a:pt x="1006" y="245"/>
                  </a:lnTo>
                  <a:lnTo>
                    <a:pt x="1006" y="245"/>
                  </a:lnTo>
                  <a:lnTo>
                    <a:pt x="1004" y="243"/>
                  </a:lnTo>
                  <a:lnTo>
                    <a:pt x="1004" y="243"/>
                  </a:lnTo>
                  <a:lnTo>
                    <a:pt x="1006" y="241"/>
                  </a:lnTo>
                  <a:lnTo>
                    <a:pt x="1006" y="241"/>
                  </a:lnTo>
                  <a:lnTo>
                    <a:pt x="1006" y="241"/>
                  </a:lnTo>
                  <a:lnTo>
                    <a:pt x="1004" y="239"/>
                  </a:lnTo>
                  <a:lnTo>
                    <a:pt x="1004" y="239"/>
                  </a:lnTo>
                  <a:lnTo>
                    <a:pt x="1002" y="239"/>
                  </a:lnTo>
                  <a:lnTo>
                    <a:pt x="1002" y="239"/>
                  </a:lnTo>
                  <a:lnTo>
                    <a:pt x="1004" y="237"/>
                  </a:lnTo>
                  <a:lnTo>
                    <a:pt x="1006" y="237"/>
                  </a:lnTo>
                  <a:lnTo>
                    <a:pt x="1008" y="239"/>
                  </a:lnTo>
                  <a:lnTo>
                    <a:pt x="1010" y="241"/>
                  </a:lnTo>
                  <a:lnTo>
                    <a:pt x="1010" y="241"/>
                  </a:lnTo>
                  <a:lnTo>
                    <a:pt x="1015" y="243"/>
                  </a:lnTo>
                  <a:lnTo>
                    <a:pt x="1015" y="243"/>
                  </a:lnTo>
                  <a:lnTo>
                    <a:pt x="1017" y="243"/>
                  </a:lnTo>
                  <a:lnTo>
                    <a:pt x="1017" y="243"/>
                  </a:lnTo>
                  <a:lnTo>
                    <a:pt x="1019" y="241"/>
                  </a:lnTo>
                  <a:lnTo>
                    <a:pt x="1019" y="239"/>
                  </a:lnTo>
                  <a:lnTo>
                    <a:pt x="1017" y="239"/>
                  </a:lnTo>
                  <a:lnTo>
                    <a:pt x="1015" y="237"/>
                  </a:lnTo>
                  <a:lnTo>
                    <a:pt x="1015" y="234"/>
                  </a:lnTo>
                  <a:lnTo>
                    <a:pt x="1015" y="234"/>
                  </a:lnTo>
                  <a:lnTo>
                    <a:pt x="1015" y="232"/>
                  </a:lnTo>
                  <a:lnTo>
                    <a:pt x="1017" y="234"/>
                  </a:lnTo>
                  <a:lnTo>
                    <a:pt x="1019" y="234"/>
                  </a:lnTo>
                  <a:lnTo>
                    <a:pt x="1021" y="237"/>
                  </a:lnTo>
                  <a:lnTo>
                    <a:pt x="1021" y="237"/>
                  </a:lnTo>
                  <a:lnTo>
                    <a:pt x="1021" y="237"/>
                  </a:lnTo>
                  <a:lnTo>
                    <a:pt x="1023" y="237"/>
                  </a:lnTo>
                  <a:lnTo>
                    <a:pt x="1023" y="234"/>
                  </a:lnTo>
                  <a:lnTo>
                    <a:pt x="1023" y="232"/>
                  </a:lnTo>
                  <a:lnTo>
                    <a:pt x="1023" y="232"/>
                  </a:lnTo>
                  <a:lnTo>
                    <a:pt x="1025" y="232"/>
                  </a:lnTo>
                  <a:lnTo>
                    <a:pt x="1025" y="232"/>
                  </a:lnTo>
                  <a:lnTo>
                    <a:pt x="1027" y="232"/>
                  </a:lnTo>
                  <a:lnTo>
                    <a:pt x="1027" y="232"/>
                  </a:lnTo>
                  <a:lnTo>
                    <a:pt x="1027" y="230"/>
                  </a:lnTo>
                  <a:lnTo>
                    <a:pt x="1027" y="230"/>
                  </a:lnTo>
                  <a:lnTo>
                    <a:pt x="1029" y="232"/>
                  </a:lnTo>
                  <a:lnTo>
                    <a:pt x="1029" y="232"/>
                  </a:lnTo>
                  <a:lnTo>
                    <a:pt x="1029" y="232"/>
                  </a:lnTo>
                  <a:lnTo>
                    <a:pt x="1029" y="234"/>
                  </a:lnTo>
                  <a:lnTo>
                    <a:pt x="1031" y="237"/>
                  </a:lnTo>
                  <a:lnTo>
                    <a:pt x="1031" y="237"/>
                  </a:lnTo>
                  <a:lnTo>
                    <a:pt x="1033" y="237"/>
                  </a:lnTo>
                  <a:lnTo>
                    <a:pt x="1033" y="239"/>
                  </a:lnTo>
                  <a:lnTo>
                    <a:pt x="1033" y="239"/>
                  </a:lnTo>
                  <a:lnTo>
                    <a:pt x="1035" y="239"/>
                  </a:lnTo>
                  <a:lnTo>
                    <a:pt x="1037" y="239"/>
                  </a:lnTo>
                  <a:lnTo>
                    <a:pt x="1037" y="239"/>
                  </a:lnTo>
                  <a:lnTo>
                    <a:pt x="1039" y="239"/>
                  </a:lnTo>
                  <a:lnTo>
                    <a:pt x="1039" y="239"/>
                  </a:lnTo>
                  <a:lnTo>
                    <a:pt x="1035" y="241"/>
                  </a:lnTo>
                  <a:lnTo>
                    <a:pt x="1035" y="241"/>
                  </a:lnTo>
                  <a:lnTo>
                    <a:pt x="1035" y="241"/>
                  </a:lnTo>
                  <a:lnTo>
                    <a:pt x="1039" y="241"/>
                  </a:lnTo>
                  <a:lnTo>
                    <a:pt x="1041" y="241"/>
                  </a:lnTo>
                  <a:lnTo>
                    <a:pt x="1041" y="241"/>
                  </a:lnTo>
                  <a:lnTo>
                    <a:pt x="1045" y="241"/>
                  </a:lnTo>
                  <a:lnTo>
                    <a:pt x="1047" y="239"/>
                  </a:lnTo>
                  <a:lnTo>
                    <a:pt x="1052" y="237"/>
                  </a:lnTo>
                  <a:lnTo>
                    <a:pt x="1052" y="237"/>
                  </a:lnTo>
                  <a:lnTo>
                    <a:pt x="1056" y="237"/>
                  </a:lnTo>
                  <a:lnTo>
                    <a:pt x="1056" y="237"/>
                  </a:lnTo>
                  <a:lnTo>
                    <a:pt x="1054" y="237"/>
                  </a:lnTo>
                  <a:lnTo>
                    <a:pt x="1052" y="239"/>
                  </a:lnTo>
                  <a:lnTo>
                    <a:pt x="1049" y="241"/>
                  </a:lnTo>
                  <a:lnTo>
                    <a:pt x="1047" y="241"/>
                  </a:lnTo>
                  <a:lnTo>
                    <a:pt x="1045" y="241"/>
                  </a:lnTo>
                  <a:lnTo>
                    <a:pt x="1043" y="243"/>
                  </a:lnTo>
                  <a:lnTo>
                    <a:pt x="1041" y="243"/>
                  </a:lnTo>
                  <a:lnTo>
                    <a:pt x="1039" y="245"/>
                  </a:lnTo>
                  <a:lnTo>
                    <a:pt x="1039" y="245"/>
                  </a:lnTo>
                  <a:lnTo>
                    <a:pt x="1039" y="245"/>
                  </a:lnTo>
                  <a:lnTo>
                    <a:pt x="1039" y="247"/>
                  </a:lnTo>
                  <a:lnTo>
                    <a:pt x="1039" y="247"/>
                  </a:lnTo>
                  <a:lnTo>
                    <a:pt x="1039" y="247"/>
                  </a:lnTo>
                  <a:lnTo>
                    <a:pt x="1039" y="249"/>
                  </a:lnTo>
                  <a:lnTo>
                    <a:pt x="1039" y="249"/>
                  </a:lnTo>
                  <a:lnTo>
                    <a:pt x="1039" y="251"/>
                  </a:lnTo>
                  <a:lnTo>
                    <a:pt x="1041" y="253"/>
                  </a:lnTo>
                  <a:lnTo>
                    <a:pt x="1041" y="253"/>
                  </a:lnTo>
                  <a:lnTo>
                    <a:pt x="1041" y="255"/>
                  </a:lnTo>
                  <a:lnTo>
                    <a:pt x="1041" y="255"/>
                  </a:lnTo>
                  <a:lnTo>
                    <a:pt x="1045" y="253"/>
                  </a:lnTo>
                  <a:lnTo>
                    <a:pt x="1047" y="251"/>
                  </a:lnTo>
                  <a:lnTo>
                    <a:pt x="1047" y="251"/>
                  </a:lnTo>
                  <a:lnTo>
                    <a:pt x="1049" y="251"/>
                  </a:lnTo>
                  <a:lnTo>
                    <a:pt x="1047" y="251"/>
                  </a:lnTo>
                  <a:lnTo>
                    <a:pt x="1045" y="255"/>
                  </a:lnTo>
                  <a:lnTo>
                    <a:pt x="1045" y="255"/>
                  </a:lnTo>
                  <a:lnTo>
                    <a:pt x="1047" y="255"/>
                  </a:lnTo>
                  <a:lnTo>
                    <a:pt x="1047" y="255"/>
                  </a:lnTo>
                  <a:lnTo>
                    <a:pt x="1049" y="255"/>
                  </a:lnTo>
                  <a:lnTo>
                    <a:pt x="1049" y="255"/>
                  </a:lnTo>
                  <a:lnTo>
                    <a:pt x="1052" y="255"/>
                  </a:lnTo>
                  <a:lnTo>
                    <a:pt x="1052" y="257"/>
                  </a:lnTo>
                  <a:lnTo>
                    <a:pt x="1052" y="257"/>
                  </a:lnTo>
                  <a:lnTo>
                    <a:pt x="1052" y="259"/>
                  </a:lnTo>
                  <a:lnTo>
                    <a:pt x="1054" y="257"/>
                  </a:lnTo>
                  <a:lnTo>
                    <a:pt x="1056" y="255"/>
                  </a:lnTo>
                  <a:lnTo>
                    <a:pt x="1058" y="253"/>
                  </a:lnTo>
                  <a:lnTo>
                    <a:pt x="1062" y="249"/>
                  </a:lnTo>
                  <a:lnTo>
                    <a:pt x="1062" y="247"/>
                  </a:lnTo>
                  <a:lnTo>
                    <a:pt x="1060" y="247"/>
                  </a:lnTo>
                  <a:lnTo>
                    <a:pt x="1058" y="247"/>
                  </a:lnTo>
                  <a:lnTo>
                    <a:pt x="1058" y="247"/>
                  </a:lnTo>
                  <a:lnTo>
                    <a:pt x="1062" y="245"/>
                  </a:lnTo>
                  <a:lnTo>
                    <a:pt x="1062" y="245"/>
                  </a:lnTo>
                  <a:lnTo>
                    <a:pt x="1062" y="243"/>
                  </a:lnTo>
                  <a:lnTo>
                    <a:pt x="1062" y="243"/>
                  </a:lnTo>
                  <a:lnTo>
                    <a:pt x="1064" y="247"/>
                  </a:lnTo>
                  <a:lnTo>
                    <a:pt x="1064" y="247"/>
                  </a:lnTo>
                  <a:lnTo>
                    <a:pt x="1066" y="247"/>
                  </a:lnTo>
                  <a:lnTo>
                    <a:pt x="1068" y="247"/>
                  </a:lnTo>
                  <a:lnTo>
                    <a:pt x="1070" y="247"/>
                  </a:lnTo>
                  <a:lnTo>
                    <a:pt x="1070" y="247"/>
                  </a:lnTo>
                  <a:lnTo>
                    <a:pt x="1072" y="245"/>
                  </a:lnTo>
                  <a:lnTo>
                    <a:pt x="1074" y="245"/>
                  </a:lnTo>
                  <a:lnTo>
                    <a:pt x="1076" y="243"/>
                  </a:lnTo>
                  <a:lnTo>
                    <a:pt x="1076" y="243"/>
                  </a:lnTo>
                  <a:lnTo>
                    <a:pt x="1076" y="243"/>
                  </a:lnTo>
                  <a:lnTo>
                    <a:pt x="1076" y="243"/>
                  </a:lnTo>
                  <a:lnTo>
                    <a:pt x="1076" y="241"/>
                  </a:lnTo>
                  <a:lnTo>
                    <a:pt x="1074" y="241"/>
                  </a:lnTo>
                  <a:lnTo>
                    <a:pt x="1074" y="241"/>
                  </a:lnTo>
                  <a:lnTo>
                    <a:pt x="1076" y="241"/>
                  </a:lnTo>
                  <a:lnTo>
                    <a:pt x="1078" y="241"/>
                  </a:lnTo>
                  <a:lnTo>
                    <a:pt x="1080" y="241"/>
                  </a:lnTo>
                  <a:lnTo>
                    <a:pt x="1082" y="241"/>
                  </a:lnTo>
                  <a:lnTo>
                    <a:pt x="1082" y="241"/>
                  </a:lnTo>
                  <a:lnTo>
                    <a:pt x="1080" y="239"/>
                  </a:lnTo>
                  <a:lnTo>
                    <a:pt x="1078" y="237"/>
                  </a:lnTo>
                  <a:lnTo>
                    <a:pt x="1078" y="237"/>
                  </a:lnTo>
                  <a:lnTo>
                    <a:pt x="1080" y="237"/>
                  </a:lnTo>
                  <a:lnTo>
                    <a:pt x="1080" y="237"/>
                  </a:lnTo>
                  <a:lnTo>
                    <a:pt x="1078" y="234"/>
                  </a:lnTo>
                  <a:lnTo>
                    <a:pt x="1080" y="234"/>
                  </a:lnTo>
                  <a:lnTo>
                    <a:pt x="1082" y="234"/>
                  </a:lnTo>
                  <a:lnTo>
                    <a:pt x="1082" y="234"/>
                  </a:lnTo>
                  <a:lnTo>
                    <a:pt x="1082" y="237"/>
                  </a:lnTo>
                  <a:lnTo>
                    <a:pt x="1086" y="237"/>
                  </a:lnTo>
                  <a:lnTo>
                    <a:pt x="1086" y="237"/>
                  </a:lnTo>
                  <a:lnTo>
                    <a:pt x="1091" y="234"/>
                  </a:lnTo>
                  <a:lnTo>
                    <a:pt x="1091" y="234"/>
                  </a:lnTo>
                  <a:lnTo>
                    <a:pt x="1091" y="232"/>
                  </a:lnTo>
                  <a:lnTo>
                    <a:pt x="1086" y="230"/>
                  </a:lnTo>
                  <a:lnTo>
                    <a:pt x="1086" y="230"/>
                  </a:lnTo>
                  <a:lnTo>
                    <a:pt x="1089" y="230"/>
                  </a:lnTo>
                  <a:lnTo>
                    <a:pt x="1091" y="230"/>
                  </a:lnTo>
                  <a:lnTo>
                    <a:pt x="1091" y="230"/>
                  </a:lnTo>
                  <a:lnTo>
                    <a:pt x="1093" y="232"/>
                  </a:lnTo>
                  <a:lnTo>
                    <a:pt x="1095" y="232"/>
                  </a:lnTo>
                  <a:lnTo>
                    <a:pt x="1097" y="230"/>
                  </a:lnTo>
                  <a:lnTo>
                    <a:pt x="1097" y="230"/>
                  </a:lnTo>
                  <a:lnTo>
                    <a:pt x="1097" y="230"/>
                  </a:lnTo>
                  <a:lnTo>
                    <a:pt x="1095" y="228"/>
                  </a:lnTo>
                  <a:close/>
                  <a:moveTo>
                    <a:pt x="1039" y="555"/>
                  </a:moveTo>
                  <a:lnTo>
                    <a:pt x="1041" y="555"/>
                  </a:lnTo>
                  <a:lnTo>
                    <a:pt x="1039" y="555"/>
                  </a:lnTo>
                  <a:lnTo>
                    <a:pt x="1039" y="555"/>
                  </a:lnTo>
                  <a:lnTo>
                    <a:pt x="1039" y="557"/>
                  </a:lnTo>
                  <a:lnTo>
                    <a:pt x="1039" y="557"/>
                  </a:lnTo>
                  <a:lnTo>
                    <a:pt x="1037" y="557"/>
                  </a:lnTo>
                  <a:lnTo>
                    <a:pt x="1037" y="559"/>
                  </a:lnTo>
                  <a:lnTo>
                    <a:pt x="1037" y="559"/>
                  </a:lnTo>
                  <a:lnTo>
                    <a:pt x="1037" y="559"/>
                  </a:lnTo>
                  <a:lnTo>
                    <a:pt x="1037" y="559"/>
                  </a:lnTo>
                  <a:lnTo>
                    <a:pt x="1039" y="555"/>
                  </a:lnTo>
                  <a:close/>
                  <a:moveTo>
                    <a:pt x="906" y="181"/>
                  </a:moveTo>
                  <a:lnTo>
                    <a:pt x="906" y="181"/>
                  </a:lnTo>
                  <a:lnTo>
                    <a:pt x="904" y="181"/>
                  </a:lnTo>
                  <a:lnTo>
                    <a:pt x="904" y="181"/>
                  </a:lnTo>
                  <a:lnTo>
                    <a:pt x="904" y="183"/>
                  </a:lnTo>
                  <a:lnTo>
                    <a:pt x="904" y="183"/>
                  </a:lnTo>
                  <a:lnTo>
                    <a:pt x="902" y="183"/>
                  </a:lnTo>
                  <a:lnTo>
                    <a:pt x="900" y="183"/>
                  </a:lnTo>
                  <a:lnTo>
                    <a:pt x="900" y="183"/>
                  </a:lnTo>
                  <a:lnTo>
                    <a:pt x="898" y="183"/>
                  </a:lnTo>
                  <a:lnTo>
                    <a:pt x="898" y="183"/>
                  </a:lnTo>
                  <a:lnTo>
                    <a:pt x="902" y="183"/>
                  </a:lnTo>
                  <a:lnTo>
                    <a:pt x="902" y="183"/>
                  </a:lnTo>
                  <a:lnTo>
                    <a:pt x="902" y="185"/>
                  </a:lnTo>
                  <a:lnTo>
                    <a:pt x="904" y="185"/>
                  </a:lnTo>
                  <a:lnTo>
                    <a:pt x="904" y="185"/>
                  </a:lnTo>
                  <a:lnTo>
                    <a:pt x="904" y="185"/>
                  </a:lnTo>
                  <a:lnTo>
                    <a:pt x="904" y="185"/>
                  </a:lnTo>
                  <a:lnTo>
                    <a:pt x="904" y="185"/>
                  </a:lnTo>
                  <a:lnTo>
                    <a:pt x="906" y="185"/>
                  </a:lnTo>
                  <a:lnTo>
                    <a:pt x="906" y="185"/>
                  </a:lnTo>
                  <a:lnTo>
                    <a:pt x="906" y="185"/>
                  </a:lnTo>
                  <a:lnTo>
                    <a:pt x="906" y="185"/>
                  </a:lnTo>
                  <a:lnTo>
                    <a:pt x="906" y="183"/>
                  </a:lnTo>
                  <a:lnTo>
                    <a:pt x="908" y="185"/>
                  </a:lnTo>
                  <a:lnTo>
                    <a:pt x="912" y="183"/>
                  </a:lnTo>
                  <a:lnTo>
                    <a:pt x="914" y="183"/>
                  </a:lnTo>
                  <a:lnTo>
                    <a:pt x="916" y="183"/>
                  </a:lnTo>
                  <a:lnTo>
                    <a:pt x="916" y="183"/>
                  </a:lnTo>
                  <a:lnTo>
                    <a:pt x="916" y="181"/>
                  </a:lnTo>
                  <a:lnTo>
                    <a:pt x="914" y="181"/>
                  </a:lnTo>
                  <a:lnTo>
                    <a:pt x="912" y="181"/>
                  </a:lnTo>
                  <a:lnTo>
                    <a:pt x="910" y="183"/>
                  </a:lnTo>
                  <a:lnTo>
                    <a:pt x="908" y="183"/>
                  </a:lnTo>
                  <a:lnTo>
                    <a:pt x="908" y="183"/>
                  </a:lnTo>
                  <a:lnTo>
                    <a:pt x="908" y="183"/>
                  </a:lnTo>
                  <a:lnTo>
                    <a:pt x="908" y="181"/>
                  </a:lnTo>
                  <a:lnTo>
                    <a:pt x="906" y="181"/>
                  </a:lnTo>
                  <a:close/>
                  <a:moveTo>
                    <a:pt x="935" y="191"/>
                  </a:moveTo>
                  <a:lnTo>
                    <a:pt x="937" y="191"/>
                  </a:lnTo>
                  <a:lnTo>
                    <a:pt x="939" y="191"/>
                  </a:lnTo>
                  <a:lnTo>
                    <a:pt x="939" y="189"/>
                  </a:lnTo>
                  <a:lnTo>
                    <a:pt x="941" y="189"/>
                  </a:lnTo>
                  <a:lnTo>
                    <a:pt x="943" y="189"/>
                  </a:lnTo>
                  <a:lnTo>
                    <a:pt x="943" y="189"/>
                  </a:lnTo>
                  <a:lnTo>
                    <a:pt x="943" y="187"/>
                  </a:lnTo>
                  <a:lnTo>
                    <a:pt x="943" y="187"/>
                  </a:lnTo>
                  <a:lnTo>
                    <a:pt x="943" y="187"/>
                  </a:lnTo>
                  <a:lnTo>
                    <a:pt x="939" y="187"/>
                  </a:lnTo>
                  <a:lnTo>
                    <a:pt x="939" y="187"/>
                  </a:lnTo>
                  <a:lnTo>
                    <a:pt x="937" y="187"/>
                  </a:lnTo>
                  <a:lnTo>
                    <a:pt x="937" y="187"/>
                  </a:lnTo>
                  <a:lnTo>
                    <a:pt x="935" y="187"/>
                  </a:lnTo>
                  <a:lnTo>
                    <a:pt x="935" y="187"/>
                  </a:lnTo>
                  <a:lnTo>
                    <a:pt x="935" y="189"/>
                  </a:lnTo>
                  <a:lnTo>
                    <a:pt x="932" y="189"/>
                  </a:lnTo>
                  <a:lnTo>
                    <a:pt x="932" y="191"/>
                  </a:lnTo>
                  <a:lnTo>
                    <a:pt x="932" y="191"/>
                  </a:lnTo>
                  <a:lnTo>
                    <a:pt x="935" y="191"/>
                  </a:lnTo>
                  <a:lnTo>
                    <a:pt x="935" y="191"/>
                  </a:lnTo>
                  <a:close/>
                  <a:moveTo>
                    <a:pt x="928" y="206"/>
                  </a:moveTo>
                  <a:lnTo>
                    <a:pt x="928" y="206"/>
                  </a:lnTo>
                  <a:lnTo>
                    <a:pt x="924" y="208"/>
                  </a:lnTo>
                  <a:lnTo>
                    <a:pt x="920" y="210"/>
                  </a:lnTo>
                  <a:lnTo>
                    <a:pt x="918" y="212"/>
                  </a:lnTo>
                  <a:lnTo>
                    <a:pt x="916" y="214"/>
                  </a:lnTo>
                  <a:lnTo>
                    <a:pt x="916" y="214"/>
                  </a:lnTo>
                  <a:lnTo>
                    <a:pt x="914" y="218"/>
                  </a:lnTo>
                  <a:lnTo>
                    <a:pt x="914" y="218"/>
                  </a:lnTo>
                  <a:lnTo>
                    <a:pt x="914" y="220"/>
                  </a:lnTo>
                  <a:lnTo>
                    <a:pt x="914" y="220"/>
                  </a:lnTo>
                  <a:lnTo>
                    <a:pt x="914" y="222"/>
                  </a:lnTo>
                  <a:lnTo>
                    <a:pt x="916" y="222"/>
                  </a:lnTo>
                  <a:lnTo>
                    <a:pt x="918" y="222"/>
                  </a:lnTo>
                  <a:lnTo>
                    <a:pt x="922" y="220"/>
                  </a:lnTo>
                  <a:lnTo>
                    <a:pt x="926" y="220"/>
                  </a:lnTo>
                  <a:lnTo>
                    <a:pt x="928" y="220"/>
                  </a:lnTo>
                  <a:lnTo>
                    <a:pt x="935" y="220"/>
                  </a:lnTo>
                  <a:lnTo>
                    <a:pt x="937" y="218"/>
                  </a:lnTo>
                  <a:lnTo>
                    <a:pt x="939" y="218"/>
                  </a:lnTo>
                  <a:lnTo>
                    <a:pt x="939" y="216"/>
                  </a:lnTo>
                  <a:lnTo>
                    <a:pt x="941" y="216"/>
                  </a:lnTo>
                  <a:lnTo>
                    <a:pt x="943" y="214"/>
                  </a:lnTo>
                  <a:lnTo>
                    <a:pt x="945" y="210"/>
                  </a:lnTo>
                  <a:lnTo>
                    <a:pt x="945" y="210"/>
                  </a:lnTo>
                  <a:lnTo>
                    <a:pt x="947" y="208"/>
                  </a:lnTo>
                  <a:lnTo>
                    <a:pt x="947" y="208"/>
                  </a:lnTo>
                  <a:lnTo>
                    <a:pt x="947" y="208"/>
                  </a:lnTo>
                  <a:lnTo>
                    <a:pt x="947" y="206"/>
                  </a:lnTo>
                  <a:lnTo>
                    <a:pt x="947" y="206"/>
                  </a:lnTo>
                  <a:lnTo>
                    <a:pt x="947" y="206"/>
                  </a:lnTo>
                  <a:lnTo>
                    <a:pt x="943" y="204"/>
                  </a:lnTo>
                  <a:lnTo>
                    <a:pt x="941" y="204"/>
                  </a:lnTo>
                  <a:lnTo>
                    <a:pt x="939" y="204"/>
                  </a:lnTo>
                  <a:lnTo>
                    <a:pt x="937" y="204"/>
                  </a:lnTo>
                  <a:lnTo>
                    <a:pt x="937" y="204"/>
                  </a:lnTo>
                  <a:lnTo>
                    <a:pt x="935" y="204"/>
                  </a:lnTo>
                  <a:lnTo>
                    <a:pt x="930" y="206"/>
                  </a:lnTo>
                  <a:lnTo>
                    <a:pt x="928" y="206"/>
                  </a:lnTo>
                  <a:close/>
                  <a:moveTo>
                    <a:pt x="916" y="189"/>
                  </a:moveTo>
                  <a:lnTo>
                    <a:pt x="916" y="189"/>
                  </a:lnTo>
                  <a:lnTo>
                    <a:pt x="914" y="191"/>
                  </a:lnTo>
                  <a:lnTo>
                    <a:pt x="914" y="191"/>
                  </a:lnTo>
                  <a:lnTo>
                    <a:pt x="910" y="193"/>
                  </a:lnTo>
                  <a:lnTo>
                    <a:pt x="908" y="193"/>
                  </a:lnTo>
                  <a:lnTo>
                    <a:pt x="908" y="193"/>
                  </a:lnTo>
                  <a:lnTo>
                    <a:pt x="906" y="195"/>
                  </a:lnTo>
                  <a:lnTo>
                    <a:pt x="906" y="195"/>
                  </a:lnTo>
                  <a:lnTo>
                    <a:pt x="906" y="195"/>
                  </a:lnTo>
                  <a:lnTo>
                    <a:pt x="906" y="195"/>
                  </a:lnTo>
                  <a:lnTo>
                    <a:pt x="906" y="195"/>
                  </a:lnTo>
                  <a:lnTo>
                    <a:pt x="906" y="195"/>
                  </a:lnTo>
                  <a:lnTo>
                    <a:pt x="906" y="195"/>
                  </a:lnTo>
                  <a:lnTo>
                    <a:pt x="910" y="195"/>
                  </a:lnTo>
                  <a:lnTo>
                    <a:pt x="912" y="195"/>
                  </a:lnTo>
                  <a:lnTo>
                    <a:pt x="912" y="195"/>
                  </a:lnTo>
                  <a:lnTo>
                    <a:pt x="914" y="193"/>
                  </a:lnTo>
                  <a:lnTo>
                    <a:pt x="916" y="193"/>
                  </a:lnTo>
                  <a:lnTo>
                    <a:pt x="918" y="191"/>
                  </a:lnTo>
                  <a:lnTo>
                    <a:pt x="918" y="191"/>
                  </a:lnTo>
                  <a:lnTo>
                    <a:pt x="918" y="191"/>
                  </a:lnTo>
                  <a:lnTo>
                    <a:pt x="920" y="191"/>
                  </a:lnTo>
                  <a:lnTo>
                    <a:pt x="922" y="189"/>
                  </a:lnTo>
                  <a:lnTo>
                    <a:pt x="924" y="189"/>
                  </a:lnTo>
                  <a:lnTo>
                    <a:pt x="924" y="189"/>
                  </a:lnTo>
                  <a:lnTo>
                    <a:pt x="924" y="187"/>
                  </a:lnTo>
                  <a:lnTo>
                    <a:pt x="924" y="187"/>
                  </a:lnTo>
                  <a:lnTo>
                    <a:pt x="924" y="187"/>
                  </a:lnTo>
                  <a:lnTo>
                    <a:pt x="922" y="187"/>
                  </a:lnTo>
                  <a:lnTo>
                    <a:pt x="920" y="187"/>
                  </a:lnTo>
                  <a:lnTo>
                    <a:pt x="920" y="189"/>
                  </a:lnTo>
                  <a:lnTo>
                    <a:pt x="918" y="189"/>
                  </a:lnTo>
                  <a:lnTo>
                    <a:pt x="918" y="189"/>
                  </a:lnTo>
                  <a:lnTo>
                    <a:pt x="918" y="189"/>
                  </a:lnTo>
                  <a:lnTo>
                    <a:pt x="918" y="189"/>
                  </a:lnTo>
                  <a:lnTo>
                    <a:pt x="916" y="189"/>
                  </a:lnTo>
                  <a:close/>
                  <a:moveTo>
                    <a:pt x="928" y="592"/>
                  </a:moveTo>
                  <a:lnTo>
                    <a:pt x="928" y="592"/>
                  </a:lnTo>
                  <a:lnTo>
                    <a:pt x="928" y="594"/>
                  </a:lnTo>
                  <a:lnTo>
                    <a:pt x="928" y="594"/>
                  </a:lnTo>
                  <a:lnTo>
                    <a:pt x="928" y="594"/>
                  </a:lnTo>
                  <a:lnTo>
                    <a:pt x="930" y="592"/>
                  </a:lnTo>
                  <a:lnTo>
                    <a:pt x="930" y="592"/>
                  </a:lnTo>
                  <a:lnTo>
                    <a:pt x="928" y="592"/>
                  </a:lnTo>
                  <a:lnTo>
                    <a:pt x="928" y="592"/>
                  </a:lnTo>
                  <a:close/>
                  <a:moveTo>
                    <a:pt x="974" y="508"/>
                  </a:moveTo>
                  <a:lnTo>
                    <a:pt x="976" y="508"/>
                  </a:lnTo>
                  <a:lnTo>
                    <a:pt x="978" y="506"/>
                  </a:lnTo>
                  <a:lnTo>
                    <a:pt x="982" y="504"/>
                  </a:lnTo>
                  <a:lnTo>
                    <a:pt x="986" y="502"/>
                  </a:lnTo>
                  <a:lnTo>
                    <a:pt x="990" y="500"/>
                  </a:lnTo>
                  <a:lnTo>
                    <a:pt x="992" y="498"/>
                  </a:lnTo>
                  <a:lnTo>
                    <a:pt x="1000" y="492"/>
                  </a:lnTo>
                  <a:lnTo>
                    <a:pt x="1000" y="492"/>
                  </a:lnTo>
                  <a:lnTo>
                    <a:pt x="1002" y="489"/>
                  </a:lnTo>
                  <a:lnTo>
                    <a:pt x="1002" y="489"/>
                  </a:lnTo>
                  <a:lnTo>
                    <a:pt x="1004" y="489"/>
                  </a:lnTo>
                  <a:lnTo>
                    <a:pt x="1006" y="489"/>
                  </a:lnTo>
                  <a:lnTo>
                    <a:pt x="1008" y="489"/>
                  </a:lnTo>
                  <a:lnTo>
                    <a:pt x="1010" y="489"/>
                  </a:lnTo>
                  <a:lnTo>
                    <a:pt x="1013" y="487"/>
                  </a:lnTo>
                  <a:lnTo>
                    <a:pt x="1015" y="487"/>
                  </a:lnTo>
                  <a:lnTo>
                    <a:pt x="1019" y="487"/>
                  </a:lnTo>
                  <a:lnTo>
                    <a:pt x="1021" y="487"/>
                  </a:lnTo>
                  <a:lnTo>
                    <a:pt x="1023" y="487"/>
                  </a:lnTo>
                  <a:lnTo>
                    <a:pt x="1025" y="487"/>
                  </a:lnTo>
                  <a:lnTo>
                    <a:pt x="1025" y="487"/>
                  </a:lnTo>
                  <a:lnTo>
                    <a:pt x="1033" y="483"/>
                  </a:lnTo>
                  <a:lnTo>
                    <a:pt x="1037" y="481"/>
                  </a:lnTo>
                  <a:lnTo>
                    <a:pt x="1041" y="479"/>
                  </a:lnTo>
                  <a:lnTo>
                    <a:pt x="1047" y="475"/>
                  </a:lnTo>
                  <a:lnTo>
                    <a:pt x="1049" y="473"/>
                  </a:lnTo>
                  <a:lnTo>
                    <a:pt x="1049" y="473"/>
                  </a:lnTo>
                  <a:lnTo>
                    <a:pt x="1047" y="473"/>
                  </a:lnTo>
                  <a:lnTo>
                    <a:pt x="1047" y="471"/>
                  </a:lnTo>
                  <a:lnTo>
                    <a:pt x="1045" y="471"/>
                  </a:lnTo>
                  <a:lnTo>
                    <a:pt x="1045" y="471"/>
                  </a:lnTo>
                  <a:lnTo>
                    <a:pt x="1047" y="471"/>
                  </a:lnTo>
                  <a:lnTo>
                    <a:pt x="1047" y="471"/>
                  </a:lnTo>
                  <a:lnTo>
                    <a:pt x="1049" y="471"/>
                  </a:lnTo>
                  <a:lnTo>
                    <a:pt x="1049" y="469"/>
                  </a:lnTo>
                  <a:lnTo>
                    <a:pt x="1049" y="469"/>
                  </a:lnTo>
                  <a:lnTo>
                    <a:pt x="1047" y="469"/>
                  </a:lnTo>
                  <a:lnTo>
                    <a:pt x="1045" y="469"/>
                  </a:lnTo>
                  <a:lnTo>
                    <a:pt x="1043" y="469"/>
                  </a:lnTo>
                  <a:lnTo>
                    <a:pt x="1041" y="467"/>
                  </a:lnTo>
                  <a:lnTo>
                    <a:pt x="1043" y="467"/>
                  </a:lnTo>
                  <a:lnTo>
                    <a:pt x="1045" y="467"/>
                  </a:lnTo>
                  <a:lnTo>
                    <a:pt x="1049" y="467"/>
                  </a:lnTo>
                  <a:lnTo>
                    <a:pt x="1049" y="467"/>
                  </a:lnTo>
                  <a:lnTo>
                    <a:pt x="1049" y="465"/>
                  </a:lnTo>
                  <a:lnTo>
                    <a:pt x="1049" y="465"/>
                  </a:lnTo>
                  <a:lnTo>
                    <a:pt x="1049" y="463"/>
                  </a:lnTo>
                  <a:lnTo>
                    <a:pt x="1052" y="463"/>
                  </a:lnTo>
                  <a:lnTo>
                    <a:pt x="1052" y="461"/>
                  </a:lnTo>
                  <a:lnTo>
                    <a:pt x="1054" y="457"/>
                  </a:lnTo>
                  <a:lnTo>
                    <a:pt x="1054" y="457"/>
                  </a:lnTo>
                  <a:lnTo>
                    <a:pt x="1054" y="454"/>
                  </a:lnTo>
                  <a:lnTo>
                    <a:pt x="1054" y="454"/>
                  </a:lnTo>
                  <a:lnTo>
                    <a:pt x="1054" y="454"/>
                  </a:lnTo>
                  <a:lnTo>
                    <a:pt x="1054" y="454"/>
                  </a:lnTo>
                  <a:lnTo>
                    <a:pt x="1054" y="452"/>
                  </a:lnTo>
                  <a:lnTo>
                    <a:pt x="1054" y="452"/>
                  </a:lnTo>
                  <a:lnTo>
                    <a:pt x="1052" y="450"/>
                  </a:lnTo>
                  <a:lnTo>
                    <a:pt x="1049" y="448"/>
                  </a:lnTo>
                  <a:lnTo>
                    <a:pt x="1049" y="448"/>
                  </a:lnTo>
                  <a:lnTo>
                    <a:pt x="1049" y="446"/>
                  </a:lnTo>
                  <a:lnTo>
                    <a:pt x="1049" y="446"/>
                  </a:lnTo>
                  <a:lnTo>
                    <a:pt x="1047" y="446"/>
                  </a:lnTo>
                  <a:lnTo>
                    <a:pt x="1045" y="446"/>
                  </a:lnTo>
                  <a:lnTo>
                    <a:pt x="1043" y="446"/>
                  </a:lnTo>
                  <a:lnTo>
                    <a:pt x="1041" y="448"/>
                  </a:lnTo>
                  <a:lnTo>
                    <a:pt x="1037" y="450"/>
                  </a:lnTo>
                  <a:lnTo>
                    <a:pt x="1035" y="452"/>
                  </a:lnTo>
                  <a:lnTo>
                    <a:pt x="1035" y="450"/>
                  </a:lnTo>
                  <a:lnTo>
                    <a:pt x="1035" y="450"/>
                  </a:lnTo>
                  <a:lnTo>
                    <a:pt x="1033" y="448"/>
                  </a:lnTo>
                  <a:lnTo>
                    <a:pt x="1033" y="448"/>
                  </a:lnTo>
                  <a:lnTo>
                    <a:pt x="1033" y="448"/>
                  </a:lnTo>
                  <a:lnTo>
                    <a:pt x="1037" y="448"/>
                  </a:lnTo>
                  <a:lnTo>
                    <a:pt x="1039" y="446"/>
                  </a:lnTo>
                  <a:lnTo>
                    <a:pt x="1039" y="446"/>
                  </a:lnTo>
                  <a:lnTo>
                    <a:pt x="1041" y="444"/>
                  </a:lnTo>
                  <a:lnTo>
                    <a:pt x="1039" y="444"/>
                  </a:lnTo>
                  <a:lnTo>
                    <a:pt x="1039" y="440"/>
                  </a:lnTo>
                  <a:lnTo>
                    <a:pt x="1037" y="438"/>
                  </a:lnTo>
                  <a:lnTo>
                    <a:pt x="1029" y="438"/>
                  </a:lnTo>
                  <a:lnTo>
                    <a:pt x="1027" y="438"/>
                  </a:lnTo>
                  <a:lnTo>
                    <a:pt x="1027" y="440"/>
                  </a:lnTo>
                  <a:lnTo>
                    <a:pt x="1027" y="440"/>
                  </a:lnTo>
                  <a:lnTo>
                    <a:pt x="1027" y="440"/>
                  </a:lnTo>
                  <a:lnTo>
                    <a:pt x="1029" y="440"/>
                  </a:lnTo>
                  <a:lnTo>
                    <a:pt x="1029" y="440"/>
                  </a:lnTo>
                  <a:lnTo>
                    <a:pt x="1031" y="440"/>
                  </a:lnTo>
                  <a:lnTo>
                    <a:pt x="1031" y="440"/>
                  </a:lnTo>
                  <a:lnTo>
                    <a:pt x="1029" y="440"/>
                  </a:lnTo>
                  <a:lnTo>
                    <a:pt x="1025" y="442"/>
                  </a:lnTo>
                  <a:lnTo>
                    <a:pt x="1021" y="442"/>
                  </a:lnTo>
                  <a:lnTo>
                    <a:pt x="1017" y="444"/>
                  </a:lnTo>
                  <a:lnTo>
                    <a:pt x="1013" y="446"/>
                  </a:lnTo>
                  <a:lnTo>
                    <a:pt x="1008" y="448"/>
                  </a:lnTo>
                  <a:lnTo>
                    <a:pt x="1006" y="450"/>
                  </a:lnTo>
                  <a:lnTo>
                    <a:pt x="1004" y="450"/>
                  </a:lnTo>
                  <a:lnTo>
                    <a:pt x="1000" y="450"/>
                  </a:lnTo>
                  <a:lnTo>
                    <a:pt x="1000" y="450"/>
                  </a:lnTo>
                  <a:lnTo>
                    <a:pt x="998" y="452"/>
                  </a:lnTo>
                  <a:lnTo>
                    <a:pt x="996" y="454"/>
                  </a:lnTo>
                  <a:lnTo>
                    <a:pt x="992" y="454"/>
                  </a:lnTo>
                  <a:lnTo>
                    <a:pt x="992" y="454"/>
                  </a:lnTo>
                  <a:lnTo>
                    <a:pt x="992" y="454"/>
                  </a:lnTo>
                  <a:lnTo>
                    <a:pt x="994" y="454"/>
                  </a:lnTo>
                  <a:lnTo>
                    <a:pt x="994" y="454"/>
                  </a:lnTo>
                  <a:lnTo>
                    <a:pt x="994" y="454"/>
                  </a:lnTo>
                  <a:lnTo>
                    <a:pt x="994" y="452"/>
                  </a:lnTo>
                  <a:lnTo>
                    <a:pt x="996" y="452"/>
                  </a:lnTo>
                  <a:lnTo>
                    <a:pt x="998" y="450"/>
                  </a:lnTo>
                  <a:lnTo>
                    <a:pt x="996" y="450"/>
                  </a:lnTo>
                  <a:lnTo>
                    <a:pt x="994" y="448"/>
                  </a:lnTo>
                  <a:lnTo>
                    <a:pt x="994" y="448"/>
                  </a:lnTo>
                  <a:lnTo>
                    <a:pt x="996" y="448"/>
                  </a:lnTo>
                  <a:lnTo>
                    <a:pt x="998" y="450"/>
                  </a:lnTo>
                  <a:lnTo>
                    <a:pt x="998" y="448"/>
                  </a:lnTo>
                  <a:lnTo>
                    <a:pt x="998" y="448"/>
                  </a:lnTo>
                  <a:lnTo>
                    <a:pt x="998" y="448"/>
                  </a:lnTo>
                  <a:lnTo>
                    <a:pt x="1000" y="446"/>
                  </a:lnTo>
                  <a:lnTo>
                    <a:pt x="1000" y="446"/>
                  </a:lnTo>
                  <a:lnTo>
                    <a:pt x="1002" y="446"/>
                  </a:lnTo>
                  <a:lnTo>
                    <a:pt x="1004" y="444"/>
                  </a:lnTo>
                  <a:lnTo>
                    <a:pt x="1004" y="444"/>
                  </a:lnTo>
                  <a:lnTo>
                    <a:pt x="1006" y="446"/>
                  </a:lnTo>
                  <a:lnTo>
                    <a:pt x="1008" y="444"/>
                  </a:lnTo>
                  <a:lnTo>
                    <a:pt x="1013" y="444"/>
                  </a:lnTo>
                  <a:lnTo>
                    <a:pt x="1015" y="442"/>
                  </a:lnTo>
                  <a:lnTo>
                    <a:pt x="1017" y="442"/>
                  </a:lnTo>
                  <a:lnTo>
                    <a:pt x="1017" y="442"/>
                  </a:lnTo>
                  <a:lnTo>
                    <a:pt x="1017" y="442"/>
                  </a:lnTo>
                  <a:lnTo>
                    <a:pt x="1019" y="442"/>
                  </a:lnTo>
                  <a:lnTo>
                    <a:pt x="1021" y="442"/>
                  </a:lnTo>
                  <a:lnTo>
                    <a:pt x="1021" y="442"/>
                  </a:lnTo>
                  <a:lnTo>
                    <a:pt x="1023" y="440"/>
                  </a:lnTo>
                  <a:lnTo>
                    <a:pt x="1025" y="438"/>
                  </a:lnTo>
                  <a:lnTo>
                    <a:pt x="1027" y="438"/>
                  </a:lnTo>
                  <a:lnTo>
                    <a:pt x="1029" y="438"/>
                  </a:lnTo>
                  <a:lnTo>
                    <a:pt x="1031" y="436"/>
                  </a:lnTo>
                  <a:lnTo>
                    <a:pt x="1031" y="436"/>
                  </a:lnTo>
                  <a:lnTo>
                    <a:pt x="1035" y="436"/>
                  </a:lnTo>
                  <a:lnTo>
                    <a:pt x="1037" y="436"/>
                  </a:lnTo>
                  <a:lnTo>
                    <a:pt x="1039" y="434"/>
                  </a:lnTo>
                  <a:lnTo>
                    <a:pt x="1041" y="434"/>
                  </a:lnTo>
                  <a:lnTo>
                    <a:pt x="1043" y="432"/>
                  </a:lnTo>
                  <a:lnTo>
                    <a:pt x="1043" y="432"/>
                  </a:lnTo>
                  <a:lnTo>
                    <a:pt x="1041" y="432"/>
                  </a:lnTo>
                  <a:lnTo>
                    <a:pt x="1039" y="432"/>
                  </a:lnTo>
                  <a:lnTo>
                    <a:pt x="1039" y="430"/>
                  </a:lnTo>
                  <a:lnTo>
                    <a:pt x="1037" y="430"/>
                  </a:lnTo>
                  <a:lnTo>
                    <a:pt x="1037" y="430"/>
                  </a:lnTo>
                  <a:lnTo>
                    <a:pt x="1037" y="428"/>
                  </a:lnTo>
                  <a:lnTo>
                    <a:pt x="1035" y="428"/>
                  </a:lnTo>
                  <a:lnTo>
                    <a:pt x="1033" y="428"/>
                  </a:lnTo>
                  <a:lnTo>
                    <a:pt x="1033" y="428"/>
                  </a:lnTo>
                  <a:lnTo>
                    <a:pt x="1031" y="430"/>
                  </a:lnTo>
                  <a:lnTo>
                    <a:pt x="1029" y="428"/>
                  </a:lnTo>
                  <a:lnTo>
                    <a:pt x="1025" y="428"/>
                  </a:lnTo>
                  <a:lnTo>
                    <a:pt x="1025" y="426"/>
                  </a:lnTo>
                  <a:lnTo>
                    <a:pt x="1025" y="424"/>
                  </a:lnTo>
                  <a:lnTo>
                    <a:pt x="1025" y="422"/>
                  </a:lnTo>
                  <a:lnTo>
                    <a:pt x="1025" y="422"/>
                  </a:lnTo>
                  <a:lnTo>
                    <a:pt x="1023" y="422"/>
                  </a:lnTo>
                  <a:lnTo>
                    <a:pt x="1021" y="422"/>
                  </a:lnTo>
                  <a:lnTo>
                    <a:pt x="1019" y="424"/>
                  </a:lnTo>
                  <a:lnTo>
                    <a:pt x="1019" y="424"/>
                  </a:lnTo>
                  <a:lnTo>
                    <a:pt x="1013" y="428"/>
                  </a:lnTo>
                  <a:lnTo>
                    <a:pt x="1010" y="428"/>
                  </a:lnTo>
                  <a:lnTo>
                    <a:pt x="1013" y="428"/>
                  </a:lnTo>
                  <a:lnTo>
                    <a:pt x="1013" y="426"/>
                  </a:lnTo>
                  <a:lnTo>
                    <a:pt x="1019" y="424"/>
                  </a:lnTo>
                  <a:lnTo>
                    <a:pt x="1019" y="422"/>
                  </a:lnTo>
                  <a:lnTo>
                    <a:pt x="1019" y="422"/>
                  </a:lnTo>
                  <a:lnTo>
                    <a:pt x="1017" y="422"/>
                  </a:lnTo>
                  <a:lnTo>
                    <a:pt x="1017" y="422"/>
                  </a:lnTo>
                  <a:lnTo>
                    <a:pt x="1017" y="420"/>
                  </a:lnTo>
                  <a:lnTo>
                    <a:pt x="1017" y="420"/>
                  </a:lnTo>
                  <a:lnTo>
                    <a:pt x="1015" y="420"/>
                  </a:lnTo>
                  <a:lnTo>
                    <a:pt x="1013" y="420"/>
                  </a:lnTo>
                  <a:lnTo>
                    <a:pt x="1010" y="422"/>
                  </a:lnTo>
                  <a:lnTo>
                    <a:pt x="1008" y="422"/>
                  </a:lnTo>
                  <a:lnTo>
                    <a:pt x="1004" y="424"/>
                  </a:lnTo>
                  <a:lnTo>
                    <a:pt x="1002" y="424"/>
                  </a:lnTo>
                  <a:lnTo>
                    <a:pt x="1004" y="424"/>
                  </a:lnTo>
                  <a:lnTo>
                    <a:pt x="1006" y="422"/>
                  </a:lnTo>
                  <a:lnTo>
                    <a:pt x="1006" y="422"/>
                  </a:lnTo>
                  <a:lnTo>
                    <a:pt x="1008" y="420"/>
                  </a:lnTo>
                  <a:lnTo>
                    <a:pt x="1010" y="417"/>
                  </a:lnTo>
                  <a:lnTo>
                    <a:pt x="1013" y="417"/>
                  </a:lnTo>
                  <a:lnTo>
                    <a:pt x="1010" y="415"/>
                  </a:lnTo>
                  <a:lnTo>
                    <a:pt x="1010" y="413"/>
                  </a:lnTo>
                  <a:lnTo>
                    <a:pt x="1010" y="413"/>
                  </a:lnTo>
                  <a:lnTo>
                    <a:pt x="1010" y="413"/>
                  </a:lnTo>
                  <a:lnTo>
                    <a:pt x="1013" y="411"/>
                  </a:lnTo>
                  <a:lnTo>
                    <a:pt x="1010" y="411"/>
                  </a:lnTo>
                  <a:lnTo>
                    <a:pt x="1010" y="411"/>
                  </a:lnTo>
                  <a:lnTo>
                    <a:pt x="1008" y="413"/>
                  </a:lnTo>
                  <a:lnTo>
                    <a:pt x="1008" y="411"/>
                  </a:lnTo>
                  <a:lnTo>
                    <a:pt x="1008" y="411"/>
                  </a:lnTo>
                  <a:lnTo>
                    <a:pt x="1008" y="409"/>
                  </a:lnTo>
                  <a:lnTo>
                    <a:pt x="1008" y="409"/>
                  </a:lnTo>
                  <a:lnTo>
                    <a:pt x="1006" y="409"/>
                  </a:lnTo>
                  <a:lnTo>
                    <a:pt x="1006" y="409"/>
                  </a:lnTo>
                  <a:lnTo>
                    <a:pt x="1004" y="409"/>
                  </a:lnTo>
                  <a:lnTo>
                    <a:pt x="1002" y="409"/>
                  </a:lnTo>
                  <a:lnTo>
                    <a:pt x="1002" y="409"/>
                  </a:lnTo>
                  <a:lnTo>
                    <a:pt x="1002" y="409"/>
                  </a:lnTo>
                  <a:lnTo>
                    <a:pt x="1002" y="409"/>
                  </a:lnTo>
                  <a:lnTo>
                    <a:pt x="1000" y="407"/>
                  </a:lnTo>
                  <a:lnTo>
                    <a:pt x="998" y="407"/>
                  </a:lnTo>
                  <a:lnTo>
                    <a:pt x="1000" y="407"/>
                  </a:lnTo>
                  <a:lnTo>
                    <a:pt x="1002" y="407"/>
                  </a:lnTo>
                  <a:lnTo>
                    <a:pt x="1002" y="407"/>
                  </a:lnTo>
                  <a:lnTo>
                    <a:pt x="1002" y="403"/>
                  </a:lnTo>
                  <a:lnTo>
                    <a:pt x="1002" y="403"/>
                  </a:lnTo>
                  <a:lnTo>
                    <a:pt x="1000" y="403"/>
                  </a:lnTo>
                  <a:lnTo>
                    <a:pt x="998" y="403"/>
                  </a:lnTo>
                  <a:lnTo>
                    <a:pt x="998" y="403"/>
                  </a:lnTo>
                  <a:lnTo>
                    <a:pt x="1002" y="401"/>
                  </a:lnTo>
                  <a:lnTo>
                    <a:pt x="1002" y="401"/>
                  </a:lnTo>
                  <a:lnTo>
                    <a:pt x="1002" y="401"/>
                  </a:lnTo>
                  <a:lnTo>
                    <a:pt x="1000" y="401"/>
                  </a:lnTo>
                  <a:lnTo>
                    <a:pt x="996" y="401"/>
                  </a:lnTo>
                  <a:lnTo>
                    <a:pt x="996" y="399"/>
                  </a:lnTo>
                  <a:lnTo>
                    <a:pt x="998" y="399"/>
                  </a:lnTo>
                  <a:lnTo>
                    <a:pt x="1000" y="399"/>
                  </a:lnTo>
                  <a:lnTo>
                    <a:pt x="1000" y="399"/>
                  </a:lnTo>
                  <a:lnTo>
                    <a:pt x="998" y="397"/>
                  </a:lnTo>
                  <a:lnTo>
                    <a:pt x="998" y="397"/>
                  </a:lnTo>
                  <a:lnTo>
                    <a:pt x="996" y="397"/>
                  </a:lnTo>
                  <a:lnTo>
                    <a:pt x="996" y="397"/>
                  </a:lnTo>
                  <a:lnTo>
                    <a:pt x="992" y="395"/>
                  </a:lnTo>
                  <a:lnTo>
                    <a:pt x="992" y="395"/>
                  </a:lnTo>
                  <a:lnTo>
                    <a:pt x="992" y="393"/>
                  </a:lnTo>
                  <a:lnTo>
                    <a:pt x="994" y="393"/>
                  </a:lnTo>
                  <a:lnTo>
                    <a:pt x="994" y="393"/>
                  </a:lnTo>
                  <a:lnTo>
                    <a:pt x="994" y="395"/>
                  </a:lnTo>
                  <a:lnTo>
                    <a:pt x="994" y="395"/>
                  </a:lnTo>
                  <a:lnTo>
                    <a:pt x="996" y="395"/>
                  </a:lnTo>
                  <a:lnTo>
                    <a:pt x="1004" y="397"/>
                  </a:lnTo>
                  <a:lnTo>
                    <a:pt x="1006" y="397"/>
                  </a:lnTo>
                  <a:lnTo>
                    <a:pt x="1006" y="395"/>
                  </a:lnTo>
                  <a:lnTo>
                    <a:pt x="1006" y="393"/>
                  </a:lnTo>
                  <a:lnTo>
                    <a:pt x="1008" y="393"/>
                  </a:lnTo>
                  <a:lnTo>
                    <a:pt x="1008" y="391"/>
                  </a:lnTo>
                  <a:lnTo>
                    <a:pt x="1006" y="387"/>
                  </a:lnTo>
                  <a:lnTo>
                    <a:pt x="1006" y="387"/>
                  </a:lnTo>
                  <a:lnTo>
                    <a:pt x="1004" y="387"/>
                  </a:lnTo>
                  <a:lnTo>
                    <a:pt x="1004" y="387"/>
                  </a:lnTo>
                  <a:lnTo>
                    <a:pt x="1002" y="387"/>
                  </a:lnTo>
                  <a:lnTo>
                    <a:pt x="1002" y="387"/>
                  </a:lnTo>
                  <a:lnTo>
                    <a:pt x="1004" y="387"/>
                  </a:lnTo>
                  <a:lnTo>
                    <a:pt x="1004" y="385"/>
                  </a:lnTo>
                  <a:lnTo>
                    <a:pt x="1006" y="385"/>
                  </a:lnTo>
                  <a:lnTo>
                    <a:pt x="1006" y="385"/>
                  </a:lnTo>
                  <a:lnTo>
                    <a:pt x="1004" y="383"/>
                  </a:lnTo>
                  <a:lnTo>
                    <a:pt x="1002" y="383"/>
                  </a:lnTo>
                  <a:lnTo>
                    <a:pt x="1002" y="383"/>
                  </a:lnTo>
                  <a:lnTo>
                    <a:pt x="1000" y="383"/>
                  </a:lnTo>
                  <a:lnTo>
                    <a:pt x="998" y="383"/>
                  </a:lnTo>
                  <a:lnTo>
                    <a:pt x="998" y="383"/>
                  </a:lnTo>
                  <a:lnTo>
                    <a:pt x="998" y="383"/>
                  </a:lnTo>
                  <a:lnTo>
                    <a:pt x="1000" y="383"/>
                  </a:lnTo>
                  <a:lnTo>
                    <a:pt x="1000" y="383"/>
                  </a:lnTo>
                  <a:lnTo>
                    <a:pt x="1002" y="380"/>
                  </a:lnTo>
                  <a:lnTo>
                    <a:pt x="1002" y="380"/>
                  </a:lnTo>
                  <a:lnTo>
                    <a:pt x="1004" y="380"/>
                  </a:lnTo>
                  <a:lnTo>
                    <a:pt x="1006" y="380"/>
                  </a:lnTo>
                  <a:lnTo>
                    <a:pt x="1006" y="378"/>
                  </a:lnTo>
                  <a:lnTo>
                    <a:pt x="1006" y="376"/>
                  </a:lnTo>
                  <a:lnTo>
                    <a:pt x="1008" y="376"/>
                  </a:lnTo>
                  <a:lnTo>
                    <a:pt x="1008" y="376"/>
                  </a:lnTo>
                  <a:lnTo>
                    <a:pt x="1008" y="376"/>
                  </a:lnTo>
                  <a:lnTo>
                    <a:pt x="1008" y="374"/>
                  </a:lnTo>
                  <a:lnTo>
                    <a:pt x="1006" y="374"/>
                  </a:lnTo>
                  <a:lnTo>
                    <a:pt x="1006" y="374"/>
                  </a:lnTo>
                  <a:lnTo>
                    <a:pt x="1004" y="374"/>
                  </a:lnTo>
                  <a:lnTo>
                    <a:pt x="1004" y="370"/>
                  </a:lnTo>
                  <a:lnTo>
                    <a:pt x="1002" y="370"/>
                  </a:lnTo>
                  <a:lnTo>
                    <a:pt x="1000" y="370"/>
                  </a:lnTo>
                  <a:lnTo>
                    <a:pt x="996" y="372"/>
                  </a:lnTo>
                  <a:lnTo>
                    <a:pt x="992" y="374"/>
                  </a:lnTo>
                  <a:lnTo>
                    <a:pt x="992" y="372"/>
                  </a:lnTo>
                  <a:lnTo>
                    <a:pt x="994" y="372"/>
                  </a:lnTo>
                  <a:lnTo>
                    <a:pt x="996" y="372"/>
                  </a:lnTo>
                  <a:lnTo>
                    <a:pt x="1000" y="370"/>
                  </a:lnTo>
                  <a:lnTo>
                    <a:pt x="1002" y="368"/>
                  </a:lnTo>
                  <a:lnTo>
                    <a:pt x="1004" y="366"/>
                  </a:lnTo>
                  <a:lnTo>
                    <a:pt x="1004" y="364"/>
                  </a:lnTo>
                  <a:lnTo>
                    <a:pt x="1004" y="364"/>
                  </a:lnTo>
                  <a:lnTo>
                    <a:pt x="1002" y="366"/>
                  </a:lnTo>
                  <a:lnTo>
                    <a:pt x="998" y="366"/>
                  </a:lnTo>
                  <a:lnTo>
                    <a:pt x="998" y="366"/>
                  </a:lnTo>
                  <a:lnTo>
                    <a:pt x="998" y="366"/>
                  </a:lnTo>
                  <a:lnTo>
                    <a:pt x="998" y="366"/>
                  </a:lnTo>
                  <a:lnTo>
                    <a:pt x="996" y="366"/>
                  </a:lnTo>
                  <a:lnTo>
                    <a:pt x="996" y="366"/>
                  </a:lnTo>
                  <a:lnTo>
                    <a:pt x="992" y="368"/>
                  </a:lnTo>
                  <a:lnTo>
                    <a:pt x="992" y="368"/>
                  </a:lnTo>
                  <a:lnTo>
                    <a:pt x="994" y="366"/>
                  </a:lnTo>
                  <a:lnTo>
                    <a:pt x="994" y="366"/>
                  </a:lnTo>
                  <a:lnTo>
                    <a:pt x="998" y="364"/>
                  </a:lnTo>
                  <a:lnTo>
                    <a:pt x="1000" y="364"/>
                  </a:lnTo>
                  <a:lnTo>
                    <a:pt x="1004" y="362"/>
                  </a:lnTo>
                  <a:lnTo>
                    <a:pt x="1004" y="360"/>
                  </a:lnTo>
                  <a:lnTo>
                    <a:pt x="1002" y="358"/>
                  </a:lnTo>
                  <a:lnTo>
                    <a:pt x="1002" y="358"/>
                  </a:lnTo>
                  <a:lnTo>
                    <a:pt x="1000" y="358"/>
                  </a:lnTo>
                  <a:lnTo>
                    <a:pt x="1000" y="358"/>
                  </a:lnTo>
                  <a:lnTo>
                    <a:pt x="1000" y="358"/>
                  </a:lnTo>
                  <a:lnTo>
                    <a:pt x="1000" y="358"/>
                  </a:lnTo>
                  <a:lnTo>
                    <a:pt x="1000" y="356"/>
                  </a:lnTo>
                  <a:lnTo>
                    <a:pt x="1000" y="356"/>
                  </a:lnTo>
                  <a:lnTo>
                    <a:pt x="1000" y="356"/>
                  </a:lnTo>
                  <a:lnTo>
                    <a:pt x="1002" y="356"/>
                  </a:lnTo>
                  <a:lnTo>
                    <a:pt x="1002" y="356"/>
                  </a:lnTo>
                  <a:lnTo>
                    <a:pt x="1000" y="356"/>
                  </a:lnTo>
                  <a:lnTo>
                    <a:pt x="1000" y="356"/>
                  </a:lnTo>
                  <a:lnTo>
                    <a:pt x="998" y="356"/>
                  </a:lnTo>
                  <a:lnTo>
                    <a:pt x="994" y="356"/>
                  </a:lnTo>
                  <a:lnTo>
                    <a:pt x="992" y="356"/>
                  </a:lnTo>
                  <a:lnTo>
                    <a:pt x="992" y="356"/>
                  </a:lnTo>
                  <a:lnTo>
                    <a:pt x="994" y="356"/>
                  </a:lnTo>
                  <a:lnTo>
                    <a:pt x="996" y="356"/>
                  </a:lnTo>
                  <a:lnTo>
                    <a:pt x="996" y="356"/>
                  </a:lnTo>
                  <a:lnTo>
                    <a:pt x="998" y="354"/>
                  </a:lnTo>
                  <a:lnTo>
                    <a:pt x="1000" y="354"/>
                  </a:lnTo>
                  <a:lnTo>
                    <a:pt x="1000" y="352"/>
                  </a:lnTo>
                  <a:lnTo>
                    <a:pt x="1000" y="350"/>
                  </a:lnTo>
                  <a:lnTo>
                    <a:pt x="998" y="352"/>
                  </a:lnTo>
                  <a:lnTo>
                    <a:pt x="996" y="352"/>
                  </a:lnTo>
                  <a:lnTo>
                    <a:pt x="998" y="352"/>
                  </a:lnTo>
                  <a:lnTo>
                    <a:pt x="998" y="350"/>
                  </a:lnTo>
                  <a:lnTo>
                    <a:pt x="996" y="350"/>
                  </a:lnTo>
                  <a:lnTo>
                    <a:pt x="996" y="350"/>
                  </a:lnTo>
                  <a:lnTo>
                    <a:pt x="998" y="350"/>
                  </a:lnTo>
                  <a:lnTo>
                    <a:pt x="1000" y="348"/>
                  </a:lnTo>
                  <a:lnTo>
                    <a:pt x="998" y="348"/>
                  </a:lnTo>
                  <a:lnTo>
                    <a:pt x="998" y="346"/>
                  </a:lnTo>
                  <a:lnTo>
                    <a:pt x="998" y="346"/>
                  </a:lnTo>
                  <a:lnTo>
                    <a:pt x="998" y="343"/>
                  </a:lnTo>
                  <a:lnTo>
                    <a:pt x="998" y="343"/>
                  </a:lnTo>
                  <a:lnTo>
                    <a:pt x="996" y="343"/>
                  </a:lnTo>
                  <a:lnTo>
                    <a:pt x="996" y="343"/>
                  </a:lnTo>
                  <a:lnTo>
                    <a:pt x="996" y="341"/>
                  </a:lnTo>
                  <a:lnTo>
                    <a:pt x="998" y="339"/>
                  </a:lnTo>
                  <a:lnTo>
                    <a:pt x="998" y="339"/>
                  </a:lnTo>
                  <a:lnTo>
                    <a:pt x="996" y="339"/>
                  </a:lnTo>
                  <a:lnTo>
                    <a:pt x="994" y="339"/>
                  </a:lnTo>
                  <a:lnTo>
                    <a:pt x="992" y="339"/>
                  </a:lnTo>
                  <a:lnTo>
                    <a:pt x="990" y="339"/>
                  </a:lnTo>
                  <a:lnTo>
                    <a:pt x="992" y="339"/>
                  </a:lnTo>
                  <a:lnTo>
                    <a:pt x="994" y="337"/>
                  </a:lnTo>
                  <a:lnTo>
                    <a:pt x="996" y="337"/>
                  </a:lnTo>
                  <a:lnTo>
                    <a:pt x="996" y="335"/>
                  </a:lnTo>
                  <a:lnTo>
                    <a:pt x="996" y="335"/>
                  </a:lnTo>
                  <a:lnTo>
                    <a:pt x="994" y="333"/>
                  </a:lnTo>
                  <a:lnTo>
                    <a:pt x="994" y="333"/>
                  </a:lnTo>
                  <a:lnTo>
                    <a:pt x="992" y="335"/>
                  </a:lnTo>
                  <a:lnTo>
                    <a:pt x="992" y="335"/>
                  </a:lnTo>
                  <a:lnTo>
                    <a:pt x="990" y="335"/>
                  </a:lnTo>
                  <a:lnTo>
                    <a:pt x="988" y="339"/>
                  </a:lnTo>
                  <a:lnTo>
                    <a:pt x="986" y="339"/>
                  </a:lnTo>
                  <a:lnTo>
                    <a:pt x="984" y="341"/>
                  </a:lnTo>
                  <a:lnTo>
                    <a:pt x="984" y="341"/>
                  </a:lnTo>
                  <a:lnTo>
                    <a:pt x="984" y="341"/>
                  </a:lnTo>
                  <a:lnTo>
                    <a:pt x="984" y="343"/>
                  </a:lnTo>
                  <a:lnTo>
                    <a:pt x="986" y="343"/>
                  </a:lnTo>
                  <a:lnTo>
                    <a:pt x="984" y="343"/>
                  </a:lnTo>
                  <a:lnTo>
                    <a:pt x="984" y="343"/>
                  </a:lnTo>
                  <a:lnTo>
                    <a:pt x="982" y="343"/>
                  </a:lnTo>
                  <a:lnTo>
                    <a:pt x="982" y="343"/>
                  </a:lnTo>
                  <a:lnTo>
                    <a:pt x="980" y="343"/>
                  </a:lnTo>
                  <a:lnTo>
                    <a:pt x="980" y="343"/>
                  </a:lnTo>
                  <a:lnTo>
                    <a:pt x="978" y="346"/>
                  </a:lnTo>
                  <a:lnTo>
                    <a:pt x="978" y="346"/>
                  </a:lnTo>
                  <a:lnTo>
                    <a:pt x="978" y="346"/>
                  </a:lnTo>
                  <a:lnTo>
                    <a:pt x="978" y="348"/>
                  </a:lnTo>
                  <a:lnTo>
                    <a:pt x="980" y="348"/>
                  </a:lnTo>
                  <a:lnTo>
                    <a:pt x="980" y="348"/>
                  </a:lnTo>
                  <a:lnTo>
                    <a:pt x="980" y="350"/>
                  </a:lnTo>
                  <a:lnTo>
                    <a:pt x="982" y="350"/>
                  </a:lnTo>
                  <a:lnTo>
                    <a:pt x="982" y="350"/>
                  </a:lnTo>
                  <a:lnTo>
                    <a:pt x="982" y="350"/>
                  </a:lnTo>
                  <a:lnTo>
                    <a:pt x="980" y="348"/>
                  </a:lnTo>
                  <a:lnTo>
                    <a:pt x="978" y="348"/>
                  </a:lnTo>
                  <a:lnTo>
                    <a:pt x="978" y="348"/>
                  </a:lnTo>
                  <a:lnTo>
                    <a:pt x="976" y="350"/>
                  </a:lnTo>
                  <a:lnTo>
                    <a:pt x="976" y="352"/>
                  </a:lnTo>
                  <a:lnTo>
                    <a:pt x="976" y="352"/>
                  </a:lnTo>
                  <a:lnTo>
                    <a:pt x="976" y="350"/>
                  </a:lnTo>
                  <a:lnTo>
                    <a:pt x="974" y="352"/>
                  </a:lnTo>
                  <a:lnTo>
                    <a:pt x="974" y="352"/>
                  </a:lnTo>
                  <a:lnTo>
                    <a:pt x="974" y="354"/>
                  </a:lnTo>
                  <a:lnTo>
                    <a:pt x="971" y="352"/>
                  </a:lnTo>
                  <a:lnTo>
                    <a:pt x="971" y="352"/>
                  </a:lnTo>
                  <a:lnTo>
                    <a:pt x="971" y="354"/>
                  </a:lnTo>
                  <a:lnTo>
                    <a:pt x="971" y="354"/>
                  </a:lnTo>
                  <a:lnTo>
                    <a:pt x="971" y="354"/>
                  </a:lnTo>
                  <a:lnTo>
                    <a:pt x="971" y="354"/>
                  </a:lnTo>
                  <a:lnTo>
                    <a:pt x="974" y="356"/>
                  </a:lnTo>
                  <a:lnTo>
                    <a:pt x="974" y="356"/>
                  </a:lnTo>
                  <a:lnTo>
                    <a:pt x="974" y="356"/>
                  </a:lnTo>
                  <a:lnTo>
                    <a:pt x="971" y="356"/>
                  </a:lnTo>
                  <a:lnTo>
                    <a:pt x="971" y="356"/>
                  </a:lnTo>
                  <a:lnTo>
                    <a:pt x="969" y="356"/>
                  </a:lnTo>
                  <a:lnTo>
                    <a:pt x="969" y="356"/>
                  </a:lnTo>
                  <a:lnTo>
                    <a:pt x="969" y="356"/>
                  </a:lnTo>
                  <a:lnTo>
                    <a:pt x="969" y="358"/>
                  </a:lnTo>
                  <a:lnTo>
                    <a:pt x="967" y="356"/>
                  </a:lnTo>
                  <a:lnTo>
                    <a:pt x="967" y="356"/>
                  </a:lnTo>
                  <a:lnTo>
                    <a:pt x="965" y="358"/>
                  </a:lnTo>
                  <a:lnTo>
                    <a:pt x="965" y="358"/>
                  </a:lnTo>
                  <a:lnTo>
                    <a:pt x="965" y="358"/>
                  </a:lnTo>
                  <a:lnTo>
                    <a:pt x="965" y="360"/>
                  </a:lnTo>
                  <a:lnTo>
                    <a:pt x="965" y="360"/>
                  </a:lnTo>
                  <a:lnTo>
                    <a:pt x="963" y="360"/>
                  </a:lnTo>
                  <a:lnTo>
                    <a:pt x="963" y="360"/>
                  </a:lnTo>
                  <a:lnTo>
                    <a:pt x="963" y="360"/>
                  </a:lnTo>
                  <a:lnTo>
                    <a:pt x="963" y="362"/>
                  </a:lnTo>
                  <a:lnTo>
                    <a:pt x="963" y="364"/>
                  </a:lnTo>
                  <a:lnTo>
                    <a:pt x="963" y="364"/>
                  </a:lnTo>
                  <a:lnTo>
                    <a:pt x="961" y="364"/>
                  </a:lnTo>
                  <a:lnTo>
                    <a:pt x="959" y="366"/>
                  </a:lnTo>
                  <a:lnTo>
                    <a:pt x="959" y="366"/>
                  </a:lnTo>
                  <a:lnTo>
                    <a:pt x="961" y="364"/>
                  </a:lnTo>
                  <a:lnTo>
                    <a:pt x="961" y="364"/>
                  </a:lnTo>
                  <a:lnTo>
                    <a:pt x="961" y="362"/>
                  </a:lnTo>
                  <a:lnTo>
                    <a:pt x="961" y="362"/>
                  </a:lnTo>
                  <a:lnTo>
                    <a:pt x="961" y="360"/>
                  </a:lnTo>
                  <a:lnTo>
                    <a:pt x="959" y="360"/>
                  </a:lnTo>
                  <a:lnTo>
                    <a:pt x="959" y="360"/>
                  </a:lnTo>
                  <a:lnTo>
                    <a:pt x="957" y="362"/>
                  </a:lnTo>
                  <a:lnTo>
                    <a:pt x="955" y="362"/>
                  </a:lnTo>
                  <a:lnTo>
                    <a:pt x="955" y="362"/>
                  </a:lnTo>
                  <a:lnTo>
                    <a:pt x="953" y="364"/>
                  </a:lnTo>
                  <a:lnTo>
                    <a:pt x="951" y="366"/>
                  </a:lnTo>
                  <a:lnTo>
                    <a:pt x="949" y="366"/>
                  </a:lnTo>
                  <a:lnTo>
                    <a:pt x="947" y="366"/>
                  </a:lnTo>
                  <a:lnTo>
                    <a:pt x="945" y="368"/>
                  </a:lnTo>
                  <a:lnTo>
                    <a:pt x="941" y="368"/>
                  </a:lnTo>
                  <a:lnTo>
                    <a:pt x="937" y="370"/>
                  </a:lnTo>
                  <a:lnTo>
                    <a:pt x="937" y="370"/>
                  </a:lnTo>
                  <a:lnTo>
                    <a:pt x="937" y="370"/>
                  </a:lnTo>
                  <a:lnTo>
                    <a:pt x="935" y="372"/>
                  </a:lnTo>
                  <a:lnTo>
                    <a:pt x="935" y="374"/>
                  </a:lnTo>
                  <a:lnTo>
                    <a:pt x="935" y="372"/>
                  </a:lnTo>
                  <a:lnTo>
                    <a:pt x="935" y="372"/>
                  </a:lnTo>
                  <a:lnTo>
                    <a:pt x="935" y="370"/>
                  </a:lnTo>
                  <a:lnTo>
                    <a:pt x="937" y="370"/>
                  </a:lnTo>
                  <a:lnTo>
                    <a:pt x="937" y="366"/>
                  </a:lnTo>
                  <a:lnTo>
                    <a:pt x="937" y="366"/>
                  </a:lnTo>
                  <a:lnTo>
                    <a:pt x="937" y="368"/>
                  </a:lnTo>
                  <a:lnTo>
                    <a:pt x="935" y="368"/>
                  </a:lnTo>
                  <a:lnTo>
                    <a:pt x="935" y="368"/>
                  </a:lnTo>
                  <a:lnTo>
                    <a:pt x="930" y="370"/>
                  </a:lnTo>
                  <a:lnTo>
                    <a:pt x="930" y="370"/>
                  </a:lnTo>
                  <a:lnTo>
                    <a:pt x="935" y="368"/>
                  </a:lnTo>
                  <a:lnTo>
                    <a:pt x="935" y="368"/>
                  </a:lnTo>
                  <a:lnTo>
                    <a:pt x="935" y="368"/>
                  </a:lnTo>
                  <a:lnTo>
                    <a:pt x="935" y="366"/>
                  </a:lnTo>
                  <a:lnTo>
                    <a:pt x="935" y="366"/>
                  </a:lnTo>
                  <a:lnTo>
                    <a:pt x="932" y="366"/>
                  </a:lnTo>
                  <a:lnTo>
                    <a:pt x="930" y="366"/>
                  </a:lnTo>
                  <a:lnTo>
                    <a:pt x="928" y="370"/>
                  </a:lnTo>
                  <a:lnTo>
                    <a:pt x="926" y="372"/>
                  </a:lnTo>
                  <a:lnTo>
                    <a:pt x="924" y="372"/>
                  </a:lnTo>
                  <a:lnTo>
                    <a:pt x="924" y="372"/>
                  </a:lnTo>
                  <a:lnTo>
                    <a:pt x="920" y="374"/>
                  </a:lnTo>
                  <a:lnTo>
                    <a:pt x="916" y="374"/>
                  </a:lnTo>
                  <a:lnTo>
                    <a:pt x="916" y="374"/>
                  </a:lnTo>
                  <a:lnTo>
                    <a:pt x="918" y="374"/>
                  </a:lnTo>
                  <a:lnTo>
                    <a:pt x="918" y="374"/>
                  </a:lnTo>
                  <a:lnTo>
                    <a:pt x="922" y="372"/>
                  </a:lnTo>
                  <a:lnTo>
                    <a:pt x="924" y="372"/>
                  </a:lnTo>
                  <a:lnTo>
                    <a:pt x="926" y="370"/>
                  </a:lnTo>
                  <a:lnTo>
                    <a:pt x="928" y="370"/>
                  </a:lnTo>
                  <a:lnTo>
                    <a:pt x="930" y="366"/>
                  </a:lnTo>
                  <a:lnTo>
                    <a:pt x="930" y="366"/>
                  </a:lnTo>
                  <a:lnTo>
                    <a:pt x="932" y="364"/>
                  </a:lnTo>
                  <a:lnTo>
                    <a:pt x="932" y="364"/>
                  </a:lnTo>
                  <a:lnTo>
                    <a:pt x="930" y="364"/>
                  </a:lnTo>
                  <a:lnTo>
                    <a:pt x="932" y="360"/>
                  </a:lnTo>
                  <a:lnTo>
                    <a:pt x="932" y="360"/>
                  </a:lnTo>
                  <a:lnTo>
                    <a:pt x="930" y="360"/>
                  </a:lnTo>
                  <a:lnTo>
                    <a:pt x="930" y="358"/>
                  </a:lnTo>
                  <a:lnTo>
                    <a:pt x="930" y="358"/>
                  </a:lnTo>
                  <a:lnTo>
                    <a:pt x="928" y="358"/>
                  </a:lnTo>
                  <a:lnTo>
                    <a:pt x="926" y="358"/>
                  </a:lnTo>
                  <a:lnTo>
                    <a:pt x="924" y="358"/>
                  </a:lnTo>
                  <a:lnTo>
                    <a:pt x="922" y="358"/>
                  </a:lnTo>
                  <a:lnTo>
                    <a:pt x="922" y="358"/>
                  </a:lnTo>
                  <a:lnTo>
                    <a:pt x="920" y="360"/>
                  </a:lnTo>
                  <a:lnTo>
                    <a:pt x="916" y="362"/>
                  </a:lnTo>
                  <a:lnTo>
                    <a:pt x="912" y="362"/>
                  </a:lnTo>
                  <a:lnTo>
                    <a:pt x="912" y="362"/>
                  </a:lnTo>
                  <a:lnTo>
                    <a:pt x="910" y="360"/>
                  </a:lnTo>
                  <a:lnTo>
                    <a:pt x="908" y="360"/>
                  </a:lnTo>
                  <a:lnTo>
                    <a:pt x="910" y="360"/>
                  </a:lnTo>
                  <a:lnTo>
                    <a:pt x="912" y="360"/>
                  </a:lnTo>
                  <a:lnTo>
                    <a:pt x="914" y="358"/>
                  </a:lnTo>
                  <a:lnTo>
                    <a:pt x="914" y="358"/>
                  </a:lnTo>
                  <a:lnTo>
                    <a:pt x="914" y="358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6" y="358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60"/>
                  </a:lnTo>
                  <a:lnTo>
                    <a:pt x="916" y="360"/>
                  </a:lnTo>
                  <a:lnTo>
                    <a:pt x="918" y="358"/>
                  </a:lnTo>
                  <a:lnTo>
                    <a:pt x="918" y="358"/>
                  </a:lnTo>
                  <a:lnTo>
                    <a:pt x="920" y="356"/>
                  </a:lnTo>
                  <a:lnTo>
                    <a:pt x="920" y="356"/>
                  </a:lnTo>
                  <a:lnTo>
                    <a:pt x="922" y="356"/>
                  </a:lnTo>
                  <a:lnTo>
                    <a:pt x="922" y="356"/>
                  </a:lnTo>
                  <a:lnTo>
                    <a:pt x="922" y="354"/>
                  </a:lnTo>
                  <a:lnTo>
                    <a:pt x="922" y="354"/>
                  </a:lnTo>
                  <a:lnTo>
                    <a:pt x="924" y="352"/>
                  </a:lnTo>
                  <a:lnTo>
                    <a:pt x="924" y="352"/>
                  </a:lnTo>
                  <a:lnTo>
                    <a:pt x="924" y="352"/>
                  </a:lnTo>
                  <a:lnTo>
                    <a:pt x="920" y="350"/>
                  </a:lnTo>
                  <a:lnTo>
                    <a:pt x="920" y="350"/>
                  </a:lnTo>
                  <a:lnTo>
                    <a:pt x="922" y="348"/>
                  </a:lnTo>
                  <a:lnTo>
                    <a:pt x="922" y="348"/>
                  </a:lnTo>
                  <a:lnTo>
                    <a:pt x="924" y="346"/>
                  </a:lnTo>
                  <a:lnTo>
                    <a:pt x="926" y="346"/>
                  </a:lnTo>
                  <a:lnTo>
                    <a:pt x="926" y="343"/>
                  </a:lnTo>
                  <a:lnTo>
                    <a:pt x="926" y="343"/>
                  </a:lnTo>
                  <a:lnTo>
                    <a:pt x="926" y="341"/>
                  </a:lnTo>
                  <a:lnTo>
                    <a:pt x="926" y="341"/>
                  </a:lnTo>
                  <a:lnTo>
                    <a:pt x="924" y="341"/>
                  </a:lnTo>
                  <a:lnTo>
                    <a:pt x="918" y="339"/>
                  </a:lnTo>
                  <a:lnTo>
                    <a:pt x="916" y="339"/>
                  </a:lnTo>
                  <a:lnTo>
                    <a:pt x="914" y="339"/>
                  </a:lnTo>
                  <a:lnTo>
                    <a:pt x="914" y="339"/>
                  </a:lnTo>
                  <a:lnTo>
                    <a:pt x="916" y="339"/>
                  </a:lnTo>
                  <a:lnTo>
                    <a:pt x="924" y="339"/>
                  </a:lnTo>
                  <a:lnTo>
                    <a:pt x="926" y="339"/>
                  </a:lnTo>
                  <a:lnTo>
                    <a:pt x="928" y="337"/>
                  </a:lnTo>
                  <a:lnTo>
                    <a:pt x="928" y="337"/>
                  </a:lnTo>
                  <a:lnTo>
                    <a:pt x="928" y="337"/>
                  </a:lnTo>
                  <a:lnTo>
                    <a:pt x="930" y="335"/>
                  </a:lnTo>
                  <a:lnTo>
                    <a:pt x="930" y="335"/>
                  </a:lnTo>
                  <a:lnTo>
                    <a:pt x="930" y="335"/>
                  </a:lnTo>
                  <a:lnTo>
                    <a:pt x="930" y="333"/>
                  </a:lnTo>
                  <a:lnTo>
                    <a:pt x="930" y="333"/>
                  </a:lnTo>
                  <a:lnTo>
                    <a:pt x="930" y="333"/>
                  </a:lnTo>
                  <a:lnTo>
                    <a:pt x="930" y="331"/>
                  </a:lnTo>
                  <a:lnTo>
                    <a:pt x="932" y="329"/>
                  </a:lnTo>
                  <a:lnTo>
                    <a:pt x="935" y="327"/>
                  </a:lnTo>
                  <a:lnTo>
                    <a:pt x="937" y="327"/>
                  </a:lnTo>
                  <a:lnTo>
                    <a:pt x="937" y="327"/>
                  </a:lnTo>
                  <a:lnTo>
                    <a:pt x="939" y="325"/>
                  </a:lnTo>
                  <a:lnTo>
                    <a:pt x="939" y="325"/>
                  </a:lnTo>
                  <a:lnTo>
                    <a:pt x="939" y="325"/>
                  </a:lnTo>
                  <a:lnTo>
                    <a:pt x="941" y="325"/>
                  </a:lnTo>
                  <a:lnTo>
                    <a:pt x="941" y="323"/>
                  </a:lnTo>
                  <a:lnTo>
                    <a:pt x="941" y="323"/>
                  </a:lnTo>
                  <a:lnTo>
                    <a:pt x="939" y="321"/>
                  </a:lnTo>
                  <a:lnTo>
                    <a:pt x="939" y="323"/>
                  </a:lnTo>
                  <a:lnTo>
                    <a:pt x="939" y="323"/>
                  </a:lnTo>
                  <a:lnTo>
                    <a:pt x="937" y="323"/>
                  </a:lnTo>
                  <a:lnTo>
                    <a:pt x="937" y="325"/>
                  </a:lnTo>
                  <a:lnTo>
                    <a:pt x="935" y="325"/>
                  </a:lnTo>
                  <a:lnTo>
                    <a:pt x="932" y="325"/>
                  </a:lnTo>
                  <a:lnTo>
                    <a:pt x="932" y="325"/>
                  </a:lnTo>
                  <a:lnTo>
                    <a:pt x="930" y="325"/>
                  </a:lnTo>
                  <a:lnTo>
                    <a:pt x="930" y="325"/>
                  </a:lnTo>
                  <a:lnTo>
                    <a:pt x="930" y="323"/>
                  </a:lnTo>
                  <a:lnTo>
                    <a:pt x="930" y="323"/>
                  </a:lnTo>
                  <a:lnTo>
                    <a:pt x="930" y="323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26" y="323"/>
                  </a:lnTo>
                  <a:lnTo>
                    <a:pt x="924" y="323"/>
                  </a:lnTo>
                  <a:lnTo>
                    <a:pt x="920" y="321"/>
                  </a:lnTo>
                  <a:lnTo>
                    <a:pt x="920" y="321"/>
                  </a:lnTo>
                  <a:lnTo>
                    <a:pt x="918" y="321"/>
                  </a:lnTo>
                  <a:lnTo>
                    <a:pt x="916" y="321"/>
                  </a:lnTo>
                  <a:lnTo>
                    <a:pt x="916" y="319"/>
                  </a:lnTo>
                  <a:lnTo>
                    <a:pt x="914" y="317"/>
                  </a:lnTo>
                  <a:lnTo>
                    <a:pt x="914" y="317"/>
                  </a:lnTo>
                  <a:lnTo>
                    <a:pt x="916" y="317"/>
                  </a:lnTo>
                  <a:lnTo>
                    <a:pt x="916" y="317"/>
                  </a:lnTo>
                  <a:lnTo>
                    <a:pt x="914" y="317"/>
                  </a:lnTo>
                  <a:lnTo>
                    <a:pt x="914" y="315"/>
                  </a:lnTo>
                  <a:lnTo>
                    <a:pt x="914" y="315"/>
                  </a:lnTo>
                  <a:lnTo>
                    <a:pt x="916" y="315"/>
                  </a:lnTo>
                  <a:lnTo>
                    <a:pt x="918" y="313"/>
                  </a:lnTo>
                  <a:lnTo>
                    <a:pt x="918" y="313"/>
                  </a:lnTo>
                  <a:lnTo>
                    <a:pt x="918" y="313"/>
                  </a:lnTo>
                  <a:lnTo>
                    <a:pt x="918" y="313"/>
                  </a:lnTo>
                  <a:lnTo>
                    <a:pt x="916" y="311"/>
                  </a:lnTo>
                  <a:lnTo>
                    <a:pt x="916" y="311"/>
                  </a:lnTo>
                  <a:lnTo>
                    <a:pt x="914" y="313"/>
                  </a:lnTo>
                  <a:lnTo>
                    <a:pt x="914" y="313"/>
                  </a:lnTo>
                  <a:lnTo>
                    <a:pt x="910" y="313"/>
                  </a:lnTo>
                  <a:lnTo>
                    <a:pt x="910" y="313"/>
                  </a:lnTo>
                  <a:lnTo>
                    <a:pt x="914" y="313"/>
                  </a:lnTo>
                  <a:lnTo>
                    <a:pt x="914" y="313"/>
                  </a:lnTo>
                  <a:lnTo>
                    <a:pt x="914" y="311"/>
                  </a:lnTo>
                  <a:lnTo>
                    <a:pt x="914" y="311"/>
                  </a:lnTo>
                  <a:lnTo>
                    <a:pt x="914" y="311"/>
                  </a:lnTo>
                  <a:lnTo>
                    <a:pt x="914" y="309"/>
                  </a:lnTo>
                  <a:lnTo>
                    <a:pt x="914" y="309"/>
                  </a:lnTo>
                  <a:lnTo>
                    <a:pt x="912" y="309"/>
                  </a:lnTo>
                  <a:lnTo>
                    <a:pt x="910" y="306"/>
                  </a:lnTo>
                  <a:lnTo>
                    <a:pt x="910" y="309"/>
                  </a:lnTo>
                  <a:lnTo>
                    <a:pt x="908" y="309"/>
                  </a:lnTo>
                  <a:lnTo>
                    <a:pt x="908" y="309"/>
                  </a:lnTo>
                  <a:lnTo>
                    <a:pt x="906" y="309"/>
                  </a:lnTo>
                  <a:lnTo>
                    <a:pt x="908" y="306"/>
                  </a:lnTo>
                  <a:lnTo>
                    <a:pt x="910" y="306"/>
                  </a:lnTo>
                  <a:lnTo>
                    <a:pt x="910" y="304"/>
                  </a:lnTo>
                  <a:lnTo>
                    <a:pt x="910" y="304"/>
                  </a:lnTo>
                  <a:lnTo>
                    <a:pt x="910" y="304"/>
                  </a:lnTo>
                  <a:lnTo>
                    <a:pt x="910" y="304"/>
                  </a:lnTo>
                  <a:lnTo>
                    <a:pt x="910" y="304"/>
                  </a:lnTo>
                  <a:lnTo>
                    <a:pt x="908" y="304"/>
                  </a:lnTo>
                  <a:lnTo>
                    <a:pt x="908" y="302"/>
                  </a:lnTo>
                  <a:lnTo>
                    <a:pt x="906" y="302"/>
                  </a:lnTo>
                  <a:lnTo>
                    <a:pt x="906" y="302"/>
                  </a:lnTo>
                  <a:lnTo>
                    <a:pt x="904" y="300"/>
                  </a:lnTo>
                  <a:lnTo>
                    <a:pt x="904" y="300"/>
                  </a:lnTo>
                  <a:lnTo>
                    <a:pt x="902" y="298"/>
                  </a:lnTo>
                  <a:lnTo>
                    <a:pt x="902" y="298"/>
                  </a:lnTo>
                  <a:lnTo>
                    <a:pt x="900" y="298"/>
                  </a:lnTo>
                  <a:lnTo>
                    <a:pt x="898" y="298"/>
                  </a:lnTo>
                  <a:lnTo>
                    <a:pt x="896" y="300"/>
                  </a:lnTo>
                  <a:lnTo>
                    <a:pt x="893" y="300"/>
                  </a:lnTo>
                  <a:lnTo>
                    <a:pt x="889" y="302"/>
                  </a:lnTo>
                  <a:lnTo>
                    <a:pt x="887" y="302"/>
                  </a:lnTo>
                  <a:lnTo>
                    <a:pt x="885" y="302"/>
                  </a:lnTo>
                  <a:lnTo>
                    <a:pt x="885" y="304"/>
                  </a:lnTo>
                  <a:lnTo>
                    <a:pt x="885" y="304"/>
                  </a:lnTo>
                  <a:lnTo>
                    <a:pt x="883" y="302"/>
                  </a:lnTo>
                  <a:lnTo>
                    <a:pt x="883" y="302"/>
                  </a:lnTo>
                  <a:lnTo>
                    <a:pt x="881" y="302"/>
                  </a:lnTo>
                  <a:lnTo>
                    <a:pt x="879" y="300"/>
                  </a:lnTo>
                  <a:lnTo>
                    <a:pt x="877" y="300"/>
                  </a:lnTo>
                  <a:lnTo>
                    <a:pt x="877" y="302"/>
                  </a:lnTo>
                  <a:lnTo>
                    <a:pt x="871" y="302"/>
                  </a:lnTo>
                  <a:lnTo>
                    <a:pt x="871" y="302"/>
                  </a:lnTo>
                  <a:lnTo>
                    <a:pt x="873" y="302"/>
                  </a:lnTo>
                  <a:lnTo>
                    <a:pt x="873" y="300"/>
                  </a:lnTo>
                  <a:lnTo>
                    <a:pt x="865" y="298"/>
                  </a:lnTo>
                  <a:lnTo>
                    <a:pt x="863" y="298"/>
                  </a:lnTo>
                  <a:lnTo>
                    <a:pt x="859" y="296"/>
                  </a:lnTo>
                  <a:lnTo>
                    <a:pt x="857" y="296"/>
                  </a:lnTo>
                  <a:lnTo>
                    <a:pt x="852" y="298"/>
                  </a:lnTo>
                  <a:lnTo>
                    <a:pt x="848" y="298"/>
                  </a:lnTo>
                  <a:lnTo>
                    <a:pt x="844" y="300"/>
                  </a:lnTo>
                  <a:lnTo>
                    <a:pt x="844" y="300"/>
                  </a:lnTo>
                  <a:lnTo>
                    <a:pt x="842" y="302"/>
                  </a:lnTo>
                  <a:lnTo>
                    <a:pt x="842" y="302"/>
                  </a:lnTo>
                  <a:lnTo>
                    <a:pt x="840" y="304"/>
                  </a:lnTo>
                  <a:lnTo>
                    <a:pt x="840" y="306"/>
                  </a:lnTo>
                  <a:lnTo>
                    <a:pt x="840" y="309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2" y="313"/>
                  </a:lnTo>
                  <a:lnTo>
                    <a:pt x="842" y="313"/>
                  </a:lnTo>
                  <a:lnTo>
                    <a:pt x="840" y="315"/>
                  </a:lnTo>
                  <a:lnTo>
                    <a:pt x="838" y="315"/>
                  </a:lnTo>
                  <a:lnTo>
                    <a:pt x="838" y="317"/>
                  </a:lnTo>
                  <a:lnTo>
                    <a:pt x="836" y="319"/>
                  </a:lnTo>
                  <a:lnTo>
                    <a:pt x="836" y="319"/>
                  </a:lnTo>
                  <a:lnTo>
                    <a:pt x="836" y="321"/>
                  </a:lnTo>
                  <a:lnTo>
                    <a:pt x="834" y="321"/>
                  </a:lnTo>
                  <a:lnTo>
                    <a:pt x="832" y="323"/>
                  </a:lnTo>
                  <a:lnTo>
                    <a:pt x="828" y="325"/>
                  </a:lnTo>
                  <a:lnTo>
                    <a:pt x="826" y="325"/>
                  </a:lnTo>
                  <a:lnTo>
                    <a:pt x="828" y="325"/>
                  </a:lnTo>
                  <a:lnTo>
                    <a:pt x="828" y="325"/>
                  </a:lnTo>
                  <a:lnTo>
                    <a:pt x="830" y="327"/>
                  </a:lnTo>
                  <a:lnTo>
                    <a:pt x="834" y="325"/>
                  </a:lnTo>
                  <a:lnTo>
                    <a:pt x="834" y="327"/>
                  </a:lnTo>
                  <a:lnTo>
                    <a:pt x="832" y="327"/>
                  </a:lnTo>
                  <a:lnTo>
                    <a:pt x="830" y="327"/>
                  </a:lnTo>
                  <a:lnTo>
                    <a:pt x="830" y="329"/>
                  </a:lnTo>
                  <a:lnTo>
                    <a:pt x="830" y="329"/>
                  </a:lnTo>
                  <a:lnTo>
                    <a:pt x="830" y="329"/>
                  </a:lnTo>
                  <a:lnTo>
                    <a:pt x="830" y="329"/>
                  </a:lnTo>
                  <a:lnTo>
                    <a:pt x="832" y="331"/>
                  </a:lnTo>
                  <a:lnTo>
                    <a:pt x="832" y="331"/>
                  </a:lnTo>
                  <a:lnTo>
                    <a:pt x="830" y="331"/>
                  </a:lnTo>
                  <a:lnTo>
                    <a:pt x="828" y="333"/>
                  </a:lnTo>
                  <a:lnTo>
                    <a:pt x="828" y="333"/>
                  </a:lnTo>
                  <a:lnTo>
                    <a:pt x="828" y="337"/>
                  </a:lnTo>
                  <a:lnTo>
                    <a:pt x="828" y="337"/>
                  </a:lnTo>
                  <a:lnTo>
                    <a:pt x="826" y="337"/>
                  </a:lnTo>
                  <a:lnTo>
                    <a:pt x="826" y="337"/>
                  </a:lnTo>
                  <a:lnTo>
                    <a:pt x="826" y="339"/>
                  </a:lnTo>
                  <a:lnTo>
                    <a:pt x="830" y="339"/>
                  </a:lnTo>
                  <a:lnTo>
                    <a:pt x="830" y="339"/>
                  </a:lnTo>
                  <a:lnTo>
                    <a:pt x="828" y="341"/>
                  </a:lnTo>
                  <a:lnTo>
                    <a:pt x="826" y="341"/>
                  </a:lnTo>
                  <a:lnTo>
                    <a:pt x="826" y="341"/>
                  </a:lnTo>
                  <a:lnTo>
                    <a:pt x="826" y="343"/>
                  </a:lnTo>
                  <a:lnTo>
                    <a:pt x="824" y="343"/>
                  </a:lnTo>
                  <a:lnTo>
                    <a:pt x="824" y="346"/>
                  </a:lnTo>
                  <a:lnTo>
                    <a:pt x="824" y="346"/>
                  </a:lnTo>
                  <a:lnTo>
                    <a:pt x="824" y="348"/>
                  </a:lnTo>
                  <a:lnTo>
                    <a:pt x="824" y="348"/>
                  </a:lnTo>
                  <a:lnTo>
                    <a:pt x="822" y="346"/>
                  </a:lnTo>
                  <a:lnTo>
                    <a:pt x="820" y="346"/>
                  </a:lnTo>
                  <a:lnTo>
                    <a:pt x="820" y="346"/>
                  </a:lnTo>
                  <a:lnTo>
                    <a:pt x="817" y="348"/>
                  </a:lnTo>
                  <a:lnTo>
                    <a:pt x="817" y="348"/>
                  </a:lnTo>
                  <a:lnTo>
                    <a:pt x="815" y="348"/>
                  </a:lnTo>
                  <a:lnTo>
                    <a:pt x="815" y="350"/>
                  </a:lnTo>
                  <a:lnTo>
                    <a:pt x="815" y="350"/>
                  </a:lnTo>
                  <a:lnTo>
                    <a:pt x="815" y="350"/>
                  </a:lnTo>
                  <a:lnTo>
                    <a:pt x="813" y="352"/>
                  </a:lnTo>
                  <a:lnTo>
                    <a:pt x="811" y="352"/>
                  </a:lnTo>
                  <a:lnTo>
                    <a:pt x="809" y="354"/>
                  </a:lnTo>
                  <a:lnTo>
                    <a:pt x="809" y="354"/>
                  </a:lnTo>
                  <a:lnTo>
                    <a:pt x="805" y="356"/>
                  </a:lnTo>
                  <a:lnTo>
                    <a:pt x="801" y="358"/>
                  </a:lnTo>
                  <a:lnTo>
                    <a:pt x="801" y="358"/>
                  </a:lnTo>
                  <a:lnTo>
                    <a:pt x="801" y="360"/>
                  </a:lnTo>
                  <a:lnTo>
                    <a:pt x="799" y="360"/>
                  </a:lnTo>
                  <a:lnTo>
                    <a:pt x="799" y="362"/>
                  </a:lnTo>
                  <a:lnTo>
                    <a:pt x="799" y="362"/>
                  </a:lnTo>
                  <a:lnTo>
                    <a:pt x="799" y="364"/>
                  </a:lnTo>
                  <a:lnTo>
                    <a:pt x="799" y="364"/>
                  </a:lnTo>
                  <a:lnTo>
                    <a:pt x="803" y="366"/>
                  </a:lnTo>
                  <a:lnTo>
                    <a:pt x="803" y="368"/>
                  </a:lnTo>
                  <a:lnTo>
                    <a:pt x="805" y="368"/>
                  </a:lnTo>
                  <a:lnTo>
                    <a:pt x="807" y="370"/>
                  </a:lnTo>
                  <a:lnTo>
                    <a:pt x="807" y="370"/>
                  </a:lnTo>
                  <a:lnTo>
                    <a:pt x="809" y="372"/>
                  </a:lnTo>
                  <a:lnTo>
                    <a:pt x="809" y="378"/>
                  </a:lnTo>
                  <a:lnTo>
                    <a:pt x="809" y="378"/>
                  </a:lnTo>
                  <a:lnTo>
                    <a:pt x="809" y="380"/>
                  </a:lnTo>
                  <a:lnTo>
                    <a:pt x="809" y="385"/>
                  </a:lnTo>
                  <a:lnTo>
                    <a:pt x="809" y="387"/>
                  </a:lnTo>
                  <a:lnTo>
                    <a:pt x="809" y="387"/>
                  </a:lnTo>
                  <a:lnTo>
                    <a:pt x="805" y="393"/>
                  </a:lnTo>
                  <a:lnTo>
                    <a:pt x="805" y="395"/>
                  </a:lnTo>
                  <a:lnTo>
                    <a:pt x="801" y="399"/>
                  </a:lnTo>
                  <a:lnTo>
                    <a:pt x="801" y="401"/>
                  </a:lnTo>
                  <a:lnTo>
                    <a:pt x="797" y="405"/>
                  </a:lnTo>
                  <a:lnTo>
                    <a:pt x="797" y="405"/>
                  </a:lnTo>
                  <a:lnTo>
                    <a:pt x="793" y="407"/>
                  </a:lnTo>
                  <a:lnTo>
                    <a:pt x="791" y="409"/>
                  </a:lnTo>
                  <a:lnTo>
                    <a:pt x="787" y="411"/>
                  </a:lnTo>
                  <a:lnTo>
                    <a:pt x="785" y="413"/>
                  </a:lnTo>
                  <a:lnTo>
                    <a:pt x="783" y="415"/>
                  </a:lnTo>
                  <a:lnTo>
                    <a:pt x="774" y="420"/>
                  </a:lnTo>
                  <a:lnTo>
                    <a:pt x="772" y="420"/>
                  </a:lnTo>
                  <a:lnTo>
                    <a:pt x="770" y="422"/>
                  </a:lnTo>
                  <a:lnTo>
                    <a:pt x="766" y="422"/>
                  </a:lnTo>
                  <a:lnTo>
                    <a:pt x="764" y="424"/>
                  </a:lnTo>
                  <a:lnTo>
                    <a:pt x="760" y="426"/>
                  </a:lnTo>
                  <a:lnTo>
                    <a:pt x="754" y="426"/>
                  </a:lnTo>
                  <a:lnTo>
                    <a:pt x="754" y="428"/>
                  </a:lnTo>
                  <a:lnTo>
                    <a:pt x="742" y="430"/>
                  </a:lnTo>
                  <a:lnTo>
                    <a:pt x="742" y="430"/>
                  </a:lnTo>
                  <a:lnTo>
                    <a:pt x="739" y="432"/>
                  </a:lnTo>
                  <a:lnTo>
                    <a:pt x="742" y="432"/>
                  </a:lnTo>
                  <a:lnTo>
                    <a:pt x="742" y="432"/>
                  </a:lnTo>
                  <a:lnTo>
                    <a:pt x="742" y="432"/>
                  </a:lnTo>
                  <a:lnTo>
                    <a:pt x="742" y="434"/>
                  </a:lnTo>
                  <a:lnTo>
                    <a:pt x="742" y="436"/>
                  </a:lnTo>
                  <a:lnTo>
                    <a:pt x="742" y="436"/>
                  </a:lnTo>
                  <a:lnTo>
                    <a:pt x="742" y="438"/>
                  </a:lnTo>
                  <a:lnTo>
                    <a:pt x="742" y="438"/>
                  </a:lnTo>
                  <a:lnTo>
                    <a:pt x="742" y="440"/>
                  </a:lnTo>
                  <a:lnTo>
                    <a:pt x="744" y="440"/>
                  </a:lnTo>
                  <a:lnTo>
                    <a:pt x="744" y="440"/>
                  </a:lnTo>
                  <a:lnTo>
                    <a:pt x="742" y="440"/>
                  </a:lnTo>
                  <a:lnTo>
                    <a:pt x="742" y="440"/>
                  </a:lnTo>
                  <a:lnTo>
                    <a:pt x="744" y="442"/>
                  </a:lnTo>
                  <a:lnTo>
                    <a:pt x="744" y="442"/>
                  </a:lnTo>
                  <a:lnTo>
                    <a:pt x="744" y="442"/>
                  </a:lnTo>
                  <a:lnTo>
                    <a:pt x="742" y="444"/>
                  </a:lnTo>
                  <a:lnTo>
                    <a:pt x="742" y="444"/>
                  </a:lnTo>
                  <a:lnTo>
                    <a:pt x="742" y="444"/>
                  </a:lnTo>
                  <a:lnTo>
                    <a:pt x="744" y="444"/>
                  </a:lnTo>
                  <a:lnTo>
                    <a:pt x="742" y="446"/>
                  </a:lnTo>
                  <a:lnTo>
                    <a:pt x="742" y="444"/>
                  </a:lnTo>
                  <a:lnTo>
                    <a:pt x="742" y="446"/>
                  </a:lnTo>
                  <a:lnTo>
                    <a:pt x="739" y="446"/>
                  </a:lnTo>
                  <a:lnTo>
                    <a:pt x="739" y="446"/>
                  </a:lnTo>
                  <a:lnTo>
                    <a:pt x="739" y="448"/>
                  </a:lnTo>
                  <a:lnTo>
                    <a:pt x="739" y="450"/>
                  </a:lnTo>
                  <a:lnTo>
                    <a:pt x="737" y="452"/>
                  </a:lnTo>
                  <a:lnTo>
                    <a:pt x="735" y="457"/>
                  </a:lnTo>
                  <a:lnTo>
                    <a:pt x="735" y="459"/>
                  </a:lnTo>
                  <a:lnTo>
                    <a:pt x="735" y="461"/>
                  </a:lnTo>
                  <a:lnTo>
                    <a:pt x="735" y="461"/>
                  </a:lnTo>
                  <a:lnTo>
                    <a:pt x="735" y="463"/>
                  </a:lnTo>
                  <a:lnTo>
                    <a:pt x="735" y="463"/>
                  </a:lnTo>
                  <a:lnTo>
                    <a:pt x="735" y="465"/>
                  </a:lnTo>
                  <a:lnTo>
                    <a:pt x="733" y="467"/>
                  </a:lnTo>
                  <a:lnTo>
                    <a:pt x="733" y="467"/>
                  </a:lnTo>
                  <a:lnTo>
                    <a:pt x="735" y="469"/>
                  </a:lnTo>
                  <a:lnTo>
                    <a:pt x="735" y="469"/>
                  </a:lnTo>
                  <a:lnTo>
                    <a:pt x="733" y="471"/>
                  </a:lnTo>
                  <a:lnTo>
                    <a:pt x="733" y="471"/>
                  </a:lnTo>
                  <a:lnTo>
                    <a:pt x="733" y="473"/>
                  </a:lnTo>
                  <a:lnTo>
                    <a:pt x="733" y="473"/>
                  </a:lnTo>
                  <a:lnTo>
                    <a:pt x="733" y="473"/>
                  </a:lnTo>
                  <a:lnTo>
                    <a:pt x="733" y="473"/>
                  </a:lnTo>
                  <a:lnTo>
                    <a:pt x="731" y="475"/>
                  </a:lnTo>
                  <a:lnTo>
                    <a:pt x="729" y="477"/>
                  </a:lnTo>
                  <a:lnTo>
                    <a:pt x="725" y="477"/>
                  </a:lnTo>
                  <a:lnTo>
                    <a:pt x="725" y="479"/>
                  </a:lnTo>
                  <a:lnTo>
                    <a:pt x="723" y="479"/>
                  </a:lnTo>
                  <a:lnTo>
                    <a:pt x="723" y="481"/>
                  </a:lnTo>
                  <a:lnTo>
                    <a:pt x="723" y="481"/>
                  </a:lnTo>
                  <a:lnTo>
                    <a:pt x="721" y="481"/>
                  </a:lnTo>
                  <a:lnTo>
                    <a:pt x="723" y="485"/>
                  </a:lnTo>
                  <a:lnTo>
                    <a:pt x="723" y="485"/>
                  </a:lnTo>
                  <a:lnTo>
                    <a:pt x="723" y="485"/>
                  </a:lnTo>
                  <a:lnTo>
                    <a:pt x="721" y="487"/>
                  </a:lnTo>
                  <a:lnTo>
                    <a:pt x="721" y="487"/>
                  </a:lnTo>
                  <a:lnTo>
                    <a:pt x="719" y="489"/>
                  </a:lnTo>
                  <a:lnTo>
                    <a:pt x="717" y="492"/>
                  </a:lnTo>
                  <a:lnTo>
                    <a:pt x="719" y="489"/>
                  </a:lnTo>
                  <a:lnTo>
                    <a:pt x="719" y="487"/>
                  </a:lnTo>
                  <a:lnTo>
                    <a:pt x="719" y="487"/>
                  </a:lnTo>
                  <a:lnTo>
                    <a:pt x="719" y="487"/>
                  </a:lnTo>
                  <a:lnTo>
                    <a:pt x="719" y="485"/>
                  </a:lnTo>
                  <a:lnTo>
                    <a:pt x="717" y="485"/>
                  </a:lnTo>
                  <a:lnTo>
                    <a:pt x="717" y="485"/>
                  </a:lnTo>
                  <a:lnTo>
                    <a:pt x="717" y="485"/>
                  </a:lnTo>
                  <a:lnTo>
                    <a:pt x="717" y="483"/>
                  </a:lnTo>
                  <a:lnTo>
                    <a:pt x="715" y="483"/>
                  </a:lnTo>
                  <a:lnTo>
                    <a:pt x="713" y="485"/>
                  </a:lnTo>
                  <a:lnTo>
                    <a:pt x="713" y="485"/>
                  </a:lnTo>
                  <a:lnTo>
                    <a:pt x="711" y="485"/>
                  </a:lnTo>
                  <a:lnTo>
                    <a:pt x="711" y="487"/>
                  </a:lnTo>
                  <a:lnTo>
                    <a:pt x="709" y="487"/>
                  </a:lnTo>
                  <a:lnTo>
                    <a:pt x="709" y="489"/>
                  </a:lnTo>
                  <a:lnTo>
                    <a:pt x="707" y="492"/>
                  </a:lnTo>
                  <a:lnTo>
                    <a:pt x="707" y="492"/>
                  </a:lnTo>
                  <a:lnTo>
                    <a:pt x="707" y="492"/>
                  </a:lnTo>
                  <a:lnTo>
                    <a:pt x="707" y="494"/>
                  </a:lnTo>
                  <a:lnTo>
                    <a:pt x="707" y="494"/>
                  </a:lnTo>
                  <a:lnTo>
                    <a:pt x="707" y="496"/>
                  </a:lnTo>
                  <a:lnTo>
                    <a:pt x="709" y="498"/>
                  </a:lnTo>
                  <a:lnTo>
                    <a:pt x="707" y="500"/>
                  </a:lnTo>
                  <a:lnTo>
                    <a:pt x="707" y="498"/>
                  </a:lnTo>
                  <a:lnTo>
                    <a:pt x="707" y="496"/>
                  </a:lnTo>
                  <a:lnTo>
                    <a:pt x="705" y="492"/>
                  </a:lnTo>
                  <a:lnTo>
                    <a:pt x="703" y="492"/>
                  </a:lnTo>
                  <a:lnTo>
                    <a:pt x="703" y="489"/>
                  </a:lnTo>
                  <a:lnTo>
                    <a:pt x="700" y="489"/>
                  </a:lnTo>
                  <a:lnTo>
                    <a:pt x="698" y="489"/>
                  </a:lnTo>
                  <a:lnTo>
                    <a:pt x="696" y="489"/>
                  </a:lnTo>
                  <a:lnTo>
                    <a:pt x="692" y="492"/>
                  </a:lnTo>
                  <a:lnTo>
                    <a:pt x="690" y="494"/>
                  </a:lnTo>
                  <a:lnTo>
                    <a:pt x="690" y="494"/>
                  </a:lnTo>
                  <a:lnTo>
                    <a:pt x="694" y="489"/>
                  </a:lnTo>
                  <a:lnTo>
                    <a:pt x="696" y="489"/>
                  </a:lnTo>
                  <a:lnTo>
                    <a:pt x="698" y="487"/>
                  </a:lnTo>
                  <a:lnTo>
                    <a:pt x="698" y="487"/>
                  </a:lnTo>
                  <a:lnTo>
                    <a:pt x="698" y="485"/>
                  </a:lnTo>
                  <a:lnTo>
                    <a:pt x="698" y="483"/>
                  </a:lnTo>
                  <a:lnTo>
                    <a:pt x="698" y="481"/>
                  </a:lnTo>
                  <a:lnTo>
                    <a:pt x="698" y="481"/>
                  </a:lnTo>
                  <a:lnTo>
                    <a:pt x="696" y="477"/>
                  </a:lnTo>
                  <a:lnTo>
                    <a:pt x="694" y="477"/>
                  </a:lnTo>
                  <a:lnTo>
                    <a:pt x="692" y="475"/>
                  </a:lnTo>
                  <a:lnTo>
                    <a:pt x="692" y="475"/>
                  </a:lnTo>
                  <a:lnTo>
                    <a:pt x="692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88" y="473"/>
                  </a:lnTo>
                  <a:lnTo>
                    <a:pt x="686" y="473"/>
                  </a:lnTo>
                  <a:lnTo>
                    <a:pt x="688" y="473"/>
                  </a:lnTo>
                  <a:lnTo>
                    <a:pt x="690" y="473"/>
                  </a:lnTo>
                  <a:lnTo>
                    <a:pt x="690" y="471"/>
                  </a:lnTo>
                  <a:lnTo>
                    <a:pt x="692" y="471"/>
                  </a:lnTo>
                  <a:lnTo>
                    <a:pt x="692" y="469"/>
                  </a:lnTo>
                  <a:lnTo>
                    <a:pt x="692" y="467"/>
                  </a:lnTo>
                  <a:lnTo>
                    <a:pt x="690" y="467"/>
                  </a:lnTo>
                  <a:lnTo>
                    <a:pt x="690" y="463"/>
                  </a:lnTo>
                  <a:lnTo>
                    <a:pt x="690" y="463"/>
                  </a:lnTo>
                  <a:lnTo>
                    <a:pt x="688" y="461"/>
                  </a:lnTo>
                  <a:lnTo>
                    <a:pt x="688" y="461"/>
                  </a:lnTo>
                  <a:lnTo>
                    <a:pt x="688" y="459"/>
                  </a:lnTo>
                  <a:lnTo>
                    <a:pt x="688" y="459"/>
                  </a:lnTo>
                  <a:lnTo>
                    <a:pt x="690" y="457"/>
                  </a:lnTo>
                  <a:lnTo>
                    <a:pt x="692" y="457"/>
                  </a:lnTo>
                  <a:lnTo>
                    <a:pt x="692" y="454"/>
                  </a:lnTo>
                  <a:lnTo>
                    <a:pt x="694" y="452"/>
                  </a:lnTo>
                  <a:lnTo>
                    <a:pt x="694" y="450"/>
                  </a:lnTo>
                  <a:lnTo>
                    <a:pt x="696" y="448"/>
                  </a:lnTo>
                  <a:lnTo>
                    <a:pt x="698" y="446"/>
                  </a:lnTo>
                  <a:lnTo>
                    <a:pt x="698" y="446"/>
                  </a:lnTo>
                  <a:lnTo>
                    <a:pt x="698" y="444"/>
                  </a:lnTo>
                  <a:lnTo>
                    <a:pt x="700" y="442"/>
                  </a:lnTo>
                  <a:lnTo>
                    <a:pt x="700" y="440"/>
                  </a:lnTo>
                  <a:lnTo>
                    <a:pt x="698" y="440"/>
                  </a:lnTo>
                  <a:lnTo>
                    <a:pt x="698" y="438"/>
                  </a:lnTo>
                  <a:lnTo>
                    <a:pt x="700" y="436"/>
                  </a:lnTo>
                  <a:lnTo>
                    <a:pt x="703" y="434"/>
                  </a:lnTo>
                  <a:lnTo>
                    <a:pt x="709" y="428"/>
                  </a:lnTo>
                  <a:lnTo>
                    <a:pt x="709" y="428"/>
                  </a:lnTo>
                  <a:lnTo>
                    <a:pt x="709" y="426"/>
                  </a:lnTo>
                  <a:lnTo>
                    <a:pt x="709" y="424"/>
                  </a:lnTo>
                  <a:lnTo>
                    <a:pt x="707" y="422"/>
                  </a:lnTo>
                  <a:lnTo>
                    <a:pt x="705" y="422"/>
                  </a:lnTo>
                  <a:lnTo>
                    <a:pt x="705" y="422"/>
                  </a:lnTo>
                  <a:lnTo>
                    <a:pt x="703" y="422"/>
                  </a:lnTo>
                  <a:lnTo>
                    <a:pt x="703" y="422"/>
                  </a:lnTo>
                  <a:lnTo>
                    <a:pt x="703" y="422"/>
                  </a:lnTo>
                  <a:lnTo>
                    <a:pt x="698" y="422"/>
                  </a:lnTo>
                  <a:lnTo>
                    <a:pt x="694" y="420"/>
                  </a:lnTo>
                  <a:lnTo>
                    <a:pt x="692" y="420"/>
                  </a:lnTo>
                  <a:lnTo>
                    <a:pt x="690" y="420"/>
                  </a:lnTo>
                  <a:lnTo>
                    <a:pt x="690" y="420"/>
                  </a:lnTo>
                  <a:lnTo>
                    <a:pt x="688" y="420"/>
                  </a:lnTo>
                  <a:lnTo>
                    <a:pt x="688" y="420"/>
                  </a:lnTo>
                  <a:lnTo>
                    <a:pt x="686" y="420"/>
                  </a:lnTo>
                  <a:lnTo>
                    <a:pt x="684" y="420"/>
                  </a:lnTo>
                  <a:lnTo>
                    <a:pt x="682" y="420"/>
                  </a:lnTo>
                  <a:lnTo>
                    <a:pt x="680" y="420"/>
                  </a:lnTo>
                  <a:lnTo>
                    <a:pt x="676" y="420"/>
                  </a:lnTo>
                  <a:lnTo>
                    <a:pt x="674" y="420"/>
                  </a:lnTo>
                  <a:lnTo>
                    <a:pt x="674" y="420"/>
                  </a:lnTo>
                  <a:lnTo>
                    <a:pt x="672" y="422"/>
                  </a:lnTo>
                  <a:lnTo>
                    <a:pt x="668" y="424"/>
                  </a:lnTo>
                  <a:lnTo>
                    <a:pt x="668" y="424"/>
                  </a:lnTo>
                  <a:lnTo>
                    <a:pt x="674" y="420"/>
                  </a:lnTo>
                  <a:lnTo>
                    <a:pt x="674" y="420"/>
                  </a:lnTo>
                  <a:lnTo>
                    <a:pt x="674" y="417"/>
                  </a:lnTo>
                  <a:lnTo>
                    <a:pt x="672" y="417"/>
                  </a:lnTo>
                  <a:lnTo>
                    <a:pt x="672" y="417"/>
                  </a:lnTo>
                  <a:lnTo>
                    <a:pt x="672" y="415"/>
                  </a:lnTo>
                  <a:lnTo>
                    <a:pt x="670" y="415"/>
                  </a:lnTo>
                  <a:lnTo>
                    <a:pt x="668" y="413"/>
                  </a:lnTo>
                  <a:lnTo>
                    <a:pt x="668" y="413"/>
                  </a:lnTo>
                  <a:lnTo>
                    <a:pt x="666" y="413"/>
                  </a:lnTo>
                  <a:lnTo>
                    <a:pt x="661" y="411"/>
                  </a:lnTo>
                  <a:lnTo>
                    <a:pt x="657" y="409"/>
                  </a:lnTo>
                  <a:lnTo>
                    <a:pt x="653" y="407"/>
                  </a:lnTo>
                  <a:lnTo>
                    <a:pt x="651" y="407"/>
                  </a:lnTo>
                  <a:lnTo>
                    <a:pt x="649" y="407"/>
                  </a:lnTo>
                  <a:lnTo>
                    <a:pt x="649" y="401"/>
                  </a:lnTo>
                  <a:lnTo>
                    <a:pt x="647" y="399"/>
                  </a:lnTo>
                  <a:lnTo>
                    <a:pt x="645" y="399"/>
                  </a:lnTo>
                  <a:lnTo>
                    <a:pt x="645" y="397"/>
                  </a:lnTo>
                  <a:lnTo>
                    <a:pt x="643" y="395"/>
                  </a:lnTo>
                  <a:lnTo>
                    <a:pt x="641" y="393"/>
                  </a:lnTo>
                  <a:lnTo>
                    <a:pt x="641" y="393"/>
                  </a:lnTo>
                  <a:lnTo>
                    <a:pt x="637" y="393"/>
                  </a:lnTo>
                  <a:lnTo>
                    <a:pt x="637" y="393"/>
                  </a:lnTo>
                  <a:lnTo>
                    <a:pt x="631" y="391"/>
                  </a:lnTo>
                  <a:lnTo>
                    <a:pt x="629" y="389"/>
                  </a:lnTo>
                  <a:lnTo>
                    <a:pt x="624" y="389"/>
                  </a:lnTo>
                  <a:lnTo>
                    <a:pt x="622" y="387"/>
                  </a:lnTo>
                  <a:lnTo>
                    <a:pt x="618" y="387"/>
                  </a:lnTo>
                  <a:lnTo>
                    <a:pt x="616" y="387"/>
                  </a:lnTo>
                  <a:lnTo>
                    <a:pt x="602" y="389"/>
                  </a:lnTo>
                  <a:lnTo>
                    <a:pt x="598" y="391"/>
                  </a:lnTo>
                  <a:lnTo>
                    <a:pt x="596" y="391"/>
                  </a:lnTo>
                  <a:lnTo>
                    <a:pt x="596" y="391"/>
                  </a:lnTo>
                  <a:lnTo>
                    <a:pt x="598" y="391"/>
                  </a:lnTo>
                  <a:lnTo>
                    <a:pt x="598" y="389"/>
                  </a:lnTo>
                  <a:lnTo>
                    <a:pt x="596" y="391"/>
                  </a:lnTo>
                  <a:lnTo>
                    <a:pt x="596" y="391"/>
                  </a:lnTo>
                  <a:lnTo>
                    <a:pt x="592" y="391"/>
                  </a:lnTo>
                  <a:lnTo>
                    <a:pt x="592" y="391"/>
                  </a:lnTo>
                  <a:lnTo>
                    <a:pt x="590" y="393"/>
                  </a:lnTo>
                  <a:lnTo>
                    <a:pt x="590" y="391"/>
                  </a:lnTo>
                  <a:lnTo>
                    <a:pt x="592" y="391"/>
                  </a:lnTo>
                  <a:lnTo>
                    <a:pt x="592" y="391"/>
                  </a:lnTo>
                  <a:lnTo>
                    <a:pt x="594" y="391"/>
                  </a:lnTo>
                  <a:lnTo>
                    <a:pt x="596" y="389"/>
                  </a:lnTo>
                  <a:lnTo>
                    <a:pt x="598" y="387"/>
                  </a:lnTo>
                  <a:lnTo>
                    <a:pt x="600" y="387"/>
                  </a:lnTo>
                  <a:lnTo>
                    <a:pt x="600" y="385"/>
                  </a:lnTo>
                  <a:lnTo>
                    <a:pt x="600" y="385"/>
                  </a:lnTo>
                  <a:lnTo>
                    <a:pt x="600" y="383"/>
                  </a:lnTo>
                  <a:lnTo>
                    <a:pt x="602" y="376"/>
                  </a:lnTo>
                  <a:lnTo>
                    <a:pt x="602" y="376"/>
                  </a:lnTo>
                  <a:lnTo>
                    <a:pt x="604" y="372"/>
                  </a:lnTo>
                  <a:lnTo>
                    <a:pt x="604" y="370"/>
                  </a:lnTo>
                  <a:lnTo>
                    <a:pt x="606" y="366"/>
                  </a:lnTo>
                  <a:lnTo>
                    <a:pt x="606" y="364"/>
                  </a:lnTo>
                  <a:lnTo>
                    <a:pt x="608" y="362"/>
                  </a:lnTo>
                  <a:lnTo>
                    <a:pt x="608" y="362"/>
                  </a:lnTo>
                  <a:lnTo>
                    <a:pt x="606" y="360"/>
                  </a:lnTo>
                  <a:lnTo>
                    <a:pt x="604" y="360"/>
                  </a:lnTo>
                  <a:lnTo>
                    <a:pt x="604" y="360"/>
                  </a:lnTo>
                  <a:lnTo>
                    <a:pt x="600" y="360"/>
                  </a:lnTo>
                  <a:lnTo>
                    <a:pt x="596" y="360"/>
                  </a:lnTo>
                  <a:lnTo>
                    <a:pt x="596" y="360"/>
                  </a:lnTo>
                  <a:lnTo>
                    <a:pt x="592" y="362"/>
                  </a:lnTo>
                  <a:lnTo>
                    <a:pt x="588" y="366"/>
                  </a:lnTo>
                  <a:lnTo>
                    <a:pt x="588" y="368"/>
                  </a:lnTo>
                  <a:lnTo>
                    <a:pt x="588" y="368"/>
                  </a:lnTo>
                  <a:lnTo>
                    <a:pt x="592" y="362"/>
                  </a:lnTo>
                  <a:lnTo>
                    <a:pt x="592" y="362"/>
                  </a:lnTo>
                  <a:lnTo>
                    <a:pt x="592" y="360"/>
                  </a:lnTo>
                  <a:lnTo>
                    <a:pt x="592" y="360"/>
                  </a:lnTo>
                  <a:lnTo>
                    <a:pt x="590" y="358"/>
                  </a:lnTo>
                  <a:lnTo>
                    <a:pt x="590" y="358"/>
                  </a:lnTo>
                  <a:lnTo>
                    <a:pt x="590" y="358"/>
                  </a:lnTo>
                  <a:lnTo>
                    <a:pt x="590" y="358"/>
                  </a:lnTo>
                  <a:lnTo>
                    <a:pt x="590" y="358"/>
                  </a:lnTo>
                  <a:lnTo>
                    <a:pt x="590" y="356"/>
                  </a:lnTo>
                  <a:lnTo>
                    <a:pt x="590" y="356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92" y="354"/>
                  </a:lnTo>
                  <a:lnTo>
                    <a:pt x="594" y="352"/>
                  </a:lnTo>
                  <a:lnTo>
                    <a:pt x="596" y="348"/>
                  </a:lnTo>
                  <a:lnTo>
                    <a:pt x="602" y="339"/>
                  </a:lnTo>
                  <a:lnTo>
                    <a:pt x="604" y="337"/>
                  </a:lnTo>
                  <a:lnTo>
                    <a:pt x="608" y="335"/>
                  </a:lnTo>
                  <a:lnTo>
                    <a:pt x="610" y="333"/>
                  </a:lnTo>
                  <a:lnTo>
                    <a:pt x="610" y="331"/>
                  </a:lnTo>
                  <a:lnTo>
                    <a:pt x="610" y="331"/>
                  </a:lnTo>
                  <a:lnTo>
                    <a:pt x="610" y="331"/>
                  </a:lnTo>
                  <a:lnTo>
                    <a:pt x="610" y="331"/>
                  </a:lnTo>
                  <a:lnTo>
                    <a:pt x="612" y="331"/>
                  </a:lnTo>
                  <a:lnTo>
                    <a:pt x="614" y="329"/>
                  </a:lnTo>
                  <a:lnTo>
                    <a:pt x="616" y="327"/>
                  </a:lnTo>
                  <a:lnTo>
                    <a:pt x="620" y="325"/>
                  </a:lnTo>
                  <a:lnTo>
                    <a:pt x="624" y="323"/>
                  </a:lnTo>
                  <a:lnTo>
                    <a:pt x="627" y="321"/>
                  </a:lnTo>
                  <a:lnTo>
                    <a:pt x="629" y="319"/>
                  </a:lnTo>
                  <a:lnTo>
                    <a:pt x="629" y="319"/>
                  </a:lnTo>
                  <a:lnTo>
                    <a:pt x="629" y="317"/>
                  </a:lnTo>
                  <a:lnTo>
                    <a:pt x="629" y="317"/>
                  </a:lnTo>
                  <a:lnTo>
                    <a:pt x="631" y="317"/>
                  </a:lnTo>
                  <a:lnTo>
                    <a:pt x="631" y="317"/>
                  </a:lnTo>
                  <a:lnTo>
                    <a:pt x="633" y="317"/>
                  </a:lnTo>
                  <a:lnTo>
                    <a:pt x="633" y="315"/>
                  </a:lnTo>
                  <a:lnTo>
                    <a:pt x="633" y="315"/>
                  </a:lnTo>
                  <a:lnTo>
                    <a:pt x="637" y="313"/>
                  </a:lnTo>
                  <a:lnTo>
                    <a:pt x="643" y="311"/>
                  </a:lnTo>
                  <a:lnTo>
                    <a:pt x="643" y="311"/>
                  </a:lnTo>
                  <a:lnTo>
                    <a:pt x="645" y="311"/>
                  </a:lnTo>
                  <a:lnTo>
                    <a:pt x="645" y="311"/>
                  </a:lnTo>
                  <a:lnTo>
                    <a:pt x="643" y="309"/>
                  </a:lnTo>
                  <a:lnTo>
                    <a:pt x="643" y="309"/>
                  </a:lnTo>
                  <a:lnTo>
                    <a:pt x="643" y="309"/>
                  </a:lnTo>
                  <a:lnTo>
                    <a:pt x="643" y="306"/>
                  </a:lnTo>
                  <a:lnTo>
                    <a:pt x="645" y="306"/>
                  </a:lnTo>
                  <a:lnTo>
                    <a:pt x="647" y="306"/>
                  </a:lnTo>
                  <a:lnTo>
                    <a:pt x="647" y="306"/>
                  </a:lnTo>
                  <a:lnTo>
                    <a:pt x="647" y="306"/>
                  </a:lnTo>
                  <a:lnTo>
                    <a:pt x="647" y="306"/>
                  </a:lnTo>
                  <a:lnTo>
                    <a:pt x="647" y="306"/>
                  </a:lnTo>
                  <a:lnTo>
                    <a:pt x="649" y="306"/>
                  </a:lnTo>
                  <a:lnTo>
                    <a:pt x="651" y="304"/>
                  </a:lnTo>
                  <a:lnTo>
                    <a:pt x="653" y="304"/>
                  </a:lnTo>
                  <a:lnTo>
                    <a:pt x="653" y="304"/>
                  </a:lnTo>
                  <a:lnTo>
                    <a:pt x="651" y="304"/>
                  </a:lnTo>
                  <a:lnTo>
                    <a:pt x="653" y="304"/>
                  </a:lnTo>
                  <a:lnTo>
                    <a:pt x="655" y="302"/>
                  </a:lnTo>
                  <a:lnTo>
                    <a:pt x="655" y="302"/>
                  </a:lnTo>
                  <a:lnTo>
                    <a:pt x="655" y="302"/>
                  </a:lnTo>
                  <a:lnTo>
                    <a:pt x="653" y="300"/>
                  </a:lnTo>
                  <a:lnTo>
                    <a:pt x="653" y="300"/>
                  </a:lnTo>
                  <a:lnTo>
                    <a:pt x="653" y="300"/>
                  </a:lnTo>
                  <a:lnTo>
                    <a:pt x="657" y="300"/>
                  </a:lnTo>
                  <a:lnTo>
                    <a:pt x="657" y="302"/>
                  </a:lnTo>
                  <a:lnTo>
                    <a:pt x="659" y="302"/>
                  </a:lnTo>
                  <a:lnTo>
                    <a:pt x="659" y="302"/>
                  </a:lnTo>
                  <a:lnTo>
                    <a:pt x="659" y="304"/>
                  </a:lnTo>
                  <a:lnTo>
                    <a:pt x="659" y="302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59" y="300"/>
                  </a:lnTo>
                  <a:lnTo>
                    <a:pt x="659" y="300"/>
                  </a:lnTo>
                  <a:lnTo>
                    <a:pt x="661" y="300"/>
                  </a:lnTo>
                  <a:lnTo>
                    <a:pt x="664" y="298"/>
                  </a:lnTo>
                  <a:lnTo>
                    <a:pt x="664" y="298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6" y="296"/>
                  </a:lnTo>
                  <a:lnTo>
                    <a:pt x="668" y="296"/>
                  </a:lnTo>
                  <a:lnTo>
                    <a:pt x="668" y="296"/>
                  </a:lnTo>
                  <a:lnTo>
                    <a:pt x="670" y="296"/>
                  </a:lnTo>
                  <a:lnTo>
                    <a:pt x="670" y="296"/>
                  </a:lnTo>
                  <a:lnTo>
                    <a:pt x="672" y="298"/>
                  </a:lnTo>
                  <a:lnTo>
                    <a:pt x="672" y="296"/>
                  </a:lnTo>
                  <a:lnTo>
                    <a:pt x="672" y="296"/>
                  </a:lnTo>
                  <a:lnTo>
                    <a:pt x="674" y="296"/>
                  </a:lnTo>
                  <a:lnTo>
                    <a:pt x="672" y="296"/>
                  </a:lnTo>
                  <a:lnTo>
                    <a:pt x="670" y="294"/>
                  </a:lnTo>
                  <a:lnTo>
                    <a:pt x="670" y="294"/>
                  </a:lnTo>
                  <a:lnTo>
                    <a:pt x="670" y="294"/>
                  </a:lnTo>
                  <a:lnTo>
                    <a:pt x="670" y="294"/>
                  </a:lnTo>
                  <a:lnTo>
                    <a:pt x="670" y="292"/>
                  </a:lnTo>
                  <a:lnTo>
                    <a:pt x="670" y="292"/>
                  </a:lnTo>
                  <a:lnTo>
                    <a:pt x="672" y="292"/>
                  </a:lnTo>
                  <a:lnTo>
                    <a:pt x="674" y="292"/>
                  </a:lnTo>
                  <a:lnTo>
                    <a:pt x="674" y="292"/>
                  </a:lnTo>
                  <a:lnTo>
                    <a:pt x="674" y="292"/>
                  </a:lnTo>
                  <a:lnTo>
                    <a:pt x="676" y="292"/>
                  </a:lnTo>
                  <a:lnTo>
                    <a:pt x="682" y="292"/>
                  </a:lnTo>
                  <a:lnTo>
                    <a:pt x="682" y="292"/>
                  </a:lnTo>
                  <a:lnTo>
                    <a:pt x="686" y="290"/>
                  </a:lnTo>
                  <a:lnTo>
                    <a:pt x="688" y="290"/>
                  </a:lnTo>
                  <a:lnTo>
                    <a:pt x="690" y="290"/>
                  </a:lnTo>
                  <a:lnTo>
                    <a:pt x="692" y="290"/>
                  </a:lnTo>
                  <a:lnTo>
                    <a:pt x="692" y="290"/>
                  </a:lnTo>
                  <a:lnTo>
                    <a:pt x="694" y="288"/>
                  </a:lnTo>
                  <a:lnTo>
                    <a:pt x="694" y="288"/>
                  </a:lnTo>
                  <a:lnTo>
                    <a:pt x="696" y="284"/>
                  </a:lnTo>
                  <a:lnTo>
                    <a:pt x="696" y="284"/>
                  </a:lnTo>
                  <a:lnTo>
                    <a:pt x="696" y="282"/>
                  </a:lnTo>
                  <a:lnTo>
                    <a:pt x="694" y="282"/>
                  </a:lnTo>
                  <a:lnTo>
                    <a:pt x="692" y="282"/>
                  </a:lnTo>
                  <a:lnTo>
                    <a:pt x="690" y="280"/>
                  </a:lnTo>
                  <a:lnTo>
                    <a:pt x="690" y="280"/>
                  </a:lnTo>
                  <a:lnTo>
                    <a:pt x="688" y="278"/>
                  </a:lnTo>
                  <a:lnTo>
                    <a:pt x="686" y="278"/>
                  </a:lnTo>
                  <a:lnTo>
                    <a:pt x="684" y="280"/>
                  </a:lnTo>
                  <a:lnTo>
                    <a:pt x="680" y="280"/>
                  </a:lnTo>
                  <a:lnTo>
                    <a:pt x="678" y="280"/>
                  </a:lnTo>
                  <a:lnTo>
                    <a:pt x="678" y="280"/>
                  </a:lnTo>
                  <a:lnTo>
                    <a:pt x="684" y="280"/>
                  </a:lnTo>
                  <a:lnTo>
                    <a:pt x="684" y="278"/>
                  </a:lnTo>
                  <a:lnTo>
                    <a:pt x="684" y="278"/>
                  </a:lnTo>
                  <a:lnTo>
                    <a:pt x="682" y="278"/>
                  </a:lnTo>
                  <a:lnTo>
                    <a:pt x="680" y="278"/>
                  </a:lnTo>
                  <a:lnTo>
                    <a:pt x="674" y="276"/>
                  </a:lnTo>
                  <a:lnTo>
                    <a:pt x="674" y="274"/>
                  </a:lnTo>
                  <a:lnTo>
                    <a:pt x="672" y="274"/>
                  </a:lnTo>
                  <a:lnTo>
                    <a:pt x="672" y="274"/>
                  </a:lnTo>
                  <a:lnTo>
                    <a:pt x="672" y="276"/>
                  </a:lnTo>
                  <a:lnTo>
                    <a:pt x="672" y="276"/>
                  </a:lnTo>
                  <a:lnTo>
                    <a:pt x="672" y="276"/>
                  </a:lnTo>
                  <a:lnTo>
                    <a:pt x="672" y="276"/>
                  </a:lnTo>
                  <a:lnTo>
                    <a:pt x="670" y="276"/>
                  </a:lnTo>
                  <a:lnTo>
                    <a:pt x="670" y="276"/>
                  </a:lnTo>
                  <a:lnTo>
                    <a:pt x="668" y="274"/>
                  </a:lnTo>
                  <a:lnTo>
                    <a:pt x="670" y="274"/>
                  </a:lnTo>
                  <a:lnTo>
                    <a:pt x="670" y="274"/>
                  </a:lnTo>
                  <a:lnTo>
                    <a:pt x="672" y="274"/>
                  </a:lnTo>
                  <a:lnTo>
                    <a:pt x="672" y="272"/>
                  </a:lnTo>
                  <a:lnTo>
                    <a:pt x="672" y="274"/>
                  </a:lnTo>
                  <a:lnTo>
                    <a:pt x="678" y="274"/>
                  </a:lnTo>
                  <a:lnTo>
                    <a:pt x="682" y="276"/>
                  </a:lnTo>
                  <a:lnTo>
                    <a:pt x="684" y="278"/>
                  </a:lnTo>
                  <a:lnTo>
                    <a:pt x="684" y="278"/>
                  </a:lnTo>
                  <a:lnTo>
                    <a:pt x="686" y="278"/>
                  </a:lnTo>
                  <a:lnTo>
                    <a:pt x="688" y="276"/>
                  </a:lnTo>
                  <a:lnTo>
                    <a:pt x="688" y="276"/>
                  </a:lnTo>
                  <a:lnTo>
                    <a:pt x="688" y="276"/>
                  </a:lnTo>
                  <a:lnTo>
                    <a:pt x="688" y="276"/>
                  </a:lnTo>
                  <a:lnTo>
                    <a:pt x="688" y="278"/>
                  </a:lnTo>
                  <a:lnTo>
                    <a:pt x="688" y="278"/>
                  </a:lnTo>
                  <a:lnTo>
                    <a:pt x="688" y="278"/>
                  </a:lnTo>
                  <a:lnTo>
                    <a:pt x="690" y="278"/>
                  </a:lnTo>
                  <a:lnTo>
                    <a:pt x="692" y="278"/>
                  </a:lnTo>
                  <a:lnTo>
                    <a:pt x="696" y="280"/>
                  </a:lnTo>
                  <a:lnTo>
                    <a:pt x="698" y="280"/>
                  </a:lnTo>
                  <a:lnTo>
                    <a:pt x="698" y="280"/>
                  </a:lnTo>
                  <a:lnTo>
                    <a:pt x="700" y="280"/>
                  </a:lnTo>
                  <a:lnTo>
                    <a:pt x="703" y="280"/>
                  </a:lnTo>
                  <a:lnTo>
                    <a:pt x="703" y="280"/>
                  </a:lnTo>
                  <a:lnTo>
                    <a:pt x="705" y="280"/>
                  </a:lnTo>
                  <a:lnTo>
                    <a:pt x="705" y="280"/>
                  </a:lnTo>
                  <a:lnTo>
                    <a:pt x="705" y="280"/>
                  </a:lnTo>
                  <a:lnTo>
                    <a:pt x="707" y="280"/>
                  </a:lnTo>
                  <a:lnTo>
                    <a:pt x="709" y="278"/>
                  </a:lnTo>
                  <a:lnTo>
                    <a:pt x="713" y="276"/>
                  </a:lnTo>
                  <a:lnTo>
                    <a:pt x="713" y="276"/>
                  </a:lnTo>
                  <a:lnTo>
                    <a:pt x="713" y="276"/>
                  </a:lnTo>
                  <a:lnTo>
                    <a:pt x="713" y="274"/>
                  </a:lnTo>
                  <a:lnTo>
                    <a:pt x="713" y="274"/>
                  </a:lnTo>
                  <a:lnTo>
                    <a:pt x="715" y="274"/>
                  </a:lnTo>
                  <a:lnTo>
                    <a:pt x="717" y="274"/>
                  </a:lnTo>
                  <a:lnTo>
                    <a:pt x="717" y="274"/>
                  </a:lnTo>
                  <a:lnTo>
                    <a:pt x="717" y="272"/>
                  </a:lnTo>
                  <a:lnTo>
                    <a:pt x="717" y="272"/>
                  </a:lnTo>
                  <a:lnTo>
                    <a:pt x="715" y="272"/>
                  </a:lnTo>
                  <a:lnTo>
                    <a:pt x="717" y="272"/>
                  </a:lnTo>
                  <a:lnTo>
                    <a:pt x="719" y="269"/>
                  </a:lnTo>
                  <a:lnTo>
                    <a:pt x="719" y="272"/>
                  </a:lnTo>
                  <a:lnTo>
                    <a:pt x="719" y="272"/>
                  </a:lnTo>
                  <a:lnTo>
                    <a:pt x="719" y="272"/>
                  </a:lnTo>
                  <a:lnTo>
                    <a:pt x="721" y="274"/>
                  </a:lnTo>
                  <a:lnTo>
                    <a:pt x="721" y="274"/>
                  </a:lnTo>
                  <a:lnTo>
                    <a:pt x="721" y="274"/>
                  </a:lnTo>
                  <a:lnTo>
                    <a:pt x="721" y="274"/>
                  </a:lnTo>
                  <a:lnTo>
                    <a:pt x="723" y="274"/>
                  </a:lnTo>
                  <a:lnTo>
                    <a:pt x="725" y="274"/>
                  </a:lnTo>
                  <a:lnTo>
                    <a:pt x="725" y="274"/>
                  </a:lnTo>
                  <a:lnTo>
                    <a:pt x="725" y="274"/>
                  </a:lnTo>
                  <a:lnTo>
                    <a:pt x="727" y="272"/>
                  </a:lnTo>
                  <a:lnTo>
                    <a:pt x="727" y="272"/>
                  </a:lnTo>
                  <a:lnTo>
                    <a:pt x="727" y="274"/>
                  </a:lnTo>
                  <a:lnTo>
                    <a:pt x="727" y="274"/>
                  </a:lnTo>
                  <a:lnTo>
                    <a:pt x="729" y="274"/>
                  </a:lnTo>
                  <a:lnTo>
                    <a:pt x="731" y="274"/>
                  </a:lnTo>
                  <a:lnTo>
                    <a:pt x="735" y="272"/>
                  </a:lnTo>
                  <a:lnTo>
                    <a:pt x="742" y="269"/>
                  </a:lnTo>
                  <a:lnTo>
                    <a:pt x="744" y="269"/>
                  </a:lnTo>
                  <a:lnTo>
                    <a:pt x="744" y="267"/>
                  </a:lnTo>
                  <a:lnTo>
                    <a:pt x="746" y="267"/>
                  </a:lnTo>
                  <a:lnTo>
                    <a:pt x="760" y="259"/>
                  </a:lnTo>
                  <a:lnTo>
                    <a:pt x="762" y="259"/>
                  </a:lnTo>
                  <a:lnTo>
                    <a:pt x="766" y="255"/>
                  </a:lnTo>
                  <a:lnTo>
                    <a:pt x="766" y="255"/>
                  </a:lnTo>
                  <a:lnTo>
                    <a:pt x="766" y="253"/>
                  </a:lnTo>
                  <a:lnTo>
                    <a:pt x="766" y="253"/>
                  </a:lnTo>
                  <a:lnTo>
                    <a:pt x="764" y="253"/>
                  </a:lnTo>
                  <a:lnTo>
                    <a:pt x="758" y="253"/>
                  </a:lnTo>
                  <a:lnTo>
                    <a:pt x="754" y="253"/>
                  </a:lnTo>
                  <a:lnTo>
                    <a:pt x="746" y="251"/>
                  </a:lnTo>
                  <a:lnTo>
                    <a:pt x="744" y="251"/>
                  </a:lnTo>
                  <a:lnTo>
                    <a:pt x="744" y="249"/>
                  </a:lnTo>
                  <a:lnTo>
                    <a:pt x="742" y="247"/>
                  </a:lnTo>
                  <a:lnTo>
                    <a:pt x="739" y="245"/>
                  </a:lnTo>
                  <a:lnTo>
                    <a:pt x="739" y="245"/>
                  </a:lnTo>
                  <a:lnTo>
                    <a:pt x="737" y="245"/>
                  </a:lnTo>
                  <a:lnTo>
                    <a:pt x="737" y="245"/>
                  </a:lnTo>
                  <a:lnTo>
                    <a:pt x="733" y="243"/>
                  </a:lnTo>
                  <a:lnTo>
                    <a:pt x="727" y="243"/>
                  </a:lnTo>
                  <a:lnTo>
                    <a:pt x="727" y="243"/>
                  </a:lnTo>
                  <a:lnTo>
                    <a:pt x="727" y="243"/>
                  </a:lnTo>
                  <a:lnTo>
                    <a:pt x="727" y="243"/>
                  </a:lnTo>
                  <a:lnTo>
                    <a:pt x="723" y="243"/>
                  </a:lnTo>
                  <a:lnTo>
                    <a:pt x="723" y="243"/>
                  </a:lnTo>
                  <a:lnTo>
                    <a:pt x="723" y="241"/>
                  </a:lnTo>
                  <a:lnTo>
                    <a:pt x="725" y="241"/>
                  </a:lnTo>
                  <a:lnTo>
                    <a:pt x="729" y="241"/>
                  </a:lnTo>
                  <a:lnTo>
                    <a:pt x="731" y="243"/>
                  </a:lnTo>
                  <a:lnTo>
                    <a:pt x="731" y="243"/>
                  </a:lnTo>
                  <a:lnTo>
                    <a:pt x="733" y="243"/>
                  </a:lnTo>
                  <a:lnTo>
                    <a:pt x="735" y="243"/>
                  </a:lnTo>
                  <a:lnTo>
                    <a:pt x="737" y="243"/>
                  </a:lnTo>
                  <a:lnTo>
                    <a:pt x="739" y="243"/>
                  </a:lnTo>
                  <a:lnTo>
                    <a:pt x="742" y="243"/>
                  </a:lnTo>
                  <a:lnTo>
                    <a:pt x="742" y="243"/>
                  </a:lnTo>
                  <a:lnTo>
                    <a:pt x="742" y="243"/>
                  </a:lnTo>
                  <a:lnTo>
                    <a:pt x="742" y="243"/>
                  </a:lnTo>
                  <a:lnTo>
                    <a:pt x="744" y="243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50" y="245"/>
                  </a:lnTo>
                  <a:lnTo>
                    <a:pt x="750" y="245"/>
                  </a:lnTo>
                  <a:lnTo>
                    <a:pt x="752" y="247"/>
                  </a:lnTo>
                  <a:lnTo>
                    <a:pt x="752" y="247"/>
                  </a:lnTo>
                  <a:lnTo>
                    <a:pt x="752" y="247"/>
                  </a:lnTo>
                  <a:lnTo>
                    <a:pt x="754" y="247"/>
                  </a:lnTo>
                  <a:lnTo>
                    <a:pt x="754" y="249"/>
                  </a:lnTo>
                  <a:lnTo>
                    <a:pt x="756" y="251"/>
                  </a:lnTo>
                  <a:lnTo>
                    <a:pt x="758" y="251"/>
                  </a:lnTo>
                  <a:lnTo>
                    <a:pt x="760" y="251"/>
                  </a:lnTo>
                  <a:lnTo>
                    <a:pt x="764" y="251"/>
                  </a:lnTo>
                  <a:lnTo>
                    <a:pt x="766" y="251"/>
                  </a:lnTo>
                  <a:lnTo>
                    <a:pt x="768" y="251"/>
                  </a:lnTo>
                  <a:lnTo>
                    <a:pt x="770" y="251"/>
                  </a:lnTo>
                  <a:lnTo>
                    <a:pt x="772" y="249"/>
                  </a:lnTo>
                  <a:lnTo>
                    <a:pt x="776" y="247"/>
                  </a:lnTo>
                  <a:lnTo>
                    <a:pt x="789" y="241"/>
                  </a:lnTo>
                  <a:lnTo>
                    <a:pt x="791" y="241"/>
                  </a:lnTo>
                  <a:lnTo>
                    <a:pt x="791" y="239"/>
                  </a:lnTo>
                  <a:lnTo>
                    <a:pt x="793" y="239"/>
                  </a:lnTo>
                  <a:lnTo>
                    <a:pt x="793" y="239"/>
                  </a:lnTo>
                  <a:lnTo>
                    <a:pt x="791" y="237"/>
                  </a:lnTo>
                  <a:lnTo>
                    <a:pt x="789" y="237"/>
                  </a:lnTo>
                  <a:lnTo>
                    <a:pt x="787" y="237"/>
                  </a:lnTo>
                  <a:lnTo>
                    <a:pt x="787" y="234"/>
                  </a:lnTo>
                  <a:lnTo>
                    <a:pt x="787" y="234"/>
                  </a:lnTo>
                  <a:lnTo>
                    <a:pt x="787" y="234"/>
                  </a:lnTo>
                  <a:lnTo>
                    <a:pt x="787" y="234"/>
                  </a:lnTo>
                  <a:lnTo>
                    <a:pt x="787" y="234"/>
                  </a:lnTo>
                  <a:lnTo>
                    <a:pt x="787" y="232"/>
                  </a:lnTo>
                  <a:lnTo>
                    <a:pt x="789" y="232"/>
                  </a:lnTo>
                  <a:lnTo>
                    <a:pt x="789" y="232"/>
                  </a:lnTo>
                  <a:lnTo>
                    <a:pt x="795" y="232"/>
                  </a:lnTo>
                  <a:lnTo>
                    <a:pt x="799" y="232"/>
                  </a:lnTo>
                  <a:lnTo>
                    <a:pt x="801" y="232"/>
                  </a:lnTo>
                  <a:lnTo>
                    <a:pt x="803" y="232"/>
                  </a:lnTo>
                  <a:lnTo>
                    <a:pt x="803" y="234"/>
                  </a:lnTo>
                  <a:lnTo>
                    <a:pt x="805" y="234"/>
                  </a:lnTo>
                  <a:lnTo>
                    <a:pt x="805" y="237"/>
                  </a:lnTo>
                  <a:lnTo>
                    <a:pt x="807" y="237"/>
                  </a:lnTo>
                  <a:lnTo>
                    <a:pt x="809" y="239"/>
                  </a:lnTo>
                  <a:lnTo>
                    <a:pt x="811" y="239"/>
                  </a:lnTo>
                  <a:lnTo>
                    <a:pt x="811" y="239"/>
                  </a:lnTo>
                  <a:lnTo>
                    <a:pt x="813" y="237"/>
                  </a:lnTo>
                  <a:lnTo>
                    <a:pt x="813" y="237"/>
                  </a:lnTo>
                  <a:lnTo>
                    <a:pt x="813" y="237"/>
                  </a:lnTo>
                  <a:lnTo>
                    <a:pt x="817" y="237"/>
                  </a:lnTo>
                  <a:lnTo>
                    <a:pt x="817" y="239"/>
                  </a:lnTo>
                  <a:lnTo>
                    <a:pt x="817" y="239"/>
                  </a:lnTo>
                  <a:lnTo>
                    <a:pt x="820" y="237"/>
                  </a:lnTo>
                  <a:lnTo>
                    <a:pt x="820" y="237"/>
                  </a:lnTo>
                  <a:lnTo>
                    <a:pt x="820" y="234"/>
                  </a:lnTo>
                  <a:lnTo>
                    <a:pt x="820" y="232"/>
                  </a:lnTo>
                  <a:lnTo>
                    <a:pt x="820" y="232"/>
                  </a:lnTo>
                  <a:lnTo>
                    <a:pt x="820" y="230"/>
                  </a:lnTo>
                  <a:lnTo>
                    <a:pt x="820" y="230"/>
                  </a:lnTo>
                  <a:lnTo>
                    <a:pt x="820" y="230"/>
                  </a:lnTo>
                  <a:lnTo>
                    <a:pt x="817" y="228"/>
                  </a:lnTo>
                  <a:lnTo>
                    <a:pt x="817" y="226"/>
                  </a:lnTo>
                  <a:lnTo>
                    <a:pt x="817" y="226"/>
                  </a:lnTo>
                  <a:lnTo>
                    <a:pt x="817" y="226"/>
                  </a:lnTo>
                  <a:lnTo>
                    <a:pt x="815" y="226"/>
                  </a:lnTo>
                  <a:lnTo>
                    <a:pt x="815" y="226"/>
                  </a:lnTo>
                  <a:lnTo>
                    <a:pt x="813" y="226"/>
                  </a:lnTo>
                  <a:lnTo>
                    <a:pt x="813" y="226"/>
                  </a:lnTo>
                  <a:lnTo>
                    <a:pt x="811" y="226"/>
                  </a:lnTo>
                  <a:lnTo>
                    <a:pt x="811" y="226"/>
                  </a:lnTo>
                  <a:lnTo>
                    <a:pt x="813" y="226"/>
                  </a:lnTo>
                  <a:lnTo>
                    <a:pt x="817" y="224"/>
                  </a:lnTo>
                  <a:lnTo>
                    <a:pt x="817" y="224"/>
                  </a:lnTo>
                  <a:lnTo>
                    <a:pt x="820" y="226"/>
                  </a:lnTo>
                  <a:lnTo>
                    <a:pt x="820" y="226"/>
                  </a:lnTo>
                  <a:lnTo>
                    <a:pt x="820" y="226"/>
                  </a:lnTo>
                  <a:lnTo>
                    <a:pt x="822" y="226"/>
                  </a:lnTo>
                  <a:lnTo>
                    <a:pt x="822" y="228"/>
                  </a:lnTo>
                  <a:lnTo>
                    <a:pt x="820" y="228"/>
                  </a:lnTo>
                  <a:lnTo>
                    <a:pt x="820" y="228"/>
                  </a:lnTo>
                  <a:lnTo>
                    <a:pt x="820" y="228"/>
                  </a:lnTo>
                  <a:lnTo>
                    <a:pt x="822" y="228"/>
                  </a:lnTo>
                  <a:lnTo>
                    <a:pt x="822" y="228"/>
                  </a:lnTo>
                  <a:lnTo>
                    <a:pt x="824" y="228"/>
                  </a:lnTo>
                  <a:lnTo>
                    <a:pt x="824" y="230"/>
                  </a:lnTo>
                  <a:lnTo>
                    <a:pt x="824" y="230"/>
                  </a:lnTo>
                  <a:lnTo>
                    <a:pt x="824" y="232"/>
                  </a:lnTo>
                  <a:lnTo>
                    <a:pt x="824" y="232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6" y="234"/>
                  </a:lnTo>
                  <a:lnTo>
                    <a:pt x="828" y="234"/>
                  </a:lnTo>
                  <a:lnTo>
                    <a:pt x="830" y="234"/>
                  </a:lnTo>
                  <a:lnTo>
                    <a:pt x="834" y="232"/>
                  </a:lnTo>
                  <a:lnTo>
                    <a:pt x="838" y="232"/>
                  </a:lnTo>
                  <a:lnTo>
                    <a:pt x="840" y="230"/>
                  </a:lnTo>
                  <a:lnTo>
                    <a:pt x="842" y="230"/>
                  </a:lnTo>
                  <a:lnTo>
                    <a:pt x="844" y="228"/>
                  </a:lnTo>
                  <a:lnTo>
                    <a:pt x="846" y="228"/>
                  </a:lnTo>
                  <a:lnTo>
                    <a:pt x="846" y="228"/>
                  </a:lnTo>
                  <a:lnTo>
                    <a:pt x="850" y="226"/>
                  </a:lnTo>
                  <a:lnTo>
                    <a:pt x="850" y="226"/>
                  </a:lnTo>
                  <a:lnTo>
                    <a:pt x="852" y="226"/>
                  </a:lnTo>
                  <a:lnTo>
                    <a:pt x="854" y="226"/>
                  </a:lnTo>
                  <a:lnTo>
                    <a:pt x="854" y="224"/>
                  </a:lnTo>
                  <a:lnTo>
                    <a:pt x="859" y="224"/>
                  </a:lnTo>
                  <a:lnTo>
                    <a:pt x="859" y="224"/>
                  </a:lnTo>
                  <a:lnTo>
                    <a:pt x="861" y="222"/>
                  </a:lnTo>
                  <a:lnTo>
                    <a:pt x="863" y="220"/>
                  </a:lnTo>
                  <a:lnTo>
                    <a:pt x="865" y="218"/>
                  </a:lnTo>
                  <a:lnTo>
                    <a:pt x="865" y="218"/>
                  </a:lnTo>
                  <a:lnTo>
                    <a:pt x="865" y="216"/>
                  </a:lnTo>
                  <a:lnTo>
                    <a:pt x="865" y="216"/>
                  </a:lnTo>
                  <a:lnTo>
                    <a:pt x="863" y="214"/>
                  </a:lnTo>
                  <a:lnTo>
                    <a:pt x="863" y="212"/>
                  </a:lnTo>
                  <a:lnTo>
                    <a:pt x="863" y="212"/>
                  </a:lnTo>
                  <a:lnTo>
                    <a:pt x="861" y="210"/>
                  </a:lnTo>
                  <a:lnTo>
                    <a:pt x="863" y="210"/>
                  </a:lnTo>
                  <a:lnTo>
                    <a:pt x="863" y="210"/>
                  </a:lnTo>
                  <a:lnTo>
                    <a:pt x="863" y="208"/>
                  </a:lnTo>
                  <a:lnTo>
                    <a:pt x="865" y="206"/>
                  </a:lnTo>
                  <a:lnTo>
                    <a:pt x="865" y="206"/>
                  </a:lnTo>
                  <a:lnTo>
                    <a:pt x="865" y="206"/>
                  </a:lnTo>
                  <a:lnTo>
                    <a:pt x="865" y="206"/>
                  </a:lnTo>
                  <a:lnTo>
                    <a:pt x="863" y="208"/>
                  </a:lnTo>
                  <a:lnTo>
                    <a:pt x="863" y="208"/>
                  </a:lnTo>
                  <a:lnTo>
                    <a:pt x="863" y="208"/>
                  </a:lnTo>
                  <a:lnTo>
                    <a:pt x="863" y="206"/>
                  </a:lnTo>
                  <a:lnTo>
                    <a:pt x="863" y="206"/>
                  </a:lnTo>
                  <a:lnTo>
                    <a:pt x="863" y="204"/>
                  </a:lnTo>
                  <a:lnTo>
                    <a:pt x="863" y="204"/>
                  </a:lnTo>
                  <a:lnTo>
                    <a:pt x="863" y="204"/>
                  </a:lnTo>
                  <a:lnTo>
                    <a:pt x="863" y="204"/>
                  </a:lnTo>
                  <a:lnTo>
                    <a:pt x="863" y="202"/>
                  </a:lnTo>
                  <a:lnTo>
                    <a:pt x="863" y="202"/>
                  </a:lnTo>
                  <a:lnTo>
                    <a:pt x="863" y="202"/>
                  </a:lnTo>
                  <a:lnTo>
                    <a:pt x="865" y="202"/>
                  </a:lnTo>
                  <a:lnTo>
                    <a:pt x="867" y="202"/>
                  </a:lnTo>
                  <a:lnTo>
                    <a:pt x="869" y="202"/>
                  </a:lnTo>
                  <a:lnTo>
                    <a:pt x="869" y="202"/>
                  </a:lnTo>
                  <a:lnTo>
                    <a:pt x="869" y="202"/>
                  </a:lnTo>
                  <a:lnTo>
                    <a:pt x="871" y="202"/>
                  </a:lnTo>
                  <a:lnTo>
                    <a:pt x="873" y="202"/>
                  </a:lnTo>
                  <a:lnTo>
                    <a:pt x="875" y="202"/>
                  </a:lnTo>
                  <a:lnTo>
                    <a:pt x="879" y="200"/>
                  </a:lnTo>
                  <a:lnTo>
                    <a:pt x="881" y="200"/>
                  </a:lnTo>
                  <a:lnTo>
                    <a:pt x="881" y="197"/>
                  </a:lnTo>
                  <a:lnTo>
                    <a:pt x="881" y="197"/>
                  </a:lnTo>
                  <a:lnTo>
                    <a:pt x="881" y="195"/>
                  </a:lnTo>
                  <a:lnTo>
                    <a:pt x="881" y="195"/>
                  </a:lnTo>
                  <a:lnTo>
                    <a:pt x="879" y="195"/>
                  </a:lnTo>
                  <a:lnTo>
                    <a:pt x="877" y="195"/>
                  </a:lnTo>
                  <a:lnTo>
                    <a:pt x="875" y="195"/>
                  </a:lnTo>
                  <a:lnTo>
                    <a:pt x="875" y="195"/>
                  </a:lnTo>
                  <a:lnTo>
                    <a:pt x="877" y="195"/>
                  </a:lnTo>
                  <a:lnTo>
                    <a:pt x="881" y="193"/>
                  </a:lnTo>
                  <a:lnTo>
                    <a:pt x="885" y="191"/>
                  </a:lnTo>
                  <a:lnTo>
                    <a:pt x="885" y="191"/>
                  </a:lnTo>
                  <a:lnTo>
                    <a:pt x="885" y="191"/>
                  </a:lnTo>
                  <a:lnTo>
                    <a:pt x="885" y="191"/>
                  </a:lnTo>
                  <a:lnTo>
                    <a:pt x="881" y="189"/>
                  </a:lnTo>
                  <a:lnTo>
                    <a:pt x="879" y="189"/>
                  </a:lnTo>
                  <a:lnTo>
                    <a:pt x="877" y="189"/>
                  </a:lnTo>
                  <a:lnTo>
                    <a:pt x="877" y="189"/>
                  </a:lnTo>
                  <a:lnTo>
                    <a:pt x="877" y="189"/>
                  </a:lnTo>
                  <a:lnTo>
                    <a:pt x="877" y="189"/>
                  </a:lnTo>
                  <a:lnTo>
                    <a:pt x="877" y="189"/>
                  </a:lnTo>
                  <a:lnTo>
                    <a:pt x="877" y="187"/>
                  </a:lnTo>
                  <a:lnTo>
                    <a:pt x="873" y="187"/>
                  </a:lnTo>
                  <a:lnTo>
                    <a:pt x="873" y="185"/>
                  </a:lnTo>
                  <a:lnTo>
                    <a:pt x="875" y="185"/>
                  </a:lnTo>
                  <a:lnTo>
                    <a:pt x="877" y="185"/>
                  </a:lnTo>
                  <a:lnTo>
                    <a:pt x="879" y="185"/>
                  </a:lnTo>
                  <a:lnTo>
                    <a:pt x="879" y="183"/>
                  </a:lnTo>
                  <a:lnTo>
                    <a:pt x="877" y="183"/>
                  </a:lnTo>
                  <a:lnTo>
                    <a:pt x="875" y="183"/>
                  </a:lnTo>
                  <a:lnTo>
                    <a:pt x="873" y="183"/>
                  </a:lnTo>
                  <a:lnTo>
                    <a:pt x="867" y="183"/>
                  </a:lnTo>
                  <a:lnTo>
                    <a:pt x="865" y="183"/>
                  </a:lnTo>
                  <a:lnTo>
                    <a:pt x="863" y="183"/>
                  </a:lnTo>
                  <a:lnTo>
                    <a:pt x="861" y="181"/>
                  </a:lnTo>
                  <a:lnTo>
                    <a:pt x="859" y="181"/>
                  </a:lnTo>
                  <a:lnTo>
                    <a:pt x="857" y="181"/>
                  </a:lnTo>
                  <a:lnTo>
                    <a:pt x="852" y="181"/>
                  </a:lnTo>
                  <a:lnTo>
                    <a:pt x="850" y="181"/>
                  </a:lnTo>
                  <a:lnTo>
                    <a:pt x="848" y="181"/>
                  </a:lnTo>
                  <a:lnTo>
                    <a:pt x="848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4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4" y="183"/>
                  </a:lnTo>
                  <a:lnTo>
                    <a:pt x="842" y="183"/>
                  </a:lnTo>
                  <a:lnTo>
                    <a:pt x="842" y="185"/>
                  </a:lnTo>
                  <a:lnTo>
                    <a:pt x="842" y="185"/>
                  </a:lnTo>
                  <a:lnTo>
                    <a:pt x="842" y="185"/>
                  </a:lnTo>
                  <a:lnTo>
                    <a:pt x="842" y="185"/>
                  </a:lnTo>
                  <a:lnTo>
                    <a:pt x="842" y="187"/>
                  </a:lnTo>
                  <a:lnTo>
                    <a:pt x="842" y="187"/>
                  </a:lnTo>
                  <a:lnTo>
                    <a:pt x="842" y="187"/>
                  </a:lnTo>
                  <a:lnTo>
                    <a:pt x="840" y="187"/>
                  </a:lnTo>
                  <a:lnTo>
                    <a:pt x="840" y="189"/>
                  </a:lnTo>
                  <a:lnTo>
                    <a:pt x="840" y="189"/>
                  </a:lnTo>
                  <a:lnTo>
                    <a:pt x="838" y="189"/>
                  </a:lnTo>
                  <a:lnTo>
                    <a:pt x="840" y="191"/>
                  </a:lnTo>
                  <a:lnTo>
                    <a:pt x="840" y="191"/>
                  </a:lnTo>
                  <a:lnTo>
                    <a:pt x="842" y="191"/>
                  </a:lnTo>
                  <a:lnTo>
                    <a:pt x="842" y="191"/>
                  </a:lnTo>
                  <a:lnTo>
                    <a:pt x="842" y="193"/>
                  </a:lnTo>
                  <a:lnTo>
                    <a:pt x="842" y="193"/>
                  </a:lnTo>
                  <a:lnTo>
                    <a:pt x="842" y="193"/>
                  </a:lnTo>
                  <a:lnTo>
                    <a:pt x="840" y="193"/>
                  </a:lnTo>
                  <a:lnTo>
                    <a:pt x="840" y="195"/>
                  </a:lnTo>
                  <a:lnTo>
                    <a:pt x="838" y="195"/>
                  </a:lnTo>
                  <a:lnTo>
                    <a:pt x="838" y="195"/>
                  </a:lnTo>
                  <a:lnTo>
                    <a:pt x="836" y="195"/>
                  </a:lnTo>
                  <a:lnTo>
                    <a:pt x="840" y="197"/>
                  </a:lnTo>
                  <a:lnTo>
                    <a:pt x="838" y="197"/>
                  </a:lnTo>
                  <a:lnTo>
                    <a:pt x="834" y="197"/>
                  </a:lnTo>
                  <a:lnTo>
                    <a:pt x="834" y="197"/>
                  </a:lnTo>
                  <a:lnTo>
                    <a:pt x="832" y="197"/>
                  </a:lnTo>
                  <a:lnTo>
                    <a:pt x="832" y="197"/>
                  </a:lnTo>
                  <a:lnTo>
                    <a:pt x="832" y="197"/>
                  </a:lnTo>
                  <a:lnTo>
                    <a:pt x="830" y="197"/>
                  </a:lnTo>
                  <a:lnTo>
                    <a:pt x="828" y="197"/>
                  </a:lnTo>
                  <a:lnTo>
                    <a:pt x="828" y="200"/>
                  </a:lnTo>
                  <a:lnTo>
                    <a:pt x="828" y="200"/>
                  </a:lnTo>
                  <a:lnTo>
                    <a:pt x="826" y="200"/>
                  </a:lnTo>
                  <a:lnTo>
                    <a:pt x="826" y="202"/>
                  </a:lnTo>
                  <a:lnTo>
                    <a:pt x="824" y="202"/>
                  </a:lnTo>
                  <a:lnTo>
                    <a:pt x="822" y="204"/>
                  </a:lnTo>
                  <a:lnTo>
                    <a:pt x="817" y="208"/>
                  </a:lnTo>
                  <a:lnTo>
                    <a:pt x="815" y="208"/>
                  </a:lnTo>
                  <a:lnTo>
                    <a:pt x="809" y="212"/>
                  </a:lnTo>
                  <a:lnTo>
                    <a:pt x="807" y="212"/>
                  </a:lnTo>
                  <a:lnTo>
                    <a:pt x="805" y="214"/>
                  </a:lnTo>
                  <a:lnTo>
                    <a:pt x="805" y="214"/>
                  </a:lnTo>
                  <a:lnTo>
                    <a:pt x="803" y="216"/>
                  </a:lnTo>
                  <a:lnTo>
                    <a:pt x="801" y="218"/>
                  </a:lnTo>
                  <a:lnTo>
                    <a:pt x="801" y="218"/>
                  </a:lnTo>
                  <a:lnTo>
                    <a:pt x="799" y="218"/>
                  </a:lnTo>
                  <a:lnTo>
                    <a:pt x="799" y="218"/>
                  </a:lnTo>
                  <a:lnTo>
                    <a:pt x="797" y="218"/>
                  </a:lnTo>
                  <a:lnTo>
                    <a:pt x="797" y="220"/>
                  </a:lnTo>
                  <a:lnTo>
                    <a:pt x="793" y="220"/>
                  </a:lnTo>
                  <a:lnTo>
                    <a:pt x="789" y="222"/>
                  </a:lnTo>
                  <a:lnTo>
                    <a:pt x="789" y="222"/>
                  </a:lnTo>
                  <a:lnTo>
                    <a:pt x="789" y="222"/>
                  </a:lnTo>
                  <a:lnTo>
                    <a:pt x="789" y="222"/>
                  </a:lnTo>
                  <a:lnTo>
                    <a:pt x="789" y="222"/>
                  </a:lnTo>
                  <a:lnTo>
                    <a:pt x="789" y="220"/>
                  </a:lnTo>
                  <a:lnTo>
                    <a:pt x="789" y="220"/>
                  </a:lnTo>
                  <a:lnTo>
                    <a:pt x="787" y="216"/>
                  </a:lnTo>
                  <a:lnTo>
                    <a:pt x="787" y="214"/>
                  </a:lnTo>
                  <a:lnTo>
                    <a:pt x="787" y="210"/>
                  </a:lnTo>
                  <a:lnTo>
                    <a:pt x="787" y="210"/>
                  </a:lnTo>
                  <a:lnTo>
                    <a:pt x="791" y="208"/>
                  </a:lnTo>
                  <a:lnTo>
                    <a:pt x="791" y="206"/>
                  </a:lnTo>
                  <a:lnTo>
                    <a:pt x="791" y="206"/>
                  </a:lnTo>
                  <a:lnTo>
                    <a:pt x="793" y="204"/>
                  </a:lnTo>
                  <a:lnTo>
                    <a:pt x="793" y="204"/>
                  </a:lnTo>
                  <a:lnTo>
                    <a:pt x="793" y="206"/>
                  </a:lnTo>
                  <a:lnTo>
                    <a:pt x="793" y="206"/>
                  </a:lnTo>
                  <a:lnTo>
                    <a:pt x="795" y="206"/>
                  </a:lnTo>
                  <a:lnTo>
                    <a:pt x="797" y="206"/>
                  </a:lnTo>
                  <a:lnTo>
                    <a:pt x="797" y="206"/>
                  </a:lnTo>
                  <a:lnTo>
                    <a:pt x="797" y="204"/>
                  </a:lnTo>
                  <a:lnTo>
                    <a:pt x="799" y="204"/>
                  </a:lnTo>
                  <a:lnTo>
                    <a:pt x="799" y="204"/>
                  </a:lnTo>
                  <a:lnTo>
                    <a:pt x="799" y="202"/>
                  </a:lnTo>
                  <a:lnTo>
                    <a:pt x="799" y="202"/>
                  </a:lnTo>
                  <a:lnTo>
                    <a:pt x="801" y="200"/>
                  </a:lnTo>
                  <a:lnTo>
                    <a:pt x="801" y="197"/>
                  </a:lnTo>
                  <a:lnTo>
                    <a:pt x="801" y="197"/>
                  </a:lnTo>
                  <a:lnTo>
                    <a:pt x="801" y="195"/>
                  </a:lnTo>
                  <a:lnTo>
                    <a:pt x="801" y="195"/>
                  </a:lnTo>
                  <a:lnTo>
                    <a:pt x="799" y="193"/>
                  </a:lnTo>
                  <a:lnTo>
                    <a:pt x="797" y="191"/>
                  </a:lnTo>
                  <a:lnTo>
                    <a:pt x="797" y="191"/>
                  </a:lnTo>
                  <a:lnTo>
                    <a:pt x="797" y="189"/>
                  </a:lnTo>
                  <a:lnTo>
                    <a:pt x="795" y="189"/>
                  </a:lnTo>
                  <a:lnTo>
                    <a:pt x="793" y="189"/>
                  </a:lnTo>
                  <a:lnTo>
                    <a:pt x="793" y="189"/>
                  </a:lnTo>
                  <a:lnTo>
                    <a:pt x="789" y="193"/>
                  </a:lnTo>
                  <a:lnTo>
                    <a:pt x="785" y="193"/>
                  </a:lnTo>
                  <a:lnTo>
                    <a:pt x="785" y="195"/>
                  </a:lnTo>
                  <a:lnTo>
                    <a:pt x="783" y="197"/>
                  </a:lnTo>
                  <a:lnTo>
                    <a:pt x="781" y="197"/>
                  </a:lnTo>
                  <a:lnTo>
                    <a:pt x="778" y="200"/>
                  </a:lnTo>
                  <a:lnTo>
                    <a:pt x="776" y="200"/>
                  </a:lnTo>
                  <a:lnTo>
                    <a:pt x="776" y="202"/>
                  </a:lnTo>
                  <a:lnTo>
                    <a:pt x="776" y="202"/>
                  </a:lnTo>
                  <a:lnTo>
                    <a:pt x="772" y="204"/>
                  </a:lnTo>
                  <a:lnTo>
                    <a:pt x="770" y="204"/>
                  </a:lnTo>
                  <a:lnTo>
                    <a:pt x="770" y="204"/>
                  </a:lnTo>
                  <a:lnTo>
                    <a:pt x="770" y="206"/>
                  </a:lnTo>
                  <a:lnTo>
                    <a:pt x="768" y="206"/>
                  </a:lnTo>
                  <a:lnTo>
                    <a:pt x="768" y="206"/>
                  </a:lnTo>
                  <a:lnTo>
                    <a:pt x="768" y="206"/>
                  </a:lnTo>
                  <a:lnTo>
                    <a:pt x="768" y="204"/>
                  </a:lnTo>
                  <a:lnTo>
                    <a:pt x="768" y="204"/>
                  </a:lnTo>
                  <a:lnTo>
                    <a:pt x="768" y="204"/>
                  </a:lnTo>
                  <a:lnTo>
                    <a:pt x="768" y="202"/>
                  </a:lnTo>
                  <a:lnTo>
                    <a:pt x="768" y="202"/>
                  </a:lnTo>
                  <a:lnTo>
                    <a:pt x="770" y="200"/>
                  </a:lnTo>
                  <a:lnTo>
                    <a:pt x="770" y="200"/>
                  </a:lnTo>
                  <a:lnTo>
                    <a:pt x="772" y="197"/>
                  </a:lnTo>
                  <a:lnTo>
                    <a:pt x="772" y="197"/>
                  </a:lnTo>
                  <a:lnTo>
                    <a:pt x="774" y="195"/>
                  </a:lnTo>
                  <a:lnTo>
                    <a:pt x="774" y="195"/>
                  </a:lnTo>
                  <a:lnTo>
                    <a:pt x="774" y="195"/>
                  </a:lnTo>
                  <a:lnTo>
                    <a:pt x="774" y="191"/>
                  </a:lnTo>
                  <a:lnTo>
                    <a:pt x="770" y="189"/>
                  </a:lnTo>
                  <a:lnTo>
                    <a:pt x="770" y="189"/>
                  </a:lnTo>
                  <a:lnTo>
                    <a:pt x="772" y="189"/>
                  </a:lnTo>
                  <a:lnTo>
                    <a:pt x="774" y="189"/>
                  </a:lnTo>
                  <a:lnTo>
                    <a:pt x="774" y="189"/>
                  </a:lnTo>
                  <a:lnTo>
                    <a:pt x="772" y="189"/>
                  </a:lnTo>
                  <a:lnTo>
                    <a:pt x="774" y="189"/>
                  </a:lnTo>
                  <a:lnTo>
                    <a:pt x="774" y="189"/>
                  </a:lnTo>
                  <a:lnTo>
                    <a:pt x="776" y="189"/>
                  </a:lnTo>
                  <a:lnTo>
                    <a:pt x="776" y="189"/>
                  </a:lnTo>
                  <a:lnTo>
                    <a:pt x="778" y="187"/>
                  </a:lnTo>
                  <a:lnTo>
                    <a:pt x="778" y="187"/>
                  </a:lnTo>
                  <a:lnTo>
                    <a:pt x="781" y="187"/>
                  </a:lnTo>
                  <a:lnTo>
                    <a:pt x="781" y="187"/>
                  </a:lnTo>
                  <a:lnTo>
                    <a:pt x="783" y="187"/>
                  </a:lnTo>
                  <a:lnTo>
                    <a:pt x="783" y="187"/>
                  </a:lnTo>
                  <a:lnTo>
                    <a:pt x="783" y="185"/>
                  </a:lnTo>
                  <a:lnTo>
                    <a:pt x="781" y="185"/>
                  </a:lnTo>
                  <a:lnTo>
                    <a:pt x="778" y="185"/>
                  </a:lnTo>
                  <a:lnTo>
                    <a:pt x="776" y="185"/>
                  </a:lnTo>
                  <a:lnTo>
                    <a:pt x="774" y="185"/>
                  </a:lnTo>
                  <a:lnTo>
                    <a:pt x="772" y="185"/>
                  </a:lnTo>
                  <a:lnTo>
                    <a:pt x="772" y="185"/>
                  </a:lnTo>
                  <a:lnTo>
                    <a:pt x="774" y="185"/>
                  </a:lnTo>
                  <a:lnTo>
                    <a:pt x="776" y="185"/>
                  </a:lnTo>
                  <a:lnTo>
                    <a:pt x="776" y="183"/>
                  </a:lnTo>
                  <a:lnTo>
                    <a:pt x="776" y="183"/>
                  </a:lnTo>
                  <a:lnTo>
                    <a:pt x="774" y="183"/>
                  </a:lnTo>
                  <a:lnTo>
                    <a:pt x="772" y="185"/>
                  </a:lnTo>
                  <a:lnTo>
                    <a:pt x="768" y="185"/>
                  </a:lnTo>
                  <a:lnTo>
                    <a:pt x="766" y="185"/>
                  </a:lnTo>
                  <a:lnTo>
                    <a:pt x="764" y="185"/>
                  </a:lnTo>
                  <a:lnTo>
                    <a:pt x="764" y="183"/>
                  </a:lnTo>
                  <a:lnTo>
                    <a:pt x="764" y="183"/>
                  </a:lnTo>
                  <a:lnTo>
                    <a:pt x="764" y="183"/>
                  </a:lnTo>
                  <a:lnTo>
                    <a:pt x="762" y="183"/>
                  </a:lnTo>
                  <a:lnTo>
                    <a:pt x="760" y="183"/>
                  </a:lnTo>
                  <a:lnTo>
                    <a:pt x="758" y="183"/>
                  </a:lnTo>
                  <a:lnTo>
                    <a:pt x="758" y="183"/>
                  </a:lnTo>
                  <a:lnTo>
                    <a:pt x="756" y="183"/>
                  </a:lnTo>
                  <a:lnTo>
                    <a:pt x="760" y="183"/>
                  </a:lnTo>
                  <a:lnTo>
                    <a:pt x="766" y="179"/>
                  </a:lnTo>
                  <a:lnTo>
                    <a:pt x="770" y="179"/>
                  </a:lnTo>
                  <a:lnTo>
                    <a:pt x="772" y="177"/>
                  </a:lnTo>
                  <a:lnTo>
                    <a:pt x="772" y="177"/>
                  </a:lnTo>
                  <a:lnTo>
                    <a:pt x="772" y="177"/>
                  </a:lnTo>
                  <a:lnTo>
                    <a:pt x="768" y="177"/>
                  </a:lnTo>
                  <a:lnTo>
                    <a:pt x="768" y="177"/>
                  </a:lnTo>
                  <a:lnTo>
                    <a:pt x="768" y="177"/>
                  </a:lnTo>
                  <a:lnTo>
                    <a:pt x="770" y="175"/>
                  </a:lnTo>
                  <a:lnTo>
                    <a:pt x="772" y="175"/>
                  </a:lnTo>
                  <a:lnTo>
                    <a:pt x="772" y="175"/>
                  </a:lnTo>
                  <a:lnTo>
                    <a:pt x="772" y="175"/>
                  </a:lnTo>
                  <a:lnTo>
                    <a:pt x="772" y="175"/>
                  </a:lnTo>
                  <a:lnTo>
                    <a:pt x="774" y="177"/>
                  </a:lnTo>
                  <a:lnTo>
                    <a:pt x="776" y="177"/>
                  </a:lnTo>
                  <a:lnTo>
                    <a:pt x="778" y="177"/>
                  </a:lnTo>
                  <a:lnTo>
                    <a:pt x="778" y="175"/>
                  </a:lnTo>
                  <a:lnTo>
                    <a:pt x="781" y="175"/>
                  </a:lnTo>
                  <a:lnTo>
                    <a:pt x="778" y="175"/>
                  </a:lnTo>
                  <a:lnTo>
                    <a:pt x="778" y="173"/>
                  </a:lnTo>
                  <a:lnTo>
                    <a:pt x="778" y="173"/>
                  </a:lnTo>
                  <a:lnTo>
                    <a:pt x="778" y="173"/>
                  </a:lnTo>
                  <a:lnTo>
                    <a:pt x="778" y="173"/>
                  </a:lnTo>
                  <a:lnTo>
                    <a:pt x="776" y="173"/>
                  </a:lnTo>
                  <a:lnTo>
                    <a:pt x="776" y="175"/>
                  </a:lnTo>
                  <a:lnTo>
                    <a:pt x="776" y="173"/>
                  </a:lnTo>
                  <a:lnTo>
                    <a:pt x="776" y="173"/>
                  </a:lnTo>
                  <a:lnTo>
                    <a:pt x="776" y="173"/>
                  </a:lnTo>
                  <a:lnTo>
                    <a:pt x="776" y="173"/>
                  </a:lnTo>
                  <a:lnTo>
                    <a:pt x="776" y="171"/>
                  </a:lnTo>
                  <a:lnTo>
                    <a:pt x="776" y="169"/>
                  </a:lnTo>
                  <a:lnTo>
                    <a:pt x="776" y="169"/>
                  </a:lnTo>
                  <a:lnTo>
                    <a:pt x="776" y="169"/>
                  </a:lnTo>
                  <a:lnTo>
                    <a:pt x="774" y="169"/>
                  </a:lnTo>
                  <a:lnTo>
                    <a:pt x="774" y="167"/>
                  </a:lnTo>
                  <a:lnTo>
                    <a:pt x="774" y="167"/>
                  </a:lnTo>
                  <a:lnTo>
                    <a:pt x="772" y="165"/>
                  </a:lnTo>
                  <a:lnTo>
                    <a:pt x="772" y="165"/>
                  </a:lnTo>
                  <a:lnTo>
                    <a:pt x="774" y="165"/>
                  </a:lnTo>
                  <a:lnTo>
                    <a:pt x="774" y="165"/>
                  </a:lnTo>
                  <a:lnTo>
                    <a:pt x="776" y="163"/>
                  </a:lnTo>
                  <a:lnTo>
                    <a:pt x="778" y="160"/>
                  </a:lnTo>
                  <a:lnTo>
                    <a:pt x="778" y="158"/>
                  </a:lnTo>
                  <a:lnTo>
                    <a:pt x="778" y="158"/>
                  </a:lnTo>
                  <a:lnTo>
                    <a:pt x="778" y="158"/>
                  </a:lnTo>
                  <a:lnTo>
                    <a:pt x="778" y="156"/>
                  </a:lnTo>
                  <a:lnTo>
                    <a:pt x="778" y="154"/>
                  </a:lnTo>
                  <a:lnTo>
                    <a:pt x="776" y="154"/>
                  </a:lnTo>
                  <a:lnTo>
                    <a:pt x="776" y="154"/>
                  </a:lnTo>
                  <a:lnTo>
                    <a:pt x="776" y="152"/>
                  </a:lnTo>
                  <a:lnTo>
                    <a:pt x="776" y="152"/>
                  </a:lnTo>
                  <a:lnTo>
                    <a:pt x="776" y="152"/>
                  </a:lnTo>
                  <a:lnTo>
                    <a:pt x="776" y="152"/>
                  </a:lnTo>
                  <a:lnTo>
                    <a:pt x="774" y="152"/>
                  </a:lnTo>
                  <a:lnTo>
                    <a:pt x="772" y="152"/>
                  </a:lnTo>
                  <a:lnTo>
                    <a:pt x="770" y="152"/>
                  </a:lnTo>
                  <a:lnTo>
                    <a:pt x="770" y="150"/>
                  </a:lnTo>
                  <a:lnTo>
                    <a:pt x="772" y="150"/>
                  </a:lnTo>
                  <a:lnTo>
                    <a:pt x="772" y="148"/>
                  </a:lnTo>
                  <a:lnTo>
                    <a:pt x="770" y="148"/>
                  </a:lnTo>
                  <a:lnTo>
                    <a:pt x="770" y="148"/>
                  </a:lnTo>
                  <a:lnTo>
                    <a:pt x="768" y="148"/>
                  </a:lnTo>
                  <a:lnTo>
                    <a:pt x="764" y="150"/>
                  </a:lnTo>
                  <a:lnTo>
                    <a:pt x="758" y="152"/>
                  </a:lnTo>
                  <a:lnTo>
                    <a:pt x="756" y="152"/>
                  </a:lnTo>
                  <a:lnTo>
                    <a:pt x="752" y="154"/>
                  </a:lnTo>
                  <a:lnTo>
                    <a:pt x="750" y="154"/>
                  </a:lnTo>
                  <a:lnTo>
                    <a:pt x="750" y="154"/>
                  </a:lnTo>
                  <a:lnTo>
                    <a:pt x="750" y="156"/>
                  </a:lnTo>
                  <a:lnTo>
                    <a:pt x="752" y="156"/>
                  </a:lnTo>
                  <a:lnTo>
                    <a:pt x="754" y="156"/>
                  </a:lnTo>
                  <a:lnTo>
                    <a:pt x="754" y="156"/>
                  </a:lnTo>
                  <a:lnTo>
                    <a:pt x="754" y="156"/>
                  </a:lnTo>
                  <a:lnTo>
                    <a:pt x="750" y="158"/>
                  </a:lnTo>
                  <a:lnTo>
                    <a:pt x="750" y="158"/>
                  </a:lnTo>
                  <a:lnTo>
                    <a:pt x="748" y="158"/>
                  </a:lnTo>
                  <a:lnTo>
                    <a:pt x="748" y="158"/>
                  </a:lnTo>
                  <a:lnTo>
                    <a:pt x="748" y="156"/>
                  </a:lnTo>
                  <a:lnTo>
                    <a:pt x="746" y="156"/>
                  </a:lnTo>
                  <a:lnTo>
                    <a:pt x="746" y="156"/>
                  </a:lnTo>
                  <a:lnTo>
                    <a:pt x="746" y="156"/>
                  </a:lnTo>
                  <a:lnTo>
                    <a:pt x="742" y="158"/>
                  </a:lnTo>
                  <a:lnTo>
                    <a:pt x="739" y="158"/>
                  </a:lnTo>
                  <a:lnTo>
                    <a:pt x="739" y="160"/>
                  </a:lnTo>
                  <a:lnTo>
                    <a:pt x="737" y="160"/>
                  </a:lnTo>
                  <a:lnTo>
                    <a:pt x="737" y="160"/>
                  </a:lnTo>
                  <a:lnTo>
                    <a:pt x="737" y="160"/>
                  </a:lnTo>
                  <a:lnTo>
                    <a:pt x="735" y="160"/>
                  </a:lnTo>
                  <a:lnTo>
                    <a:pt x="735" y="163"/>
                  </a:lnTo>
                  <a:lnTo>
                    <a:pt x="735" y="163"/>
                  </a:lnTo>
                  <a:lnTo>
                    <a:pt x="731" y="165"/>
                  </a:lnTo>
                  <a:lnTo>
                    <a:pt x="731" y="167"/>
                  </a:lnTo>
                  <a:lnTo>
                    <a:pt x="731" y="169"/>
                  </a:lnTo>
                  <a:lnTo>
                    <a:pt x="731" y="169"/>
                  </a:lnTo>
                  <a:lnTo>
                    <a:pt x="733" y="169"/>
                  </a:lnTo>
                  <a:lnTo>
                    <a:pt x="737" y="169"/>
                  </a:lnTo>
                  <a:lnTo>
                    <a:pt x="737" y="169"/>
                  </a:lnTo>
                  <a:lnTo>
                    <a:pt x="735" y="169"/>
                  </a:lnTo>
                  <a:lnTo>
                    <a:pt x="735" y="169"/>
                  </a:lnTo>
                  <a:lnTo>
                    <a:pt x="735" y="171"/>
                  </a:lnTo>
                  <a:lnTo>
                    <a:pt x="733" y="169"/>
                  </a:lnTo>
                  <a:lnTo>
                    <a:pt x="731" y="171"/>
                  </a:lnTo>
                  <a:lnTo>
                    <a:pt x="731" y="171"/>
                  </a:lnTo>
                  <a:lnTo>
                    <a:pt x="729" y="171"/>
                  </a:lnTo>
                  <a:lnTo>
                    <a:pt x="729" y="171"/>
                  </a:lnTo>
                  <a:lnTo>
                    <a:pt x="723" y="173"/>
                  </a:lnTo>
                  <a:lnTo>
                    <a:pt x="723" y="175"/>
                  </a:lnTo>
                  <a:lnTo>
                    <a:pt x="723" y="175"/>
                  </a:lnTo>
                  <a:lnTo>
                    <a:pt x="721" y="177"/>
                  </a:lnTo>
                  <a:lnTo>
                    <a:pt x="723" y="179"/>
                  </a:lnTo>
                  <a:lnTo>
                    <a:pt x="723" y="179"/>
                  </a:lnTo>
                  <a:lnTo>
                    <a:pt x="723" y="181"/>
                  </a:lnTo>
                  <a:lnTo>
                    <a:pt x="723" y="181"/>
                  </a:lnTo>
                  <a:lnTo>
                    <a:pt x="723" y="181"/>
                  </a:lnTo>
                  <a:lnTo>
                    <a:pt x="723" y="181"/>
                  </a:lnTo>
                  <a:lnTo>
                    <a:pt x="725" y="181"/>
                  </a:lnTo>
                  <a:lnTo>
                    <a:pt x="727" y="183"/>
                  </a:lnTo>
                  <a:lnTo>
                    <a:pt x="727" y="183"/>
                  </a:lnTo>
                  <a:lnTo>
                    <a:pt x="729" y="183"/>
                  </a:lnTo>
                  <a:lnTo>
                    <a:pt x="733" y="185"/>
                  </a:lnTo>
                  <a:lnTo>
                    <a:pt x="733" y="185"/>
                  </a:lnTo>
                  <a:lnTo>
                    <a:pt x="735" y="183"/>
                  </a:lnTo>
                  <a:lnTo>
                    <a:pt x="735" y="183"/>
                  </a:lnTo>
                  <a:lnTo>
                    <a:pt x="735" y="183"/>
                  </a:lnTo>
                  <a:lnTo>
                    <a:pt x="737" y="185"/>
                  </a:lnTo>
                  <a:lnTo>
                    <a:pt x="737" y="185"/>
                  </a:lnTo>
                  <a:lnTo>
                    <a:pt x="737" y="187"/>
                  </a:lnTo>
                  <a:lnTo>
                    <a:pt x="737" y="187"/>
                  </a:lnTo>
                  <a:lnTo>
                    <a:pt x="739" y="187"/>
                  </a:lnTo>
                  <a:lnTo>
                    <a:pt x="742" y="187"/>
                  </a:lnTo>
                  <a:lnTo>
                    <a:pt x="742" y="187"/>
                  </a:lnTo>
                  <a:lnTo>
                    <a:pt x="744" y="185"/>
                  </a:lnTo>
                  <a:lnTo>
                    <a:pt x="746" y="185"/>
                  </a:lnTo>
                  <a:lnTo>
                    <a:pt x="746" y="187"/>
                  </a:lnTo>
                  <a:lnTo>
                    <a:pt x="746" y="187"/>
                  </a:lnTo>
                  <a:lnTo>
                    <a:pt x="746" y="187"/>
                  </a:lnTo>
                  <a:lnTo>
                    <a:pt x="746" y="187"/>
                  </a:lnTo>
                  <a:lnTo>
                    <a:pt x="746" y="187"/>
                  </a:lnTo>
                  <a:lnTo>
                    <a:pt x="746" y="189"/>
                  </a:lnTo>
                  <a:lnTo>
                    <a:pt x="744" y="189"/>
                  </a:lnTo>
                  <a:lnTo>
                    <a:pt x="739" y="189"/>
                  </a:lnTo>
                  <a:lnTo>
                    <a:pt x="739" y="189"/>
                  </a:lnTo>
                  <a:lnTo>
                    <a:pt x="742" y="189"/>
                  </a:lnTo>
                  <a:lnTo>
                    <a:pt x="744" y="187"/>
                  </a:lnTo>
                  <a:lnTo>
                    <a:pt x="746" y="187"/>
                  </a:lnTo>
                  <a:lnTo>
                    <a:pt x="742" y="187"/>
                  </a:lnTo>
                  <a:lnTo>
                    <a:pt x="737" y="189"/>
                  </a:lnTo>
                  <a:lnTo>
                    <a:pt x="735" y="189"/>
                  </a:lnTo>
                  <a:lnTo>
                    <a:pt x="735" y="189"/>
                  </a:lnTo>
                  <a:lnTo>
                    <a:pt x="735" y="189"/>
                  </a:lnTo>
                  <a:lnTo>
                    <a:pt x="733" y="191"/>
                  </a:lnTo>
                  <a:lnTo>
                    <a:pt x="733" y="191"/>
                  </a:lnTo>
                  <a:lnTo>
                    <a:pt x="735" y="191"/>
                  </a:lnTo>
                  <a:lnTo>
                    <a:pt x="735" y="191"/>
                  </a:lnTo>
                  <a:lnTo>
                    <a:pt x="731" y="193"/>
                  </a:lnTo>
                  <a:lnTo>
                    <a:pt x="727" y="193"/>
                  </a:lnTo>
                  <a:lnTo>
                    <a:pt x="727" y="195"/>
                  </a:lnTo>
                  <a:lnTo>
                    <a:pt x="725" y="197"/>
                  </a:lnTo>
                  <a:lnTo>
                    <a:pt x="725" y="197"/>
                  </a:lnTo>
                  <a:lnTo>
                    <a:pt x="725" y="197"/>
                  </a:lnTo>
                  <a:lnTo>
                    <a:pt x="729" y="197"/>
                  </a:lnTo>
                  <a:lnTo>
                    <a:pt x="731" y="197"/>
                  </a:lnTo>
                  <a:lnTo>
                    <a:pt x="731" y="197"/>
                  </a:lnTo>
                  <a:lnTo>
                    <a:pt x="733" y="195"/>
                  </a:lnTo>
                  <a:lnTo>
                    <a:pt x="735" y="193"/>
                  </a:lnTo>
                  <a:lnTo>
                    <a:pt x="735" y="193"/>
                  </a:lnTo>
                  <a:lnTo>
                    <a:pt x="735" y="193"/>
                  </a:lnTo>
                  <a:lnTo>
                    <a:pt x="737" y="193"/>
                  </a:lnTo>
                  <a:lnTo>
                    <a:pt x="737" y="193"/>
                  </a:lnTo>
                  <a:lnTo>
                    <a:pt x="737" y="195"/>
                  </a:lnTo>
                  <a:lnTo>
                    <a:pt x="737" y="195"/>
                  </a:lnTo>
                  <a:lnTo>
                    <a:pt x="735" y="195"/>
                  </a:lnTo>
                  <a:lnTo>
                    <a:pt x="735" y="197"/>
                  </a:lnTo>
                  <a:lnTo>
                    <a:pt x="733" y="200"/>
                  </a:lnTo>
                  <a:lnTo>
                    <a:pt x="733" y="200"/>
                  </a:lnTo>
                  <a:lnTo>
                    <a:pt x="733" y="200"/>
                  </a:lnTo>
                  <a:lnTo>
                    <a:pt x="735" y="200"/>
                  </a:lnTo>
                  <a:lnTo>
                    <a:pt x="735" y="200"/>
                  </a:lnTo>
                  <a:lnTo>
                    <a:pt x="731" y="202"/>
                  </a:lnTo>
                  <a:lnTo>
                    <a:pt x="727" y="202"/>
                  </a:lnTo>
                  <a:lnTo>
                    <a:pt x="725" y="204"/>
                  </a:lnTo>
                  <a:lnTo>
                    <a:pt x="721" y="206"/>
                  </a:lnTo>
                  <a:lnTo>
                    <a:pt x="719" y="206"/>
                  </a:lnTo>
                  <a:lnTo>
                    <a:pt x="717" y="206"/>
                  </a:lnTo>
                  <a:lnTo>
                    <a:pt x="713" y="208"/>
                  </a:lnTo>
                  <a:lnTo>
                    <a:pt x="711" y="208"/>
                  </a:lnTo>
                  <a:lnTo>
                    <a:pt x="709" y="208"/>
                  </a:lnTo>
                  <a:lnTo>
                    <a:pt x="709" y="208"/>
                  </a:lnTo>
                  <a:lnTo>
                    <a:pt x="707" y="208"/>
                  </a:lnTo>
                  <a:lnTo>
                    <a:pt x="705" y="208"/>
                  </a:lnTo>
                  <a:lnTo>
                    <a:pt x="705" y="208"/>
                  </a:lnTo>
                  <a:lnTo>
                    <a:pt x="703" y="210"/>
                  </a:lnTo>
                  <a:lnTo>
                    <a:pt x="696" y="214"/>
                  </a:lnTo>
                  <a:lnTo>
                    <a:pt x="696" y="214"/>
                  </a:lnTo>
                  <a:lnTo>
                    <a:pt x="696" y="216"/>
                  </a:lnTo>
                  <a:lnTo>
                    <a:pt x="696" y="216"/>
                  </a:lnTo>
                  <a:lnTo>
                    <a:pt x="696" y="220"/>
                  </a:lnTo>
                  <a:lnTo>
                    <a:pt x="694" y="220"/>
                  </a:lnTo>
                  <a:lnTo>
                    <a:pt x="692" y="222"/>
                  </a:lnTo>
                  <a:lnTo>
                    <a:pt x="690" y="226"/>
                  </a:lnTo>
                  <a:lnTo>
                    <a:pt x="688" y="226"/>
                  </a:lnTo>
                  <a:lnTo>
                    <a:pt x="688" y="226"/>
                  </a:lnTo>
                  <a:lnTo>
                    <a:pt x="686" y="226"/>
                  </a:lnTo>
                  <a:lnTo>
                    <a:pt x="682" y="226"/>
                  </a:lnTo>
                  <a:lnTo>
                    <a:pt x="680" y="226"/>
                  </a:lnTo>
                  <a:lnTo>
                    <a:pt x="680" y="226"/>
                  </a:lnTo>
                  <a:lnTo>
                    <a:pt x="680" y="226"/>
                  </a:lnTo>
                  <a:lnTo>
                    <a:pt x="682" y="230"/>
                  </a:lnTo>
                  <a:lnTo>
                    <a:pt x="680" y="230"/>
                  </a:lnTo>
                  <a:lnTo>
                    <a:pt x="680" y="230"/>
                  </a:lnTo>
                  <a:lnTo>
                    <a:pt x="680" y="230"/>
                  </a:lnTo>
                  <a:lnTo>
                    <a:pt x="680" y="230"/>
                  </a:lnTo>
                  <a:lnTo>
                    <a:pt x="680" y="228"/>
                  </a:lnTo>
                  <a:lnTo>
                    <a:pt x="678" y="226"/>
                  </a:lnTo>
                  <a:lnTo>
                    <a:pt x="678" y="224"/>
                  </a:lnTo>
                  <a:lnTo>
                    <a:pt x="678" y="224"/>
                  </a:lnTo>
                  <a:lnTo>
                    <a:pt x="678" y="224"/>
                  </a:lnTo>
                  <a:lnTo>
                    <a:pt x="678" y="224"/>
                  </a:lnTo>
                  <a:lnTo>
                    <a:pt x="680" y="224"/>
                  </a:lnTo>
                  <a:lnTo>
                    <a:pt x="680" y="224"/>
                  </a:lnTo>
                  <a:lnTo>
                    <a:pt x="682" y="224"/>
                  </a:lnTo>
                  <a:lnTo>
                    <a:pt x="682" y="224"/>
                  </a:lnTo>
                  <a:lnTo>
                    <a:pt x="684" y="226"/>
                  </a:lnTo>
                  <a:lnTo>
                    <a:pt x="684" y="226"/>
                  </a:lnTo>
                  <a:lnTo>
                    <a:pt x="686" y="226"/>
                  </a:lnTo>
                  <a:lnTo>
                    <a:pt x="686" y="226"/>
                  </a:lnTo>
                  <a:lnTo>
                    <a:pt x="688" y="226"/>
                  </a:lnTo>
                  <a:lnTo>
                    <a:pt x="688" y="226"/>
                  </a:lnTo>
                  <a:lnTo>
                    <a:pt x="690" y="224"/>
                  </a:lnTo>
                  <a:lnTo>
                    <a:pt x="690" y="224"/>
                  </a:lnTo>
                  <a:lnTo>
                    <a:pt x="690" y="224"/>
                  </a:lnTo>
                  <a:lnTo>
                    <a:pt x="692" y="222"/>
                  </a:lnTo>
                  <a:lnTo>
                    <a:pt x="690" y="222"/>
                  </a:lnTo>
                  <a:lnTo>
                    <a:pt x="690" y="222"/>
                  </a:lnTo>
                  <a:lnTo>
                    <a:pt x="690" y="222"/>
                  </a:lnTo>
                  <a:lnTo>
                    <a:pt x="688" y="222"/>
                  </a:lnTo>
                  <a:lnTo>
                    <a:pt x="688" y="222"/>
                  </a:lnTo>
                  <a:lnTo>
                    <a:pt x="690" y="220"/>
                  </a:lnTo>
                  <a:lnTo>
                    <a:pt x="690" y="220"/>
                  </a:lnTo>
                  <a:lnTo>
                    <a:pt x="688" y="220"/>
                  </a:lnTo>
                  <a:lnTo>
                    <a:pt x="686" y="220"/>
                  </a:lnTo>
                  <a:lnTo>
                    <a:pt x="684" y="220"/>
                  </a:lnTo>
                  <a:lnTo>
                    <a:pt x="684" y="220"/>
                  </a:lnTo>
                  <a:lnTo>
                    <a:pt x="686" y="220"/>
                  </a:lnTo>
                  <a:lnTo>
                    <a:pt x="686" y="218"/>
                  </a:lnTo>
                  <a:lnTo>
                    <a:pt x="684" y="218"/>
                  </a:lnTo>
                  <a:lnTo>
                    <a:pt x="686" y="216"/>
                  </a:lnTo>
                  <a:lnTo>
                    <a:pt x="688" y="214"/>
                  </a:lnTo>
                  <a:lnTo>
                    <a:pt x="690" y="214"/>
                  </a:lnTo>
                  <a:lnTo>
                    <a:pt x="692" y="212"/>
                  </a:lnTo>
                  <a:lnTo>
                    <a:pt x="698" y="208"/>
                  </a:lnTo>
                  <a:lnTo>
                    <a:pt x="700" y="206"/>
                  </a:lnTo>
                  <a:lnTo>
                    <a:pt x="698" y="206"/>
                  </a:lnTo>
                  <a:lnTo>
                    <a:pt x="692" y="208"/>
                  </a:lnTo>
                  <a:lnTo>
                    <a:pt x="692" y="208"/>
                  </a:lnTo>
                  <a:lnTo>
                    <a:pt x="692" y="208"/>
                  </a:lnTo>
                  <a:lnTo>
                    <a:pt x="690" y="208"/>
                  </a:lnTo>
                  <a:lnTo>
                    <a:pt x="690" y="208"/>
                  </a:lnTo>
                  <a:lnTo>
                    <a:pt x="688" y="208"/>
                  </a:lnTo>
                  <a:lnTo>
                    <a:pt x="688" y="208"/>
                  </a:lnTo>
                  <a:lnTo>
                    <a:pt x="694" y="206"/>
                  </a:lnTo>
                  <a:lnTo>
                    <a:pt x="694" y="206"/>
                  </a:lnTo>
                  <a:lnTo>
                    <a:pt x="696" y="204"/>
                  </a:lnTo>
                  <a:lnTo>
                    <a:pt x="692" y="206"/>
                  </a:lnTo>
                  <a:lnTo>
                    <a:pt x="688" y="206"/>
                  </a:lnTo>
                  <a:lnTo>
                    <a:pt x="688" y="206"/>
                  </a:lnTo>
                  <a:lnTo>
                    <a:pt x="688" y="204"/>
                  </a:lnTo>
                  <a:lnTo>
                    <a:pt x="688" y="204"/>
                  </a:lnTo>
                  <a:lnTo>
                    <a:pt x="688" y="202"/>
                  </a:lnTo>
                  <a:lnTo>
                    <a:pt x="688" y="202"/>
                  </a:lnTo>
                  <a:lnTo>
                    <a:pt x="686" y="202"/>
                  </a:lnTo>
                  <a:lnTo>
                    <a:pt x="686" y="202"/>
                  </a:lnTo>
                  <a:lnTo>
                    <a:pt x="684" y="202"/>
                  </a:lnTo>
                  <a:lnTo>
                    <a:pt x="684" y="202"/>
                  </a:lnTo>
                  <a:lnTo>
                    <a:pt x="682" y="202"/>
                  </a:lnTo>
                  <a:lnTo>
                    <a:pt x="682" y="202"/>
                  </a:lnTo>
                  <a:lnTo>
                    <a:pt x="680" y="202"/>
                  </a:lnTo>
                  <a:lnTo>
                    <a:pt x="680" y="202"/>
                  </a:lnTo>
                  <a:lnTo>
                    <a:pt x="680" y="204"/>
                  </a:lnTo>
                  <a:lnTo>
                    <a:pt x="676" y="204"/>
                  </a:lnTo>
                  <a:lnTo>
                    <a:pt x="674" y="204"/>
                  </a:lnTo>
                  <a:lnTo>
                    <a:pt x="672" y="204"/>
                  </a:lnTo>
                  <a:lnTo>
                    <a:pt x="672" y="204"/>
                  </a:lnTo>
                  <a:lnTo>
                    <a:pt x="672" y="204"/>
                  </a:lnTo>
                  <a:lnTo>
                    <a:pt x="670" y="204"/>
                  </a:lnTo>
                  <a:lnTo>
                    <a:pt x="670" y="204"/>
                  </a:lnTo>
                  <a:lnTo>
                    <a:pt x="670" y="206"/>
                  </a:lnTo>
                  <a:lnTo>
                    <a:pt x="670" y="206"/>
                  </a:lnTo>
                  <a:lnTo>
                    <a:pt x="670" y="208"/>
                  </a:lnTo>
                  <a:lnTo>
                    <a:pt x="670" y="208"/>
                  </a:lnTo>
                  <a:lnTo>
                    <a:pt x="668" y="208"/>
                  </a:lnTo>
                  <a:lnTo>
                    <a:pt x="668" y="208"/>
                  </a:lnTo>
                  <a:lnTo>
                    <a:pt x="668" y="208"/>
                  </a:lnTo>
                  <a:lnTo>
                    <a:pt x="670" y="210"/>
                  </a:lnTo>
                  <a:lnTo>
                    <a:pt x="670" y="212"/>
                  </a:lnTo>
                  <a:lnTo>
                    <a:pt x="674" y="210"/>
                  </a:lnTo>
                  <a:lnTo>
                    <a:pt x="676" y="210"/>
                  </a:lnTo>
                  <a:lnTo>
                    <a:pt x="678" y="210"/>
                  </a:lnTo>
                  <a:lnTo>
                    <a:pt x="680" y="212"/>
                  </a:lnTo>
                  <a:lnTo>
                    <a:pt x="680" y="212"/>
                  </a:lnTo>
                  <a:lnTo>
                    <a:pt x="680" y="212"/>
                  </a:lnTo>
                  <a:lnTo>
                    <a:pt x="680" y="212"/>
                  </a:lnTo>
                  <a:lnTo>
                    <a:pt x="680" y="214"/>
                  </a:lnTo>
                  <a:lnTo>
                    <a:pt x="678" y="214"/>
                  </a:lnTo>
                  <a:lnTo>
                    <a:pt x="678" y="214"/>
                  </a:lnTo>
                  <a:lnTo>
                    <a:pt x="676" y="214"/>
                  </a:lnTo>
                  <a:lnTo>
                    <a:pt x="674" y="216"/>
                  </a:lnTo>
                  <a:lnTo>
                    <a:pt x="672" y="216"/>
                  </a:lnTo>
                  <a:lnTo>
                    <a:pt x="670" y="214"/>
                  </a:lnTo>
                  <a:lnTo>
                    <a:pt x="670" y="214"/>
                  </a:lnTo>
                  <a:lnTo>
                    <a:pt x="668" y="214"/>
                  </a:lnTo>
                  <a:lnTo>
                    <a:pt x="668" y="210"/>
                  </a:lnTo>
                  <a:lnTo>
                    <a:pt x="668" y="208"/>
                  </a:lnTo>
                  <a:lnTo>
                    <a:pt x="666" y="208"/>
                  </a:lnTo>
                  <a:lnTo>
                    <a:pt x="666" y="208"/>
                  </a:lnTo>
                  <a:lnTo>
                    <a:pt x="666" y="208"/>
                  </a:lnTo>
                  <a:lnTo>
                    <a:pt x="664" y="210"/>
                  </a:lnTo>
                  <a:lnTo>
                    <a:pt x="664" y="210"/>
                  </a:lnTo>
                  <a:lnTo>
                    <a:pt x="664" y="210"/>
                  </a:lnTo>
                  <a:lnTo>
                    <a:pt x="666" y="212"/>
                  </a:lnTo>
                  <a:lnTo>
                    <a:pt x="666" y="212"/>
                  </a:lnTo>
                  <a:lnTo>
                    <a:pt x="666" y="212"/>
                  </a:lnTo>
                  <a:lnTo>
                    <a:pt x="664" y="212"/>
                  </a:lnTo>
                  <a:lnTo>
                    <a:pt x="661" y="212"/>
                  </a:lnTo>
                  <a:lnTo>
                    <a:pt x="659" y="214"/>
                  </a:lnTo>
                  <a:lnTo>
                    <a:pt x="657" y="214"/>
                  </a:lnTo>
                  <a:lnTo>
                    <a:pt x="655" y="214"/>
                  </a:lnTo>
                  <a:lnTo>
                    <a:pt x="655" y="214"/>
                  </a:lnTo>
                  <a:lnTo>
                    <a:pt x="653" y="214"/>
                  </a:lnTo>
                  <a:lnTo>
                    <a:pt x="651" y="212"/>
                  </a:lnTo>
                  <a:lnTo>
                    <a:pt x="649" y="212"/>
                  </a:lnTo>
                  <a:lnTo>
                    <a:pt x="643" y="212"/>
                  </a:lnTo>
                  <a:lnTo>
                    <a:pt x="641" y="212"/>
                  </a:lnTo>
                  <a:lnTo>
                    <a:pt x="639" y="212"/>
                  </a:lnTo>
                  <a:lnTo>
                    <a:pt x="639" y="212"/>
                  </a:lnTo>
                  <a:lnTo>
                    <a:pt x="637" y="212"/>
                  </a:lnTo>
                  <a:lnTo>
                    <a:pt x="635" y="212"/>
                  </a:lnTo>
                  <a:lnTo>
                    <a:pt x="633" y="214"/>
                  </a:lnTo>
                  <a:lnTo>
                    <a:pt x="633" y="214"/>
                  </a:lnTo>
                  <a:lnTo>
                    <a:pt x="627" y="214"/>
                  </a:lnTo>
                  <a:lnTo>
                    <a:pt x="624" y="214"/>
                  </a:lnTo>
                  <a:lnTo>
                    <a:pt x="622" y="214"/>
                  </a:lnTo>
                  <a:lnTo>
                    <a:pt x="620" y="214"/>
                  </a:lnTo>
                  <a:lnTo>
                    <a:pt x="618" y="214"/>
                  </a:lnTo>
                  <a:lnTo>
                    <a:pt x="616" y="214"/>
                  </a:lnTo>
                  <a:lnTo>
                    <a:pt x="616" y="214"/>
                  </a:lnTo>
                  <a:lnTo>
                    <a:pt x="614" y="212"/>
                  </a:lnTo>
                  <a:lnTo>
                    <a:pt x="612" y="212"/>
                  </a:lnTo>
                  <a:lnTo>
                    <a:pt x="612" y="210"/>
                  </a:lnTo>
                  <a:lnTo>
                    <a:pt x="610" y="208"/>
                  </a:lnTo>
                  <a:lnTo>
                    <a:pt x="608" y="208"/>
                  </a:lnTo>
                  <a:lnTo>
                    <a:pt x="606" y="208"/>
                  </a:lnTo>
                  <a:lnTo>
                    <a:pt x="602" y="208"/>
                  </a:lnTo>
                  <a:lnTo>
                    <a:pt x="600" y="210"/>
                  </a:lnTo>
                  <a:lnTo>
                    <a:pt x="598" y="208"/>
                  </a:lnTo>
                  <a:lnTo>
                    <a:pt x="596" y="208"/>
                  </a:lnTo>
                  <a:lnTo>
                    <a:pt x="596" y="208"/>
                  </a:lnTo>
                  <a:lnTo>
                    <a:pt x="596" y="208"/>
                  </a:lnTo>
                  <a:lnTo>
                    <a:pt x="596" y="206"/>
                  </a:lnTo>
                  <a:lnTo>
                    <a:pt x="598" y="206"/>
                  </a:lnTo>
                  <a:lnTo>
                    <a:pt x="596" y="206"/>
                  </a:lnTo>
                  <a:lnTo>
                    <a:pt x="594" y="206"/>
                  </a:lnTo>
                  <a:lnTo>
                    <a:pt x="594" y="206"/>
                  </a:lnTo>
                  <a:lnTo>
                    <a:pt x="594" y="204"/>
                  </a:lnTo>
                  <a:lnTo>
                    <a:pt x="594" y="204"/>
                  </a:lnTo>
                  <a:lnTo>
                    <a:pt x="594" y="204"/>
                  </a:lnTo>
                  <a:lnTo>
                    <a:pt x="594" y="206"/>
                  </a:lnTo>
                  <a:lnTo>
                    <a:pt x="592" y="204"/>
                  </a:lnTo>
                  <a:lnTo>
                    <a:pt x="592" y="204"/>
                  </a:lnTo>
                  <a:lnTo>
                    <a:pt x="592" y="204"/>
                  </a:lnTo>
                  <a:lnTo>
                    <a:pt x="592" y="202"/>
                  </a:lnTo>
                  <a:lnTo>
                    <a:pt x="594" y="200"/>
                  </a:lnTo>
                  <a:lnTo>
                    <a:pt x="594" y="197"/>
                  </a:lnTo>
                  <a:lnTo>
                    <a:pt x="594" y="197"/>
                  </a:lnTo>
                  <a:lnTo>
                    <a:pt x="594" y="195"/>
                  </a:lnTo>
                  <a:lnTo>
                    <a:pt x="594" y="195"/>
                  </a:lnTo>
                  <a:lnTo>
                    <a:pt x="592" y="195"/>
                  </a:lnTo>
                  <a:lnTo>
                    <a:pt x="590" y="195"/>
                  </a:lnTo>
                  <a:lnTo>
                    <a:pt x="588" y="195"/>
                  </a:lnTo>
                  <a:lnTo>
                    <a:pt x="581" y="197"/>
                  </a:lnTo>
                  <a:lnTo>
                    <a:pt x="579" y="197"/>
                  </a:lnTo>
                  <a:lnTo>
                    <a:pt x="571" y="200"/>
                  </a:lnTo>
                  <a:lnTo>
                    <a:pt x="567" y="200"/>
                  </a:lnTo>
                  <a:lnTo>
                    <a:pt x="559" y="200"/>
                  </a:lnTo>
                  <a:lnTo>
                    <a:pt x="559" y="200"/>
                  </a:lnTo>
                  <a:lnTo>
                    <a:pt x="553" y="204"/>
                  </a:lnTo>
                  <a:lnTo>
                    <a:pt x="551" y="204"/>
                  </a:lnTo>
                  <a:lnTo>
                    <a:pt x="551" y="206"/>
                  </a:lnTo>
                  <a:lnTo>
                    <a:pt x="553" y="206"/>
                  </a:lnTo>
                  <a:lnTo>
                    <a:pt x="553" y="208"/>
                  </a:lnTo>
                  <a:lnTo>
                    <a:pt x="553" y="208"/>
                  </a:lnTo>
                  <a:lnTo>
                    <a:pt x="555" y="206"/>
                  </a:lnTo>
                  <a:lnTo>
                    <a:pt x="555" y="208"/>
                  </a:lnTo>
                  <a:lnTo>
                    <a:pt x="559" y="206"/>
                  </a:lnTo>
                  <a:lnTo>
                    <a:pt x="561" y="206"/>
                  </a:lnTo>
                  <a:lnTo>
                    <a:pt x="561" y="206"/>
                  </a:lnTo>
                  <a:lnTo>
                    <a:pt x="561" y="206"/>
                  </a:lnTo>
                  <a:lnTo>
                    <a:pt x="563" y="204"/>
                  </a:lnTo>
                  <a:lnTo>
                    <a:pt x="565" y="204"/>
                  </a:lnTo>
                  <a:lnTo>
                    <a:pt x="567" y="206"/>
                  </a:lnTo>
                  <a:lnTo>
                    <a:pt x="569" y="204"/>
                  </a:lnTo>
                  <a:lnTo>
                    <a:pt x="571" y="204"/>
                  </a:lnTo>
                  <a:lnTo>
                    <a:pt x="571" y="204"/>
                  </a:lnTo>
                  <a:lnTo>
                    <a:pt x="573" y="204"/>
                  </a:lnTo>
                  <a:lnTo>
                    <a:pt x="573" y="204"/>
                  </a:lnTo>
                  <a:lnTo>
                    <a:pt x="575" y="204"/>
                  </a:lnTo>
                  <a:lnTo>
                    <a:pt x="577" y="204"/>
                  </a:lnTo>
                  <a:lnTo>
                    <a:pt x="577" y="202"/>
                  </a:lnTo>
                  <a:lnTo>
                    <a:pt x="579" y="202"/>
                  </a:lnTo>
                  <a:lnTo>
                    <a:pt x="583" y="200"/>
                  </a:lnTo>
                  <a:lnTo>
                    <a:pt x="588" y="200"/>
                  </a:lnTo>
                  <a:lnTo>
                    <a:pt x="588" y="200"/>
                  </a:lnTo>
                  <a:lnTo>
                    <a:pt x="590" y="200"/>
                  </a:lnTo>
                  <a:lnTo>
                    <a:pt x="590" y="200"/>
                  </a:lnTo>
                  <a:lnTo>
                    <a:pt x="588" y="202"/>
                  </a:lnTo>
                  <a:lnTo>
                    <a:pt x="585" y="202"/>
                  </a:lnTo>
                  <a:lnTo>
                    <a:pt x="585" y="202"/>
                  </a:lnTo>
                  <a:lnTo>
                    <a:pt x="583" y="204"/>
                  </a:lnTo>
                  <a:lnTo>
                    <a:pt x="581" y="204"/>
                  </a:lnTo>
                  <a:lnTo>
                    <a:pt x="579" y="204"/>
                  </a:lnTo>
                  <a:lnTo>
                    <a:pt x="577" y="204"/>
                  </a:lnTo>
                  <a:lnTo>
                    <a:pt x="577" y="206"/>
                  </a:lnTo>
                  <a:lnTo>
                    <a:pt x="575" y="206"/>
                  </a:lnTo>
                  <a:lnTo>
                    <a:pt x="575" y="206"/>
                  </a:lnTo>
                  <a:lnTo>
                    <a:pt x="573" y="206"/>
                  </a:lnTo>
                  <a:lnTo>
                    <a:pt x="573" y="206"/>
                  </a:lnTo>
                  <a:lnTo>
                    <a:pt x="571" y="206"/>
                  </a:lnTo>
                  <a:lnTo>
                    <a:pt x="569" y="208"/>
                  </a:lnTo>
                  <a:lnTo>
                    <a:pt x="569" y="208"/>
                  </a:lnTo>
                  <a:lnTo>
                    <a:pt x="567" y="208"/>
                  </a:lnTo>
                  <a:lnTo>
                    <a:pt x="567" y="208"/>
                  </a:lnTo>
                  <a:lnTo>
                    <a:pt x="565" y="208"/>
                  </a:lnTo>
                  <a:lnTo>
                    <a:pt x="565" y="208"/>
                  </a:lnTo>
                  <a:lnTo>
                    <a:pt x="563" y="208"/>
                  </a:lnTo>
                  <a:lnTo>
                    <a:pt x="561" y="208"/>
                  </a:lnTo>
                  <a:lnTo>
                    <a:pt x="561" y="208"/>
                  </a:lnTo>
                  <a:lnTo>
                    <a:pt x="557" y="210"/>
                  </a:lnTo>
                  <a:lnTo>
                    <a:pt x="557" y="208"/>
                  </a:lnTo>
                  <a:lnTo>
                    <a:pt x="557" y="210"/>
                  </a:lnTo>
                  <a:lnTo>
                    <a:pt x="557" y="210"/>
                  </a:lnTo>
                  <a:lnTo>
                    <a:pt x="555" y="210"/>
                  </a:lnTo>
                  <a:lnTo>
                    <a:pt x="553" y="212"/>
                  </a:lnTo>
                  <a:lnTo>
                    <a:pt x="551" y="212"/>
                  </a:lnTo>
                  <a:lnTo>
                    <a:pt x="549" y="214"/>
                  </a:lnTo>
                  <a:lnTo>
                    <a:pt x="549" y="214"/>
                  </a:lnTo>
                  <a:lnTo>
                    <a:pt x="549" y="216"/>
                  </a:lnTo>
                  <a:lnTo>
                    <a:pt x="551" y="216"/>
                  </a:lnTo>
                  <a:lnTo>
                    <a:pt x="551" y="216"/>
                  </a:lnTo>
                  <a:lnTo>
                    <a:pt x="549" y="218"/>
                  </a:lnTo>
                  <a:lnTo>
                    <a:pt x="549" y="218"/>
                  </a:lnTo>
                  <a:lnTo>
                    <a:pt x="549" y="218"/>
                  </a:lnTo>
                  <a:lnTo>
                    <a:pt x="546" y="220"/>
                  </a:lnTo>
                  <a:lnTo>
                    <a:pt x="546" y="222"/>
                  </a:lnTo>
                  <a:lnTo>
                    <a:pt x="549" y="222"/>
                  </a:lnTo>
                  <a:lnTo>
                    <a:pt x="549" y="224"/>
                  </a:lnTo>
                  <a:lnTo>
                    <a:pt x="546" y="224"/>
                  </a:lnTo>
                  <a:lnTo>
                    <a:pt x="546" y="224"/>
                  </a:lnTo>
                  <a:lnTo>
                    <a:pt x="546" y="226"/>
                  </a:lnTo>
                  <a:lnTo>
                    <a:pt x="546" y="226"/>
                  </a:lnTo>
                  <a:lnTo>
                    <a:pt x="544" y="226"/>
                  </a:lnTo>
                  <a:lnTo>
                    <a:pt x="544" y="226"/>
                  </a:lnTo>
                  <a:lnTo>
                    <a:pt x="544" y="226"/>
                  </a:lnTo>
                  <a:lnTo>
                    <a:pt x="544" y="226"/>
                  </a:lnTo>
                  <a:lnTo>
                    <a:pt x="542" y="226"/>
                  </a:lnTo>
                  <a:lnTo>
                    <a:pt x="542" y="226"/>
                  </a:lnTo>
                  <a:lnTo>
                    <a:pt x="542" y="224"/>
                  </a:lnTo>
                  <a:lnTo>
                    <a:pt x="540" y="226"/>
                  </a:lnTo>
                  <a:lnTo>
                    <a:pt x="540" y="226"/>
                  </a:lnTo>
                  <a:lnTo>
                    <a:pt x="538" y="228"/>
                  </a:lnTo>
                  <a:lnTo>
                    <a:pt x="536" y="228"/>
                  </a:lnTo>
                  <a:lnTo>
                    <a:pt x="536" y="228"/>
                  </a:lnTo>
                  <a:lnTo>
                    <a:pt x="536" y="230"/>
                  </a:lnTo>
                  <a:lnTo>
                    <a:pt x="538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6" y="232"/>
                  </a:lnTo>
                  <a:lnTo>
                    <a:pt x="536" y="230"/>
                  </a:lnTo>
                  <a:lnTo>
                    <a:pt x="536" y="230"/>
                  </a:lnTo>
                  <a:lnTo>
                    <a:pt x="534" y="228"/>
                  </a:lnTo>
                  <a:lnTo>
                    <a:pt x="534" y="228"/>
                  </a:lnTo>
                  <a:lnTo>
                    <a:pt x="534" y="228"/>
                  </a:lnTo>
                  <a:lnTo>
                    <a:pt x="534" y="228"/>
                  </a:lnTo>
                  <a:lnTo>
                    <a:pt x="534" y="226"/>
                  </a:lnTo>
                  <a:lnTo>
                    <a:pt x="534" y="226"/>
                  </a:lnTo>
                  <a:lnTo>
                    <a:pt x="532" y="224"/>
                  </a:lnTo>
                  <a:lnTo>
                    <a:pt x="532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6" y="224"/>
                  </a:lnTo>
                  <a:lnTo>
                    <a:pt x="538" y="224"/>
                  </a:lnTo>
                  <a:lnTo>
                    <a:pt x="538" y="224"/>
                  </a:lnTo>
                  <a:lnTo>
                    <a:pt x="540" y="222"/>
                  </a:lnTo>
                  <a:lnTo>
                    <a:pt x="540" y="222"/>
                  </a:lnTo>
                  <a:lnTo>
                    <a:pt x="542" y="222"/>
                  </a:lnTo>
                  <a:lnTo>
                    <a:pt x="542" y="220"/>
                  </a:lnTo>
                  <a:lnTo>
                    <a:pt x="540" y="218"/>
                  </a:lnTo>
                  <a:lnTo>
                    <a:pt x="540" y="218"/>
                  </a:lnTo>
                  <a:lnTo>
                    <a:pt x="540" y="216"/>
                  </a:lnTo>
                  <a:lnTo>
                    <a:pt x="540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4" y="216"/>
                  </a:lnTo>
                  <a:lnTo>
                    <a:pt x="536" y="216"/>
                  </a:lnTo>
                  <a:lnTo>
                    <a:pt x="536" y="214"/>
                  </a:lnTo>
                  <a:lnTo>
                    <a:pt x="536" y="214"/>
                  </a:lnTo>
                  <a:lnTo>
                    <a:pt x="534" y="214"/>
                  </a:lnTo>
                  <a:lnTo>
                    <a:pt x="530" y="214"/>
                  </a:lnTo>
                  <a:lnTo>
                    <a:pt x="530" y="214"/>
                  </a:lnTo>
                  <a:lnTo>
                    <a:pt x="530" y="212"/>
                  </a:lnTo>
                  <a:lnTo>
                    <a:pt x="530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6" y="210"/>
                  </a:lnTo>
                  <a:lnTo>
                    <a:pt x="524" y="210"/>
                  </a:lnTo>
                  <a:lnTo>
                    <a:pt x="518" y="212"/>
                  </a:lnTo>
                  <a:lnTo>
                    <a:pt x="514" y="212"/>
                  </a:lnTo>
                  <a:lnTo>
                    <a:pt x="514" y="212"/>
                  </a:lnTo>
                  <a:lnTo>
                    <a:pt x="512" y="212"/>
                  </a:lnTo>
                  <a:lnTo>
                    <a:pt x="512" y="212"/>
                  </a:lnTo>
                  <a:lnTo>
                    <a:pt x="512" y="212"/>
                  </a:lnTo>
                  <a:lnTo>
                    <a:pt x="510" y="212"/>
                  </a:lnTo>
                  <a:lnTo>
                    <a:pt x="507" y="214"/>
                  </a:lnTo>
                  <a:lnTo>
                    <a:pt x="505" y="214"/>
                  </a:lnTo>
                  <a:lnTo>
                    <a:pt x="499" y="214"/>
                  </a:lnTo>
                  <a:lnTo>
                    <a:pt x="499" y="214"/>
                  </a:lnTo>
                  <a:lnTo>
                    <a:pt x="497" y="214"/>
                  </a:lnTo>
                  <a:lnTo>
                    <a:pt x="495" y="214"/>
                  </a:lnTo>
                  <a:lnTo>
                    <a:pt x="495" y="214"/>
                  </a:lnTo>
                  <a:lnTo>
                    <a:pt x="489" y="214"/>
                  </a:lnTo>
                  <a:lnTo>
                    <a:pt x="487" y="214"/>
                  </a:lnTo>
                  <a:lnTo>
                    <a:pt x="487" y="214"/>
                  </a:lnTo>
                  <a:lnTo>
                    <a:pt x="481" y="214"/>
                  </a:lnTo>
                  <a:lnTo>
                    <a:pt x="479" y="214"/>
                  </a:lnTo>
                  <a:lnTo>
                    <a:pt x="477" y="214"/>
                  </a:lnTo>
                  <a:lnTo>
                    <a:pt x="475" y="214"/>
                  </a:lnTo>
                  <a:lnTo>
                    <a:pt x="475" y="214"/>
                  </a:lnTo>
                  <a:lnTo>
                    <a:pt x="473" y="214"/>
                  </a:lnTo>
                  <a:lnTo>
                    <a:pt x="471" y="212"/>
                  </a:lnTo>
                  <a:lnTo>
                    <a:pt x="468" y="212"/>
                  </a:lnTo>
                  <a:lnTo>
                    <a:pt x="466" y="212"/>
                  </a:lnTo>
                  <a:lnTo>
                    <a:pt x="466" y="212"/>
                  </a:lnTo>
                  <a:lnTo>
                    <a:pt x="464" y="212"/>
                  </a:lnTo>
                  <a:lnTo>
                    <a:pt x="462" y="212"/>
                  </a:lnTo>
                  <a:lnTo>
                    <a:pt x="464" y="210"/>
                  </a:lnTo>
                  <a:lnTo>
                    <a:pt x="468" y="210"/>
                  </a:lnTo>
                  <a:lnTo>
                    <a:pt x="468" y="210"/>
                  </a:lnTo>
                  <a:lnTo>
                    <a:pt x="468" y="208"/>
                  </a:lnTo>
                  <a:lnTo>
                    <a:pt x="471" y="208"/>
                  </a:lnTo>
                  <a:lnTo>
                    <a:pt x="471" y="208"/>
                  </a:lnTo>
                  <a:lnTo>
                    <a:pt x="475" y="206"/>
                  </a:lnTo>
                  <a:lnTo>
                    <a:pt x="477" y="206"/>
                  </a:lnTo>
                  <a:lnTo>
                    <a:pt x="483" y="206"/>
                  </a:lnTo>
                  <a:lnTo>
                    <a:pt x="485" y="206"/>
                  </a:lnTo>
                  <a:lnTo>
                    <a:pt x="487" y="206"/>
                  </a:lnTo>
                  <a:lnTo>
                    <a:pt x="487" y="204"/>
                  </a:lnTo>
                  <a:lnTo>
                    <a:pt x="489" y="204"/>
                  </a:lnTo>
                  <a:lnTo>
                    <a:pt x="489" y="204"/>
                  </a:lnTo>
                  <a:lnTo>
                    <a:pt x="489" y="204"/>
                  </a:lnTo>
                  <a:lnTo>
                    <a:pt x="489" y="202"/>
                  </a:lnTo>
                  <a:lnTo>
                    <a:pt x="489" y="202"/>
                  </a:lnTo>
                  <a:lnTo>
                    <a:pt x="489" y="202"/>
                  </a:lnTo>
                  <a:lnTo>
                    <a:pt x="489" y="200"/>
                  </a:lnTo>
                  <a:lnTo>
                    <a:pt x="487" y="197"/>
                  </a:lnTo>
                  <a:lnTo>
                    <a:pt x="485" y="195"/>
                  </a:lnTo>
                  <a:lnTo>
                    <a:pt x="483" y="195"/>
                  </a:lnTo>
                  <a:lnTo>
                    <a:pt x="481" y="195"/>
                  </a:lnTo>
                  <a:lnTo>
                    <a:pt x="479" y="193"/>
                  </a:lnTo>
                  <a:lnTo>
                    <a:pt x="477" y="193"/>
                  </a:lnTo>
                  <a:lnTo>
                    <a:pt x="477" y="193"/>
                  </a:lnTo>
                  <a:lnTo>
                    <a:pt x="475" y="193"/>
                  </a:lnTo>
                  <a:lnTo>
                    <a:pt x="473" y="193"/>
                  </a:lnTo>
                  <a:lnTo>
                    <a:pt x="473" y="193"/>
                  </a:lnTo>
                  <a:lnTo>
                    <a:pt x="471" y="193"/>
                  </a:lnTo>
                  <a:lnTo>
                    <a:pt x="473" y="195"/>
                  </a:lnTo>
                  <a:lnTo>
                    <a:pt x="473" y="195"/>
                  </a:lnTo>
                  <a:lnTo>
                    <a:pt x="471" y="195"/>
                  </a:lnTo>
                  <a:lnTo>
                    <a:pt x="468" y="195"/>
                  </a:lnTo>
                  <a:lnTo>
                    <a:pt x="468" y="195"/>
                  </a:lnTo>
                  <a:lnTo>
                    <a:pt x="466" y="195"/>
                  </a:lnTo>
                  <a:lnTo>
                    <a:pt x="462" y="195"/>
                  </a:lnTo>
                  <a:lnTo>
                    <a:pt x="460" y="195"/>
                  </a:lnTo>
                  <a:lnTo>
                    <a:pt x="460" y="195"/>
                  </a:lnTo>
                  <a:lnTo>
                    <a:pt x="458" y="195"/>
                  </a:lnTo>
                  <a:lnTo>
                    <a:pt x="454" y="193"/>
                  </a:lnTo>
                  <a:lnTo>
                    <a:pt x="452" y="193"/>
                  </a:lnTo>
                  <a:lnTo>
                    <a:pt x="450" y="191"/>
                  </a:lnTo>
                  <a:lnTo>
                    <a:pt x="448" y="191"/>
                  </a:lnTo>
                  <a:lnTo>
                    <a:pt x="448" y="189"/>
                  </a:lnTo>
                  <a:lnTo>
                    <a:pt x="446" y="189"/>
                  </a:lnTo>
                  <a:lnTo>
                    <a:pt x="436" y="189"/>
                  </a:lnTo>
                  <a:lnTo>
                    <a:pt x="434" y="187"/>
                  </a:lnTo>
                  <a:lnTo>
                    <a:pt x="432" y="187"/>
                  </a:lnTo>
                  <a:lnTo>
                    <a:pt x="429" y="185"/>
                  </a:lnTo>
                  <a:lnTo>
                    <a:pt x="429" y="183"/>
                  </a:lnTo>
                  <a:lnTo>
                    <a:pt x="425" y="183"/>
                  </a:lnTo>
                  <a:lnTo>
                    <a:pt x="423" y="181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5" y="181"/>
                  </a:lnTo>
                  <a:lnTo>
                    <a:pt x="411" y="181"/>
                  </a:lnTo>
                  <a:lnTo>
                    <a:pt x="411" y="181"/>
                  </a:lnTo>
                  <a:lnTo>
                    <a:pt x="409" y="181"/>
                  </a:lnTo>
                  <a:lnTo>
                    <a:pt x="407" y="181"/>
                  </a:lnTo>
                  <a:lnTo>
                    <a:pt x="407" y="181"/>
                  </a:lnTo>
                  <a:lnTo>
                    <a:pt x="405" y="183"/>
                  </a:lnTo>
                  <a:lnTo>
                    <a:pt x="403" y="183"/>
                  </a:lnTo>
                  <a:lnTo>
                    <a:pt x="401" y="185"/>
                  </a:lnTo>
                  <a:lnTo>
                    <a:pt x="399" y="185"/>
                  </a:lnTo>
                  <a:lnTo>
                    <a:pt x="397" y="185"/>
                  </a:lnTo>
                  <a:lnTo>
                    <a:pt x="395" y="187"/>
                  </a:lnTo>
                  <a:lnTo>
                    <a:pt x="395" y="187"/>
                  </a:lnTo>
                  <a:lnTo>
                    <a:pt x="392" y="187"/>
                  </a:lnTo>
                  <a:lnTo>
                    <a:pt x="386" y="187"/>
                  </a:lnTo>
                  <a:lnTo>
                    <a:pt x="386" y="187"/>
                  </a:lnTo>
                  <a:lnTo>
                    <a:pt x="384" y="187"/>
                  </a:lnTo>
                  <a:lnTo>
                    <a:pt x="382" y="187"/>
                  </a:lnTo>
                  <a:lnTo>
                    <a:pt x="382" y="187"/>
                  </a:lnTo>
                  <a:lnTo>
                    <a:pt x="382" y="187"/>
                  </a:lnTo>
                  <a:lnTo>
                    <a:pt x="384" y="187"/>
                  </a:lnTo>
                  <a:lnTo>
                    <a:pt x="386" y="185"/>
                  </a:lnTo>
                  <a:lnTo>
                    <a:pt x="390" y="183"/>
                  </a:lnTo>
                  <a:lnTo>
                    <a:pt x="392" y="183"/>
                  </a:lnTo>
                  <a:lnTo>
                    <a:pt x="390" y="183"/>
                  </a:lnTo>
                  <a:lnTo>
                    <a:pt x="390" y="181"/>
                  </a:lnTo>
                  <a:lnTo>
                    <a:pt x="392" y="179"/>
                  </a:lnTo>
                  <a:lnTo>
                    <a:pt x="395" y="179"/>
                  </a:lnTo>
                  <a:lnTo>
                    <a:pt x="395" y="177"/>
                  </a:lnTo>
                  <a:lnTo>
                    <a:pt x="397" y="177"/>
                  </a:lnTo>
                  <a:lnTo>
                    <a:pt x="397" y="177"/>
                  </a:lnTo>
                  <a:lnTo>
                    <a:pt x="397" y="177"/>
                  </a:lnTo>
                  <a:lnTo>
                    <a:pt x="395" y="177"/>
                  </a:lnTo>
                  <a:lnTo>
                    <a:pt x="392" y="177"/>
                  </a:lnTo>
                  <a:lnTo>
                    <a:pt x="392" y="177"/>
                  </a:lnTo>
                  <a:lnTo>
                    <a:pt x="388" y="177"/>
                  </a:lnTo>
                  <a:lnTo>
                    <a:pt x="388" y="177"/>
                  </a:lnTo>
                  <a:lnTo>
                    <a:pt x="388" y="179"/>
                  </a:lnTo>
                  <a:lnTo>
                    <a:pt x="388" y="179"/>
                  </a:lnTo>
                  <a:lnTo>
                    <a:pt x="390" y="179"/>
                  </a:lnTo>
                  <a:lnTo>
                    <a:pt x="390" y="179"/>
                  </a:lnTo>
                  <a:lnTo>
                    <a:pt x="390" y="179"/>
                  </a:lnTo>
                  <a:lnTo>
                    <a:pt x="388" y="179"/>
                  </a:lnTo>
                  <a:lnTo>
                    <a:pt x="386" y="179"/>
                  </a:lnTo>
                  <a:lnTo>
                    <a:pt x="384" y="181"/>
                  </a:lnTo>
                  <a:lnTo>
                    <a:pt x="384" y="181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0" y="183"/>
                  </a:lnTo>
                  <a:lnTo>
                    <a:pt x="380" y="183"/>
                  </a:lnTo>
                  <a:lnTo>
                    <a:pt x="378" y="183"/>
                  </a:lnTo>
                  <a:lnTo>
                    <a:pt x="376" y="183"/>
                  </a:lnTo>
                  <a:lnTo>
                    <a:pt x="376" y="185"/>
                  </a:lnTo>
                  <a:lnTo>
                    <a:pt x="376" y="187"/>
                  </a:lnTo>
                  <a:lnTo>
                    <a:pt x="376" y="187"/>
                  </a:lnTo>
                  <a:lnTo>
                    <a:pt x="372" y="189"/>
                  </a:lnTo>
                  <a:lnTo>
                    <a:pt x="370" y="189"/>
                  </a:lnTo>
                  <a:lnTo>
                    <a:pt x="368" y="187"/>
                  </a:lnTo>
                  <a:lnTo>
                    <a:pt x="366" y="187"/>
                  </a:lnTo>
                  <a:lnTo>
                    <a:pt x="366" y="187"/>
                  </a:lnTo>
                  <a:lnTo>
                    <a:pt x="364" y="185"/>
                  </a:lnTo>
                  <a:lnTo>
                    <a:pt x="364" y="183"/>
                  </a:lnTo>
                  <a:lnTo>
                    <a:pt x="364" y="181"/>
                  </a:lnTo>
                  <a:lnTo>
                    <a:pt x="364" y="181"/>
                  </a:lnTo>
                  <a:lnTo>
                    <a:pt x="366" y="179"/>
                  </a:lnTo>
                  <a:lnTo>
                    <a:pt x="366" y="177"/>
                  </a:lnTo>
                  <a:lnTo>
                    <a:pt x="368" y="175"/>
                  </a:lnTo>
                  <a:lnTo>
                    <a:pt x="368" y="173"/>
                  </a:lnTo>
                  <a:lnTo>
                    <a:pt x="368" y="173"/>
                  </a:lnTo>
                  <a:lnTo>
                    <a:pt x="366" y="171"/>
                  </a:lnTo>
                  <a:lnTo>
                    <a:pt x="366" y="171"/>
                  </a:lnTo>
                  <a:lnTo>
                    <a:pt x="364" y="169"/>
                  </a:lnTo>
                  <a:lnTo>
                    <a:pt x="364" y="169"/>
                  </a:lnTo>
                  <a:lnTo>
                    <a:pt x="362" y="171"/>
                  </a:lnTo>
                  <a:lnTo>
                    <a:pt x="360" y="171"/>
                  </a:lnTo>
                  <a:lnTo>
                    <a:pt x="360" y="173"/>
                  </a:lnTo>
                  <a:lnTo>
                    <a:pt x="360" y="173"/>
                  </a:lnTo>
                  <a:lnTo>
                    <a:pt x="360" y="173"/>
                  </a:lnTo>
                  <a:lnTo>
                    <a:pt x="360" y="173"/>
                  </a:lnTo>
                  <a:lnTo>
                    <a:pt x="358" y="173"/>
                  </a:lnTo>
                  <a:lnTo>
                    <a:pt x="360" y="175"/>
                  </a:lnTo>
                  <a:lnTo>
                    <a:pt x="362" y="175"/>
                  </a:lnTo>
                  <a:lnTo>
                    <a:pt x="360" y="175"/>
                  </a:lnTo>
                  <a:lnTo>
                    <a:pt x="356" y="175"/>
                  </a:lnTo>
                  <a:lnTo>
                    <a:pt x="351" y="177"/>
                  </a:lnTo>
                  <a:lnTo>
                    <a:pt x="349" y="179"/>
                  </a:lnTo>
                  <a:lnTo>
                    <a:pt x="347" y="179"/>
                  </a:lnTo>
                  <a:lnTo>
                    <a:pt x="341" y="181"/>
                  </a:lnTo>
                  <a:lnTo>
                    <a:pt x="339" y="183"/>
                  </a:lnTo>
                  <a:lnTo>
                    <a:pt x="337" y="183"/>
                  </a:lnTo>
                  <a:lnTo>
                    <a:pt x="335" y="183"/>
                  </a:lnTo>
                  <a:lnTo>
                    <a:pt x="335" y="183"/>
                  </a:lnTo>
                  <a:lnTo>
                    <a:pt x="335" y="183"/>
                  </a:lnTo>
                  <a:lnTo>
                    <a:pt x="335" y="181"/>
                  </a:lnTo>
                  <a:lnTo>
                    <a:pt x="337" y="181"/>
                  </a:lnTo>
                  <a:lnTo>
                    <a:pt x="339" y="181"/>
                  </a:lnTo>
                  <a:lnTo>
                    <a:pt x="341" y="179"/>
                  </a:lnTo>
                  <a:lnTo>
                    <a:pt x="341" y="179"/>
                  </a:lnTo>
                  <a:lnTo>
                    <a:pt x="341" y="179"/>
                  </a:lnTo>
                  <a:lnTo>
                    <a:pt x="341" y="179"/>
                  </a:lnTo>
                  <a:lnTo>
                    <a:pt x="339" y="179"/>
                  </a:lnTo>
                  <a:lnTo>
                    <a:pt x="337" y="181"/>
                  </a:lnTo>
                  <a:lnTo>
                    <a:pt x="335" y="181"/>
                  </a:lnTo>
                  <a:lnTo>
                    <a:pt x="331" y="181"/>
                  </a:lnTo>
                  <a:lnTo>
                    <a:pt x="323" y="183"/>
                  </a:lnTo>
                  <a:lnTo>
                    <a:pt x="319" y="183"/>
                  </a:lnTo>
                  <a:lnTo>
                    <a:pt x="314" y="185"/>
                  </a:lnTo>
                  <a:lnTo>
                    <a:pt x="312" y="187"/>
                  </a:lnTo>
                  <a:lnTo>
                    <a:pt x="306" y="189"/>
                  </a:lnTo>
                  <a:lnTo>
                    <a:pt x="304" y="189"/>
                  </a:lnTo>
                  <a:lnTo>
                    <a:pt x="302" y="191"/>
                  </a:lnTo>
                  <a:lnTo>
                    <a:pt x="304" y="189"/>
                  </a:lnTo>
                  <a:lnTo>
                    <a:pt x="306" y="187"/>
                  </a:lnTo>
                  <a:lnTo>
                    <a:pt x="306" y="187"/>
                  </a:lnTo>
                  <a:lnTo>
                    <a:pt x="306" y="187"/>
                  </a:lnTo>
                  <a:lnTo>
                    <a:pt x="306" y="187"/>
                  </a:lnTo>
                  <a:lnTo>
                    <a:pt x="306" y="187"/>
                  </a:lnTo>
                  <a:lnTo>
                    <a:pt x="304" y="187"/>
                  </a:lnTo>
                  <a:lnTo>
                    <a:pt x="302" y="187"/>
                  </a:lnTo>
                  <a:lnTo>
                    <a:pt x="302" y="187"/>
                  </a:lnTo>
                  <a:lnTo>
                    <a:pt x="302" y="187"/>
                  </a:lnTo>
                  <a:lnTo>
                    <a:pt x="302" y="187"/>
                  </a:lnTo>
                  <a:lnTo>
                    <a:pt x="300" y="187"/>
                  </a:lnTo>
                  <a:lnTo>
                    <a:pt x="300" y="187"/>
                  </a:lnTo>
                  <a:lnTo>
                    <a:pt x="298" y="187"/>
                  </a:lnTo>
                  <a:lnTo>
                    <a:pt x="296" y="187"/>
                  </a:lnTo>
                  <a:lnTo>
                    <a:pt x="296" y="187"/>
                  </a:lnTo>
                  <a:lnTo>
                    <a:pt x="296" y="187"/>
                  </a:lnTo>
                  <a:lnTo>
                    <a:pt x="296" y="189"/>
                  </a:lnTo>
                  <a:lnTo>
                    <a:pt x="294" y="189"/>
                  </a:lnTo>
                  <a:lnTo>
                    <a:pt x="290" y="189"/>
                  </a:lnTo>
                  <a:lnTo>
                    <a:pt x="288" y="191"/>
                  </a:lnTo>
                  <a:lnTo>
                    <a:pt x="286" y="191"/>
                  </a:lnTo>
                  <a:lnTo>
                    <a:pt x="284" y="191"/>
                  </a:lnTo>
                  <a:lnTo>
                    <a:pt x="280" y="193"/>
                  </a:lnTo>
                  <a:lnTo>
                    <a:pt x="280" y="193"/>
                  </a:lnTo>
                  <a:lnTo>
                    <a:pt x="278" y="193"/>
                  </a:lnTo>
                  <a:lnTo>
                    <a:pt x="278" y="193"/>
                  </a:lnTo>
                  <a:lnTo>
                    <a:pt x="278" y="195"/>
                  </a:lnTo>
                  <a:lnTo>
                    <a:pt x="275" y="195"/>
                  </a:lnTo>
                  <a:lnTo>
                    <a:pt x="278" y="195"/>
                  </a:lnTo>
                  <a:lnTo>
                    <a:pt x="278" y="195"/>
                  </a:lnTo>
                  <a:lnTo>
                    <a:pt x="278" y="195"/>
                  </a:lnTo>
                  <a:lnTo>
                    <a:pt x="275" y="197"/>
                  </a:lnTo>
                  <a:lnTo>
                    <a:pt x="269" y="195"/>
                  </a:lnTo>
                  <a:lnTo>
                    <a:pt x="267" y="195"/>
                  </a:lnTo>
                  <a:lnTo>
                    <a:pt x="267" y="197"/>
                  </a:lnTo>
                  <a:lnTo>
                    <a:pt x="269" y="197"/>
                  </a:lnTo>
                  <a:lnTo>
                    <a:pt x="269" y="197"/>
                  </a:lnTo>
                  <a:lnTo>
                    <a:pt x="267" y="197"/>
                  </a:lnTo>
                  <a:lnTo>
                    <a:pt x="267" y="197"/>
                  </a:lnTo>
                  <a:lnTo>
                    <a:pt x="267" y="197"/>
                  </a:lnTo>
                  <a:lnTo>
                    <a:pt x="267" y="195"/>
                  </a:lnTo>
                  <a:lnTo>
                    <a:pt x="269" y="195"/>
                  </a:lnTo>
                  <a:lnTo>
                    <a:pt x="271" y="193"/>
                  </a:lnTo>
                  <a:lnTo>
                    <a:pt x="275" y="193"/>
                  </a:lnTo>
                  <a:lnTo>
                    <a:pt x="278" y="191"/>
                  </a:lnTo>
                  <a:lnTo>
                    <a:pt x="282" y="191"/>
                  </a:lnTo>
                  <a:lnTo>
                    <a:pt x="284" y="189"/>
                  </a:lnTo>
                  <a:lnTo>
                    <a:pt x="286" y="189"/>
                  </a:lnTo>
                  <a:lnTo>
                    <a:pt x="290" y="189"/>
                  </a:lnTo>
                  <a:lnTo>
                    <a:pt x="292" y="187"/>
                  </a:lnTo>
                  <a:lnTo>
                    <a:pt x="294" y="187"/>
                  </a:lnTo>
                  <a:lnTo>
                    <a:pt x="296" y="185"/>
                  </a:lnTo>
                  <a:lnTo>
                    <a:pt x="298" y="185"/>
                  </a:lnTo>
                  <a:lnTo>
                    <a:pt x="300" y="185"/>
                  </a:lnTo>
                  <a:lnTo>
                    <a:pt x="304" y="185"/>
                  </a:lnTo>
                  <a:lnTo>
                    <a:pt x="306" y="185"/>
                  </a:lnTo>
                  <a:lnTo>
                    <a:pt x="308" y="185"/>
                  </a:lnTo>
                  <a:lnTo>
                    <a:pt x="310" y="183"/>
                  </a:lnTo>
                  <a:lnTo>
                    <a:pt x="312" y="183"/>
                  </a:lnTo>
                  <a:lnTo>
                    <a:pt x="314" y="183"/>
                  </a:lnTo>
                  <a:lnTo>
                    <a:pt x="321" y="181"/>
                  </a:lnTo>
                  <a:lnTo>
                    <a:pt x="333" y="179"/>
                  </a:lnTo>
                  <a:lnTo>
                    <a:pt x="337" y="177"/>
                  </a:lnTo>
                  <a:lnTo>
                    <a:pt x="337" y="177"/>
                  </a:lnTo>
                  <a:lnTo>
                    <a:pt x="337" y="175"/>
                  </a:lnTo>
                  <a:lnTo>
                    <a:pt x="337" y="175"/>
                  </a:lnTo>
                  <a:lnTo>
                    <a:pt x="337" y="175"/>
                  </a:lnTo>
                  <a:lnTo>
                    <a:pt x="333" y="177"/>
                  </a:lnTo>
                  <a:lnTo>
                    <a:pt x="333" y="177"/>
                  </a:lnTo>
                  <a:lnTo>
                    <a:pt x="331" y="177"/>
                  </a:lnTo>
                  <a:lnTo>
                    <a:pt x="329" y="177"/>
                  </a:lnTo>
                  <a:lnTo>
                    <a:pt x="329" y="177"/>
                  </a:lnTo>
                  <a:lnTo>
                    <a:pt x="327" y="177"/>
                  </a:lnTo>
                  <a:lnTo>
                    <a:pt x="327" y="177"/>
                  </a:lnTo>
                  <a:lnTo>
                    <a:pt x="325" y="177"/>
                  </a:lnTo>
                  <a:lnTo>
                    <a:pt x="321" y="177"/>
                  </a:lnTo>
                  <a:lnTo>
                    <a:pt x="319" y="179"/>
                  </a:lnTo>
                  <a:lnTo>
                    <a:pt x="317" y="179"/>
                  </a:lnTo>
                  <a:lnTo>
                    <a:pt x="314" y="179"/>
                  </a:lnTo>
                  <a:lnTo>
                    <a:pt x="314" y="179"/>
                  </a:lnTo>
                  <a:lnTo>
                    <a:pt x="312" y="179"/>
                  </a:lnTo>
                  <a:lnTo>
                    <a:pt x="310" y="179"/>
                  </a:lnTo>
                  <a:lnTo>
                    <a:pt x="308" y="181"/>
                  </a:lnTo>
                  <a:lnTo>
                    <a:pt x="302" y="183"/>
                  </a:lnTo>
                  <a:lnTo>
                    <a:pt x="298" y="183"/>
                  </a:lnTo>
                  <a:lnTo>
                    <a:pt x="298" y="183"/>
                  </a:lnTo>
                  <a:lnTo>
                    <a:pt x="298" y="183"/>
                  </a:lnTo>
                  <a:lnTo>
                    <a:pt x="296" y="183"/>
                  </a:lnTo>
                  <a:lnTo>
                    <a:pt x="294" y="183"/>
                  </a:lnTo>
                  <a:lnTo>
                    <a:pt x="294" y="183"/>
                  </a:lnTo>
                  <a:lnTo>
                    <a:pt x="294" y="183"/>
                  </a:lnTo>
                  <a:lnTo>
                    <a:pt x="294" y="183"/>
                  </a:lnTo>
                  <a:lnTo>
                    <a:pt x="296" y="183"/>
                  </a:lnTo>
                  <a:lnTo>
                    <a:pt x="294" y="183"/>
                  </a:lnTo>
                  <a:lnTo>
                    <a:pt x="294" y="183"/>
                  </a:lnTo>
                  <a:lnTo>
                    <a:pt x="294" y="183"/>
                  </a:lnTo>
                  <a:lnTo>
                    <a:pt x="290" y="183"/>
                  </a:lnTo>
                  <a:lnTo>
                    <a:pt x="288" y="183"/>
                  </a:lnTo>
                  <a:lnTo>
                    <a:pt x="284" y="185"/>
                  </a:lnTo>
                  <a:lnTo>
                    <a:pt x="284" y="187"/>
                  </a:lnTo>
                  <a:lnTo>
                    <a:pt x="282" y="187"/>
                  </a:lnTo>
                  <a:lnTo>
                    <a:pt x="280" y="187"/>
                  </a:lnTo>
                  <a:lnTo>
                    <a:pt x="278" y="187"/>
                  </a:lnTo>
                  <a:lnTo>
                    <a:pt x="273" y="187"/>
                  </a:lnTo>
                  <a:lnTo>
                    <a:pt x="269" y="189"/>
                  </a:lnTo>
                  <a:lnTo>
                    <a:pt x="265" y="189"/>
                  </a:lnTo>
                  <a:lnTo>
                    <a:pt x="267" y="189"/>
                  </a:lnTo>
                  <a:lnTo>
                    <a:pt x="271" y="187"/>
                  </a:lnTo>
                  <a:lnTo>
                    <a:pt x="271" y="187"/>
                  </a:lnTo>
                  <a:lnTo>
                    <a:pt x="275" y="185"/>
                  </a:lnTo>
                  <a:lnTo>
                    <a:pt x="275" y="185"/>
                  </a:lnTo>
                  <a:lnTo>
                    <a:pt x="273" y="185"/>
                  </a:lnTo>
                  <a:lnTo>
                    <a:pt x="273" y="185"/>
                  </a:lnTo>
                  <a:lnTo>
                    <a:pt x="273" y="183"/>
                  </a:lnTo>
                  <a:lnTo>
                    <a:pt x="273" y="183"/>
                  </a:lnTo>
                  <a:lnTo>
                    <a:pt x="271" y="183"/>
                  </a:lnTo>
                  <a:lnTo>
                    <a:pt x="271" y="183"/>
                  </a:lnTo>
                  <a:lnTo>
                    <a:pt x="269" y="183"/>
                  </a:lnTo>
                  <a:lnTo>
                    <a:pt x="269" y="185"/>
                  </a:lnTo>
                  <a:lnTo>
                    <a:pt x="269" y="185"/>
                  </a:lnTo>
                  <a:lnTo>
                    <a:pt x="267" y="187"/>
                  </a:lnTo>
                  <a:lnTo>
                    <a:pt x="267" y="187"/>
                  </a:lnTo>
                  <a:lnTo>
                    <a:pt x="263" y="187"/>
                  </a:lnTo>
                  <a:lnTo>
                    <a:pt x="259" y="187"/>
                  </a:lnTo>
                  <a:lnTo>
                    <a:pt x="259" y="187"/>
                  </a:lnTo>
                  <a:lnTo>
                    <a:pt x="257" y="187"/>
                  </a:lnTo>
                  <a:lnTo>
                    <a:pt x="255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1" y="189"/>
                  </a:lnTo>
                  <a:lnTo>
                    <a:pt x="249" y="189"/>
                  </a:lnTo>
                  <a:lnTo>
                    <a:pt x="243" y="191"/>
                  </a:lnTo>
                  <a:lnTo>
                    <a:pt x="243" y="193"/>
                  </a:lnTo>
                  <a:lnTo>
                    <a:pt x="245" y="193"/>
                  </a:lnTo>
                  <a:lnTo>
                    <a:pt x="245" y="193"/>
                  </a:lnTo>
                  <a:lnTo>
                    <a:pt x="245" y="193"/>
                  </a:lnTo>
                  <a:lnTo>
                    <a:pt x="245" y="193"/>
                  </a:lnTo>
                  <a:lnTo>
                    <a:pt x="243" y="193"/>
                  </a:lnTo>
                  <a:lnTo>
                    <a:pt x="241" y="193"/>
                  </a:lnTo>
                  <a:lnTo>
                    <a:pt x="241" y="193"/>
                  </a:lnTo>
                  <a:lnTo>
                    <a:pt x="241" y="193"/>
                  </a:lnTo>
                  <a:lnTo>
                    <a:pt x="239" y="195"/>
                  </a:lnTo>
                  <a:lnTo>
                    <a:pt x="239" y="195"/>
                  </a:lnTo>
                  <a:lnTo>
                    <a:pt x="243" y="195"/>
                  </a:lnTo>
                  <a:lnTo>
                    <a:pt x="243" y="195"/>
                  </a:lnTo>
                  <a:lnTo>
                    <a:pt x="243" y="195"/>
                  </a:lnTo>
                  <a:lnTo>
                    <a:pt x="243" y="197"/>
                  </a:lnTo>
                  <a:lnTo>
                    <a:pt x="243" y="200"/>
                  </a:lnTo>
                  <a:lnTo>
                    <a:pt x="241" y="197"/>
                  </a:lnTo>
                  <a:lnTo>
                    <a:pt x="239" y="195"/>
                  </a:lnTo>
                  <a:lnTo>
                    <a:pt x="236" y="195"/>
                  </a:lnTo>
                  <a:lnTo>
                    <a:pt x="232" y="195"/>
                  </a:lnTo>
                  <a:lnTo>
                    <a:pt x="228" y="195"/>
                  </a:lnTo>
                  <a:lnTo>
                    <a:pt x="226" y="195"/>
                  </a:lnTo>
                  <a:lnTo>
                    <a:pt x="224" y="193"/>
                  </a:lnTo>
                  <a:lnTo>
                    <a:pt x="220" y="191"/>
                  </a:lnTo>
                  <a:lnTo>
                    <a:pt x="218" y="191"/>
                  </a:lnTo>
                  <a:lnTo>
                    <a:pt x="218" y="191"/>
                  </a:lnTo>
                  <a:lnTo>
                    <a:pt x="214" y="189"/>
                  </a:lnTo>
                  <a:lnTo>
                    <a:pt x="212" y="185"/>
                  </a:lnTo>
                  <a:lnTo>
                    <a:pt x="206" y="185"/>
                  </a:lnTo>
                  <a:lnTo>
                    <a:pt x="199" y="185"/>
                  </a:lnTo>
                  <a:lnTo>
                    <a:pt x="195" y="183"/>
                  </a:lnTo>
                  <a:lnTo>
                    <a:pt x="193" y="183"/>
                  </a:lnTo>
                  <a:lnTo>
                    <a:pt x="189" y="187"/>
                  </a:lnTo>
                  <a:lnTo>
                    <a:pt x="183" y="193"/>
                  </a:lnTo>
                  <a:lnTo>
                    <a:pt x="177" y="197"/>
                  </a:lnTo>
                  <a:lnTo>
                    <a:pt x="171" y="202"/>
                  </a:lnTo>
                  <a:lnTo>
                    <a:pt x="165" y="206"/>
                  </a:lnTo>
                  <a:lnTo>
                    <a:pt x="158" y="212"/>
                  </a:lnTo>
                  <a:lnTo>
                    <a:pt x="152" y="216"/>
                  </a:lnTo>
                  <a:lnTo>
                    <a:pt x="146" y="220"/>
                  </a:lnTo>
                  <a:lnTo>
                    <a:pt x="140" y="224"/>
                  </a:lnTo>
                  <a:lnTo>
                    <a:pt x="134" y="230"/>
                  </a:lnTo>
                  <a:lnTo>
                    <a:pt x="130" y="234"/>
                  </a:lnTo>
                  <a:lnTo>
                    <a:pt x="124" y="239"/>
                  </a:lnTo>
                  <a:lnTo>
                    <a:pt x="117" y="243"/>
                  </a:lnTo>
                  <a:lnTo>
                    <a:pt x="111" y="249"/>
                  </a:lnTo>
                  <a:lnTo>
                    <a:pt x="105" y="253"/>
                  </a:lnTo>
                  <a:lnTo>
                    <a:pt x="99" y="257"/>
                  </a:lnTo>
                  <a:lnTo>
                    <a:pt x="95" y="261"/>
                  </a:lnTo>
                  <a:lnTo>
                    <a:pt x="89" y="267"/>
                  </a:lnTo>
                  <a:lnTo>
                    <a:pt x="82" y="272"/>
                  </a:lnTo>
                  <a:lnTo>
                    <a:pt x="76" y="276"/>
                  </a:lnTo>
                  <a:lnTo>
                    <a:pt x="72" y="282"/>
                  </a:lnTo>
                  <a:lnTo>
                    <a:pt x="66" y="286"/>
                  </a:lnTo>
                  <a:lnTo>
                    <a:pt x="60" y="290"/>
                  </a:lnTo>
                  <a:lnTo>
                    <a:pt x="54" y="296"/>
                  </a:lnTo>
                  <a:lnTo>
                    <a:pt x="50" y="300"/>
                  </a:lnTo>
                  <a:lnTo>
                    <a:pt x="43" y="304"/>
                  </a:lnTo>
                  <a:lnTo>
                    <a:pt x="37" y="311"/>
                  </a:lnTo>
                  <a:lnTo>
                    <a:pt x="33" y="315"/>
                  </a:lnTo>
                  <a:lnTo>
                    <a:pt x="27" y="321"/>
                  </a:lnTo>
                  <a:lnTo>
                    <a:pt x="21" y="325"/>
                  </a:lnTo>
                  <a:lnTo>
                    <a:pt x="15" y="329"/>
                  </a:lnTo>
                  <a:lnTo>
                    <a:pt x="11" y="335"/>
                  </a:lnTo>
                  <a:lnTo>
                    <a:pt x="13" y="335"/>
                  </a:lnTo>
                  <a:lnTo>
                    <a:pt x="15" y="335"/>
                  </a:lnTo>
                  <a:lnTo>
                    <a:pt x="17" y="335"/>
                  </a:lnTo>
                  <a:lnTo>
                    <a:pt x="19" y="335"/>
                  </a:lnTo>
                  <a:lnTo>
                    <a:pt x="21" y="337"/>
                  </a:lnTo>
                  <a:lnTo>
                    <a:pt x="25" y="335"/>
                  </a:lnTo>
                  <a:lnTo>
                    <a:pt x="27" y="333"/>
                  </a:lnTo>
                  <a:lnTo>
                    <a:pt x="31" y="333"/>
                  </a:lnTo>
                  <a:lnTo>
                    <a:pt x="33" y="333"/>
                  </a:lnTo>
                  <a:lnTo>
                    <a:pt x="35" y="333"/>
                  </a:lnTo>
                  <a:lnTo>
                    <a:pt x="35" y="335"/>
                  </a:lnTo>
                  <a:lnTo>
                    <a:pt x="31" y="337"/>
                  </a:lnTo>
                  <a:lnTo>
                    <a:pt x="29" y="337"/>
                  </a:lnTo>
                  <a:lnTo>
                    <a:pt x="29" y="339"/>
                  </a:lnTo>
                  <a:lnTo>
                    <a:pt x="31" y="341"/>
                  </a:lnTo>
                  <a:lnTo>
                    <a:pt x="33" y="341"/>
                  </a:lnTo>
                  <a:lnTo>
                    <a:pt x="31" y="343"/>
                  </a:lnTo>
                  <a:lnTo>
                    <a:pt x="31" y="346"/>
                  </a:lnTo>
                  <a:lnTo>
                    <a:pt x="33" y="346"/>
                  </a:lnTo>
                  <a:lnTo>
                    <a:pt x="33" y="348"/>
                  </a:lnTo>
                  <a:lnTo>
                    <a:pt x="33" y="350"/>
                  </a:lnTo>
                  <a:lnTo>
                    <a:pt x="33" y="350"/>
                  </a:lnTo>
                  <a:lnTo>
                    <a:pt x="35" y="352"/>
                  </a:lnTo>
                  <a:lnTo>
                    <a:pt x="35" y="352"/>
                  </a:lnTo>
                  <a:lnTo>
                    <a:pt x="33" y="354"/>
                  </a:lnTo>
                  <a:lnTo>
                    <a:pt x="31" y="356"/>
                  </a:lnTo>
                  <a:lnTo>
                    <a:pt x="29" y="358"/>
                  </a:lnTo>
                  <a:lnTo>
                    <a:pt x="31" y="358"/>
                  </a:lnTo>
                  <a:lnTo>
                    <a:pt x="35" y="356"/>
                  </a:lnTo>
                  <a:lnTo>
                    <a:pt x="37" y="356"/>
                  </a:lnTo>
                  <a:lnTo>
                    <a:pt x="41" y="354"/>
                  </a:lnTo>
                  <a:lnTo>
                    <a:pt x="43" y="354"/>
                  </a:lnTo>
                  <a:lnTo>
                    <a:pt x="48" y="354"/>
                  </a:lnTo>
                  <a:lnTo>
                    <a:pt x="50" y="352"/>
                  </a:lnTo>
                  <a:lnTo>
                    <a:pt x="54" y="350"/>
                  </a:lnTo>
                  <a:lnTo>
                    <a:pt x="56" y="350"/>
                  </a:lnTo>
                  <a:lnTo>
                    <a:pt x="56" y="348"/>
                  </a:lnTo>
                  <a:lnTo>
                    <a:pt x="58" y="348"/>
                  </a:lnTo>
                  <a:lnTo>
                    <a:pt x="58" y="346"/>
                  </a:lnTo>
                  <a:lnTo>
                    <a:pt x="62" y="346"/>
                  </a:lnTo>
                  <a:lnTo>
                    <a:pt x="64" y="346"/>
                  </a:lnTo>
                  <a:lnTo>
                    <a:pt x="68" y="343"/>
                  </a:lnTo>
                  <a:lnTo>
                    <a:pt x="72" y="343"/>
                  </a:lnTo>
                  <a:lnTo>
                    <a:pt x="72" y="343"/>
                  </a:lnTo>
                  <a:lnTo>
                    <a:pt x="74" y="346"/>
                  </a:lnTo>
                  <a:lnTo>
                    <a:pt x="74" y="348"/>
                  </a:lnTo>
                  <a:lnTo>
                    <a:pt x="74" y="348"/>
                  </a:lnTo>
                  <a:lnTo>
                    <a:pt x="72" y="348"/>
                  </a:lnTo>
                  <a:lnTo>
                    <a:pt x="72" y="350"/>
                  </a:lnTo>
                  <a:lnTo>
                    <a:pt x="70" y="352"/>
                  </a:lnTo>
                  <a:lnTo>
                    <a:pt x="70" y="352"/>
                  </a:lnTo>
                  <a:lnTo>
                    <a:pt x="72" y="352"/>
                  </a:lnTo>
                  <a:lnTo>
                    <a:pt x="72" y="354"/>
                  </a:lnTo>
                  <a:lnTo>
                    <a:pt x="72" y="354"/>
                  </a:lnTo>
                  <a:lnTo>
                    <a:pt x="74" y="356"/>
                  </a:lnTo>
                  <a:lnTo>
                    <a:pt x="72" y="356"/>
                  </a:lnTo>
                  <a:lnTo>
                    <a:pt x="72" y="356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60"/>
                  </a:lnTo>
                  <a:lnTo>
                    <a:pt x="72" y="360"/>
                  </a:lnTo>
                  <a:lnTo>
                    <a:pt x="74" y="360"/>
                  </a:lnTo>
                  <a:lnTo>
                    <a:pt x="74" y="362"/>
                  </a:lnTo>
                  <a:lnTo>
                    <a:pt x="74" y="364"/>
                  </a:lnTo>
                  <a:lnTo>
                    <a:pt x="74" y="364"/>
                  </a:lnTo>
                  <a:lnTo>
                    <a:pt x="74" y="366"/>
                  </a:lnTo>
                  <a:lnTo>
                    <a:pt x="74" y="368"/>
                  </a:lnTo>
                  <a:lnTo>
                    <a:pt x="74" y="370"/>
                  </a:lnTo>
                  <a:lnTo>
                    <a:pt x="72" y="372"/>
                  </a:lnTo>
                  <a:lnTo>
                    <a:pt x="72" y="374"/>
                  </a:lnTo>
                  <a:lnTo>
                    <a:pt x="72" y="376"/>
                  </a:lnTo>
                  <a:lnTo>
                    <a:pt x="72" y="376"/>
                  </a:lnTo>
                  <a:lnTo>
                    <a:pt x="72" y="380"/>
                  </a:lnTo>
                  <a:lnTo>
                    <a:pt x="70" y="383"/>
                  </a:lnTo>
                  <a:lnTo>
                    <a:pt x="70" y="383"/>
                  </a:lnTo>
                  <a:lnTo>
                    <a:pt x="70" y="387"/>
                  </a:lnTo>
                  <a:lnTo>
                    <a:pt x="70" y="387"/>
                  </a:lnTo>
                  <a:lnTo>
                    <a:pt x="68" y="389"/>
                  </a:lnTo>
                  <a:lnTo>
                    <a:pt x="66" y="389"/>
                  </a:lnTo>
                  <a:lnTo>
                    <a:pt x="68" y="389"/>
                  </a:lnTo>
                  <a:lnTo>
                    <a:pt x="70" y="391"/>
                  </a:lnTo>
                  <a:lnTo>
                    <a:pt x="68" y="391"/>
                  </a:lnTo>
                  <a:lnTo>
                    <a:pt x="66" y="393"/>
                  </a:lnTo>
                  <a:lnTo>
                    <a:pt x="68" y="393"/>
                  </a:lnTo>
                  <a:lnTo>
                    <a:pt x="68" y="395"/>
                  </a:lnTo>
                  <a:lnTo>
                    <a:pt x="66" y="395"/>
                  </a:lnTo>
                  <a:lnTo>
                    <a:pt x="66" y="397"/>
                  </a:lnTo>
                  <a:lnTo>
                    <a:pt x="66" y="397"/>
                  </a:lnTo>
                  <a:lnTo>
                    <a:pt x="68" y="397"/>
                  </a:lnTo>
                  <a:lnTo>
                    <a:pt x="68" y="397"/>
                  </a:lnTo>
                  <a:lnTo>
                    <a:pt x="70" y="399"/>
                  </a:lnTo>
                  <a:lnTo>
                    <a:pt x="70" y="399"/>
                  </a:lnTo>
                  <a:lnTo>
                    <a:pt x="72" y="399"/>
                  </a:lnTo>
                  <a:lnTo>
                    <a:pt x="72" y="401"/>
                  </a:lnTo>
                  <a:lnTo>
                    <a:pt x="74" y="401"/>
                  </a:lnTo>
                  <a:lnTo>
                    <a:pt x="76" y="401"/>
                  </a:lnTo>
                  <a:lnTo>
                    <a:pt x="76" y="403"/>
                  </a:lnTo>
                  <a:lnTo>
                    <a:pt x="76" y="403"/>
                  </a:lnTo>
                  <a:lnTo>
                    <a:pt x="76" y="405"/>
                  </a:lnTo>
                  <a:lnTo>
                    <a:pt x="78" y="407"/>
                  </a:lnTo>
                  <a:lnTo>
                    <a:pt x="80" y="405"/>
                  </a:lnTo>
                  <a:lnTo>
                    <a:pt x="80" y="407"/>
                  </a:lnTo>
                  <a:lnTo>
                    <a:pt x="80" y="407"/>
                  </a:lnTo>
                  <a:lnTo>
                    <a:pt x="78" y="409"/>
                  </a:lnTo>
                  <a:lnTo>
                    <a:pt x="78" y="409"/>
                  </a:lnTo>
                  <a:lnTo>
                    <a:pt x="78" y="409"/>
                  </a:lnTo>
                  <a:lnTo>
                    <a:pt x="76" y="411"/>
                  </a:lnTo>
                  <a:lnTo>
                    <a:pt x="74" y="411"/>
                  </a:lnTo>
                  <a:lnTo>
                    <a:pt x="74" y="413"/>
                  </a:lnTo>
                  <a:lnTo>
                    <a:pt x="72" y="413"/>
                  </a:lnTo>
                  <a:lnTo>
                    <a:pt x="72" y="415"/>
                  </a:lnTo>
                  <a:lnTo>
                    <a:pt x="70" y="417"/>
                  </a:lnTo>
                  <a:lnTo>
                    <a:pt x="70" y="420"/>
                  </a:lnTo>
                  <a:lnTo>
                    <a:pt x="68" y="420"/>
                  </a:lnTo>
                  <a:lnTo>
                    <a:pt x="66" y="422"/>
                  </a:lnTo>
                  <a:lnTo>
                    <a:pt x="64" y="424"/>
                  </a:lnTo>
                  <a:lnTo>
                    <a:pt x="64" y="424"/>
                  </a:lnTo>
                  <a:lnTo>
                    <a:pt x="66" y="424"/>
                  </a:lnTo>
                  <a:lnTo>
                    <a:pt x="70" y="422"/>
                  </a:lnTo>
                  <a:lnTo>
                    <a:pt x="70" y="420"/>
                  </a:lnTo>
                  <a:lnTo>
                    <a:pt x="72" y="417"/>
                  </a:lnTo>
                  <a:lnTo>
                    <a:pt x="74" y="415"/>
                  </a:lnTo>
                  <a:lnTo>
                    <a:pt x="76" y="415"/>
                  </a:lnTo>
                  <a:lnTo>
                    <a:pt x="74" y="415"/>
                  </a:lnTo>
                  <a:lnTo>
                    <a:pt x="74" y="417"/>
                  </a:lnTo>
                  <a:lnTo>
                    <a:pt x="74" y="417"/>
                  </a:lnTo>
                  <a:lnTo>
                    <a:pt x="76" y="417"/>
                  </a:lnTo>
                  <a:lnTo>
                    <a:pt x="76" y="417"/>
                  </a:lnTo>
                  <a:lnTo>
                    <a:pt x="76" y="417"/>
                  </a:lnTo>
                  <a:lnTo>
                    <a:pt x="72" y="420"/>
                  </a:lnTo>
                  <a:lnTo>
                    <a:pt x="68" y="422"/>
                  </a:lnTo>
                  <a:lnTo>
                    <a:pt x="66" y="424"/>
                  </a:lnTo>
                  <a:lnTo>
                    <a:pt x="60" y="428"/>
                  </a:lnTo>
                  <a:lnTo>
                    <a:pt x="60" y="428"/>
                  </a:lnTo>
                  <a:lnTo>
                    <a:pt x="56" y="430"/>
                  </a:lnTo>
                  <a:lnTo>
                    <a:pt x="56" y="430"/>
                  </a:lnTo>
                  <a:lnTo>
                    <a:pt x="54" y="432"/>
                  </a:lnTo>
                  <a:lnTo>
                    <a:pt x="54" y="432"/>
                  </a:lnTo>
                  <a:lnTo>
                    <a:pt x="52" y="434"/>
                  </a:lnTo>
                  <a:lnTo>
                    <a:pt x="50" y="434"/>
                  </a:lnTo>
                  <a:lnTo>
                    <a:pt x="50" y="436"/>
                  </a:lnTo>
                  <a:lnTo>
                    <a:pt x="48" y="436"/>
                  </a:lnTo>
                  <a:lnTo>
                    <a:pt x="48" y="438"/>
                  </a:lnTo>
                  <a:lnTo>
                    <a:pt x="50" y="440"/>
                  </a:lnTo>
                  <a:lnTo>
                    <a:pt x="54" y="438"/>
                  </a:lnTo>
                  <a:lnTo>
                    <a:pt x="54" y="438"/>
                  </a:lnTo>
                  <a:lnTo>
                    <a:pt x="56" y="438"/>
                  </a:lnTo>
                  <a:lnTo>
                    <a:pt x="54" y="440"/>
                  </a:lnTo>
                  <a:lnTo>
                    <a:pt x="50" y="440"/>
                  </a:lnTo>
                  <a:lnTo>
                    <a:pt x="50" y="440"/>
                  </a:lnTo>
                  <a:lnTo>
                    <a:pt x="46" y="442"/>
                  </a:lnTo>
                  <a:lnTo>
                    <a:pt x="43" y="444"/>
                  </a:lnTo>
                  <a:lnTo>
                    <a:pt x="39" y="446"/>
                  </a:lnTo>
                  <a:lnTo>
                    <a:pt x="39" y="448"/>
                  </a:lnTo>
                  <a:lnTo>
                    <a:pt x="41" y="450"/>
                  </a:lnTo>
                  <a:lnTo>
                    <a:pt x="41" y="450"/>
                  </a:lnTo>
                  <a:lnTo>
                    <a:pt x="41" y="452"/>
                  </a:lnTo>
                  <a:lnTo>
                    <a:pt x="41" y="454"/>
                  </a:lnTo>
                  <a:lnTo>
                    <a:pt x="41" y="454"/>
                  </a:lnTo>
                  <a:lnTo>
                    <a:pt x="46" y="454"/>
                  </a:lnTo>
                  <a:lnTo>
                    <a:pt x="48" y="452"/>
                  </a:lnTo>
                  <a:lnTo>
                    <a:pt x="50" y="452"/>
                  </a:lnTo>
                  <a:lnTo>
                    <a:pt x="50" y="452"/>
                  </a:lnTo>
                  <a:lnTo>
                    <a:pt x="52" y="450"/>
                  </a:lnTo>
                  <a:lnTo>
                    <a:pt x="54" y="448"/>
                  </a:lnTo>
                  <a:lnTo>
                    <a:pt x="58" y="446"/>
                  </a:lnTo>
                  <a:lnTo>
                    <a:pt x="58" y="446"/>
                  </a:lnTo>
                  <a:lnTo>
                    <a:pt x="60" y="444"/>
                  </a:lnTo>
                  <a:lnTo>
                    <a:pt x="60" y="444"/>
                  </a:lnTo>
                  <a:lnTo>
                    <a:pt x="60" y="446"/>
                  </a:lnTo>
                  <a:lnTo>
                    <a:pt x="60" y="446"/>
                  </a:lnTo>
                  <a:lnTo>
                    <a:pt x="64" y="444"/>
                  </a:lnTo>
                  <a:lnTo>
                    <a:pt x="66" y="444"/>
                  </a:lnTo>
                  <a:lnTo>
                    <a:pt x="66" y="444"/>
                  </a:lnTo>
                  <a:lnTo>
                    <a:pt x="66" y="444"/>
                  </a:lnTo>
                  <a:lnTo>
                    <a:pt x="64" y="446"/>
                  </a:lnTo>
                  <a:lnTo>
                    <a:pt x="62" y="446"/>
                  </a:lnTo>
                  <a:lnTo>
                    <a:pt x="62" y="446"/>
                  </a:lnTo>
                  <a:lnTo>
                    <a:pt x="62" y="446"/>
                  </a:lnTo>
                  <a:lnTo>
                    <a:pt x="60" y="448"/>
                  </a:lnTo>
                  <a:lnTo>
                    <a:pt x="60" y="448"/>
                  </a:lnTo>
                  <a:lnTo>
                    <a:pt x="60" y="450"/>
                  </a:lnTo>
                  <a:lnTo>
                    <a:pt x="60" y="450"/>
                  </a:lnTo>
                  <a:lnTo>
                    <a:pt x="60" y="452"/>
                  </a:lnTo>
                  <a:lnTo>
                    <a:pt x="60" y="452"/>
                  </a:lnTo>
                  <a:lnTo>
                    <a:pt x="62" y="450"/>
                  </a:lnTo>
                  <a:lnTo>
                    <a:pt x="64" y="450"/>
                  </a:lnTo>
                  <a:lnTo>
                    <a:pt x="66" y="452"/>
                  </a:lnTo>
                  <a:lnTo>
                    <a:pt x="66" y="454"/>
                  </a:lnTo>
                  <a:lnTo>
                    <a:pt x="66" y="454"/>
                  </a:lnTo>
                  <a:lnTo>
                    <a:pt x="64" y="452"/>
                  </a:lnTo>
                  <a:lnTo>
                    <a:pt x="64" y="452"/>
                  </a:lnTo>
                  <a:lnTo>
                    <a:pt x="64" y="452"/>
                  </a:lnTo>
                  <a:lnTo>
                    <a:pt x="62" y="452"/>
                  </a:lnTo>
                  <a:lnTo>
                    <a:pt x="60" y="452"/>
                  </a:lnTo>
                  <a:lnTo>
                    <a:pt x="60" y="452"/>
                  </a:lnTo>
                  <a:lnTo>
                    <a:pt x="58" y="450"/>
                  </a:lnTo>
                  <a:lnTo>
                    <a:pt x="56" y="450"/>
                  </a:lnTo>
                  <a:lnTo>
                    <a:pt x="58" y="448"/>
                  </a:lnTo>
                  <a:lnTo>
                    <a:pt x="60" y="448"/>
                  </a:lnTo>
                  <a:lnTo>
                    <a:pt x="58" y="448"/>
                  </a:lnTo>
                  <a:lnTo>
                    <a:pt x="56" y="448"/>
                  </a:lnTo>
                  <a:lnTo>
                    <a:pt x="54" y="448"/>
                  </a:lnTo>
                  <a:lnTo>
                    <a:pt x="52" y="450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4" y="454"/>
                  </a:lnTo>
                  <a:lnTo>
                    <a:pt x="56" y="457"/>
                  </a:lnTo>
                  <a:lnTo>
                    <a:pt x="56" y="457"/>
                  </a:lnTo>
                  <a:lnTo>
                    <a:pt x="52" y="463"/>
                  </a:lnTo>
                  <a:lnTo>
                    <a:pt x="52" y="463"/>
                  </a:lnTo>
                  <a:lnTo>
                    <a:pt x="58" y="461"/>
                  </a:lnTo>
                  <a:lnTo>
                    <a:pt x="58" y="461"/>
                  </a:lnTo>
                  <a:lnTo>
                    <a:pt x="56" y="463"/>
                  </a:lnTo>
                  <a:lnTo>
                    <a:pt x="56" y="463"/>
                  </a:lnTo>
                  <a:lnTo>
                    <a:pt x="52" y="467"/>
                  </a:lnTo>
                  <a:lnTo>
                    <a:pt x="48" y="469"/>
                  </a:lnTo>
                  <a:lnTo>
                    <a:pt x="48" y="471"/>
                  </a:lnTo>
                  <a:lnTo>
                    <a:pt x="48" y="471"/>
                  </a:lnTo>
                  <a:lnTo>
                    <a:pt x="50" y="471"/>
                  </a:lnTo>
                  <a:lnTo>
                    <a:pt x="52" y="469"/>
                  </a:lnTo>
                  <a:lnTo>
                    <a:pt x="54" y="467"/>
                  </a:lnTo>
                  <a:lnTo>
                    <a:pt x="54" y="467"/>
                  </a:lnTo>
                  <a:lnTo>
                    <a:pt x="52" y="469"/>
                  </a:lnTo>
                  <a:lnTo>
                    <a:pt x="52" y="469"/>
                  </a:lnTo>
                  <a:lnTo>
                    <a:pt x="52" y="469"/>
                  </a:lnTo>
                  <a:lnTo>
                    <a:pt x="50" y="471"/>
                  </a:lnTo>
                  <a:lnTo>
                    <a:pt x="50" y="471"/>
                  </a:lnTo>
                  <a:lnTo>
                    <a:pt x="43" y="475"/>
                  </a:lnTo>
                  <a:lnTo>
                    <a:pt x="43" y="477"/>
                  </a:lnTo>
                  <a:lnTo>
                    <a:pt x="41" y="481"/>
                  </a:lnTo>
                  <a:lnTo>
                    <a:pt x="46" y="479"/>
                  </a:lnTo>
                  <a:lnTo>
                    <a:pt x="50" y="475"/>
                  </a:lnTo>
                  <a:lnTo>
                    <a:pt x="52" y="473"/>
                  </a:lnTo>
                  <a:lnTo>
                    <a:pt x="52" y="473"/>
                  </a:lnTo>
                  <a:lnTo>
                    <a:pt x="54" y="471"/>
                  </a:lnTo>
                  <a:lnTo>
                    <a:pt x="56" y="471"/>
                  </a:lnTo>
                  <a:lnTo>
                    <a:pt x="58" y="471"/>
                  </a:lnTo>
                  <a:lnTo>
                    <a:pt x="66" y="467"/>
                  </a:lnTo>
                  <a:lnTo>
                    <a:pt x="68" y="467"/>
                  </a:lnTo>
                  <a:lnTo>
                    <a:pt x="68" y="465"/>
                  </a:lnTo>
                  <a:lnTo>
                    <a:pt x="70" y="465"/>
                  </a:lnTo>
                  <a:lnTo>
                    <a:pt x="70" y="465"/>
                  </a:lnTo>
                  <a:lnTo>
                    <a:pt x="72" y="463"/>
                  </a:lnTo>
                  <a:lnTo>
                    <a:pt x="72" y="463"/>
                  </a:lnTo>
                  <a:lnTo>
                    <a:pt x="70" y="463"/>
                  </a:lnTo>
                  <a:lnTo>
                    <a:pt x="70" y="465"/>
                  </a:lnTo>
                  <a:lnTo>
                    <a:pt x="70" y="465"/>
                  </a:lnTo>
                  <a:lnTo>
                    <a:pt x="68" y="465"/>
                  </a:lnTo>
                  <a:lnTo>
                    <a:pt x="64" y="469"/>
                  </a:lnTo>
                  <a:lnTo>
                    <a:pt x="64" y="469"/>
                  </a:lnTo>
                  <a:lnTo>
                    <a:pt x="64" y="469"/>
                  </a:lnTo>
                  <a:lnTo>
                    <a:pt x="62" y="471"/>
                  </a:lnTo>
                  <a:lnTo>
                    <a:pt x="62" y="471"/>
                  </a:lnTo>
                  <a:lnTo>
                    <a:pt x="64" y="471"/>
                  </a:lnTo>
                  <a:lnTo>
                    <a:pt x="64" y="473"/>
                  </a:lnTo>
                  <a:lnTo>
                    <a:pt x="64" y="473"/>
                  </a:lnTo>
                  <a:lnTo>
                    <a:pt x="64" y="475"/>
                  </a:lnTo>
                  <a:lnTo>
                    <a:pt x="64" y="477"/>
                  </a:lnTo>
                  <a:lnTo>
                    <a:pt x="64" y="477"/>
                  </a:lnTo>
                  <a:lnTo>
                    <a:pt x="64" y="475"/>
                  </a:lnTo>
                  <a:lnTo>
                    <a:pt x="64" y="475"/>
                  </a:lnTo>
                  <a:lnTo>
                    <a:pt x="64" y="473"/>
                  </a:lnTo>
                  <a:lnTo>
                    <a:pt x="64" y="473"/>
                  </a:lnTo>
                  <a:lnTo>
                    <a:pt x="62" y="471"/>
                  </a:lnTo>
                  <a:lnTo>
                    <a:pt x="62" y="471"/>
                  </a:lnTo>
                  <a:lnTo>
                    <a:pt x="58" y="471"/>
                  </a:lnTo>
                  <a:lnTo>
                    <a:pt x="56" y="473"/>
                  </a:lnTo>
                  <a:lnTo>
                    <a:pt x="54" y="473"/>
                  </a:lnTo>
                  <a:lnTo>
                    <a:pt x="52" y="473"/>
                  </a:lnTo>
                  <a:lnTo>
                    <a:pt x="50" y="475"/>
                  </a:lnTo>
                  <a:lnTo>
                    <a:pt x="48" y="477"/>
                  </a:lnTo>
                  <a:lnTo>
                    <a:pt x="50" y="477"/>
                  </a:lnTo>
                  <a:lnTo>
                    <a:pt x="46" y="479"/>
                  </a:lnTo>
                  <a:lnTo>
                    <a:pt x="43" y="481"/>
                  </a:lnTo>
                  <a:lnTo>
                    <a:pt x="43" y="481"/>
                  </a:lnTo>
                  <a:lnTo>
                    <a:pt x="43" y="483"/>
                  </a:lnTo>
                  <a:lnTo>
                    <a:pt x="41" y="485"/>
                  </a:lnTo>
                  <a:lnTo>
                    <a:pt x="41" y="485"/>
                  </a:lnTo>
                  <a:lnTo>
                    <a:pt x="41" y="485"/>
                  </a:lnTo>
                  <a:lnTo>
                    <a:pt x="41" y="485"/>
                  </a:lnTo>
                  <a:lnTo>
                    <a:pt x="41" y="487"/>
                  </a:lnTo>
                  <a:lnTo>
                    <a:pt x="43" y="487"/>
                  </a:lnTo>
                  <a:lnTo>
                    <a:pt x="43" y="485"/>
                  </a:lnTo>
                  <a:lnTo>
                    <a:pt x="46" y="485"/>
                  </a:lnTo>
                  <a:lnTo>
                    <a:pt x="48" y="483"/>
                  </a:lnTo>
                  <a:lnTo>
                    <a:pt x="50" y="483"/>
                  </a:lnTo>
                  <a:lnTo>
                    <a:pt x="54" y="483"/>
                  </a:lnTo>
                  <a:lnTo>
                    <a:pt x="60" y="483"/>
                  </a:lnTo>
                  <a:lnTo>
                    <a:pt x="58" y="483"/>
                  </a:lnTo>
                  <a:lnTo>
                    <a:pt x="54" y="483"/>
                  </a:lnTo>
                  <a:lnTo>
                    <a:pt x="50" y="483"/>
                  </a:lnTo>
                  <a:lnTo>
                    <a:pt x="50" y="483"/>
                  </a:lnTo>
                  <a:lnTo>
                    <a:pt x="48" y="483"/>
                  </a:lnTo>
                  <a:lnTo>
                    <a:pt x="41" y="487"/>
                  </a:lnTo>
                  <a:lnTo>
                    <a:pt x="39" y="489"/>
                  </a:lnTo>
                  <a:lnTo>
                    <a:pt x="39" y="489"/>
                  </a:lnTo>
                  <a:lnTo>
                    <a:pt x="37" y="492"/>
                  </a:lnTo>
                  <a:lnTo>
                    <a:pt x="37" y="494"/>
                  </a:lnTo>
                  <a:lnTo>
                    <a:pt x="39" y="496"/>
                  </a:lnTo>
                  <a:lnTo>
                    <a:pt x="39" y="496"/>
                  </a:lnTo>
                  <a:lnTo>
                    <a:pt x="39" y="496"/>
                  </a:lnTo>
                  <a:lnTo>
                    <a:pt x="41" y="498"/>
                  </a:lnTo>
                  <a:lnTo>
                    <a:pt x="43" y="498"/>
                  </a:lnTo>
                  <a:lnTo>
                    <a:pt x="43" y="498"/>
                  </a:lnTo>
                  <a:lnTo>
                    <a:pt x="50" y="496"/>
                  </a:lnTo>
                  <a:lnTo>
                    <a:pt x="50" y="496"/>
                  </a:lnTo>
                  <a:lnTo>
                    <a:pt x="52" y="494"/>
                  </a:lnTo>
                  <a:lnTo>
                    <a:pt x="52" y="496"/>
                  </a:lnTo>
                  <a:lnTo>
                    <a:pt x="50" y="498"/>
                  </a:lnTo>
                  <a:lnTo>
                    <a:pt x="50" y="498"/>
                  </a:lnTo>
                  <a:lnTo>
                    <a:pt x="52" y="498"/>
                  </a:lnTo>
                  <a:lnTo>
                    <a:pt x="52" y="498"/>
                  </a:lnTo>
                  <a:lnTo>
                    <a:pt x="50" y="498"/>
                  </a:lnTo>
                  <a:lnTo>
                    <a:pt x="50" y="500"/>
                  </a:lnTo>
                  <a:lnTo>
                    <a:pt x="48" y="500"/>
                  </a:lnTo>
                  <a:lnTo>
                    <a:pt x="48" y="500"/>
                  </a:lnTo>
                  <a:lnTo>
                    <a:pt x="48" y="502"/>
                  </a:lnTo>
                  <a:lnTo>
                    <a:pt x="50" y="502"/>
                  </a:lnTo>
                  <a:lnTo>
                    <a:pt x="56" y="500"/>
                  </a:lnTo>
                  <a:lnTo>
                    <a:pt x="56" y="500"/>
                  </a:lnTo>
                  <a:lnTo>
                    <a:pt x="56" y="500"/>
                  </a:lnTo>
                  <a:lnTo>
                    <a:pt x="54" y="502"/>
                  </a:lnTo>
                  <a:lnTo>
                    <a:pt x="50" y="502"/>
                  </a:lnTo>
                  <a:lnTo>
                    <a:pt x="48" y="502"/>
                  </a:lnTo>
                  <a:lnTo>
                    <a:pt x="48" y="502"/>
                  </a:lnTo>
                  <a:lnTo>
                    <a:pt x="46" y="504"/>
                  </a:lnTo>
                  <a:lnTo>
                    <a:pt x="46" y="504"/>
                  </a:lnTo>
                  <a:lnTo>
                    <a:pt x="50" y="504"/>
                  </a:lnTo>
                  <a:lnTo>
                    <a:pt x="50" y="504"/>
                  </a:lnTo>
                  <a:lnTo>
                    <a:pt x="52" y="504"/>
                  </a:lnTo>
                  <a:lnTo>
                    <a:pt x="52" y="504"/>
                  </a:lnTo>
                  <a:lnTo>
                    <a:pt x="54" y="504"/>
                  </a:lnTo>
                  <a:lnTo>
                    <a:pt x="56" y="504"/>
                  </a:lnTo>
                  <a:lnTo>
                    <a:pt x="56" y="504"/>
                  </a:lnTo>
                  <a:lnTo>
                    <a:pt x="56" y="504"/>
                  </a:lnTo>
                  <a:lnTo>
                    <a:pt x="56" y="504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60" y="502"/>
                  </a:lnTo>
                  <a:lnTo>
                    <a:pt x="60" y="502"/>
                  </a:lnTo>
                  <a:lnTo>
                    <a:pt x="58" y="504"/>
                  </a:lnTo>
                  <a:lnTo>
                    <a:pt x="58" y="504"/>
                  </a:lnTo>
                  <a:lnTo>
                    <a:pt x="60" y="504"/>
                  </a:lnTo>
                  <a:lnTo>
                    <a:pt x="62" y="504"/>
                  </a:lnTo>
                  <a:lnTo>
                    <a:pt x="66" y="504"/>
                  </a:lnTo>
                  <a:lnTo>
                    <a:pt x="68" y="502"/>
                  </a:lnTo>
                  <a:lnTo>
                    <a:pt x="68" y="502"/>
                  </a:lnTo>
                  <a:lnTo>
                    <a:pt x="70" y="500"/>
                  </a:lnTo>
                  <a:lnTo>
                    <a:pt x="70" y="500"/>
                  </a:lnTo>
                  <a:lnTo>
                    <a:pt x="70" y="498"/>
                  </a:lnTo>
                  <a:lnTo>
                    <a:pt x="72" y="498"/>
                  </a:lnTo>
                  <a:lnTo>
                    <a:pt x="72" y="498"/>
                  </a:lnTo>
                  <a:lnTo>
                    <a:pt x="70" y="500"/>
                  </a:lnTo>
                  <a:lnTo>
                    <a:pt x="70" y="502"/>
                  </a:lnTo>
                  <a:lnTo>
                    <a:pt x="70" y="502"/>
                  </a:lnTo>
                  <a:lnTo>
                    <a:pt x="68" y="504"/>
                  </a:lnTo>
                  <a:lnTo>
                    <a:pt x="64" y="506"/>
                  </a:lnTo>
                  <a:lnTo>
                    <a:pt x="64" y="506"/>
                  </a:lnTo>
                  <a:lnTo>
                    <a:pt x="64" y="506"/>
                  </a:lnTo>
                  <a:lnTo>
                    <a:pt x="64" y="508"/>
                  </a:lnTo>
                  <a:lnTo>
                    <a:pt x="64" y="508"/>
                  </a:lnTo>
                  <a:lnTo>
                    <a:pt x="64" y="512"/>
                  </a:lnTo>
                  <a:lnTo>
                    <a:pt x="62" y="512"/>
                  </a:lnTo>
                  <a:lnTo>
                    <a:pt x="62" y="514"/>
                  </a:lnTo>
                  <a:lnTo>
                    <a:pt x="64" y="516"/>
                  </a:lnTo>
                  <a:lnTo>
                    <a:pt x="64" y="516"/>
                  </a:lnTo>
                  <a:lnTo>
                    <a:pt x="66" y="516"/>
                  </a:lnTo>
                  <a:lnTo>
                    <a:pt x="68" y="516"/>
                  </a:lnTo>
                  <a:lnTo>
                    <a:pt x="70" y="516"/>
                  </a:lnTo>
                  <a:lnTo>
                    <a:pt x="72" y="514"/>
                  </a:lnTo>
                  <a:lnTo>
                    <a:pt x="72" y="514"/>
                  </a:lnTo>
                  <a:lnTo>
                    <a:pt x="72" y="514"/>
                  </a:lnTo>
                  <a:lnTo>
                    <a:pt x="74" y="512"/>
                  </a:lnTo>
                  <a:lnTo>
                    <a:pt x="76" y="512"/>
                  </a:lnTo>
                  <a:lnTo>
                    <a:pt x="76" y="510"/>
                  </a:lnTo>
                  <a:lnTo>
                    <a:pt x="76" y="510"/>
                  </a:lnTo>
                  <a:lnTo>
                    <a:pt x="76" y="510"/>
                  </a:lnTo>
                  <a:lnTo>
                    <a:pt x="76" y="510"/>
                  </a:lnTo>
                  <a:lnTo>
                    <a:pt x="78" y="510"/>
                  </a:lnTo>
                  <a:lnTo>
                    <a:pt x="78" y="510"/>
                  </a:lnTo>
                  <a:lnTo>
                    <a:pt x="76" y="512"/>
                  </a:lnTo>
                  <a:lnTo>
                    <a:pt x="76" y="512"/>
                  </a:lnTo>
                  <a:lnTo>
                    <a:pt x="74" y="512"/>
                  </a:lnTo>
                  <a:lnTo>
                    <a:pt x="74" y="514"/>
                  </a:lnTo>
                  <a:lnTo>
                    <a:pt x="72" y="516"/>
                  </a:lnTo>
                  <a:lnTo>
                    <a:pt x="72" y="518"/>
                  </a:lnTo>
                  <a:lnTo>
                    <a:pt x="72" y="518"/>
                  </a:lnTo>
                  <a:lnTo>
                    <a:pt x="72" y="518"/>
                  </a:lnTo>
                  <a:lnTo>
                    <a:pt x="72" y="518"/>
                  </a:lnTo>
                  <a:lnTo>
                    <a:pt x="74" y="518"/>
                  </a:lnTo>
                  <a:lnTo>
                    <a:pt x="74" y="518"/>
                  </a:lnTo>
                  <a:lnTo>
                    <a:pt x="72" y="520"/>
                  </a:lnTo>
                  <a:lnTo>
                    <a:pt x="70" y="520"/>
                  </a:lnTo>
                  <a:lnTo>
                    <a:pt x="70" y="518"/>
                  </a:lnTo>
                  <a:lnTo>
                    <a:pt x="70" y="518"/>
                  </a:lnTo>
                  <a:lnTo>
                    <a:pt x="70" y="518"/>
                  </a:lnTo>
                  <a:lnTo>
                    <a:pt x="70" y="518"/>
                  </a:lnTo>
                  <a:lnTo>
                    <a:pt x="68" y="518"/>
                  </a:lnTo>
                  <a:lnTo>
                    <a:pt x="68" y="518"/>
                  </a:lnTo>
                  <a:lnTo>
                    <a:pt x="68" y="520"/>
                  </a:lnTo>
                  <a:lnTo>
                    <a:pt x="68" y="520"/>
                  </a:lnTo>
                  <a:lnTo>
                    <a:pt x="68" y="522"/>
                  </a:lnTo>
                  <a:lnTo>
                    <a:pt x="68" y="522"/>
                  </a:lnTo>
                  <a:lnTo>
                    <a:pt x="72" y="524"/>
                  </a:lnTo>
                  <a:lnTo>
                    <a:pt x="72" y="524"/>
                  </a:lnTo>
                  <a:lnTo>
                    <a:pt x="74" y="522"/>
                  </a:lnTo>
                  <a:lnTo>
                    <a:pt x="74" y="522"/>
                  </a:lnTo>
                  <a:lnTo>
                    <a:pt x="74" y="522"/>
                  </a:lnTo>
                  <a:lnTo>
                    <a:pt x="76" y="522"/>
                  </a:lnTo>
                  <a:lnTo>
                    <a:pt x="76" y="520"/>
                  </a:lnTo>
                  <a:lnTo>
                    <a:pt x="76" y="520"/>
                  </a:lnTo>
                  <a:lnTo>
                    <a:pt x="80" y="518"/>
                  </a:lnTo>
                  <a:lnTo>
                    <a:pt x="80" y="518"/>
                  </a:lnTo>
                  <a:lnTo>
                    <a:pt x="80" y="518"/>
                  </a:lnTo>
                  <a:lnTo>
                    <a:pt x="78" y="520"/>
                  </a:lnTo>
                  <a:lnTo>
                    <a:pt x="76" y="522"/>
                  </a:lnTo>
                  <a:lnTo>
                    <a:pt x="76" y="524"/>
                  </a:lnTo>
                  <a:lnTo>
                    <a:pt x="74" y="524"/>
                  </a:lnTo>
                  <a:lnTo>
                    <a:pt x="74" y="524"/>
                  </a:lnTo>
                  <a:lnTo>
                    <a:pt x="74" y="524"/>
                  </a:lnTo>
                  <a:lnTo>
                    <a:pt x="76" y="524"/>
                  </a:lnTo>
                  <a:lnTo>
                    <a:pt x="78" y="524"/>
                  </a:lnTo>
                  <a:lnTo>
                    <a:pt x="78" y="524"/>
                  </a:lnTo>
                  <a:lnTo>
                    <a:pt x="80" y="524"/>
                  </a:lnTo>
                  <a:lnTo>
                    <a:pt x="80" y="524"/>
                  </a:lnTo>
                  <a:lnTo>
                    <a:pt x="78" y="524"/>
                  </a:lnTo>
                  <a:lnTo>
                    <a:pt x="76" y="524"/>
                  </a:lnTo>
                  <a:lnTo>
                    <a:pt x="74" y="526"/>
                  </a:lnTo>
                  <a:lnTo>
                    <a:pt x="74" y="526"/>
                  </a:lnTo>
                  <a:lnTo>
                    <a:pt x="74" y="526"/>
                  </a:lnTo>
                  <a:lnTo>
                    <a:pt x="72" y="529"/>
                  </a:lnTo>
                  <a:lnTo>
                    <a:pt x="72" y="529"/>
                  </a:lnTo>
                  <a:lnTo>
                    <a:pt x="74" y="529"/>
                  </a:lnTo>
                  <a:lnTo>
                    <a:pt x="74" y="529"/>
                  </a:lnTo>
                  <a:lnTo>
                    <a:pt x="74" y="529"/>
                  </a:lnTo>
                  <a:lnTo>
                    <a:pt x="74" y="529"/>
                  </a:lnTo>
                  <a:lnTo>
                    <a:pt x="72" y="531"/>
                  </a:lnTo>
                  <a:lnTo>
                    <a:pt x="72" y="531"/>
                  </a:lnTo>
                  <a:lnTo>
                    <a:pt x="72" y="531"/>
                  </a:lnTo>
                  <a:lnTo>
                    <a:pt x="72" y="531"/>
                  </a:lnTo>
                  <a:lnTo>
                    <a:pt x="74" y="531"/>
                  </a:lnTo>
                  <a:lnTo>
                    <a:pt x="74" y="531"/>
                  </a:lnTo>
                  <a:lnTo>
                    <a:pt x="74" y="531"/>
                  </a:lnTo>
                  <a:lnTo>
                    <a:pt x="76" y="529"/>
                  </a:lnTo>
                  <a:lnTo>
                    <a:pt x="76" y="529"/>
                  </a:lnTo>
                  <a:lnTo>
                    <a:pt x="76" y="531"/>
                  </a:lnTo>
                  <a:lnTo>
                    <a:pt x="76" y="531"/>
                  </a:lnTo>
                  <a:lnTo>
                    <a:pt x="121" y="531"/>
                  </a:lnTo>
                  <a:lnTo>
                    <a:pt x="128" y="531"/>
                  </a:lnTo>
                  <a:lnTo>
                    <a:pt x="265" y="531"/>
                  </a:lnTo>
                  <a:lnTo>
                    <a:pt x="271" y="531"/>
                  </a:lnTo>
                  <a:lnTo>
                    <a:pt x="411" y="531"/>
                  </a:lnTo>
                  <a:lnTo>
                    <a:pt x="417" y="531"/>
                  </a:lnTo>
                  <a:lnTo>
                    <a:pt x="464" y="531"/>
                  </a:lnTo>
                  <a:lnTo>
                    <a:pt x="468" y="531"/>
                  </a:lnTo>
                  <a:lnTo>
                    <a:pt x="471" y="526"/>
                  </a:lnTo>
                  <a:lnTo>
                    <a:pt x="473" y="524"/>
                  </a:lnTo>
                  <a:lnTo>
                    <a:pt x="475" y="524"/>
                  </a:lnTo>
                  <a:lnTo>
                    <a:pt x="475" y="524"/>
                  </a:lnTo>
                  <a:lnTo>
                    <a:pt x="475" y="524"/>
                  </a:lnTo>
                  <a:lnTo>
                    <a:pt x="475" y="526"/>
                  </a:lnTo>
                  <a:lnTo>
                    <a:pt x="475" y="529"/>
                  </a:lnTo>
                  <a:lnTo>
                    <a:pt x="473" y="531"/>
                  </a:lnTo>
                  <a:lnTo>
                    <a:pt x="473" y="533"/>
                  </a:lnTo>
                  <a:lnTo>
                    <a:pt x="473" y="533"/>
                  </a:lnTo>
                  <a:lnTo>
                    <a:pt x="473" y="535"/>
                  </a:lnTo>
                  <a:lnTo>
                    <a:pt x="473" y="535"/>
                  </a:lnTo>
                  <a:lnTo>
                    <a:pt x="473" y="535"/>
                  </a:lnTo>
                  <a:lnTo>
                    <a:pt x="477" y="537"/>
                  </a:lnTo>
                  <a:lnTo>
                    <a:pt x="481" y="537"/>
                  </a:lnTo>
                  <a:lnTo>
                    <a:pt x="483" y="537"/>
                  </a:lnTo>
                  <a:lnTo>
                    <a:pt x="483" y="539"/>
                  </a:lnTo>
                  <a:lnTo>
                    <a:pt x="485" y="539"/>
                  </a:lnTo>
                  <a:lnTo>
                    <a:pt x="487" y="539"/>
                  </a:lnTo>
                  <a:lnTo>
                    <a:pt x="487" y="539"/>
                  </a:lnTo>
                  <a:lnTo>
                    <a:pt x="489" y="537"/>
                  </a:lnTo>
                  <a:lnTo>
                    <a:pt x="491" y="537"/>
                  </a:lnTo>
                  <a:lnTo>
                    <a:pt x="493" y="537"/>
                  </a:lnTo>
                  <a:lnTo>
                    <a:pt x="495" y="537"/>
                  </a:lnTo>
                  <a:lnTo>
                    <a:pt x="495" y="537"/>
                  </a:lnTo>
                  <a:lnTo>
                    <a:pt x="497" y="539"/>
                  </a:lnTo>
                  <a:lnTo>
                    <a:pt x="497" y="539"/>
                  </a:lnTo>
                  <a:lnTo>
                    <a:pt x="499" y="541"/>
                  </a:lnTo>
                  <a:lnTo>
                    <a:pt x="499" y="541"/>
                  </a:lnTo>
                  <a:lnTo>
                    <a:pt x="499" y="543"/>
                  </a:lnTo>
                  <a:lnTo>
                    <a:pt x="499" y="543"/>
                  </a:lnTo>
                  <a:lnTo>
                    <a:pt x="501" y="543"/>
                  </a:lnTo>
                  <a:lnTo>
                    <a:pt x="501" y="543"/>
                  </a:lnTo>
                  <a:lnTo>
                    <a:pt x="503" y="543"/>
                  </a:lnTo>
                  <a:lnTo>
                    <a:pt x="505" y="543"/>
                  </a:lnTo>
                  <a:lnTo>
                    <a:pt x="507" y="545"/>
                  </a:lnTo>
                  <a:lnTo>
                    <a:pt x="510" y="547"/>
                  </a:lnTo>
                  <a:lnTo>
                    <a:pt x="512" y="547"/>
                  </a:lnTo>
                  <a:lnTo>
                    <a:pt x="512" y="547"/>
                  </a:lnTo>
                  <a:lnTo>
                    <a:pt x="516" y="547"/>
                  </a:lnTo>
                  <a:lnTo>
                    <a:pt x="518" y="545"/>
                  </a:lnTo>
                  <a:lnTo>
                    <a:pt x="520" y="545"/>
                  </a:lnTo>
                  <a:lnTo>
                    <a:pt x="522" y="545"/>
                  </a:lnTo>
                  <a:lnTo>
                    <a:pt x="522" y="547"/>
                  </a:lnTo>
                  <a:lnTo>
                    <a:pt x="522" y="547"/>
                  </a:lnTo>
                  <a:lnTo>
                    <a:pt x="524" y="547"/>
                  </a:lnTo>
                  <a:lnTo>
                    <a:pt x="528" y="547"/>
                  </a:lnTo>
                  <a:lnTo>
                    <a:pt x="532" y="547"/>
                  </a:lnTo>
                  <a:lnTo>
                    <a:pt x="532" y="547"/>
                  </a:lnTo>
                  <a:lnTo>
                    <a:pt x="532" y="549"/>
                  </a:lnTo>
                  <a:lnTo>
                    <a:pt x="532" y="549"/>
                  </a:lnTo>
                  <a:lnTo>
                    <a:pt x="534" y="549"/>
                  </a:lnTo>
                  <a:lnTo>
                    <a:pt x="538" y="549"/>
                  </a:lnTo>
                  <a:lnTo>
                    <a:pt x="538" y="549"/>
                  </a:lnTo>
                  <a:lnTo>
                    <a:pt x="540" y="547"/>
                  </a:lnTo>
                  <a:lnTo>
                    <a:pt x="540" y="547"/>
                  </a:lnTo>
                  <a:lnTo>
                    <a:pt x="542" y="547"/>
                  </a:lnTo>
                  <a:lnTo>
                    <a:pt x="542" y="545"/>
                  </a:lnTo>
                  <a:lnTo>
                    <a:pt x="544" y="545"/>
                  </a:lnTo>
                  <a:lnTo>
                    <a:pt x="544" y="543"/>
                  </a:lnTo>
                  <a:lnTo>
                    <a:pt x="546" y="543"/>
                  </a:lnTo>
                  <a:lnTo>
                    <a:pt x="546" y="543"/>
                  </a:lnTo>
                  <a:lnTo>
                    <a:pt x="546" y="541"/>
                  </a:lnTo>
                  <a:lnTo>
                    <a:pt x="546" y="541"/>
                  </a:lnTo>
                  <a:lnTo>
                    <a:pt x="546" y="541"/>
                  </a:lnTo>
                  <a:lnTo>
                    <a:pt x="549" y="539"/>
                  </a:lnTo>
                  <a:lnTo>
                    <a:pt x="555" y="539"/>
                  </a:lnTo>
                  <a:lnTo>
                    <a:pt x="555" y="539"/>
                  </a:lnTo>
                  <a:lnTo>
                    <a:pt x="553" y="539"/>
                  </a:lnTo>
                  <a:lnTo>
                    <a:pt x="551" y="541"/>
                  </a:lnTo>
                  <a:lnTo>
                    <a:pt x="551" y="541"/>
                  </a:lnTo>
                  <a:lnTo>
                    <a:pt x="551" y="543"/>
                  </a:lnTo>
                  <a:lnTo>
                    <a:pt x="551" y="543"/>
                  </a:lnTo>
                  <a:lnTo>
                    <a:pt x="551" y="543"/>
                  </a:lnTo>
                  <a:lnTo>
                    <a:pt x="553" y="543"/>
                  </a:lnTo>
                  <a:lnTo>
                    <a:pt x="553" y="541"/>
                  </a:lnTo>
                  <a:lnTo>
                    <a:pt x="555" y="541"/>
                  </a:lnTo>
                  <a:lnTo>
                    <a:pt x="555" y="541"/>
                  </a:lnTo>
                  <a:lnTo>
                    <a:pt x="555" y="539"/>
                  </a:lnTo>
                  <a:lnTo>
                    <a:pt x="555" y="539"/>
                  </a:lnTo>
                  <a:lnTo>
                    <a:pt x="557" y="539"/>
                  </a:lnTo>
                  <a:lnTo>
                    <a:pt x="557" y="539"/>
                  </a:lnTo>
                  <a:lnTo>
                    <a:pt x="557" y="537"/>
                  </a:lnTo>
                  <a:lnTo>
                    <a:pt x="559" y="537"/>
                  </a:lnTo>
                  <a:lnTo>
                    <a:pt x="559" y="537"/>
                  </a:lnTo>
                  <a:lnTo>
                    <a:pt x="559" y="537"/>
                  </a:lnTo>
                  <a:lnTo>
                    <a:pt x="559" y="535"/>
                  </a:lnTo>
                  <a:lnTo>
                    <a:pt x="561" y="535"/>
                  </a:lnTo>
                  <a:lnTo>
                    <a:pt x="561" y="533"/>
                  </a:lnTo>
                  <a:lnTo>
                    <a:pt x="561" y="533"/>
                  </a:lnTo>
                  <a:lnTo>
                    <a:pt x="563" y="533"/>
                  </a:lnTo>
                  <a:lnTo>
                    <a:pt x="563" y="535"/>
                  </a:lnTo>
                  <a:lnTo>
                    <a:pt x="563" y="535"/>
                  </a:lnTo>
                  <a:lnTo>
                    <a:pt x="563" y="535"/>
                  </a:lnTo>
                  <a:lnTo>
                    <a:pt x="563" y="537"/>
                  </a:lnTo>
                  <a:lnTo>
                    <a:pt x="561" y="537"/>
                  </a:lnTo>
                  <a:lnTo>
                    <a:pt x="557" y="539"/>
                  </a:lnTo>
                  <a:lnTo>
                    <a:pt x="557" y="539"/>
                  </a:lnTo>
                  <a:lnTo>
                    <a:pt x="557" y="541"/>
                  </a:lnTo>
                  <a:lnTo>
                    <a:pt x="557" y="541"/>
                  </a:lnTo>
                  <a:lnTo>
                    <a:pt x="557" y="541"/>
                  </a:lnTo>
                  <a:lnTo>
                    <a:pt x="557" y="541"/>
                  </a:lnTo>
                  <a:lnTo>
                    <a:pt x="559" y="539"/>
                  </a:lnTo>
                  <a:lnTo>
                    <a:pt x="559" y="539"/>
                  </a:lnTo>
                  <a:lnTo>
                    <a:pt x="559" y="539"/>
                  </a:lnTo>
                  <a:lnTo>
                    <a:pt x="559" y="539"/>
                  </a:lnTo>
                  <a:lnTo>
                    <a:pt x="559" y="539"/>
                  </a:lnTo>
                  <a:lnTo>
                    <a:pt x="559" y="539"/>
                  </a:lnTo>
                  <a:lnTo>
                    <a:pt x="561" y="539"/>
                  </a:lnTo>
                  <a:lnTo>
                    <a:pt x="561" y="539"/>
                  </a:lnTo>
                  <a:lnTo>
                    <a:pt x="563" y="539"/>
                  </a:lnTo>
                  <a:lnTo>
                    <a:pt x="563" y="539"/>
                  </a:lnTo>
                  <a:lnTo>
                    <a:pt x="565" y="537"/>
                  </a:lnTo>
                  <a:lnTo>
                    <a:pt x="565" y="535"/>
                  </a:lnTo>
                  <a:lnTo>
                    <a:pt x="565" y="535"/>
                  </a:lnTo>
                  <a:lnTo>
                    <a:pt x="565" y="535"/>
                  </a:lnTo>
                  <a:lnTo>
                    <a:pt x="565" y="533"/>
                  </a:lnTo>
                  <a:lnTo>
                    <a:pt x="565" y="533"/>
                  </a:lnTo>
                  <a:lnTo>
                    <a:pt x="565" y="533"/>
                  </a:lnTo>
                  <a:lnTo>
                    <a:pt x="565" y="531"/>
                  </a:lnTo>
                  <a:lnTo>
                    <a:pt x="565" y="531"/>
                  </a:lnTo>
                  <a:lnTo>
                    <a:pt x="567" y="531"/>
                  </a:lnTo>
                  <a:lnTo>
                    <a:pt x="567" y="531"/>
                  </a:lnTo>
                  <a:lnTo>
                    <a:pt x="567" y="531"/>
                  </a:lnTo>
                  <a:lnTo>
                    <a:pt x="569" y="531"/>
                  </a:lnTo>
                  <a:lnTo>
                    <a:pt x="569" y="531"/>
                  </a:lnTo>
                  <a:lnTo>
                    <a:pt x="569" y="531"/>
                  </a:lnTo>
                  <a:lnTo>
                    <a:pt x="571" y="533"/>
                  </a:lnTo>
                  <a:lnTo>
                    <a:pt x="573" y="533"/>
                  </a:lnTo>
                  <a:lnTo>
                    <a:pt x="573" y="533"/>
                  </a:lnTo>
                  <a:lnTo>
                    <a:pt x="575" y="533"/>
                  </a:lnTo>
                  <a:lnTo>
                    <a:pt x="575" y="533"/>
                  </a:lnTo>
                  <a:lnTo>
                    <a:pt x="575" y="533"/>
                  </a:lnTo>
                  <a:lnTo>
                    <a:pt x="575" y="533"/>
                  </a:lnTo>
                  <a:lnTo>
                    <a:pt x="577" y="533"/>
                  </a:lnTo>
                  <a:lnTo>
                    <a:pt x="577" y="535"/>
                  </a:lnTo>
                  <a:lnTo>
                    <a:pt x="579" y="535"/>
                  </a:lnTo>
                  <a:lnTo>
                    <a:pt x="581" y="535"/>
                  </a:lnTo>
                  <a:lnTo>
                    <a:pt x="581" y="535"/>
                  </a:lnTo>
                  <a:lnTo>
                    <a:pt x="583" y="535"/>
                  </a:lnTo>
                  <a:lnTo>
                    <a:pt x="583" y="535"/>
                  </a:lnTo>
                  <a:lnTo>
                    <a:pt x="585" y="535"/>
                  </a:lnTo>
                  <a:lnTo>
                    <a:pt x="585" y="535"/>
                  </a:lnTo>
                  <a:lnTo>
                    <a:pt x="588" y="535"/>
                  </a:lnTo>
                  <a:lnTo>
                    <a:pt x="588" y="535"/>
                  </a:lnTo>
                  <a:lnTo>
                    <a:pt x="588" y="535"/>
                  </a:lnTo>
                  <a:lnTo>
                    <a:pt x="590" y="535"/>
                  </a:lnTo>
                  <a:lnTo>
                    <a:pt x="590" y="535"/>
                  </a:lnTo>
                  <a:lnTo>
                    <a:pt x="590" y="535"/>
                  </a:lnTo>
                  <a:lnTo>
                    <a:pt x="590" y="537"/>
                  </a:lnTo>
                  <a:lnTo>
                    <a:pt x="590" y="537"/>
                  </a:lnTo>
                  <a:lnTo>
                    <a:pt x="590" y="537"/>
                  </a:lnTo>
                  <a:lnTo>
                    <a:pt x="590" y="537"/>
                  </a:lnTo>
                  <a:lnTo>
                    <a:pt x="590" y="539"/>
                  </a:lnTo>
                  <a:lnTo>
                    <a:pt x="590" y="539"/>
                  </a:lnTo>
                  <a:lnTo>
                    <a:pt x="590" y="541"/>
                  </a:lnTo>
                  <a:lnTo>
                    <a:pt x="590" y="541"/>
                  </a:lnTo>
                  <a:lnTo>
                    <a:pt x="590" y="541"/>
                  </a:lnTo>
                  <a:lnTo>
                    <a:pt x="590" y="541"/>
                  </a:lnTo>
                  <a:lnTo>
                    <a:pt x="590" y="543"/>
                  </a:lnTo>
                  <a:lnTo>
                    <a:pt x="590" y="545"/>
                  </a:lnTo>
                  <a:lnTo>
                    <a:pt x="590" y="547"/>
                  </a:lnTo>
                  <a:lnTo>
                    <a:pt x="590" y="549"/>
                  </a:lnTo>
                  <a:lnTo>
                    <a:pt x="592" y="549"/>
                  </a:lnTo>
                  <a:lnTo>
                    <a:pt x="594" y="549"/>
                  </a:lnTo>
                  <a:lnTo>
                    <a:pt x="596" y="549"/>
                  </a:lnTo>
                  <a:lnTo>
                    <a:pt x="598" y="549"/>
                  </a:lnTo>
                  <a:lnTo>
                    <a:pt x="600" y="549"/>
                  </a:lnTo>
                  <a:lnTo>
                    <a:pt x="604" y="549"/>
                  </a:lnTo>
                  <a:lnTo>
                    <a:pt x="604" y="549"/>
                  </a:lnTo>
                  <a:lnTo>
                    <a:pt x="604" y="549"/>
                  </a:lnTo>
                  <a:lnTo>
                    <a:pt x="604" y="551"/>
                  </a:lnTo>
                  <a:lnTo>
                    <a:pt x="602" y="551"/>
                  </a:lnTo>
                  <a:lnTo>
                    <a:pt x="602" y="551"/>
                  </a:lnTo>
                  <a:lnTo>
                    <a:pt x="602" y="553"/>
                  </a:lnTo>
                  <a:lnTo>
                    <a:pt x="602" y="553"/>
                  </a:lnTo>
                  <a:lnTo>
                    <a:pt x="600" y="553"/>
                  </a:lnTo>
                  <a:lnTo>
                    <a:pt x="600" y="553"/>
                  </a:lnTo>
                  <a:lnTo>
                    <a:pt x="600" y="555"/>
                  </a:lnTo>
                  <a:lnTo>
                    <a:pt x="600" y="555"/>
                  </a:lnTo>
                  <a:lnTo>
                    <a:pt x="600" y="555"/>
                  </a:lnTo>
                  <a:lnTo>
                    <a:pt x="600" y="557"/>
                  </a:lnTo>
                  <a:lnTo>
                    <a:pt x="600" y="557"/>
                  </a:lnTo>
                  <a:lnTo>
                    <a:pt x="602" y="557"/>
                  </a:lnTo>
                  <a:lnTo>
                    <a:pt x="602" y="559"/>
                  </a:lnTo>
                  <a:lnTo>
                    <a:pt x="602" y="559"/>
                  </a:lnTo>
                  <a:lnTo>
                    <a:pt x="602" y="559"/>
                  </a:lnTo>
                  <a:lnTo>
                    <a:pt x="602" y="559"/>
                  </a:lnTo>
                  <a:lnTo>
                    <a:pt x="602" y="559"/>
                  </a:lnTo>
                  <a:lnTo>
                    <a:pt x="602" y="561"/>
                  </a:lnTo>
                  <a:lnTo>
                    <a:pt x="602" y="561"/>
                  </a:lnTo>
                  <a:lnTo>
                    <a:pt x="600" y="563"/>
                  </a:lnTo>
                  <a:lnTo>
                    <a:pt x="600" y="563"/>
                  </a:lnTo>
                  <a:lnTo>
                    <a:pt x="600" y="563"/>
                  </a:lnTo>
                  <a:lnTo>
                    <a:pt x="598" y="566"/>
                  </a:lnTo>
                  <a:lnTo>
                    <a:pt x="598" y="566"/>
                  </a:lnTo>
                  <a:lnTo>
                    <a:pt x="598" y="568"/>
                  </a:lnTo>
                  <a:lnTo>
                    <a:pt x="598" y="568"/>
                  </a:lnTo>
                  <a:lnTo>
                    <a:pt x="600" y="568"/>
                  </a:lnTo>
                  <a:lnTo>
                    <a:pt x="600" y="568"/>
                  </a:lnTo>
                  <a:lnTo>
                    <a:pt x="600" y="568"/>
                  </a:lnTo>
                  <a:lnTo>
                    <a:pt x="600" y="568"/>
                  </a:lnTo>
                  <a:lnTo>
                    <a:pt x="602" y="568"/>
                  </a:lnTo>
                  <a:lnTo>
                    <a:pt x="602" y="568"/>
                  </a:lnTo>
                  <a:lnTo>
                    <a:pt x="602" y="568"/>
                  </a:lnTo>
                  <a:lnTo>
                    <a:pt x="602" y="570"/>
                  </a:lnTo>
                  <a:lnTo>
                    <a:pt x="602" y="570"/>
                  </a:lnTo>
                  <a:lnTo>
                    <a:pt x="602" y="570"/>
                  </a:lnTo>
                  <a:lnTo>
                    <a:pt x="600" y="570"/>
                  </a:lnTo>
                  <a:lnTo>
                    <a:pt x="600" y="570"/>
                  </a:lnTo>
                  <a:lnTo>
                    <a:pt x="600" y="570"/>
                  </a:lnTo>
                  <a:lnTo>
                    <a:pt x="598" y="572"/>
                  </a:lnTo>
                  <a:lnTo>
                    <a:pt x="598" y="572"/>
                  </a:lnTo>
                  <a:lnTo>
                    <a:pt x="598" y="572"/>
                  </a:lnTo>
                  <a:lnTo>
                    <a:pt x="598" y="572"/>
                  </a:lnTo>
                  <a:lnTo>
                    <a:pt x="600" y="572"/>
                  </a:lnTo>
                  <a:lnTo>
                    <a:pt x="600" y="572"/>
                  </a:lnTo>
                  <a:lnTo>
                    <a:pt x="600" y="572"/>
                  </a:lnTo>
                  <a:lnTo>
                    <a:pt x="600" y="572"/>
                  </a:lnTo>
                  <a:lnTo>
                    <a:pt x="598" y="574"/>
                  </a:lnTo>
                  <a:lnTo>
                    <a:pt x="596" y="574"/>
                  </a:lnTo>
                  <a:lnTo>
                    <a:pt x="596" y="574"/>
                  </a:lnTo>
                  <a:lnTo>
                    <a:pt x="598" y="576"/>
                  </a:lnTo>
                  <a:lnTo>
                    <a:pt x="598" y="576"/>
                  </a:lnTo>
                  <a:lnTo>
                    <a:pt x="598" y="576"/>
                  </a:lnTo>
                  <a:lnTo>
                    <a:pt x="598" y="576"/>
                  </a:lnTo>
                  <a:lnTo>
                    <a:pt x="600" y="576"/>
                  </a:lnTo>
                  <a:lnTo>
                    <a:pt x="602" y="574"/>
                  </a:lnTo>
                  <a:lnTo>
                    <a:pt x="602" y="574"/>
                  </a:lnTo>
                  <a:lnTo>
                    <a:pt x="602" y="576"/>
                  </a:lnTo>
                  <a:lnTo>
                    <a:pt x="604" y="576"/>
                  </a:lnTo>
                  <a:lnTo>
                    <a:pt x="602" y="576"/>
                  </a:lnTo>
                  <a:lnTo>
                    <a:pt x="602" y="576"/>
                  </a:lnTo>
                  <a:lnTo>
                    <a:pt x="602" y="578"/>
                  </a:lnTo>
                  <a:lnTo>
                    <a:pt x="602" y="578"/>
                  </a:lnTo>
                  <a:lnTo>
                    <a:pt x="602" y="578"/>
                  </a:lnTo>
                  <a:lnTo>
                    <a:pt x="604" y="578"/>
                  </a:lnTo>
                  <a:lnTo>
                    <a:pt x="604" y="578"/>
                  </a:lnTo>
                  <a:lnTo>
                    <a:pt x="604" y="580"/>
                  </a:lnTo>
                  <a:lnTo>
                    <a:pt x="604" y="580"/>
                  </a:lnTo>
                  <a:lnTo>
                    <a:pt x="608" y="580"/>
                  </a:lnTo>
                  <a:lnTo>
                    <a:pt x="608" y="580"/>
                  </a:lnTo>
                  <a:lnTo>
                    <a:pt x="608" y="580"/>
                  </a:lnTo>
                  <a:lnTo>
                    <a:pt x="610" y="580"/>
                  </a:lnTo>
                  <a:lnTo>
                    <a:pt x="616" y="582"/>
                  </a:lnTo>
                  <a:lnTo>
                    <a:pt x="618" y="582"/>
                  </a:lnTo>
                  <a:lnTo>
                    <a:pt x="620" y="580"/>
                  </a:lnTo>
                  <a:lnTo>
                    <a:pt x="620" y="582"/>
                  </a:lnTo>
                  <a:lnTo>
                    <a:pt x="620" y="582"/>
                  </a:lnTo>
                  <a:lnTo>
                    <a:pt x="622" y="582"/>
                  </a:lnTo>
                  <a:lnTo>
                    <a:pt x="624" y="582"/>
                  </a:lnTo>
                  <a:lnTo>
                    <a:pt x="627" y="582"/>
                  </a:lnTo>
                  <a:lnTo>
                    <a:pt x="627" y="582"/>
                  </a:lnTo>
                  <a:lnTo>
                    <a:pt x="629" y="582"/>
                  </a:lnTo>
                  <a:lnTo>
                    <a:pt x="631" y="582"/>
                  </a:lnTo>
                  <a:lnTo>
                    <a:pt x="633" y="582"/>
                  </a:lnTo>
                  <a:lnTo>
                    <a:pt x="633" y="582"/>
                  </a:lnTo>
                  <a:lnTo>
                    <a:pt x="633" y="584"/>
                  </a:lnTo>
                  <a:lnTo>
                    <a:pt x="633" y="584"/>
                  </a:lnTo>
                  <a:lnTo>
                    <a:pt x="633" y="584"/>
                  </a:lnTo>
                  <a:lnTo>
                    <a:pt x="633" y="584"/>
                  </a:lnTo>
                  <a:lnTo>
                    <a:pt x="635" y="584"/>
                  </a:lnTo>
                  <a:lnTo>
                    <a:pt x="635" y="582"/>
                  </a:lnTo>
                  <a:lnTo>
                    <a:pt x="635" y="582"/>
                  </a:lnTo>
                  <a:lnTo>
                    <a:pt x="635" y="582"/>
                  </a:lnTo>
                  <a:lnTo>
                    <a:pt x="637" y="582"/>
                  </a:lnTo>
                  <a:lnTo>
                    <a:pt x="637" y="584"/>
                  </a:lnTo>
                  <a:lnTo>
                    <a:pt x="635" y="584"/>
                  </a:lnTo>
                  <a:lnTo>
                    <a:pt x="635" y="584"/>
                  </a:lnTo>
                  <a:lnTo>
                    <a:pt x="635" y="584"/>
                  </a:lnTo>
                  <a:lnTo>
                    <a:pt x="635" y="584"/>
                  </a:lnTo>
                  <a:lnTo>
                    <a:pt x="635" y="584"/>
                  </a:lnTo>
                  <a:lnTo>
                    <a:pt x="635" y="584"/>
                  </a:lnTo>
                  <a:lnTo>
                    <a:pt x="635" y="586"/>
                  </a:lnTo>
                  <a:lnTo>
                    <a:pt x="637" y="584"/>
                  </a:lnTo>
                  <a:lnTo>
                    <a:pt x="637" y="584"/>
                  </a:lnTo>
                  <a:lnTo>
                    <a:pt x="639" y="584"/>
                  </a:lnTo>
                  <a:lnTo>
                    <a:pt x="639" y="584"/>
                  </a:lnTo>
                  <a:lnTo>
                    <a:pt x="641" y="584"/>
                  </a:lnTo>
                  <a:lnTo>
                    <a:pt x="641" y="584"/>
                  </a:lnTo>
                  <a:lnTo>
                    <a:pt x="641" y="584"/>
                  </a:lnTo>
                  <a:lnTo>
                    <a:pt x="641" y="584"/>
                  </a:lnTo>
                  <a:lnTo>
                    <a:pt x="641" y="584"/>
                  </a:lnTo>
                  <a:lnTo>
                    <a:pt x="641" y="586"/>
                  </a:lnTo>
                  <a:lnTo>
                    <a:pt x="641" y="586"/>
                  </a:lnTo>
                  <a:lnTo>
                    <a:pt x="643" y="586"/>
                  </a:lnTo>
                  <a:lnTo>
                    <a:pt x="645" y="586"/>
                  </a:lnTo>
                  <a:lnTo>
                    <a:pt x="645" y="586"/>
                  </a:lnTo>
                  <a:lnTo>
                    <a:pt x="645" y="586"/>
                  </a:lnTo>
                  <a:lnTo>
                    <a:pt x="645" y="586"/>
                  </a:lnTo>
                  <a:lnTo>
                    <a:pt x="647" y="586"/>
                  </a:lnTo>
                  <a:lnTo>
                    <a:pt x="647" y="586"/>
                  </a:lnTo>
                  <a:lnTo>
                    <a:pt x="647" y="588"/>
                  </a:lnTo>
                  <a:lnTo>
                    <a:pt x="647" y="588"/>
                  </a:lnTo>
                  <a:lnTo>
                    <a:pt x="647" y="588"/>
                  </a:lnTo>
                  <a:lnTo>
                    <a:pt x="647" y="588"/>
                  </a:lnTo>
                  <a:lnTo>
                    <a:pt x="647" y="590"/>
                  </a:lnTo>
                  <a:lnTo>
                    <a:pt x="647" y="590"/>
                  </a:lnTo>
                  <a:lnTo>
                    <a:pt x="647" y="590"/>
                  </a:lnTo>
                  <a:lnTo>
                    <a:pt x="647" y="592"/>
                  </a:lnTo>
                  <a:lnTo>
                    <a:pt x="647" y="592"/>
                  </a:lnTo>
                  <a:lnTo>
                    <a:pt x="647" y="592"/>
                  </a:lnTo>
                  <a:lnTo>
                    <a:pt x="647" y="592"/>
                  </a:lnTo>
                  <a:lnTo>
                    <a:pt x="649" y="592"/>
                  </a:lnTo>
                  <a:lnTo>
                    <a:pt x="649" y="590"/>
                  </a:lnTo>
                  <a:lnTo>
                    <a:pt x="649" y="592"/>
                  </a:lnTo>
                  <a:lnTo>
                    <a:pt x="649" y="592"/>
                  </a:lnTo>
                  <a:lnTo>
                    <a:pt x="649" y="594"/>
                  </a:lnTo>
                  <a:lnTo>
                    <a:pt x="647" y="594"/>
                  </a:lnTo>
                  <a:lnTo>
                    <a:pt x="647" y="594"/>
                  </a:lnTo>
                  <a:lnTo>
                    <a:pt x="649" y="596"/>
                  </a:lnTo>
                  <a:lnTo>
                    <a:pt x="649" y="596"/>
                  </a:lnTo>
                  <a:lnTo>
                    <a:pt x="649" y="596"/>
                  </a:lnTo>
                  <a:lnTo>
                    <a:pt x="651" y="596"/>
                  </a:lnTo>
                  <a:lnTo>
                    <a:pt x="651" y="596"/>
                  </a:lnTo>
                  <a:lnTo>
                    <a:pt x="651" y="594"/>
                  </a:lnTo>
                  <a:lnTo>
                    <a:pt x="651" y="594"/>
                  </a:lnTo>
                  <a:lnTo>
                    <a:pt x="651" y="594"/>
                  </a:lnTo>
                  <a:lnTo>
                    <a:pt x="651" y="596"/>
                  </a:lnTo>
                  <a:lnTo>
                    <a:pt x="651" y="596"/>
                  </a:lnTo>
                  <a:lnTo>
                    <a:pt x="651" y="596"/>
                  </a:lnTo>
                  <a:lnTo>
                    <a:pt x="651" y="598"/>
                  </a:lnTo>
                  <a:lnTo>
                    <a:pt x="649" y="598"/>
                  </a:lnTo>
                  <a:lnTo>
                    <a:pt x="649" y="598"/>
                  </a:lnTo>
                  <a:lnTo>
                    <a:pt x="649" y="598"/>
                  </a:lnTo>
                  <a:lnTo>
                    <a:pt x="651" y="598"/>
                  </a:lnTo>
                  <a:lnTo>
                    <a:pt x="651" y="598"/>
                  </a:lnTo>
                  <a:lnTo>
                    <a:pt x="651" y="598"/>
                  </a:lnTo>
                  <a:lnTo>
                    <a:pt x="651" y="600"/>
                  </a:lnTo>
                  <a:lnTo>
                    <a:pt x="651" y="600"/>
                  </a:lnTo>
                  <a:lnTo>
                    <a:pt x="649" y="600"/>
                  </a:lnTo>
                  <a:lnTo>
                    <a:pt x="649" y="600"/>
                  </a:lnTo>
                  <a:lnTo>
                    <a:pt x="649" y="600"/>
                  </a:lnTo>
                  <a:lnTo>
                    <a:pt x="651" y="603"/>
                  </a:lnTo>
                  <a:lnTo>
                    <a:pt x="651" y="603"/>
                  </a:lnTo>
                  <a:lnTo>
                    <a:pt x="651" y="603"/>
                  </a:lnTo>
                  <a:lnTo>
                    <a:pt x="651" y="605"/>
                  </a:lnTo>
                  <a:lnTo>
                    <a:pt x="651" y="605"/>
                  </a:lnTo>
                  <a:lnTo>
                    <a:pt x="651" y="605"/>
                  </a:lnTo>
                  <a:lnTo>
                    <a:pt x="651" y="607"/>
                  </a:lnTo>
                  <a:lnTo>
                    <a:pt x="651" y="607"/>
                  </a:lnTo>
                  <a:lnTo>
                    <a:pt x="651" y="607"/>
                  </a:lnTo>
                  <a:lnTo>
                    <a:pt x="651" y="607"/>
                  </a:lnTo>
                  <a:lnTo>
                    <a:pt x="653" y="607"/>
                  </a:lnTo>
                  <a:lnTo>
                    <a:pt x="653" y="607"/>
                  </a:lnTo>
                  <a:lnTo>
                    <a:pt x="653" y="607"/>
                  </a:lnTo>
                  <a:lnTo>
                    <a:pt x="653" y="607"/>
                  </a:lnTo>
                  <a:lnTo>
                    <a:pt x="653" y="607"/>
                  </a:lnTo>
                  <a:lnTo>
                    <a:pt x="653" y="607"/>
                  </a:lnTo>
                  <a:lnTo>
                    <a:pt x="653" y="609"/>
                  </a:lnTo>
                  <a:lnTo>
                    <a:pt x="651" y="609"/>
                  </a:lnTo>
                  <a:lnTo>
                    <a:pt x="651" y="609"/>
                  </a:lnTo>
                  <a:lnTo>
                    <a:pt x="649" y="607"/>
                  </a:lnTo>
                  <a:lnTo>
                    <a:pt x="649" y="607"/>
                  </a:lnTo>
                  <a:lnTo>
                    <a:pt x="649" y="607"/>
                  </a:lnTo>
                  <a:lnTo>
                    <a:pt x="649" y="607"/>
                  </a:lnTo>
                  <a:lnTo>
                    <a:pt x="649" y="607"/>
                  </a:lnTo>
                  <a:lnTo>
                    <a:pt x="649" y="607"/>
                  </a:lnTo>
                  <a:lnTo>
                    <a:pt x="649" y="607"/>
                  </a:lnTo>
                  <a:lnTo>
                    <a:pt x="647" y="607"/>
                  </a:lnTo>
                  <a:lnTo>
                    <a:pt x="647" y="607"/>
                  </a:lnTo>
                  <a:lnTo>
                    <a:pt x="647" y="609"/>
                  </a:lnTo>
                  <a:lnTo>
                    <a:pt x="647" y="609"/>
                  </a:lnTo>
                  <a:lnTo>
                    <a:pt x="647" y="609"/>
                  </a:lnTo>
                  <a:lnTo>
                    <a:pt x="647" y="611"/>
                  </a:lnTo>
                  <a:lnTo>
                    <a:pt x="647" y="611"/>
                  </a:lnTo>
                  <a:lnTo>
                    <a:pt x="645" y="613"/>
                  </a:lnTo>
                  <a:lnTo>
                    <a:pt x="645" y="613"/>
                  </a:lnTo>
                  <a:lnTo>
                    <a:pt x="643" y="613"/>
                  </a:lnTo>
                  <a:lnTo>
                    <a:pt x="639" y="611"/>
                  </a:lnTo>
                  <a:lnTo>
                    <a:pt x="639" y="611"/>
                  </a:lnTo>
                  <a:lnTo>
                    <a:pt x="639" y="609"/>
                  </a:lnTo>
                  <a:lnTo>
                    <a:pt x="639" y="609"/>
                  </a:lnTo>
                  <a:lnTo>
                    <a:pt x="637" y="609"/>
                  </a:lnTo>
                  <a:lnTo>
                    <a:pt x="635" y="611"/>
                  </a:lnTo>
                  <a:lnTo>
                    <a:pt x="633" y="611"/>
                  </a:lnTo>
                  <a:lnTo>
                    <a:pt x="633" y="611"/>
                  </a:lnTo>
                  <a:lnTo>
                    <a:pt x="635" y="609"/>
                  </a:lnTo>
                  <a:lnTo>
                    <a:pt x="635" y="609"/>
                  </a:lnTo>
                  <a:lnTo>
                    <a:pt x="635" y="609"/>
                  </a:lnTo>
                  <a:lnTo>
                    <a:pt x="635" y="607"/>
                  </a:lnTo>
                  <a:lnTo>
                    <a:pt x="635" y="607"/>
                  </a:lnTo>
                  <a:lnTo>
                    <a:pt x="633" y="607"/>
                  </a:lnTo>
                  <a:lnTo>
                    <a:pt x="633" y="609"/>
                  </a:lnTo>
                  <a:lnTo>
                    <a:pt x="631" y="609"/>
                  </a:lnTo>
                  <a:lnTo>
                    <a:pt x="633" y="609"/>
                  </a:lnTo>
                  <a:lnTo>
                    <a:pt x="633" y="607"/>
                  </a:lnTo>
                  <a:lnTo>
                    <a:pt x="635" y="607"/>
                  </a:lnTo>
                  <a:lnTo>
                    <a:pt x="635" y="605"/>
                  </a:lnTo>
                  <a:lnTo>
                    <a:pt x="635" y="605"/>
                  </a:lnTo>
                  <a:lnTo>
                    <a:pt x="635" y="605"/>
                  </a:lnTo>
                  <a:lnTo>
                    <a:pt x="635" y="605"/>
                  </a:lnTo>
                  <a:lnTo>
                    <a:pt x="635" y="605"/>
                  </a:lnTo>
                  <a:lnTo>
                    <a:pt x="635" y="605"/>
                  </a:lnTo>
                  <a:lnTo>
                    <a:pt x="633" y="605"/>
                  </a:lnTo>
                  <a:lnTo>
                    <a:pt x="633" y="605"/>
                  </a:lnTo>
                  <a:lnTo>
                    <a:pt x="633" y="605"/>
                  </a:lnTo>
                  <a:lnTo>
                    <a:pt x="633" y="605"/>
                  </a:lnTo>
                  <a:lnTo>
                    <a:pt x="633" y="605"/>
                  </a:lnTo>
                  <a:lnTo>
                    <a:pt x="633" y="605"/>
                  </a:lnTo>
                  <a:lnTo>
                    <a:pt x="633" y="603"/>
                  </a:lnTo>
                  <a:lnTo>
                    <a:pt x="633" y="603"/>
                  </a:lnTo>
                  <a:lnTo>
                    <a:pt x="633" y="603"/>
                  </a:lnTo>
                  <a:lnTo>
                    <a:pt x="633" y="600"/>
                  </a:lnTo>
                  <a:lnTo>
                    <a:pt x="633" y="600"/>
                  </a:lnTo>
                  <a:lnTo>
                    <a:pt x="633" y="600"/>
                  </a:lnTo>
                  <a:lnTo>
                    <a:pt x="633" y="598"/>
                  </a:lnTo>
                  <a:lnTo>
                    <a:pt x="633" y="598"/>
                  </a:lnTo>
                  <a:lnTo>
                    <a:pt x="633" y="598"/>
                  </a:lnTo>
                  <a:lnTo>
                    <a:pt x="631" y="598"/>
                  </a:lnTo>
                  <a:lnTo>
                    <a:pt x="629" y="598"/>
                  </a:lnTo>
                  <a:lnTo>
                    <a:pt x="627" y="598"/>
                  </a:lnTo>
                  <a:lnTo>
                    <a:pt x="627" y="598"/>
                  </a:lnTo>
                  <a:lnTo>
                    <a:pt x="627" y="598"/>
                  </a:lnTo>
                  <a:lnTo>
                    <a:pt x="629" y="598"/>
                  </a:lnTo>
                  <a:lnTo>
                    <a:pt x="629" y="598"/>
                  </a:lnTo>
                  <a:lnTo>
                    <a:pt x="629" y="600"/>
                  </a:lnTo>
                  <a:lnTo>
                    <a:pt x="629" y="600"/>
                  </a:lnTo>
                  <a:lnTo>
                    <a:pt x="629" y="600"/>
                  </a:lnTo>
                  <a:lnTo>
                    <a:pt x="629" y="603"/>
                  </a:lnTo>
                  <a:lnTo>
                    <a:pt x="629" y="605"/>
                  </a:lnTo>
                  <a:lnTo>
                    <a:pt x="631" y="605"/>
                  </a:lnTo>
                  <a:lnTo>
                    <a:pt x="631" y="605"/>
                  </a:lnTo>
                  <a:lnTo>
                    <a:pt x="629" y="605"/>
                  </a:lnTo>
                  <a:lnTo>
                    <a:pt x="629" y="607"/>
                  </a:lnTo>
                  <a:lnTo>
                    <a:pt x="629" y="607"/>
                  </a:lnTo>
                  <a:lnTo>
                    <a:pt x="629" y="607"/>
                  </a:lnTo>
                  <a:lnTo>
                    <a:pt x="629" y="609"/>
                  </a:lnTo>
                  <a:lnTo>
                    <a:pt x="629" y="611"/>
                  </a:lnTo>
                  <a:lnTo>
                    <a:pt x="629" y="611"/>
                  </a:lnTo>
                  <a:lnTo>
                    <a:pt x="627" y="613"/>
                  </a:lnTo>
                  <a:lnTo>
                    <a:pt x="627" y="613"/>
                  </a:lnTo>
                  <a:lnTo>
                    <a:pt x="624" y="613"/>
                  </a:lnTo>
                  <a:lnTo>
                    <a:pt x="624" y="613"/>
                  </a:lnTo>
                  <a:lnTo>
                    <a:pt x="624" y="615"/>
                  </a:lnTo>
                  <a:lnTo>
                    <a:pt x="622" y="615"/>
                  </a:lnTo>
                  <a:lnTo>
                    <a:pt x="622" y="615"/>
                  </a:lnTo>
                  <a:lnTo>
                    <a:pt x="620" y="617"/>
                  </a:lnTo>
                  <a:lnTo>
                    <a:pt x="620" y="617"/>
                  </a:lnTo>
                  <a:lnTo>
                    <a:pt x="620" y="619"/>
                  </a:lnTo>
                  <a:lnTo>
                    <a:pt x="618" y="619"/>
                  </a:lnTo>
                  <a:lnTo>
                    <a:pt x="616" y="621"/>
                  </a:lnTo>
                  <a:lnTo>
                    <a:pt x="616" y="621"/>
                  </a:lnTo>
                  <a:lnTo>
                    <a:pt x="614" y="627"/>
                  </a:lnTo>
                  <a:lnTo>
                    <a:pt x="614" y="629"/>
                  </a:lnTo>
                  <a:lnTo>
                    <a:pt x="612" y="631"/>
                  </a:lnTo>
                  <a:lnTo>
                    <a:pt x="612" y="633"/>
                  </a:lnTo>
                  <a:lnTo>
                    <a:pt x="610" y="633"/>
                  </a:lnTo>
                  <a:lnTo>
                    <a:pt x="610" y="633"/>
                  </a:lnTo>
                  <a:lnTo>
                    <a:pt x="608" y="635"/>
                  </a:lnTo>
                  <a:lnTo>
                    <a:pt x="606" y="635"/>
                  </a:lnTo>
                  <a:lnTo>
                    <a:pt x="606" y="635"/>
                  </a:lnTo>
                  <a:lnTo>
                    <a:pt x="604" y="637"/>
                  </a:lnTo>
                  <a:lnTo>
                    <a:pt x="602" y="637"/>
                  </a:lnTo>
                  <a:lnTo>
                    <a:pt x="600" y="640"/>
                  </a:lnTo>
                  <a:lnTo>
                    <a:pt x="600" y="640"/>
                  </a:lnTo>
                  <a:lnTo>
                    <a:pt x="596" y="644"/>
                  </a:lnTo>
                  <a:lnTo>
                    <a:pt x="594" y="646"/>
                  </a:lnTo>
                  <a:lnTo>
                    <a:pt x="592" y="648"/>
                  </a:lnTo>
                  <a:lnTo>
                    <a:pt x="592" y="648"/>
                  </a:lnTo>
                  <a:lnTo>
                    <a:pt x="592" y="648"/>
                  </a:lnTo>
                  <a:lnTo>
                    <a:pt x="594" y="648"/>
                  </a:lnTo>
                  <a:lnTo>
                    <a:pt x="594" y="648"/>
                  </a:lnTo>
                  <a:lnTo>
                    <a:pt x="594" y="648"/>
                  </a:lnTo>
                  <a:lnTo>
                    <a:pt x="594" y="648"/>
                  </a:lnTo>
                  <a:lnTo>
                    <a:pt x="594" y="650"/>
                  </a:lnTo>
                  <a:lnTo>
                    <a:pt x="594" y="650"/>
                  </a:lnTo>
                  <a:lnTo>
                    <a:pt x="594" y="652"/>
                  </a:lnTo>
                  <a:lnTo>
                    <a:pt x="592" y="652"/>
                  </a:lnTo>
                  <a:lnTo>
                    <a:pt x="592" y="652"/>
                  </a:lnTo>
                  <a:lnTo>
                    <a:pt x="588" y="652"/>
                  </a:lnTo>
                  <a:lnTo>
                    <a:pt x="585" y="652"/>
                  </a:lnTo>
                  <a:lnTo>
                    <a:pt x="585" y="652"/>
                  </a:lnTo>
                  <a:lnTo>
                    <a:pt x="583" y="652"/>
                  </a:lnTo>
                  <a:lnTo>
                    <a:pt x="583" y="652"/>
                  </a:lnTo>
                  <a:lnTo>
                    <a:pt x="583" y="654"/>
                  </a:lnTo>
                  <a:lnTo>
                    <a:pt x="581" y="654"/>
                  </a:lnTo>
                  <a:lnTo>
                    <a:pt x="581" y="656"/>
                  </a:lnTo>
                  <a:lnTo>
                    <a:pt x="581" y="656"/>
                  </a:lnTo>
                  <a:lnTo>
                    <a:pt x="583" y="656"/>
                  </a:lnTo>
                  <a:lnTo>
                    <a:pt x="585" y="658"/>
                  </a:lnTo>
                  <a:lnTo>
                    <a:pt x="588" y="656"/>
                  </a:lnTo>
                  <a:lnTo>
                    <a:pt x="588" y="656"/>
                  </a:lnTo>
                  <a:lnTo>
                    <a:pt x="588" y="656"/>
                  </a:lnTo>
                  <a:lnTo>
                    <a:pt x="590" y="658"/>
                  </a:lnTo>
                  <a:lnTo>
                    <a:pt x="590" y="658"/>
                  </a:lnTo>
                  <a:lnTo>
                    <a:pt x="590" y="658"/>
                  </a:lnTo>
                  <a:lnTo>
                    <a:pt x="590" y="656"/>
                  </a:lnTo>
                  <a:lnTo>
                    <a:pt x="592" y="656"/>
                  </a:lnTo>
                  <a:lnTo>
                    <a:pt x="592" y="656"/>
                  </a:lnTo>
                  <a:lnTo>
                    <a:pt x="594" y="654"/>
                  </a:lnTo>
                  <a:lnTo>
                    <a:pt x="596" y="654"/>
                  </a:lnTo>
                  <a:lnTo>
                    <a:pt x="598" y="652"/>
                  </a:lnTo>
                  <a:lnTo>
                    <a:pt x="600" y="652"/>
                  </a:lnTo>
                  <a:lnTo>
                    <a:pt x="600" y="652"/>
                  </a:lnTo>
                  <a:lnTo>
                    <a:pt x="602" y="652"/>
                  </a:lnTo>
                  <a:lnTo>
                    <a:pt x="602" y="652"/>
                  </a:lnTo>
                  <a:lnTo>
                    <a:pt x="602" y="652"/>
                  </a:lnTo>
                  <a:lnTo>
                    <a:pt x="600" y="652"/>
                  </a:lnTo>
                  <a:lnTo>
                    <a:pt x="602" y="652"/>
                  </a:lnTo>
                  <a:lnTo>
                    <a:pt x="602" y="652"/>
                  </a:lnTo>
                  <a:lnTo>
                    <a:pt x="602" y="650"/>
                  </a:lnTo>
                  <a:lnTo>
                    <a:pt x="604" y="650"/>
                  </a:lnTo>
                  <a:lnTo>
                    <a:pt x="610" y="646"/>
                  </a:lnTo>
                  <a:lnTo>
                    <a:pt x="610" y="646"/>
                  </a:lnTo>
                  <a:lnTo>
                    <a:pt x="614" y="646"/>
                  </a:lnTo>
                  <a:lnTo>
                    <a:pt x="616" y="646"/>
                  </a:lnTo>
                  <a:lnTo>
                    <a:pt x="620" y="646"/>
                  </a:lnTo>
                  <a:lnTo>
                    <a:pt x="622" y="646"/>
                  </a:lnTo>
                  <a:lnTo>
                    <a:pt x="624" y="648"/>
                  </a:lnTo>
                  <a:lnTo>
                    <a:pt x="624" y="648"/>
                  </a:lnTo>
                  <a:lnTo>
                    <a:pt x="629" y="648"/>
                  </a:lnTo>
                  <a:lnTo>
                    <a:pt x="631" y="648"/>
                  </a:lnTo>
                  <a:lnTo>
                    <a:pt x="629" y="648"/>
                  </a:lnTo>
                  <a:lnTo>
                    <a:pt x="627" y="646"/>
                  </a:lnTo>
                  <a:lnTo>
                    <a:pt x="627" y="646"/>
                  </a:lnTo>
                  <a:lnTo>
                    <a:pt x="624" y="646"/>
                  </a:lnTo>
                  <a:lnTo>
                    <a:pt x="624" y="646"/>
                  </a:lnTo>
                  <a:lnTo>
                    <a:pt x="627" y="646"/>
                  </a:lnTo>
                  <a:lnTo>
                    <a:pt x="627" y="646"/>
                  </a:lnTo>
                  <a:lnTo>
                    <a:pt x="627" y="644"/>
                  </a:lnTo>
                  <a:lnTo>
                    <a:pt x="629" y="644"/>
                  </a:lnTo>
                  <a:lnTo>
                    <a:pt x="629" y="644"/>
                  </a:lnTo>
                  <a:lnTo>
                    <a:pt x="631" y="644"/>
                  </a:lnTo>
                  <a:lnTo>
                    <a:pt x="635" y="642"/>
                  </a:lnTo>
                  <a:lnTo>
                    <a:pt x="637" y="642"/>
                  </a:lnTo>
                  <a:lnTo>
                    <a:pt x="637" y="642"/>
                  </a:lnTo>
                  <a:lnTo>
                    <a:pt x="639" y="642"/>
                  </a:lnTo>
                  <a:lnTo>
                    <a:pt x="639" y="642"/>
                  </a:lnTo>
                  <a:lnTo>
                    <a:pt x="643" y="642"/>
                  </a:lnTo>
                  <a:lnTo>
                    <a:pt x="645" y="642"/>
                  </a:lnTo>
                  <a:lnTo>
                    <a:pt x="645" y="642"/>
                  </a:lnTo>
                  <a:lnTo>
                    <a:pt x="647" y="642"/>
                  </a:lnTo>
                  <a:lnTo>
                    <a:pt x="647" y="642"/>
                  </a:lnTo>
                  <a:lnTo>
                    <a:pt x="649" y="642"/>
                  </a:lnTo>
                  <a:lnTo>
                    <a:pt x="649" y="642"/>
                  </a:lnTo>
                  <a:lnTo>
                    <a:pt x="649" y="640"/>
                  </a:lnTo>
                  <a:lnTo>
                    <a:pt x="649" y="640"/>
                  </a:lnTo>
                  <a:lnTo>
                    <a:pt x="649" y="640"/>
                  </a:lnTo>
                  <a:lnTo>
                    <a:pt x="649" y="640"/>
                  </a:lnTo>
                  <a:lnTo>
                    <a:pt x="649" y="637"/>
                  </a:lnTo>
                  <a:lnTo>
                    <a:pt x="649" y="637"/>
                  </a:lnTo>
                  <a:lnTo>
                    <a:pt x="649" y="637"/>
                  </a:lnTo>
                  <a:lnTo>
                    <a:pt x="651" y="633"/>
                  </a:lnTo>
                  <a:lnTo>
                    <a:pt x="651" y="633"/>
                  </a:lnTo>
                  <a:lnTo>
                    <a:pt x="647" y="635"/>
                  </a:lnTo>
                  <a:lnTo>
                    <a:pt x="647" y="635"/>
                  </a:lnTo>
                  <a:lnTo>
                    <a:pt x="645" y="635"/>
                  </a:lnTo>
                  <a:lnTo>
                    <a:pt x="645" y="635"/>
                  </a:lnTo>
                  <a:lnTo>
                    <a:pt x="643" y="635"/>
                  </a:lnTo>
                  <a:lnTo>
                    <a:pt x="641" y="635"/>
                  </a:lnTo>
                  <a:lnTo>
                    <a:pt x="641" y="635"/>
                  </a:lnTo>
                  <a:lnTo>
                    <a:pt x="641" y="633"/>
                  </a:lnTo>
                  <a:lnTo>
                    <a:pt x="641" y="633"/>
                  </a:lnTo>
                  <a:lnTo>
                    <a:pt x="643" y="631"/>
                  </a:lnTo>
                  <a:lnTo>
                    <a:pt x="643" y="629"/>
                  </a:lnTo>
                  <a:lnTo>
                    <a:pt x="645" y="629"/>
                  </a:lnTo>
                  <a:lnTo>
                    <a:pt x="645" y="629"/>
                  </a:lnTo>
                  <a:lnTo>
                    <a:pt x="647" y="629"/>
                  </a:lnTo>
                  <a:lnTo>
                    <a:pt x="647" y="627"/>
                  </a:lnTo>
                  <a:lnTo>
                    <a:pt x="647" y="627"/>
                  </a:lnTo>
                  <a:lnTo>
                    <a:pt x="647" y="627"/>
                  </a:lnTo>
                  <a:lnTo>
                    <a:pt x="649" y="627"/>
                  </a:lnTo>
                  <a:lnTo>
                    <a:pt x="653" y="625"/>
                  </a:lnTo>
                  <a:lnTo>
                    <a:pt x="655" y="625"/>
                  </a:lnTo>
                  <a:lnTo>
                    <a:pt x="655" y="625"/>
                  </a:lnTo>
                  <a:lnTo>
                    <a:pt x="659" y="623"/>
                  </a:lnTo>
                  <a:lnTo>
                    <a:pt x="661" y="623"/>
                  </a:lnTo>
                  <a:lnTo>
                    <a:pt x="661" y="623"/>
                  </a:lnTo>
                  <a:lnTo>
                    <a:pt x="664" y="623"/>
                  </a:lnTo>
                  <a:lnTo>
                    <a:pt x="664" y="623"/>
                  </a:lnTo>
                  <a:lnTo>
                    <a:pt x="666" y="623"/>
                  </a:lnTo>
                  <a:lnTo>
                    <a:pt x="668" y="623"/>
                  </a:lnTo>
                  <a:lnTo>
                    <a:pt x="672" y="621"/>
                  </a:lnTo>
                  <a:lnTo>
                    <a:pt x="674" y="621"/>
                  </a:lnTo>
                  <a:lnTo>
                    <a:pt x="674" y="621"/>
                  </a:lnTo>
                  <a:lnTo>
                    <a:pt x="676" y="621"/>
                  </a:lnTo>
                  <a:lnTo>
                    <a:pt x="676" y="621"/>
                  </a:lnTo>
                  <a:lnTo>
                    <a:pt x="676" y="621"/>
                  </a:lnTo>
                  <a:lnTo>
                    <a:pt x="678" y="621"/>
                  </a:lnTo>
                  <a:lnTo>
                    <a:pt x="678" y="621"/>
                  </a:lnTo>
                  <a:lnTo>
                    <a:pt x="678" y="621"/>
                  </a:lnTo>
                  <a:lnTo>
                    <a:pt x="678" y="621"/>
                  </a:lnTo>
                  <a:lnTo>
                    <a:pt x="678" y="621"/>
                  </a:lnTo>
                  <a:lnTo>
                    <a:pt x="678" y="623"/>
                  </a:lnTo>
                  <a:lnTo>
                    <a:pt x="680" y="623"/>
                  </a:lnTo>
                  <a:lnTo>
                    <a:pt x="680" y="623"/>
                  </a:lnTo>
                  <a:lnTo>
                    <a:pt x="682" y="623"/>
                  </a:lnTo>
                  <a:lnTo>
                    <a:pt x="682" y="623"/>
                  </a:lnTo>
                  <a:lnTo>
                    <a:pt x="680" y="623"/>
                  </a:lnTo>
                  <a:lnTo>
                    <a:pt x="680" y="623"/>
                  </a:lnTo>
                  <a:lnTo>
                    <a:pt x="682" y="623"/>
                  </a:lnTo>
                  <a:lnTo>
                    <a:pt x="682" y="623"/>
                  </a:lnTo>
                  <a:lnTo>
                    <a:pt x="682" y="623"/>
                  </a:lnTo>
                  <a:lnTo>
                    <a:pt x="682" y="623"/>
                  </a:lnTo>
                  <a:lnTo>
                    <a:pt x="682" y="623"/>
                  </a:lnTo>
                  <a:lnTo>
                    <a:pt x="682" y="623"/>
                  </a:lnTo>
                  <a:lnTo>
                    <a:pt x="682" y="623"/>
                  </a:lnTo>
                  <a:lnTo>
                    <a:pt x="684" y="623"/>
                  </a:lnTo>
                  <a:lnTo>
                    <a:pt x="686" y="623"/>
                  </a:lnTo>
                  <a:lnTo>
                    <a:pt x="688" y="623"/>
                  </a:lnTo>
                  <a:lnTo>
                    <a:pt x="688" y="623"/>
                  </a:lnTo>
                  <a:lnTo>
                    <a:pt x="686" y="623"/>
                  </a:lnTo>
                  <a:lnTo>
                    <a:pt x="686" y="623"/>
                  </a:lnTo>
                  <a:lnTo>
                    <a:pt x="684" y="623"/>
                  </a:lnTo>
                  <a:lnTo>
                    <a:pt x="684" y="623"/>
                  </a:lnTo>
                  <a:lnTo>
                    <a:pt x="686" y="621"/>
                  </a:lnTo>
                  <a:lnTo>
                    <a:pt x="686" y="621"/>
                  </a:lnTo>
                  <a:lnTo>
                    <a:pt x="688" y="621"/>
                  </a:lnTo>
                  <a:lnTo>
                    <a:pt x="688" y="619"/>
                  </a:lnTo>
                  <a:lnTo>
                    <a:pt x="688" y="619"/>
                  </a:lnTo>
                  <a:lnTo>
                    <a:pt x="686" y="621"/>
                  </a:lnTo>
                  <a:lnTo>
                    <a:pt x="686" y="621"/>
                  </a:lnTo>
                  <a:lnTo>
                    <a:pt x="684" y="621"/>
                  </a:lnTo>
                  <a:lnTo>
                    <a:pt x="684" y="621"/>
                  </a:lnTo>
                  <a:lnTo>
                    <a:pt x="686" y="619"/>
                  </a:lnTo>
                  <a:lnTo>
                    <a:pt x="686" y="619"/>
                  </a:lnTo>
                  <a:lnTo>
                    <a:pt x="682" y="619"/>
                  </a:lnTo>
                  <a:lnTo>
                    <a:pt x="682" y="619"/>
                  </a:lnTo>
                  <a:lnTo>
                    <a:pt x="682" y="619"/>
                  </a:lnTo>
                  <a:lnTo>
                    <a:pt x="682" y="619"/>
                  </a:lnTo>
                  <a:lnTo>
                    <a:pt x="682" y="619"/>
                  </a:lnTo>
                  <a:lnTo>
                    <a:pt x="682" y="619"/>
                  </a:lnTo>
                  <a:lnTo>
                    <a:pt x="682" y="619"/>
                  </a:lnTo>
                  <a:lnTo>
                    <a:pt x="682" y="619"/>
                  </a:lnTo>
                  <a:lnTo>
                    <a:pt x="682" y="619"/>
                  </a:lnTo>
                  <a:lnTo>
                    <a:pt x="682" y="619"/>
                  </a:lnTo>
                  <a:lnTo>
                    <a:pt x="682" y="619"/>
                  </a:lnTo>
                  <a:lnTo>
                    <a:pt x="680" y="619"/>
                  </a:lnTo>
                  <a:lnTo>
                    <a:pt x="678" y="621"/>
                  </a:lnTo>
                  <a:lnTo>
                    <a:pt x="678" y="619"/>
                  </a:lnTo>
                  <a:lnTo>
                    <a:pt x="678" y="619"/>
                  </a:lnTo>
                  <a:lnTo>
                    <a:pt x="682" y="619"/>
                  </a:lnTo>
                  <a:lnTo>
                    <a:pt x="682" y="619"/>
                  </a:lnTo>
                  <a:lnTo>
                    <a:pt x="684" y="619"/>
                  </a:lnTo>
                  <a:lnTo>
                    <a:pt x="684" y="619"/>
                  </a:lnTo>
                  <a:lnTo>
                    <a:pt x="684" y="619"/>
                  </a:lnTo>
                  <a:lnTo>
                    <a:pt x="684" y="619"/>
                  </a:lnTo>
                  <a:lnTo>
                    <a:pt x="684" y="619"/>
                  </a:lnTo>
                  <a:lnTo>
                    <a:pt x="686" y="617"/>
                  </a:lnTo>
                  <a:lnTo>
                    <a:pt x="686" y="619"/>
                  </a:lnTo>
                  <a:lnTo>
                    <a:pt x="686" y="619"/>
                  </a:lnTo>
                  <a:lnTo>
                    <a:pt x="686" y="619"/>
                  </a:lnTo>
                  <a:lnTo>
                    <a:pt x="688" y="619"/>
                  </a:lnTo>
                  <a:lnTo>
                    <a:pt x="688" y="619"/>
                  </a:lnTo>
                  <a:lnTo>
                    <a:pt x="688" y="619"/>
                  </a:lnTo>
                  <a:lnTo>
                    <a:pt x="686" y="619"/>
                  </a:lnTo>
                  <a:lnTo>
                    <a:pt x="686" y="619"/>
                  </a:lnTo>
                  <a:lnTo>
                    <a:pt x="686" y="619"/>
                  </a:lnTo>
                  <a:lnTo>
                    <a:pt x="686" y="621"/>
                  </a:lnTo>
                  <a:lnTo>
                    <a:pt x="686" y="621"/>
                  </a:lnTo>
                  <a:lnTo>
                    <a:pt x="690" y="619"/>
                  </a:lnTo>
                  <a:lnTo>
                    <a:pt x="692" y="617"/>
                  </a:lnTo>
                  <a:lnTo>
                    <a:pt x="694" y="617"/>
                  </a:lnTo>
                  <a:lnTo>
                    <a:pt x="694" y="617"/>
                  </a:lnTo>
                  <a:lnTo>
                    <a:pt x="696" y="617"/>
                  </a:lnTo>
                  <a:lnTo>
                    <a:pt x="698" y="617"/>
                  </a:lnTo>
                  <a:lnTo>
                    <a:pt x="703" y="615"/>
                  </a:lnTo>
                  <a:lnTo>
                    <a:pt x="705" y="615"/>
                  </a:lnTo>
                  <a:lnTo>
                    <a:pt x="707" y="613"/>
                  </a:lnTo>
                  <a:lnTo>
                    <a:pt x="707" y="613"/>
                  </a:lnTo>
                  <a:lnTo>
                    <a:pt x="707" y="613"/>
                  </a:lnTo>
                  <a:lnTo>
                    <a:pt x="707" y="613"/>
                  </a:lnTo>
                  <a:lnTo>
                    <a:pt x="715" y="609"/>
                  </a:lnTo>
                  <a:lnTo>
                    <a:pt x="719" y="605"/>
                  </a:lnTo>
                  <a:lnTo>
                    <a:pt x="723" y="605"/>
                  </a:lnTo>
                  <a:lnTo>
                    <a:pt x="725" y="603"/>
                  </a:lnTo>
                  <a:lnTo>
                    <a:pt x="725" y="605"/>
                  </a:lnTo>
                  <a:lnTo>
                    <a:pt x="727" y="603"/>
                  </a:lnTo>
                  <a:lnTo>
                    <a:pt x="733" y="598"/>
                  </a:lnTo>
                  <a:lnTo>
                    <a:pt x="737" y="596"/>
                  </a:lnTo>
                  <a:lnTo>
                    <a:pt x="739" y="596"/>
                  </a:lnTo>
                  <a:lnTo>
                    <a:pt x="739" y="594"/>
                  </a:lnTo>
                  <a:lnTo>
                    <a:pt x="737" y="594"/>
                  </a:lnTo>
                  <a:lnTo>
                    <a:pt x="735" y="592"/>
                  </a:lnTo>
                  <a:lnTo>
                    <a:pt x="739" y="594"/>
                  </a:lnTo>
                  <a:lnTo>
                    <a:pt x="744" y="592"/>
                  </a:lnTo>
                  <a:lnTo>
                    <a:pt x="746" y="590"/>
                  </a:lnTo>
                  <a:lnTo>
                    <a:pt x="746" y="590"/>
                  </a:lnTo>
                  <a:lnTo>
                    <a:pt x="750" y="588"/>
                  </a:lnTo>
                  <a:lnTo>
                    <a:pt x="754" y="586"/>
                  </a:lnTo>
                  <a:lnTo>
                    <a:pt x="756" y="584"/>
                  </a:lnTo>
                  <a:lnTo>
                    <a:pt x="758" y="584"/>
                  </a:lnTo>
                  <a:lnTo>
                    <a:pt x="760" y="582"/>
                  </a:lnTo>
                  <a:lnTo>
                    <a:pt x="760" y="580"/>
                  </a:lnTo>
                  <a:lnTo>
                    <a:pt x="762" y="580"/>
                  </a:lnTo>
                  <a:lnTo>
                    <a:pt x="766" y="580"/>
                  </a:lnTo>
                  <a:lnTo>
                    <a:pt x="772" y="576"/>
                  </a:lnTo>
                  <a:lnTo>
                    <a:pt x="774" y="574"/>
                  </a:lnTo>
                  <a:lnTo>
                    <a:pt x="776" y="574"/>
                  </a:lnTo>
                  <a:lnTo>
                    <a:pt x="781" y="572"/>
                  </a:lnTo>
                  <a:lnTo>
                    <a:pt x="783" y="572"/>
                  </a:lnTo>
                  <a:lnTo>
                    <a:pt x="785" y="572"/>
                  </a:lnTo>
                  <a:lnTo>
                    <a:pt x="789" y="570"/>
                  </a:lnTo>
                  <a:lnTo>
                    <a:pt x="793" y="568"/>
                  </a:lnTo>
                  <a:lnTo>
                    <a:pt x="795" y="566"/>
                  </a:lnTo>
                  <a:lnTo>
                    <a:pt x="801" y="563"/>
                  </a:lnTo>
                  <a:lnTo>
                    <a:pt x="805" y="559"/>
                  </a:lnTo>
                  <a:lnTo>
                    <a:pt x="809" y="557"/>
                  </a:lnTo>
                  <a:lnTo>
                    <a:pt x="815" y="553"/>
                  </a:lnTo>
                  <a:lnTo>
                    <a:pt x="817" y="551"/>
                  </a:lnTo>
                  <a:lnTo>
                    <a:pt x="820" y="549"/>
                  </a:lnTo>
                  <a:lnTo>
                    <a:pt x="822" y="547"/>
                  </a:lnTo>
                  <a:lnTo>
                    <a:pt x="820" y="545"/>
                  </a:lnTo>
                  <a:lnTo>
                    <a:pt x="820" y="545"/>
                  </a:lnTo>
                  <a:lnTo>
                    <a:pt x="815" y="545"/>
                  </a:lnTo>
                  <a:lnTo>
                    <a:pt x="811" y="543"/>
                  </a:lnTo>
                  <a:lnTo>
                    <a:pt x="809" y="543"/>
                  </a:lnTo>
                  <a:lnTo>
                    <a:pt x="807" y="543"/>
                  </a:lnTo>
                  <a:lnTo>
                    <a:pt x="807" y="541"/>
                  </a:lnTo>
                  <a:lnTo>
                    <a:pt x="805" y="541"/>
                  </a:lnTo>
                  <a:lnTo>
                    <a:pt x="813" y="543"/>
                  </a:lnTo>
                  <a:lnTo>
                    <a:pt x="817" y="543"/>
                  </a:lnTo>
                  <a:lnTo>
                    <a:pt x="820" y="543"/>
                  </a:lnTo>
                  <a:lnTo>
                    <a:pt x="820" y="545"/>
                  </a:lnTo>
                  <a:lnTo>
                    <a:pt x="822" y="545"/>
                  </a:lnTo>
                  <a:lnTo>
                    <a:pt x="824" y="545"/>
                  </a:lnTo>
                  <a:lnTo>
                    <a:pt x="826" y="545"/>
                  </a:lnTo>
                  <a:lnTo>
                    <a:pt x="828" y="541"/>
                  </a:lnTo>
                  <a:lnTo>
                    <a:pt x="832" y="539"/>
                  </a:lnTo>
                  <a:lnTo>
                    <a:pt x="838" y="535"/>
                  </a:lnTo>
                  <a:lnTo>
                    <a:pt x="842" y="533"/>
                  </a:lnTo>
                  <a:lnTo>
                    <a:pt x="844" y="531"/>
                  </a:lnTo>
                  <a:lnTo>
                    <a:pt x="846" y="531"/>
                  </a:lnTo>
                  <a:lnTo>
                    <a:pt x="848" y="529"/>
                  </a:lnTo>
                  <a:lnTo>
                    <a:pt x="848" y="529"/>
                  </a:lnTo>
                  <a:lnTo>
                    <a:pt x="850" y="529"/>
                  </a:lnTo>
                  <a:lnTo>
                    <a:pt x="850" y="526"/>
                  </a:lnTo>
                  <a:lnTo>
                    <a:pt x="854" y="526"/>
                  </a:lnTo>
                  <a:lnTo>
                    <a:pt x="861" y="524"/>
                  </a:lnTo>
                  <a:lnTo>
                    <a:pt x="863" y="524"/>
                  </a:lnTo>
                  <a:lnTo>
                    <a:pt x="865" y="524"/>
                  </a:lnTo>
                  <a:lnTo>
                    <a:pt x="867" y="522"/>
                  </a:lnTo>
                  <a:lnTo>
                    <a:pt x="869" y="520"/>
                  </a:lnTo>
                  <a:lnTo>
                    <a:pt x="875" y="512"/>
                  </a:lnTo>
                  <a:lnTo>
                    <a:pt x="879" y="512"/>
                  </a:lnTo>
                  <a:lnTo>
                    <a:pt x="881" y="510"/>
                  </a:lnTo>
                  <a:lnTo>
                    <a:pt x="881" y="510"/>
                  </a:lnTo>
                  <a:lnTo>
                    <a:pt x="883" y="510"/>
                  </a:lnTo>
                  <a:lnTo>
                    <a:pt x="885" y="508"/>
                  </a:lnTo>
                  <a:lnTo>
                    <a:pt x="885" y="510"/>
                  </a:lnTo>
                  <a:lnTo>
                    <a:pt x="887" y="508"/>
                  </a:lnTo>
                  <a:lnTo>
                    <a:pt x="887" y="510"/>
                  </a:lnTo>
                  <a:lnTo>
                    <a:pt x="891" y="508"/>
                  </a:lnTo>
                  <a:lnTo>
                    <a:pt x="893" y="508"/>
                  </a:lnTo>
                  <a:lnTo>
                    <a:pt x="902" y="508"/>
                  </a:lnTo>
                  <a:lnTo>
                    <a:pt x="902" y="508"/>
                  </a:lnTo>
                  <a:lnTo>
                    <a:pt x="906" y="508"/>
                  </a:lnTo>
                  <a:lnTo>
                    <a:pt x="912" y="508"/>
                  </a:lnTo>
                  <a:lnTo>
                    <a:pt x="916" y="508"/>
                  </a:lnTo>
                  <a:lnTo>
                    <a:pt x="918" y="508"/>
                  </a:lnTo>
                  <a:lnTo>
                    <a:pt x="920" y="508"/>
                  </a:lnTo>
                  <a:lnTo>
                    <a:pt x="922" y="508"/>
                  </a:lnTo>
                  <a:lnTo>
                    <a:pt x="924" y="508"/>
                  </a:lnTo>
                  <a:lnTo>
                    <a:pt x="928" y="508"/>
                  </a:lnTo>
                  <a:lnTo>
                    <a:pt x="930" y="508"/>
                  </a:lnTo>
                  <a:lnTo>
                    <a:pt x="932" y="508"/>
                  </a:lnTo>
                  <a:lnTo>
                    <a:pt x="935" y="508"/>
                  </a:lnTo>
                  <a:lnTo>
                    <a:pt x="937" y="508"/>
                  </a:lnTo>
                  <a:lnTo>
                    <a:pt x="939" y="508"/>
                  </a:lnTo>
                  <a:lnTo>
                    <a:pt x="941" y="508"/>
                  </a:lnTo>
                  <a:lnTo>
                    <a:pt x="945" y="508"/>
                  </a:lnTo>
                  <a:lnTo>
                    <a:pt x="947" y="508"/>
                  </a:lnTo>
                  <a:lnTo>
                    <a:pt x="949" y="510"/>
                  </a:lnTo>
                  <a:lnTo>
                    <a:pt x="949" y="510"/>
                  </a:lnTo>
                  <a:lnTo>
                    <a:pt x="955" y="510"/>
                  </a:lnTo>
                  <a:lnTo>
                    <a:pt x="957" y="510"/>
                  </a:lnTo>
                  <a:lnTo>
                    <a:pt x="961" y="510"/>
                  </a:lnTo>
                  <a:lnTo>
                    <a:pt x="963" y="508"/>
                  </a:lnTo>
                  <a:lnTo>
                    <a:pt x="965" y="508"/>
                  </a:lnTo>
                  <a:lnTo>
                    <a:pt x="967" y="508"/>
                  </a:lnTo>
                  <a:lnTo>
                    <a:pt x="974" y="508"/>
                  </a:lnTo>
                  <a:close/>
                  <a:moveTo>
                    <a:pt x="742" y="594"/>
                  </a:moveTo>
                  <a:lnTo>
                    <a:pt x="742" y="594"/>
                  </a:lnTo>
                  <a:lnTo>
                    <a:pt x="744" y="594"/>
                  </a:lnTo>
                  <a:lnTo>
                    <a:pt x="746" y="594"/>
                  </a:lnTo>
                  <a:lnTo>
                    <a:pt x="748" y="594"/>
                  </a:lnTo>
                  <a:lnTo>
                    <a:pt x="748" y="594"/>
                  </a:lnTo>
                  <a:lnTo>
                    <a:pt x="748" y="592"/>
                  </a:lnTo>
                  <a:lnTo>
                    <a:pt x="750" y="590"/>
                  </a:lnTo>
                  <a:lnTo>
                    <a:pt x="750" y="590"/>
                  </a:lnTo>
                  <a:lnTo>
                    <a:pt x="746" y="592"/>
                  </a:lnTo>
                  <a:lnTo>
                    <a:pt x="744" y="592"/>
                  </a:lnTo>
                  <a:lnTo>
                    <a:pt x="742" y="594"/>
                  </a:lnTo>
                  <a:close/>
                  <a:moveTo>
                    <a:pt x="793" y="568"/>
                  </a:moveTo>
                  <a:lnTo>
                    <a:pt x="793" y="570"/>
                  </a:lnTo>
                  <a:lnTo>
                    <a:pt x="793" y="570"/>
                  </a:lnTo>
                  <a:lnTo>
                    <a:pt x="795" y="568"/>
                  </a:lnTo>
                  <a:lnTo>
                    <a:pt x="797" y="568"/>
                  </a:lnTo>
                  <a:lnTo>
                    <a:pt x="797" y="568"/>
                  </a:lnTo>
                  <a:lnTo>
                    <a:pt x="795" y="568"/>
                  </a:lnTo>
                  <a:lnTo>
                    <a:pt x="793" y="568"/>
                  </a:lnTo>
                  <a:close/>
                  <a:moveTo>
                    <a:pt x="731" y="603"/>
                  </a:moveTo>
                  <a:lnTo>
                    <a:pt x="744" y="603"/>
                  </a:lnTo>
                  <a:lnTo>
                    <a:pt x="750" y="603"/>
                  </a:lnTo>
                  <a:lnTo>
                    <a:pt x="756" y="603"/>
                  </a:lnTo>
                  <a:lnTo>
                    <a:pt x="760" y="603"/>
                  </a:lnTo>
                  <a:lnTo>
                    <a:pt x="766" y="603"/>
                  </a:lnTo>
                  <a:lnTo>
                    <a:pt x="772" y="603"/>
                  </a:lnTo>
                  <a:lnTo>
                    <a:pt x="776" y="598"/>
                  </a:lnTo>
                  <a:lnTo>
                    <a:pt x="778" y="596"/>
                  </a:lnTo>
                  <a:lnTo>
                    <a:pt x="778" y="598"/>
                  </a:lnTo>
                  <a:lnTo>
                    <a:pt x="781" y="598"/>
                  </a:lnTo>
                  <a:lnTo>
                    <a:pt x="783" y="596"/>
                  </a:lnTo>
                  <a:lnTo>
                    <a:pt x="783" y="596"/>
                  </a:lnTo>
                  <a:lnTo>
                    <a:pt x="783" y="596"/>
                  </a:lnTo>
                  <a:lnTo>
                    <a:pt x="785" y="596"/>
                  </a:lnTo>
                  <a:lnTo>
                    <a:pt x="785" y="598"/>
                  </a:lnTo>
                  <a:lnTo>
                    <a:pt x="785" y="598"/>
                  </a:lnTo>
                  <a:lnTo>
                    <a:pt x="785" y="596"/>
                  </a:lnTo>
                  <a:lnTo>
                    <a:pt x="785" y="596"/>
                  </a:lnTo>
                  <a:lnTo>
                    <a:pt x="787" y="594"/>
                  </a:lnTo>
                  <a:lnTo>
                    <a:pt x="787" y="594"/>
                  </a:lnTo>
                  <a:lnTo>
                    <a:pt x="787" y="594"/>
                  </a:lnTo>
                  <a:lnTo>
                    <a:pt x="789" y="594"/>
                  </a:lnTo>
                  <a:lnTo>
                    <a:pt x="789" y="594"/>
                  </a:lnTo>
                  <a:lnTo>
                    <a:pt x="789" y="594"/>
                  </a:lnTo>
                  <a:lnTo>
                    <a:pt x="789" y="592"/>
                  </a:lnTo>
                  <a:lnTo>
                    <a:pt x="791" y="590"/>
                  </a:lnTo>
                  <a:lnTo>
                    <a:pt x="793" y="590"/>
                  </a:lnTo>
                  <a:lnTo>
                    <a:pt x="795" y="588"/>
                  </a:lnTo>
                  <a:lnTo>
                    <a:pt x="795" y="588"/>
                  </a:lnTo>
                  <a:lnTo>
                    <a:pt x="797" y="586"/>
                  </a:lnTo>
                  <a:lnTo>
                    <a:pt x="797" y="586"/>
                  </a:lnTo>
                  <a:lnTo>
                    <a:pt x="797" y="586"/>
                  </a:lnTo>
                  <a:lnTo>
                    <a:pt x="797" y="584"/>
                  </a:lnTo>
                  <a:lnTo>
                    <a:pt x="799" y="584"/>
                  </a:lnTo>
                  <a:lnTo>
                    <a:pt x="799" y="582"/>
                  </a:lnTo>
                  <a:lnTo>
                    <a:pt x="801" y="580"/>
                  </a:lnTo>
                  <a:lnTo>
                    <a:pt x="801" y="578"/>
                  </a:lnTo>
                  <a:lnTo>
                    <a:pt x="805" y="576"/>
                  </a:lnTo>
                  <a:lnTo>
                    <a:pt x="805" y="574"/>
                  </a:lnTo>
                  <a:lnTo>
                    <a:pt x="807" y="572"/>
                  </a:lnTo>
                  <a:lnTo>
                    <a:pt x="809" y="570"/>
                  </a:lnTo>
                  <a:lnTo>
                    <a:pt x="813" y="568"/>
                  </a:lnTo>
                  <a:lnTo>
                    <a:pt x="815" y="566"/>
                  </a:lnTo>
                  <a:lnTo>
                    <a:pt x="820" y="561"/>
                  </a:lnTo>
                  <a:lnTo>
                    <a:pt x="822" y="559"/>
                  </a:lnTo>
                  <a:lnTo>
                    <a:pt x="822" y="559"/>
                  </a:lnTo>
                  <a:lnTo>
                    <a:pt x="824" y="557"/>
                  </a:lnTo>
                  <a:lnTo>
                    <a:pt x="826" y="559"/>
                  </a:lnTo>
                  <a:lnTo>
                    <a:pt x="826" y="559"/>
                  </a:lnTo>
                  <a:lnTo>
                    <a:pt x="826" y="561"/>
                  </a:lnTo>
                  <a:lnTo>
                    <a:pt x="826" y="561"/>
                  </a:lnTo>
                  <a:lnTo>
                    <a:pt x="826" y="561"/>
                  </a:lnTo>
                  <a:lnTo>
                    <a:pt x="826" y="563"/>
                  </a:lnTo>
                  <a:lnTo>
                    <a:pt x="826" y="563"/>
                  </a:lnTo>
                  <a:lnTo>
                    <a:pt x="828" y="563"/>
                  </a:lnTo>
                  <a:lnTo>
                    <a:pt x="830" y="561"/>
                  </a:lnTo>
                  <a:lnTo>
                    <a:pt x="834" y="561"/>
                  </a:lnTo>
                  <a:lnTo>
                    <a:pt x="834" y="561"/>
                  </a:lnTo>
                  <a:lnTo>
                    <a:pt x="836" y="559"/>
                  </a:lnTo>
                  <a:lnTo>
                    <a:pt x="836" y="559"/>
                  </a:lnTo>
                  <a:lnTo>
                    <a:pt x="838" y="559"/>
                  </a:lnTo>
                  <a:lnTo>
                    <a:pt x="838" y="561"/>
                  </a:lnTo>
                  <a:lnTo>
                    <a:pt x="840" y="563"/>
                  </a:lnTo>
                  <a:lnTo>
                    <a:pt x="842" y="566"/>
                  </a:lnTo>
                  <a:lnTo>
                    <a:pt x="840" y="568"/>
                  </a:lnTo>
                  <a:lnTo>
                    <a:pt x="840" y="570"/>
                  </a:lnTo>
                  <a:lnTo>
                    <a:pt x="838" y="574"/>
                  </a:lnTo>
                  <a:lnTo>
                    <a:pt x="838" y="576"/>
                  </a:lnTo>
                  <a:lnTo>
                    <a:pt x="836" y="578"/>
                  </a:lnTo>
                  <a:lnTo>
                    <a:pt x="836" y="580"/>
                  </a:lnTo>
                  <a:lnTo>
                    <a:pt x="834" y="584"/>
                  </a:lnTo>
                  <a:lnTo>
                    <a:pt x="834" y="586"/>
                  </a:lnTo>
                  <a:lnTo>
                    <a:pt x="834" y="586"/>
                  </a:lnTo>
                  <a:lnTo>
                    <a:pt x="834" y="586"/>
                  </a:lnTo>
                  <a:lnTo>
                    <a:pt x="834" y="586"/>
                  </a:lnTo>
                  <a:lnTo>
                    <a:pt x="834" y="586"/>
                  </a:lnTo>
                  <a:lnTo>
                    <a:pt x="834" y="588"/>
                  </a:lnTo>
                  <a:lnTo>
                    <a:pt x="834" y="588"/>
                  </a:lnTo>
                  <a:lnTo>
                    <a:pt x="832" y="588"/>
                  </a:lnTo>
                  <a:lnTo>
                    <a:pt x="832" y="588"/>
                  </a:lnTo>
                  <a:lnTo>
                    <a:pt x="832" y="590"/>
                  </a:lnTo>
                  <a:lnTo>
                    <a:pt x="832" y="590"/>
                  </a:lnTo>
                  <a:lnTo>
                    <a:pt x="832" y="590"/>
                  </a:lnTo>
                  <a:lnTo>
                    <a:pt x="832" y="590"/>
                  </a:lnTo>
                  <a:lnTo>
                    <a:pt x="834" y="590"/>
                  </a:lnTo>
                  <a:lnTo>
                    <a:pt x="834" y="590"/>
                  </a:lnTo>
                  <a:lnTo>
                    <a:pt x="834" y="592"/>
                  </a:lnTo>
                  <a:lnTo>
                    <a:pt x="836" y="592"/>
                  </a:lnTo>
                  <a:lnTo>
                    <a:pt x="836" y="592"/>
                  </a:lnTo>
                  <a:lnTo>
                    <a:pt x="836" y="592"/>
                  </a:lnTo>
                  <a:lnTo>
                    <a:pt x="836" y="592"/>
                  </a:lnTo>
                  <a:lnTo>
                    <a:pt x="836" y="592"/>
                  </a:lnTo>
                  <a:lnTo>
                    <a:pt x="836" y="592"/>
                  </a:lnTo>
                  <a:lnTo>
                    <a:pt x="834" y="594"/>
                  </a:lnTo>
                  <a:lnTo>
                    <a:pt x="834" y="594"/>
                  </a:lnTo>
                  <a:lnTo>
                    <a:pt x="834" y="594"/>
                  </a:lnTo>
                  <a:lnTo>
                    <a:pt x="834" y="594"/>
                  </a:lnTo>
                  <a:lnTo>
                    <a:pt x="834" y="596"/>
                  </a:lnTo>
                  <a:lnTo>
                    <a:pt x="834" y="596"/>
                  </a:lnTo>
                  <a:lnTo>
                    <a:pt x="834" y="596"/>
                  </a:lnTo>
                  <a:lnTo>
                    <a:pt x="834" y="598"/>
                  </a:lnTo>
                  <a:lnTo>
                    <a:pt x="834" y="598"/>
                  </a:lnTo>
                  <a:lnTo>
                    <a:pt x="834" y="598"/>
                  </a:lnTo>
                  <a:lnTo>
                    <a:pt x="834" y="598"/>
                  </a:lnTo>
                  <a:lnTo>
                    <a:pt x="836" y="600"/>
                  </a:lnTo>
                  <a:lnTo>
                    <a:pt x="836" y="598"/>
                  </a:lnTo>
                  <a:lnTo>
                    <a:pt x="836" y="598"/>
                  </a:lnTo>
                  <a:lnTo>
                    <a:pt x="836" y="598"/>
                  </a:lnTo>
                  <a:lnTo>
                    <a:pt x="836" y="598"/>
                  </a:lnTo>
                  <a:lnTo>
                    <a:pt x="838" y="598"/>
                  </a:lnTo>
                  <a:lnTo>
                    <a:pt x="838" y="598"/>
                  </a:lnTo>
                  <a:lnTo>
                    <a:pt x="838" y="600"/>
                  </a:lnTo>
                  <a:lnTo>
                    <a:pt x="840" y="600"/>
                  </a:lnTo>
                  <a:lnTo>
                    <a:pt x="840" y="600"/>
                  </a:lnTo>
                  <a:lnTo>
                    <a:pt x="840" y="600"/>
                  </a:lnTo>
                  <a:lnTo>
                    <a:pt x="840" y="600"/>
                  </a:lnTo>
                  <a:lnTo>
                    <a:pt x="844" y="600"/>
                  </a:lnTo>
                  <a:lnTo>
                    <a:pt x="846" y="600"/>
                  </a:lnTo>
                  <a:lnTo>
                    <a:pt x="848" y="600"/>
                  </a:lnTo>
                  <a:lnTo>
                    <a:pt x="848" y="600"/>
                  </a:lnTo>
                  <a:lnTo>
                    <a:pt x="850" y="598"/>
                  </a:lnTo>
                  <a:lnTo>
                    <a:pt x="852" y="598"/>
                  </a:lnTo>
                  <a:lnTo>
                    <a:pt x="852" y="598"/>
                  </a:lnTo>
                  <a:lnTo>
                    <a:pt x="852" y="596"/>
                  </a:lnTo>
                  <a:lnTo>
                    <a:pt x="854" y="596"/>
                  </a:lnTo>
                  <a:lnTo>
                    <a:pt x="854" y="594"/>
                  </a:lnTo>
                  <a:lnTo>
                    <a:pt x="854" y="594"/>
                  </a:lnTo>
                  <a:lnTo>
                    <a:pt x="854" y="596"/>
                  </a:lnTo>
                  <a:lnTo>
                    <a:pt x="854" y="596"/>
                  </a:lnTo>
                  <a:lnTo>
                    <a:pt x="854" y="598"/>
                  </a:lnTo>
                  <a:lnTo>
                    <a:pt x="857" y="598"/>
                  </a:lnTo>
                  <a:lnTo>
                    <a:pt x="863" y="596"/>
                  </a:lnTo>
                  <a:lnTo>
                    <a:pt x="867" y="594"/>
                  </a:lnTo>
                  <a:lnTo>
                    <a:pt x="871" y="592"/>
                  </a:lnTo>
                  <a:lnTo>
                    <a:pt x="873" y="590"/>
                  </a:lnTo>
                  <a:lnTo>
                    <a:pt x="875" y="590"/>
                  </a:lnTo>
                  <a:lnTo>
                    <a:pt x="879" y="588"/>
                  </a:lnTo>
                  <a:lnTo>
                    <a:pt x="879" y="586"/>
                  </a:lnTo>
                  <a:lnTo>
                    <a:pt x="879" y="586"/>
                  </a:lnTo>
                  <a:lnTo>
                    <a:pt x="879" y="586"/>
                  </a:lnTo>
                  <a:lnTo>
                    <a:pt x="881" y="588"/>
                  </a:lnTo>
                  <a:lnTo>
                    <a:pt x="881" y="588"/>
                  </a:lnTo>
                  <a:lnTo>
                    <a:pt x="883" y="588"/>
                  </a:lnTo>
                  <a:lnTo>
                    <a:pt x="881" y="588"/>
                  </a:lnTo>
                  <a:lnTo>
                    <a:pt x="881" y="588"/>
                  </a:lnTo>
                  <a:lnTo>
                    <a:pt x="879" y="590"/>
                  </a:lnTo>
                  <a:lnTo>
                    <a:pt x="873" y="594"/>
                  </a:lnTo>
                  <a:lnTo>
                    <a:pt x="871" y="596"/>
                  </a:lnTo>
                  <a:lnTo>
                    <a:pt x="871" y="596"/>
                  </a:lnTo>
                  <a:lnTo>
                    <a:pt x="873" y="596"/>
                  </a:lnTo>
                  <a:lnTo>
                    <a:pt x="873" y="596"/>
                  </a:lnTo>
                  <a:lnTo>
                    <a:pt x="875" y="596"/>
                  </a:lnTo>
                  <a:lnTo>
                    <a:pt x="877" y="594"/>
                  </a:lnTo>
                  <a:lnTo>
                    <a:pt x="879" y="596"/>
                  </a:lnTo>
                  <a:lnTo>
                    <a:pt x="883" y="594"/>
                  </a:lnTo>
                  <a:lnTo>
                    <a:pt x="885" y="596"/>
                  </a:lnTo>
                  <a:lnTo>
                    <a:pt x="889" y="594"/>
                  </a:lnTo>
                  <a:lnTo>
                    <a:pt x="893" y="596"/>
                  </a:lnTo>
                  <a:lnTo>
                    <a:pt x="891" y="596"/>
                  </a:lnTo>
                  <a:lnTo>
                    <a:pt x="887" y="596"/>
                  </a:lnTo>
                  <a:lnTo>
                    <a:pt x="881" y="598"/>
                  </a:lnTo>
                  <a:lnTo>
                    <a:pt x="881" y="600"/>
                  </a:lnTo>
                  <a:lnTo>
                    <a:pt x="881" y="603"/>
                  </a:lnTo>
                  <a:lnTo>
                    <a:pt x="879" y="600"/>
                  </a:lnTo>
                  <a:lnTo>
                    <a:pt x="877" y="600"/>
                  </a:lnTo>
                  <a:lnTo>
                    <a:pt x="877" y="598"/>
                  </a:lnTo>
                  <a:lnTo>
                    <a:pt x="879" y="598"/>
                  </a:lnTo>
                  <a:lnTo>
                    <a:pt x="879" y="598"/>
                  </a:lnTo>
                  <a:lnTo>
                    <a:pt x="879" y="596"/>
                  </a:lnTo>
                  <a:lnTo>
                    <a:pt x="877" y="596"/>
                  </a:lnTo>
                  <a:lnTo>
                    <a:pt x="879" y="596"/>
                  </a:lnTo>
                  <a:lnTo>
                    <a:pt x="877" y="598"/>
                  </a:lnTo>
                  <a:lnTo>
                    <a:pt x="873" y="598"/>
                  </a:lnTo>
                  <a:lnTo>
                    <a:pt x="869" y="600"/>
                  </a:lnTo>
                  <a:lnTo>
                    <a:pt x="857" y="609"/>
                  </a:lnTo>
                  <a:lnTo>
                    <a:pt x="857" y="609"/>
                  </a:lnTo>
                  <a:lnTo>
                    <a:pt x="854" y="609"/>
                  </a:lnTo>
                  <a:lnTo>
                    <a:pt x="857" y="609"/>
                  </a:lnTo>
                  <a:lnTo>
                    <a:pt x="859" y="609"/>
                  </a:lnTo>
                  <a:lnTo>
                    <a:pt x="859" y="609"/>
                  </a:lnTo>
                  <a:lnTo>
                    <a:pt x="857" y="609"/>
                  </a:lnTo>
                  <a:lnTo>
                    <a:pt x="854" y="611"/>
                  </a:lnTo>
                  <a:lnTo>
                    <a:pt x="854" y="611"/>
                  </a:lnTo>
                  <a:lnTo>
                    <a:pt x="852" y="611"/>
                  </a:lnTo>
                  <a:lnTo>
                    <a:pt x="850" y="611"/>
                  </a:lnTo>
                  <a:lnTo>
                    <a:pt x="848" y="613"/>
                  </a:lnTo>
                  <a:lnTo>
                    <a:pt x="848" y="613"/>
                  </a:lnTo>
                  <a:lnTo>
                    <a:pt x="846" y="615"/>
                  </a:lnTo>
                  <a:lnTo>
                    <a:pt x="850" y="611"/>
                  </a:lnTo>
                  <a:lnTo>
                    <a:pt x="852" y="611"/>
                  </a:lnTo>
                  <a:lnTo>
                    <a:pt x="848" y="615"/>
                  </a:lnTo>
                  <a:lnTo>
                    <a:pt x="844" y="619"/>
                  </a:lnTo>
                  <a:lnTo>
                    <a:pt x="844" y="621"/>
                  </a:lnTo>
                  <a:lnTo>
                    <a:pt x="844" y="625"/>
                  </a:lnTo>
                  <a:lnTo>
                    <a:pt x="844" y="625"/>
                  </a:lnTo>
                  <a:lnTo>
                    <a:pt x="844" y="625"/>
                  </a:lnTo>
                  <a:lnTo>
                    <a:pt x="846" y="625"/>
                  </a:lnTo>
                  <a:lnTo>
                    <a:pt x="846" y="625"/>
                  </a:lnTo>
                  <a:lnTo>
                    <a:pt x="846" y="627"/>
                  </a:lnTo>
                  <a:lnTo>
                    <a:pt x="848" y="629"/>
                  </a:lnTo>
                  <a:lnTo>
                    <a:pt x="848" y="629"/>
                  </a:lnTo>
                  <a:lnTo>
                    <a:pt x="850" y="629"/>
                  </a:lnTo>
                  <a:lnTo>
                    <a:pt x="850" y="629"/>
                  </a:lnTo>
                  <a:lnTo>
                    <a:pt x="850" y="629"/>
                  </a:lnTo>
                  <a:lnTo>
                    <a:pt x="852" y="629"/>
                  </a:lnTo>
                  <a:lnTo>
                    <a:pt x="852" y="629"/>
                  </a:lnTo>
                  <a:lnTo>
                    <a:pt x="852" y="629"/>
                  </a:lnTo>
                  <a:lnTo>
                    <a:pt x="854" y="627"/>
                  </a:lnTo>
                  <a:lnTo>
                    <a:pt x="857" y="627"/>
                  </a:lnTo>
                  <a:lnTo>
                    <a:pt x="857" y="627"/>
                  </a:lnTo>
                  <a:lnTo>
                    <a:pt x="859" y="627"/>
                  </a:lnTo>
                  <a:lnTo>
                    <a:pt x="863" y="623"/>
                  </a:lnTo>
                  <a:lnTo>
                    <a:pt x="863" y="623"/>
                  </a:lnTo>
                  <a:lnTo>
                    <a:pt x="865" y="621"/>
                  </a:lnTo>
                  <a:lnTo>
                    <a:pt x="869" y="619"/>
                  </a:lnTo>
                  <a:lnTo>
                    <a:pt x="871" y="619"/>
                  </a:lnTo>
                  <a:lnTo>
                    <a:pt x="873" y="617"/>
                  </a:lnTo>
                  <a:lnTo>
                    <a:pt x="873" y="617"/>
                  </a:lnTo>
                  <a:lnTo>
                    <a:pt x="873" y="615"/>
                  </a:lnTo>
                  <a:lnTo>
                    <a:pt x="873" y="615"/>
                  </a:lnTo>
                  <a:lnTo>
                    <a:pt x="873" y="613"/>
                  </a:lnTo>
                  <a:lnTo>
                    <a:pt x="875" y="613"/>
                  </a:lnTo>
                  <a:lnTo>
                    <a:pt x="877" y="611"/>
                  </a:lnTo>
                  <a:lnTo>
                    <a:pt x="877" y="613"/>
                  </a:lnTo>
                  <a:lnTo>
                    <a:pt x="879" y="613"/>
                  </a:lnTo>
                  <a:lnTo>
                    <a:pt x="879" y="611"/>
                  </a:lnTo>
                  <a:lnTo>
                    <a:pt x="879" y="611"/>
                  </a:lnTo>
                  <a:lnTo>
                    <a:pt x="881" y="611"/>
                  </a:lnTo>
                  <a:lnTo>
                    <a:pt x="881" y="613"/>
                  </a:lnTo>
                  <a:lnTo>
                    <a:pt x="881" y="613"/>
                  </a:lnTo>
                  <a:lnTo>
                    <a:pt x="883" y="613"/>
                  </a:lnTo>
                  <a:lnTo>
                    <a:pt x="885" y="613"/>
                  </a:lnTo>
                  <a:lnTo>
                    <a:pt x="885" y="613"/>
                  </a:lnTo>
                  <a:lnTo>
                    <a:pt x="885" y="613"/>
                  </a:lnTo>
                  <a:lnTo>
                    <a:pt x="885" y="611"/>
                  </a:lnTo>
                  <a:lnTo>
                    <a:pt x="885" y="609"/>
                  </a:lnTo>
                  <a:lnTo>
                    <a:pt x="887" y="611"/>
                  </a:lnTo>
                  <a:lnTo>
                    <a:pt x="887" y="611"/>
                  </a:lnTo>
                  <a:lnTo>
                    <a:pt x="889" y="611"/>
                  </a:lnTo>
                  <a:lnTo>
                    <a:pt x="889" y="611"/>
                  </a:lnTo>
                  <a:lnTo>
                    <a:pt x="893" y="609"/>
                  </a:lnTo>
                  <a:lnTo>
                    <a:pt x="893" y="609"/>
                  </a:lnTo>
                  <a:lnTo>
                    <a:pt x="893" y="609"/>
                  </a:lnTo>
                  <a:lnTo>
                    <a:pt x="900" y="607"/>
                  </a:lnTo>
                  <a:lnTo>
                    <a:pt x="902" y="607"/>
                  </a:lnTo>
                  <a:lnTo>
                    <a:pt x="908" y="605"/>
                  </a:lnTo>
                  <a:lnTo>
                    <a:pt x="910" y="605"/>
                  </a:lnTo>
                  <a:lnTo>
                    <a:pt x="914" y="600"/>
                  </a:lnTo>
                  <a:lnTo>
                    <a:pt x="916" y="600"/>
                  </a:lnTo>
                  <a:lnTo>
                    <a:pt x="916" y="600"/>
                  </a:lnTo>
                  <a:lnTo>
                    <a:pt x="918" y="600"/>
                  </a:lnTo>
                  <a:lnTo>
                    <a:pt x="920" y="600"/>
                  </a:lnTo>
                  <a:lnTo>
                    <a:pt x="922" y="598"/>
                  </a:lnTo>
                  <a:lnTo>
                    <a:pt x="922" y="598"/>
                  </a:lnTo>
                  <a:lnTo>
                    <a:pt x="924" y="598"/>
                  </a:lnTo>
                  <a:lnTo>
                    <a:pt x="926" y="598"/>
                  </a:lnTo>
                  <a:lnTo>
                    <a:pt x="926" y="598"/>
                  </a:lnTo>
                  <a:lnTo>
                    <a:pt x="926" y="596"/>
                  </a:lnTo>
                  <a:lnTo>
                    <a:pt x="926" y="596"/>
                  </a:lnTo>
                  <a:lnTo>
                    <a:pt x="926" y="596"/>
                  </a:lnTo>
                  <a:lnTo>
                    <a:pt x="922" y="596"/>
                  </a:lnTo>
                  <a:lnTo>
                    <a:pt x="922" y="594"/>
                  </a:lnTo>
                  <a:lnTo>
                    <a:pt x="924" y="594"/>
                  </a:lnTo>
                  <a:lnTo>
                    <a:pt x="924" y="594"/>
                  </a:lnTo>
                  <a:lnTo>
                    <a:pt x="924" y="592"/>
                  </a:lnTo>
                  <a:lnTo>
                    <a:pt x="924" y="590"/>
                  </a:lnTo>
                  <a:lnTo>
                    <a:pt x="922" y="590"/>
                  </a:lnTo>
                  <a:lnTo>
                    <a:pt x="920" y="590"/>
                  </a:lnTo>
                  <a:lnTo>
                    <a:pt x="918" y="590"/>
                  </a:lnTo>
                  <a:lnTo>
                    <a:pt x="918" y="590"/>
                  </a:lnTo>
                  <a:lnTo>
                    <a:pt x="918" y="588"/>
                  </a:lnTo>
                  <a:lnTo>
                    <a:pt x="918" y="588"/>
                  </a:lnTo>
                  <a:lnTo>
                    <a:pt x="918" y="586"/>
                  </a:lnTo>
                  <a:lnTo>
                    <a:pt x="912" y="590"/>
                  </a:lnTo>
                  <a:lnTo>
                    <a:pt x="910" y="590"/>
                  </a:lnTo>
                  <a:lnTo>
                    <a:pt x="908" y="590"/>
                  </a:lnTo>
                  <a:lnTo>
                    <a:pt x="908" y="592"/>
                  </a:lnTo>
                  <a:lnTo>
                    <a:pt x="908" y="590"/>
                  </a:lnTo>
                  <a:lnTo>
                    <a:pt x="904" y="590"/>
                  </a:lnTo>
                  <a:lnTo>
                    <a:pt x="906" y="590"/>
                  </a:lnTo>
                  <a:lnTo>
                    <a:pt x="906" y="588"/>
                  </a:lnTo>
                  <a:lnTo>
                    <a:pt x="904" y="588"/>
                  </a:lnTo>
                  <a:lnTo>
                    <a:pt x="900" y="588"/>
                  </a:lnTo>
                  <a:lnTo>
                    <a:pt x="898" y="588"/>
                  </a:lnTo>
                  <a:lnTo>
                    <a:pt x="898" y="588"/>
                  </a:lnTo>
                  <a:lnTo>
                    <a:pt x="898" y="588"/>
                  </a:lnTo>
                  <a:lnTo>
                    <a:pt x="898" y="588"/>
                  </a:lnTo>
                  <a:lnTo>
                    <a:pt x="896" y="586"/>
                  </a:lnTo>
                  <a:lnTo>
                    <a:pt x="893" y="586"/>
                  </a:lnTo>
                  <a:lnTo>
                    <a:pt x="891" y="586"/>
                  </a:lnTo>
                  <a:lnTo>
                    <a:pt x="889" y="586"/>
                  </a:lnTo>
                  <a:lnTo>
                    <a:pt x="887" y="584"/>
                  </a:lnTo>
                  <a:lnTo>
                    <a:pt x="891" y="582"/>
                  </a:lnTo>
                  <a:lnTo>
                    <a:pt x="891" y="582"/>
                  </a:lnTo>
                  <a:lnTo>
                    <a:pt x="891" y="582"/>
                  </a:lnTo>
                  <a:lnTo>
                    <a:pt x="887" y="582"/>
                  </a:lnTo>
                  <a:lnTo>
                    <a:pt x="887" y="580"/>
                  </a:lnTo>
                  <a:lnTo>
                    <a:pt x="883" y="580"/>
                  </a:lnTo>
                  <a:lnTo>
                    <a:pt x="883" y="580"/>
                  </a:lnTo>
                  <a:lnTo>
                    <a:pt x="881" y="578"/>
                  </a:lnTo>
                  <a:lnTo>
                    <a:pt x="883" y="578"/>
                  </a:lnTo>
                  <a:lnTo>
                    <a:pt x="881" y="576"/>
                  </a:lnTo>
                  <a:lnTo>
                    <a:pt x="883" y="572"/>
                  </a:lnTo>
                  <a:lnTo>
                    <a:pt x="881" y="572"/>
                  </a:lnTo>
                  <a:lnTo>
                    <a:pt x="881" y="570"/>
                  </a:lnTo>
                  <a:lnTo>
                    <a:pt x="881" y="568"/>
                  </a:lnTo>
                  <a:lnTo>
                    <a:pt x="883" y="568"/>
                  </a:lnTo>
                  <a:lnTo>
                    <a:pt x="883" y="566"/>
                  </a:lnTo>
                  <a:lnTo>
                    <a:pt x="883" y="566"/>
                  </a:lnTo>
                  <a:lnTo>
                    <a:pt x="881" y="566"/>
                  </a:lnTo>
                  <a:lnTo>
                    <a:pt x="879" y="566"/>
                  </a:lnTo>
                  <a:lnTo>
                    <a:pt x="877" y="566"/>
                  </a:lnTo>
                  <a:lnTo>
                    <a:pt x="877" y="566"/>
                  </a:lnTo>
                  <a:lnTo>
                    <a:pt x="881" y="561"/>
                  </a:lnTo>
                  <a:lnTo>
                    <a:pt x="885" y="559"/>
                  </a:lnTo>
                  <a:lnTo>
                    <a:pt x="887" y="557"/>
                  </a:lnTo>
                  <a:lnTo>
                    <a:pt x="889" y="555"/>
                  </a:lnTo>
                  <a:lnTo>
                    <a:pt x="889" y="553"/>
                  </a:lnTo>
                  <a:lnTo>
                    <a:pt x="887" y="553"/>
                  </a:lnTo>
                  <a:lnTo>
                    <a:pt x="885" y="553"/>
                  </a:lnTo>
                  <a:lnTo>
                    <a:pt x="887" y="551"/>
                  </a:lnTo>
                  <a:lnTo>
                    <a:pt x="883" y="551"/>
                  </a:lnTo>
                  <a:lnTo>
                    <a:pt x="881" y="553"/>
                  </a:lnTo>
                  <a:lnTo>
                    <a:pt x="879" y="553"/>
                  </a:lnTo>
                  <a:lnTo>
                    <a:pt x="877" y="555"/>
                  </a:lnTo>
                  <a:lnTo>
                    <a:pt x="877" y="553"/>
                  </a:lnTo>
                  <a:lnTo>
                    <a:pt x="877" y="551"/>
                  </a:lnTo>
                  <a:lnTo>
                    <a:pt x="875" y="551"/>
                  </a:lnTo>
                  <a:lnTo>
                    <a:pt x="871" y="549"/>
                  </a:lnTo>
                  <a:lnTo>
                    <a:pt x="869" y="547"/>
                  </a:lnTo>
                  <a:lnTo>
                    <a:pt x="869" y="547"/>
                  </a:lnTo>
                  <a:lnTo>
                    <a:pt x="865" y="549"/>
                  </a:lnTo>
                  <a:lnTo>
                    <a:pt x="865" y="549"/>
                  </a:lnTo>
                  <a:lnTo>
                    <a:pt x="869" y="547"/>
                  </a:lnTo>
                  <a:lnTo>
                    <a:pt x="869" y="547"/>
                  </a:lnTo>
                  <a:lnTo>
                    <a:pt x="871" y="547"/>
                  </a:lnTo>
                  <a:lnTo>
                    <a:pt x="873" y="547"/>
                  </a:lnTo>
                  <a:lnTo>
                    <a:pt x="875" y="545"/>
                  </a:lnTo>
                  <a:lnTo>
                    <a:pt x="877" y="545"/>
                  </a:lnTo>
                  <a:lnTo>
                    <a:pt x="877" y="547"/>
                  </a:lnTo>
                  <a:lnTo>
                    <a:pt x="881" y="547"/>
                  </a:lnTo>
                  <a:lnTo>
                    <a:pt x="883" y="549"/>
                  </a:lnTo>
                  <a:lnTo>
                    <a:pt x="885" y="549"/>
                  </a:lnTo>
                  <a:lnTo>
                    <a:pt x="887" y="547"/>
                  </a:lnTo>
                  <a:lnTo>
                    <a:pt x="889" y="545"/>
                  </a:lnTo>
                  <a:lnTo>
                    <a:pt x="891" y="545"/>
                  </a:lnTo>
                  <a:lnTo>
                    <a:pt x="893" y="545"/>
                  </a:lnTo>
                  <a:lnTo>
                    <a:pt x="893" y="543"/>
                  </a:lnTo>
                  <a:lnTo>
                    <a:pt x="896" y="543"/>
                  </a:lnTo>
                  <a:lnTo>
                    <a:pt x="900" y="541"/>
                  </a:lnTo>
                  <a:lnTo>
                    <a:pt x="902" y="539"/>
                  </a:lnTo>
                  <a:lnTo>
                    <a:pt x="904" y="537"/>
                  </a:lnTo>
                  <a:lnTo>
                    <a:pt x="902" y="535"/>
                  </a:lnTo>
                  <a:lnTo>
                    <a:pt x="902" y="533"/>
                  </a:lnTo>
                  <a:lnTo>
                    <a:pt x="904" y="533"/>
                  </a:lnTo>
                  <a:lnTo>
                    <a:pt x="906" y="535"/>
                  </a:lnTo>
                  <a:lnTo>
                    <a:pt x="906" y="533"/>
                  </a:lnTo>
                  <a:lnTo>
                    <a:pt x="906" y="533"/>
                  </a:lnTo>
                  <a:lnTo>
                    <a:pt x="902" y="529"/>
                  </a:lnTo>
                  <a:lnTo>
                    <a:pt x="900" y="526"/>
                  </a:lnTo>
                  <a:lnTo>
                    <a:pt x="891" y="526"/>
                  </a:lnTo>
                  <a:lnTo>
                    <a:pt x="889" y="526"/>
                  </a:lnTo>
                  <a:lnTo>
                    <a:pt x="883" y="526"/>
                  </a:lnTo>
                  <a:lnTo>
                    <a:pt x="879" y="526"/>
                  </a:lnTo>
                  <a:lnTo>
                    <a:pt x="873" y="529"/>
                  </a:lnTo>
                  <a:lnTo>
                    <a:pt x="865" y="531"/>
                  </a:lnTo>
                  <a:lnTo>
                    <a:pt x="859" y="533"/>
                  </a:lnTo>
                  <a:lnTo>
                    <a:pt x="852" y="535"/>
                  </a:lnTo>
                  <a:lnTo>
                    <a:pt x="846" y="537"/>
                  </a:lnTo>
                  <a:lnTo>
                    <a:pt x="842" y="539"/>
                  </a:lnTo>
                  <a:lnTo>
                    <a:pt x="840" y="541"/>
                  </a:lnTo>
                  <a:lnTo>
                    <a:pt x="838" y="541"/>
                  </a:lnTo>
                  <a:lnTo>
                    <a:pt x="836" y="543"/>
                  </a:lnTo>
                  <a:lnTo>
                    <a:pt x="834" y="543"/>
                  </a:lnTo>
                  <a:lnTo>
                    <a:pt x="828" y="547"/>
                  </a:lnTo>
                  <a:lnTo>
                    <a:pt x="824" y="549"/>
                  </a:lnTo>
                  <a:lnTo>
                    <a:pt x="822" y="551"/>
                  </a:lnTo>
                  <a:lnTo>
                    <a:pt x="817" y="555"/>
                  </a:lnTo>
                  <a:lnTo>
                    <a:pt x="813" y="557"/>
                  </a:lnTo>
                  <a:lnTo>
                    <a:pt x="811" y="559"/>
                  </a:lnTo>
                  <a:lnTo>
                    <a:pt x="809" y="561"/>
                  </a:lnTo>
                  <a:lnTo>
                    <a:pt x="805" y="563"/>
                  </a:lnTo>
                  <a:lnTo>
                    <a:pt x="801" y="566"/>
                  </a:lnTo>
                  <a:lnTo>
                    <a:pt x="795" y="570"/>
                  </a:lnTo>
                  <a:lnTo>
                    <a:pt x="791" y="570"/>
                  </a:lnTo>
                  <a:lnTo>
                    <a:pt x="789" y="572"/>
                  </a:lnTo>
                  <a:lnTo>
                    <a:pt x="787" y="572"/>
                  </a:lnTo>
                  <a:lnTo>
                    <a:pt x="783" y="574"/>
                  </a:lnTo>
                  <a:lnTo>
                    <a:pt x="778" y="574"/>
                  </a:lnTo>
                  <a:lnTo>
                    <a:pt x="776" y="574"/>
                  </a:lnTo>
                  <a:lnTo>
                    <a:pt x="774" y="576"/>
                  </a:lnTo>
                  <a:lnTo>
                    <a:pt x="772" y="576"/>
                  </a:lnTo>
                  <a:lnTo>
                    <a:pt x="770" y="578"/>
                  </a:lnTo>
                  <a:lnTo>
                    <a:pt x="768" y="578"/>
                  </a:lnTo>
                  <a:lnTo>
                    <a:pt x="764" y="582"/>
                  </a:lnTo>
                  <a:lnTo>
                    <a:pt x="760" y="582"/>
                  </a:lnTo>
                  <a:lnTo>
                    <a:pt x="756" y="584"/>
                  </a:lnTo>
                  <a:lnTo>
                    <a:pt x="754" y="586"/>
                  </a:lnTo>
                  <a:lnTo>
                    <a:pt x="752" y="588"/>
                  </a:lnTo>
                  <a:lnTo>
                    <a:pt x="750" y="590"/>
                  </a:lnTo>
                  <a:lnTo>
                    <a:pt x="750" y="592"/>
                  </a:lnTo>
                  <a:lnTo>
                    <a:pt x="748" y="594"/>
                  </a:lnTo>
                  <a:lnTo>
                    <a:pt x="746" y="594"/>
                  </a:lnTo>
                  <a:lnTo>
                    <a:pt x="744" y="594"/>
                  </a:lnTo>
                  <a:lnTo>
                    <a:pt x="737" y="598"/>
                  </a:lnTo>
                  <a:lnTo>
                    <a:pt x="735" y="598"/>
                  </a:lnTo>
                  <a:lnTo>
                    <a:pt x="729" y="603"/>
                  </a:lnTo>
                  <a:lnTo>
                    <a:pt x="727" y="603"/>
                  </a:lnTo>
                  <a:lnTo>
                    <a:pt x="727" y="603"/>
                  </a:lnTo>
                  <a:lnTo>
                    <a:pt x="731" y="603"/>
                  </a:lnTo>
                  <a:close/>
                  <a:moveTo>
                    <a:pt x="928" y="559"/>
                  </a:moveTo>
                  <a:lnTo>
                    <a:pt x="930" y="559"/>
                  </a:lnTo>
                  <a:lnTo>
                    <a:pt x="932" y="557"/>
                  </a:lnTo>
                  <a:lnTo>
                    <a:pt x="935" y="557"/>
                  </a:lnTo>
                  <a:lnTo>
                    <a:pt x="935" y="557"/>
                  </a:lnTo>
                  <a:lnTo>
                    <a:pt x="937" y="555"/>
                  </a:lnTo>
                  <a:lnTo>
                    <a:pt x="937" y="555"/>
                  </a:lnTo>
                  <a:lnTo>
                    <a:pt x="935" y="555"/>
                  </a:lnTo>
                  <a:lnTo>
                    <a:pt x="932" y="555"/>
                  </a:lnTo>
                  <a:lnTo>
                    <a:pt x="930" y="557"/>
                  </a:lnTo>
                  <a:lnTo>
                    <a:pt x="928" y="559"/>
                  </a:lnTo>
                  <a:lnTo>
                    <a:pt x="926" y="561"/>
                  </a:lnTo>
                  <a:lnTo>
                    <a:pt x="926" y="563"/>
                  </a:lnTo>
                  <a:lnTo>
                    <a:pt x="928" y="563"/>
                  </a:lnTo>
                  <a:lnTo>
                    <a:pt x="928" y="561"/>
                  </a:lnTo>
                  <a:lnTo>
                    <a:pt x="928" y="561"/>
                  </a:lnTo>
                  <a:lnTo>
                    <a:pt x="928" y="561"/>
                  </a:lnTo>
                  <a:lnTo>
                    <a:pt x="926" y="561"/>
                  </a:lnTo>
                  <a:lnTo>
                    <a:pt x="928" y="559"/>
                  </a:lnTo>
                  <a:lnTo>
                    <a:pt x="928" y="559"/>
                  </a:lnTo>
                  <a:close/>
                  <a:moveTo>
                    <a:pt x="60" y="426"/>
                  </a:moveTo>
                  <a:lnTo>
                    <a:pt x="62" y="424"/>
                  </a:lnTo>
                  <a:lnTo>
                    <a:pt x="58" y="426"/>
                  </a:lnTo>
                  <a:lnTo>
                    <a:pt x="54" y="428"/>
                  </a:lnTo>
                  <a:lnTo>
                    <a:pt x="52" y="430"/>
                  </a:lnTo>
                  <a:lnTo>
                    <a:pt x="52" y="430"/>
                  </a:lnTo>
                  <a:lnTo>
                    <a:pt x="56" y="428"/>
                  </a:lnTo>
                  <a:lnTo>
                    <a:pt x="60" y="426"/>
                  </a:lnTo>
                  <a:close/>
                  <a:moveTo>
                    <a:pt x="536" y="226"/>
                  </a:moveTo>
                  <a:lnTo>
                    <a:pt x="538" y="226"/>
                  </a:lnTo>
                  <a:lnTo>
                    <a:pt x="540" y="224"/>
                  </a:lnTo>
                  <a:lnTo>
                    <a:pt x="538" y="224"/>
                  </a:lnTo>
                  <a:lnTo>
                    <a:pt x="536" y="224"/>
                  </a:lnTo>
                  <a:lnTo>
                    <a:pt x="536" y="226"/>
                  </a:lnTo>
                  <a:lnTo>
                    <a:pt x="536" y="226"/>
                  </a:lnTo>
                  <a:lnTo>
                    <a:pt x="536" y="228"/>
                  </a:lnTo>
                  <a:lnTo>
                    <a:pt x="536" y="226"/>
                  </a:lnTo>
                  <a:close/>
                  <a:moveTo>
                    <a:pt x="846" y="615"/>
                  </a:moveTo>
                  <a:lnTo>
                    <a:pt x="846" y="615"/>
                  </a:lnTo>
                  <a:lnTo>
                    <a:pt x="844" y="617"/>
                  </a:lnTo>
                  <a:lnTo>
                    <a:pt x="844" y="617"/>
                  </a:lnTo>
                  <a:lnTo>
                    <a:pt x="844" y="617"/>
                  </a:lnTo>
                  <a:lnTo>
                    <a:pt x="846" y="615"/>
                  </a:lnTo>
                  <a:close/>
                  <a:moveTo>
                    <a:pt x="748" y="590"/>
                  </a:moveTo>
                  <a:lnTo>
                    <a:pt x="746" y="590"/>
                  </a:lnTo>
                  <a:lnTo>
                    <a:pt x="744" y="592"/>
                  </a:lnTo>
                  <a:lnTo>
                    <a:pt x="744" y="592"/>
                  </a:lnTo>
                  <a:lnTo>
                    <a:pt x="746" y="592"/>
                  </a:lnTo>
                  <a:lnTo>
                    <a:pt x="748" y="590"/>
                  </a:lnTo>
                  <a:close/>
                  <a:moveTo>
                    <a:pt x="949" y="582"/>
                  </a:moveTo>
                  <a:lnTo>
                    <a:pt x="947" y="580"/>
                  </a:lnTo>
                  <a:lnTo>
                    <a:pt x="945" y="582"/>
                  </a:lnTo>
                  <a:lnTo>
                    <a:pt x="945" y="580"/>
                  </a:lnTo>
                  <a:lnTo>
                    <a:pt x="945" y="580"/>
                  </a:lnTo>
                  <a:lnTo>
                    <a:pt x="943" y="580"/>
                  </a:lnTo>
                  <a:lnTo>
                    <a:pt x="943" y="580"/>
                  </a:lnTo>
                  <a:lnTo>
                    <a:pt x="941" y="580"/>
                  </a:lnTo>
                  <a:lnTo>
                    <a:pt x="939" y="582"/>
                  </a:lnTo>
                  <a:lnTo>
                    <a:pt x="939" y="584"/>
                  </a:lnTo>
                  <a:lnTo>
                    <a:pt x="935" y="586"/>
                  </a:lnTo>
                  <a:lnTo>
                    <a:pt x="937" y="586"/>
                  </a:lnTo>
                  <a:lnTo>
                    <a:pt x="939" y="584"/>
                  </a:lnTo>
                  <a:lnTo>
                    <a:pt x="939" y="586"/>
                  </a:lnTo>
                  <a:lnTo>
                    <a:pt x="935" y="588"/>
                  </a:lnTo>
                  <a:lnTo>
                    <a:pt x="935" y="588"/>
                  </a:lnTo>
                  <a:lnTo>
                    <a:pt x="932" y="588"/>
                  </a:lnTo>
                  <a:lnTo>
                    <a:pt x="932" y="588"/>
                  </a:lnTo>
                  <a:lnTo>
                    <a:pt x="930" y="588"/>
                  </a:lnTo>
                  <a:lnTo>
                    <a:pt x="928" y="590"/>
                  </a:lnTo>
                  <a:lnTo>
                    <a:pt x="928" y="588"/>
                  </a:lnTo>
                  <a:lnTo>
                    <a:pt x="930" y="588"/>
                  </a:lnTo>
                  <a:lnTo>
                    <a:pt x="930" y="588"/>
                  </a:lnTo>
                  <a:lnTo>
                    <a:pt x="932" y="586"/>
                  </a:lnTo>
                  <a:lnTo>
                    <a:pt x="930" y="586"/>
                  </a:lnTo>
                  <a:lnTo>
                    <a:pt x="932" y="586"/>
                  </a:lnTo>
                  <a:lnTo>
                    <a:pt x="935" y="586"/>
                  </a:lnTo>
                  <a:lnTo>
                    <a:pt x="935" y="584"/>
                  </a:lnTo>
                  <a:lnTo>
                    <a:pt x="932" y="584"/>
                  </a:lnTo>
                  <a:lnTo>
                    <a:pt x="930" y="586"/>
                  </a:lnTo>
                  <a:lnTo>
                    <a:pt x="930" y="586"/>
                  </a:lnTo>
                  <a:lnTo>
                    <a:pt x="932" y="584"/>
                  </a:lnTo>
                  <a:lnTo>
                    <a:pt x="935" y="584"/>
                  </a:lnTo>
                  <a:lnTo>
                    <a:pt x="937" y="582"/>
                  </a:lnTo>
                  <a:lnTo>
                    <a:pt x="939" y="582"/>
                  </a:lnTo>
                  <a:lnTo>
                    <a:pt x="941" y="580"/>
                  </a:lnTo>
                  <a:lnTo>
                    <a:pt x="941" y="580"/>
                  </a:lnTo>
                  <a:lnTo>
                    <a:pt x="941" y="580"/>
                  </a:lnTo>
                  <a:lnTo>
                    <a:pt x="943" y="578"/>
                  </a:lnTo>
                  <a:lnTo>
                    <a:pt x="945" y="574"/>
                  </a:lnTo>
                  <a:lnTo>
                    <a:pt x="947" y="572"/>
                  </a:lnTo>
                  <a:lnTo>
                    <a:pt x="947" y="572"/>
                  </a:lnTo>
                  <a:lnTo>
                    <a:pt x="947" y="568"/>
                  </a:lnTo>
                  <a:lnTo>
                    <a:pt x="947" y="568"/>
                  </a:lnTo>
                  <a:lnTo>
                    <a:pt x="947" y="566"/>
                  </a:lnTo>
                  <a:lnTo>
                    <a:pt x="945" y="566"/>
                  </a:lnTo>
                  <a:lnTo>
                    <a:pt x="945" y="568"/>
                  </a:lnTo>
                  <a:lnTo>
                    <a:pt x="943" y="568"/>
                  </a:lnTo>
                  <a:lnTo>
                    <a:pt x="941" y="570"/>
                  </a:lnTo>
                  <a:lnTo>
                    <a:pt x="939" y="570"/>
                  </a:lnTo>
                  <a:lnTo>
                    <a:pt x="937" y="572"/>
                  </a:lnTo>
                  <a:lnTo>
                    <a:pt x="937" y="574"/>
                  </a:lnTo>
                  <a:lnTo>
                    <a:pt x="930" y="580"/>
                  </a:lnTo>
                  <a:lnTo>
                    <a:pt x="928" y="580"/>
                  </a:lnTo>
                  <a:lnTo>
                    <a:pt x="926" y="582"/>
                  </a:lnTo>
                  <a:lnTo>
                    <a:pt x="926" y="584"/>
                  </a:lnTo>
                  <a:lnTo>
                    <a:pt x="924" y="586"/>
                  </a:lnTo>
                  <a:lnTo>
                    <a:pt x="924" y="590"/>
                  </a:lnTo>
                  <a:lnTo>
                    <a:pt x="924" y="590"/>
                  </a:lnTo>
                  <a:lnTo>
                    <a:pt x="924" y="592"/>
                  </a:lnTo>
                  <a:lnTo>
                    <a:pt x="924" y="592"/>
                  </a:lnTo>
                  <a:lnTo>
                    <a:pt x="926" y="592"/>
                  </a:lnTo>
                  <a:lnTo>
                    <a:pt x="926" y="592"/>
                  </a:lnTo>
                  <a:lnTo>
                    <a:pt x="928" y="592"/>
                  </a:lnTo>
                  <a:lnTo>
                    <a:pt x="930" y="592"/>
                  </a:lnTo>
                  <a:lnTo>
                    <a:pt x="930" y="592"/>
                  </a:lnTo>
                  <a:lnTo>
                    <a:pt x="932" y="592"/>
                  </a:lnTo>
                  <a:lnTo>
                    <a:pt x="935" y="592"/>
                  </a:lnTo>
                  <a:lnTo>
                    <a:pt x="939" y="590"/>
                  </a:lnTo>
                  <a:lnTo>
                    <a:pt x="943" y="588"/>
                  </a:lnTo>
                  <a:lnTo>
                    <a:pt x="943" y="588"/>
                  </a:lnTo>
                  <a:lnTo>
                    <a:pt x="945" y="586"/>
                  </a:lnTo>
                  <a:lnTo>
                    <a:pt x="949" y="586"/>
                  </a:lnTo>
                  <a:lnTo>
                    <a:pt x="949" y="586"/>
                  </a:lnTo>
                  <a:lnTo>
                    <a:pt x="947" y="584"/>
                  </a:lnTo>
                  <a:lnTo>
                    <a:pt x="949" y="584"/>
                  </a:lnTo>
                  <a:lnTo>
                    <a:pt x="949" y="582"/>
                  </a:lnTo>
                  <a:lnTo>
                    <a:pt x="949" y="582"/>
                  </a:lnTo>
                  <a:lnTo>
                    <a:pt x="949" y="582"/>
                  </a:lnTo>
                  <a:lnTo>
                    <a:pt x="949" y="582"/>
                  </a:lnTo>
                  <a:close/>
                  <a:moveTo>
                    <a:pt x="935" y="623"/>
                  </a:moveTo>
                  <a:lnTo>
                    <a:pt x="932" y="623"/>
                  </a:lnTo>
                  <a:lnTo>
                    <a:pt x="932" y="623"/>
                  </a:lnTo>
                  <a:lnTo>
                    <a:pt x="932" y="623"/>
                  </a:lnTo>
                  <a:lnTo>
                    <a:pt x="935" y="623"/>
                  </a:lnTo>
                  <a:lnTo>
                    <a:pt x="937" y="623"/>
                  </a:lnTo>
                  <a:lnTo>
                    <a:pt x="939" y="621"/>
                  </a:lnTo>
                  <a:lnTo>
                    <a:pt x="937" y="623"/>
                  </a:lnTo>
                  <a:lnTo>
                    <a:pt x="935" y="623"/>
                  </a:lnTo>
                  <a:close/>
                  <a:moveTo>
                    <a:pt x="66" y="529"/>
                  </a:moveTo>
                  <a:lnTo>
                    <a:pt x="66" y="531"/>
                  </a:lnTo>
                  <a:lnTo>
                    <a:pt x="66" y="533"/>
                  </a:lnTo>
                  <a:lnTo>
                    <a:pt x="66" y="533"/>
                  </a:lnTo>
                  <a:lnTo>
                    <a:pt x="68" y="533"/>
                  </a:lnTo>
                  <a:lnTo>
                    <a:pt x="68" y="533"/>
                  </a:lnTo>
                  <a:lnTo>
                    <a:pt x="66" y="531"/>
                  </a:lnTo>
                  <a:lnTo>
                    <a:pt x="66" y="529"/>
                  </a:lnTo>
                  <a:close/>
                  <a:moveTo>
                    <a:pt x="928" y="529"/>
                  </a:moveTo>
                  <a:lnTo>
                    <a:pt x="930" y="529"/>
                  </a:lnTo>
                  <a:lnTo>
                    <a:pt x="935" y="529"/>
                  </a:lnTo>
                  <a:lnTo>
                    <a:pt x="941" y="529"/>
                  </a:lnTo>
                  <a:lnTo>
                    <a:pt x="943" y="529"/>
                  </a:lnTo>
                  <a:lnTo>
                    <a:pt x="943" y="529"/>
                  </a:lnTo>
                  <a:lnTo>
                    <a:pt x="943" y="526"/>
                  </a:lnTo>
                  <a:lnTo>
                    <a:pt x="943" y="526"/>
                  </a:lnTo>
                  <a:lnTo>
                    <a:pt x="939" y="524"/>
                  </a:lnTo>
                  <a:lnTo>
                    <a:pt x="939" y="522"/>
                  </a:lnTo>
                  <a:lnTo>
                    <a:pt x="932" y="520"/>
                  </a:lnTo>
                  <a:lnTo>
                    <a:pt x="930" y="518"/>
                  </a:lnTo>
                  <a:lnTo>
                    <a:pt x="928" y="516"/>
                  </a:lnTo>
                  <a:lnTo>
                    <a:pt x="924" y="516"/>
                  </a:lnTo>
                  <a:lnTo>
                    <a:pt x="918" y="514"/>
                  </a:lnTo>
                  <a:lnTo>
                    <a:pt x="914" y="514"/>
                  </a:lnTo>
                  <a:lnTo>
                    <a:pt x="912" y="514"/>
                  </a:lnTo>
                  <a:lnTo>
                    <a:pt x="910" y="514"/>
                  </a:lnTo>
                  <a:lnTo>
                    <a:pt x="908" y="514"/>
                  </a:lnTo>
                  <a:lnTo>
                    <a:pt x="910" y="516"/>
                  </a:lnTo>
                  <a:lnTo>
                    <a:pt x="916" y="518"/>
                  </a:lnTo>
                  <a:lnTo>
                    <a:pt x="916" y="520"/>
                  </a:lnTo>
                  <a:lnTo>
                    <a:pt x="918" y="520"/>
                  </a:lnTo>
                  <a:lnTo>
                    <a:pt x="918" y="522"/>
                  </a:lnTo>
                  <a:lnTo>
                    <a:pt x="918" y="524"/>
                  </a:lnTo>
                  <a:lnTo>
                    <a:pt x="924" y="526"/>
                  </a:lnTo>
                  <a:lnTo>
                    <a:pt x="928" y="529"/>
                  </a:lnTo>
                  <a:close/>
                  <a:moveTo>
                    <a:pt x="840" y="609"/>
                  </a:moveTo>
                  <a:lnTo>
                    <a:pt x="838" y="611"/>
                  </a:lnTo>
                  <a:lnTo>
                    <a:pt x="840" y="609"/>
                  </a:lnTo>
                  <a:lnTo>
                    <a:pt x="840" y="609"/>
                  </a:lnTo>
                  <a:lnTo>
                    <a:pt x="840" y="607"/>
                  </a:lnTo>
                  <a:lnTo>
                    <a:pt x="840" y="607"/>
                  </a:lnTo>
                  <a:lnTo>
                    <a:pt x="840" y="609"/>
                  </a:lnTo>
                  <a:close/>
                  <a:moveTo>
                    <a:pt x="896" y="549"/>
                  </a:moveTo>
                  <a:lnTo>
                    <a:pt x="896" y="549"/>
                  </a:lnTo>
                  <a:lnTo>
                    <a:pt x="896" y="549"/>
                  </a:lnTo>
                  <a:lnTo>
                    <a:pt x="893" y="549"/>
                  </a:lnTo>
                  <a:lnTo>
                    <a:pt x="893" y="551"/>
                  </a:lnTo>
                  <a:lnTo>
                    <a:pt x="896" y="549"/>
                  </a:lnTo>
                  <a:lnTo>
                    <a:pt x="896" y="549"/>
                  </a:lnTo>
                  <a:close/>
                  <a:moveTo>
                    <a:pt x="910" y="582"/>
                  </a:moveTo>
                  <a:lnTo>
                    <a:pt x="912" y="580"/>
                  </a:lnTo>
                  <a:lnTo>
                    <a:pt x="914" y="580"/>
                  </a:lnTo>
                  <a:lnTo>
                    <a:pt x="918" y="578"/>
                  </a:lnTo>
                  <a:lnTo>
                    <a:pt x="920" y="578"/>
                  </a:lnTo>
                  <a:lnTo>
                    <a:pt x="920" y="576"/>
                  </a:lnTo>
                  <a:lnTo>
                    <a:pt x="920" y="576"/>
                  </a:lnTo>
                  <a:lnTo>
                    <a:pt x="918" y="576"/>
                  </a:lnTo>
                  <a:lnTo>
                    <a:pt x="914" y="576"/>
                  </a:lnTo>
                  <a:lnTo>
                    <a:pt x="910" y="576"/>
                  </a:lnTo>
                  <a:lnTo>
                    <a:pt x="910" y="576"/>
                  </a:lnTo>
                  <a:lnTo>
                    <a:pt x="906" y="576"/>
                  </a:lnTo>
                  <a:lnTo>
                    <a:pt x="904" y="578"/>
                  </a:lnTo>
                  <a:lnTo>
                    <a:pt x="902" y="576"/>
                  </a:lnTo>
                  <a:lnTo>
                    <a:pt x="902" y="576"/>
                  </a:lnTo>
                  <a:lnTo>
                    <a:pt x="900" y="576"/>
                  </a:lnTo>
                  <a:lnTo>
                    <a:pt x="900" y="576"/>
                  </a:lnTo>
                  <a:lnTo>
                    <a:pt x="900" y="576"/>
                  </a:lnTo>
                  <a:lnTo>
                    <a:pt x="898" y="574"/>
                  </a:lnTo>
                  <a:lnTo>
                    <a:pt x="896" y="576"/>
                  </a:lnTo>
                  <a:lnTo>
                    <a:pt x="896" y="576"/>
                  </a:lnTo>
                  <a:lnTo>
                    <a:pt x="893" y="576"/>
                  </a:lnTo>
                  <a:lnTo>
                    <a:pt x="893" y="576"/>
                  </a:lnTo>
                  <a:lnTo>
                    <a:pt x="893" y="576"/>
                  </a:lnTo>
                  <a:lnTo>
                    <a:pt x="893" y="576"/>
                  </a:lnTo>
                  <a:lnTo>
                    <a:pt x="893" y="574"/>
                  </a:lnTo>
                  <a:lnTo>
                    <a:pt x="893" y="574"/>
                  </a:lnTo>
                  <a:lnTo>
                    <a:pt x="893" y="574"/>
                  </a:lnTo>
                  <a:lnTo>
                    <a:pt x="893" y="570"/>
                  </a:lnTo>
                  <a:lnTo>
                    <a:pt x="896" y="568"/>
                  </a:lnTo>
                  <a:lnTo>
                    <a:pt x="896" y="568"/>
                  </a:lnTo>
                  <a:lnTo>
                    <a:pt x="896" y="566"/>
                  </a:lnTo>
                  <a:lnTo>
                    <a:pt x="893" y="568"/>
                  </a:lnTo>
                  <a:lnTo>
                    <a:pt x="891" y="568"/>
                  </a:lnTo>
                  <a:lnTo>
                    <a:pt x="889" y="570"/>
                  </a:lnTo>
                  <a:lnTo>
                    <a:pt x="889" y="572"/>
                  </a:lnTo>
                  <a:lnTo>
                    <a:pt x="887" y="572"/>
                  </a:lnTo>
                  <a:lnTo>
                    <a:pt x="887" y="574"/>
                  </a:lnTo>
                  <a:lnTo>
                    <a:pt x="889" y="574"/>
                  </a:lnTo>
                  <a:lnTo>
                    <a:pt x="891" y="574"/>
                  </a:lnTo>
                  <a:lnTo>
                    <a:pt x="891" y="574"/>
                  </a:lnTo>
                  <a:lnTo>
                    <a:pt x="889" y="578"/>
                  </a:lnTo>
                  <a:lnTo>
                    <a:pt x="891" y="578"/>
                  </a:lnTo>
                  <a:lnTo>
                    <a:pt x="893" y="578"/>
                  </a:lnTo>
                  <a:lnTo>
                    <a:pt x="896" y="578"/>
                  </a:lnTo>
                  <a:lnTo>
                    <a:pt x="896" y="578"/>
                  </a:lnTo>
                  <a:lnTo>
                    <a:pt x="896" y="578"/>
                  </a:lnTo>
                  <a:lnTo>
                    <a:pt x="893" y="578"/>
                  </a:lnTo>
                  <a:lnTo>
                    <a:pt x="893" y="580"/>
                  </a:lnTo>
                  <a:lnTo>
                    <a:pt x="896" y="580"/>
                  </a:lnTo>
                  <a:lnTo>
                    <a:pt x="896" y="580"/>
                  </a:lnTo>
                  <a:lnTo>
                    <a:pt x="900" y="582"/>
                  </a:lnTo>
                  <a:lnTo>
                    <a:pt x="902" y="582"/>
                  </a:lnTo>
                  <a:lnTo>
                    <a:pt x="902" y="582"/>
                  </a:lnTo>
                  <a:lnTo>
                    <a:pt x="900" y="580"/>
                  </a:lnTo>
                  <a:lnTo>
                    <a:pt x="902" y="580"/>
                  </a:lnTo>
                  <a:lnTo>
                    <a:pt x="904" y="580"/>
                  </a:lnTo>
                  <a:lnTo>
                    <a:pt x="904" y="580"/>
                  </a:lnTo>
                  <a:lnTo>
                    <a:pt x="906" y="578"/>
                  </a:lnTo>
                  <a:lnTo>
                    <a:pt x="906" y="580"/>
                  </a:lnTo>
                  <a:lnTo>
                    <a:pt x="904" y="580"/>
                  </a:lnTo>
                  <a:lnTo>
                    <a:pt x="904" y="580"/>
                  </a:lnTo>
                  <a:lnTo>
                    <a:pt x="904" y="582"/>
                  </a:lnTo>
                  <a:lnTo>
                    <a:pt x="906" y="582"/>
                  </a:lnTo>
                  <a:lnTo>
                    <a:pt x="906" y="582"/>
                  </a:lnTo>
                  <a:lnTo>
                    <a:pt x="904" y="584"/>
                  </a:lnTo>
                  <a:lnTo>
                    <a:pt x="904" y="584"/>
                  </a:lnTo>
                  <a:lnTo>
                    <a:pt x="906" y="584"/>
                  </a:lnTo>
                  <a:lnTo>
                    <a:pt x="906" y="584"/>
                  </a:lnTo>
                  <a:lnTo>
                    <a:pt x="906" y="584"/>
                  </a:lnTo>
                  <a:lnTo>
                    <a:pt x="906" y="586"/>
                  </a:lnTo>
                  <a:lnTo>
                    <a:pt x="910" y="584"/>
                  </a:lnTo>
                  <a:lnTo>
                    <a:pt x="910" y="584"/>
                  </a:lnTo>
                  <a:lnTo>
                    <a:pt x="910" y="584"/>
                  </a:lnTo>
                  <a:lnTo>
                    <a:pt x="910" y="584"/>
                  </a:lnTo>
                  <a:lnTo>
                    <a:pt x="910" y="582"/>
                  </a:lnTo>
                  <a:lnTo>
                    <a:pt x="910" y="582"/>
                  </a:lnTo>
                  <a:close/>
                  <a:moveTo>
                    <a:pt x="891" y="551"/>
                  </a:moveTo>
                  <a:lnTo>
                    <a:pt x="891" y="553"/>
                  </a:lnTo>
                  <a:lnTo>
                    <a:pt x="891" y="553"/>
                  </a:lnTo>
                  <a:lnTo>
                    <a:pt x="891" y="553"/>
                  </a:lnTo>
                  <a:lnTo>
                    <a:pt x="891" y="553"/>
                  </a:lnTo>
                  <a:lnTo>
                    <a:pt x="893" y="551"/>
                  </a:lnTo>
                  <a:lnTo>
                    <a:pt x="893" y="551"/>
                  </a:lnTo>
                  <a:lnTo>
                    <a:pt x="893" y="551"/>
                  </a:lnTo>
                  <a:lnTo>
                    <a:pt x="893" y="551"/>
                  </a:lnTo>
                  <a:lnTo>
                    <a:pt x="891" y="551"/>
                  </a:lnTo>
                  <a:close/>
                  <a:moveTo>
                    <a:pt x="869" y="282"/>
                  </a:moveTo>
                  <a:lnTo>
                    <a:pt x="871" y="284"/>
                  </a:lnTo>
                  <a:lnTo>
                    <a:pt x="873" y="284"/>
                  </a:lnTo>
                  <a:lnTo>
                    <a:pt x="873" y="284"/>
                  </a:lnTo>
                  <a:lnTo>
                    <a:pt x="875" y="282"/>
                  </a:lnTo>
                  <a:lnTo>
                    <a:pt x="875" y="280"/>
                  </a:lnTo>
                  <a:lnTo>
                    <a:pt x="871" y="278"/>
                  </a:lnTo>
                  <a:lnTo>
                    <a:pt x="867" y="280"/>
                  </a:lnTo>
                  <a:lnTo>
                    <a:pt x="869" y="282"/>
                  </a:lnTo>
                  <a:close/>
                  <a:moveTo>
                    <a:pt x="758" y="401"/>
                  </a:moveTo>
                  <a:lnTo>
                    <a:pt x="756" y="401"/>
                  </a:lnTo>
                  <a:lnTo>
                    <a:pt x="756" y="401"/>
                  </a:lnTo>
                  <a:lnTo>
                    <a:pt x="756" y="401"/>
                  </a:lnTo>
                  <a:lnTo>
                    <a:pt x="754" y="403"/>
                  </a:lnTo>
                  <a:lnTo>
                    <a:pt x="752" y="403"/>
                  </a:lnTo>
                  <a:lnTo>
                    <a:pt x="752" y="403"/>
                  </a:lnTo>
                  <a:lnTo>
                    <a:pt x="752" y="405"/>
                  </a:lnTo>
                  <a:lnTo>
                    <a:pt x="754" y="405"/>
                  </a:lnTo>
                  <a:lnTo>
                    <a:pt x="758" y="403"/>
                  </a:lnTo>
                  <a:lnTo>
                    <a:pt x="760" y="401"/>
                  </a:lnTo>
                  <a:lnTo>
                    <a:pt x="760" y="399"/>
                  </a:lnTo>
                  <a:lnTo>
                    <a:pt x="760" y="399"/>
                  </a:lnTo>
                  <a:lnTo>
                    <a:pt x="758" y="401"/>
                  </a:lnTo>
                  <a:lnTo>
                    <a:pt x="758" y="401"/>
                  </a:lnTo>
                  <a:close/>
                  <a:moveTo>
                    <a:pt x="764" y="405"/>
                  </a:moveTo>
                  <a:lnTo>
                    <a:pt x="760" y="409"/>
                  </a:lnTo>
                  <a:lnTo>
                    <a:pt x="760" y="409"/>
                  </a:lnTo>
                  <a:lnTo>
                    <a:pt x="760" y="409"/>
                  </a:lnTo>
                  <a:lnTo>
                    <a:pt x="764" y="407"/>
                  </a:lnTo>
                  <a:lnTo>
                    <a:pt x="766" y="405"/>
                  </a:lnTo>
                  <a:lnTo>
                    <a:pt x="768" y="403"/>
                  </a:lnTo>
                  <a:lnTo>
                    <a:pt x="768" y="403"/>
                  </a:lnTo>
                  <a:lnTo>
                    <a:pt x="768" y="401"/>
                  </a:lnTo>
                  <a:lnTo>
                    <a:pt x="768" y="401"/>
                  </a:lnTo>
                  <a:lnTo>
                    <a:pt x="768" y="401"/>
                  </a:lnTo>
                  <a:lnTo>
                    <a:pt x="768" y="401"/>
                  </a:lnTo>
                  <a:lnTo>
                    <a:pt x="768" y="401"/>
                  </a:lnTo>
                  <a:lnTo>
                    <a:pt x="768" y="399"/>
                  </a:lnTo>
                  <a:lnTo>
                    <a:pt x="768" y="399"/>
                  </a:lnTo>
                  <a:lnTo>
                    <a:pt x="768" y="399"/>
                  </a:lnTo>
                  <a:lnTo>
                    <a:pt x="768" y="399"/>
                  </a:lnTo>
                  <a:lnTo>
                    <a:pt x="766" y="399"/>
                  </a:lnTo>
                  <a:lnTo>
                    <a:pt x="766" y="397"/>
                  </a:lnTo>
                  <a:lnTo>
                    <a:pt x="766" y="397"/>
                  </a:lnTo>
                  <a:lnTo>
                    <a:pt x="766" y="397"/>
                  </a:lnTo>
                  <a:lnTo>
                    <a:pt x="764" y="399"/>
                  </a:lnTo>
                  <a:lnTo>
                    <a:pt x="764" y="401"/>
                  </a:lnTo>
                  <a:lnTo>
                    <a:pt x="762" y="403"/>
                  </a:lnTo>
                  <a:lnTo>
                    <a:pt x="760" y="403"/>
                  </a:lnTo>
                  <a:lnTo>
                    <a:pt x="758" y="405"/>
                  </a:lnTo>
                  <a:lnTo>
                    <a:pt x="758" y="405"/>
                  </a:lnTo>
                  <a:lnTo>
                    <a:pt x="760" y="403"/>
                  </a:lnTo>
                  <a:lnTo>
                    <a:pt x="760" y="403"/>
                  </a:lnTo>
                  <a:lnTo>
                    <a:pt x="762" y="399"/>
                  </a:lnTo>
                  <a:lnTo>
                    <a:pt x="764" y="399"/>
                  </a:lnTo>
                  <a:lnTo>
                    <a:pt x="764" y="399"/>
                  </a:lnTo>
                  <a:lnTo>
                    <a:pt x="764" y="399"/>
                  </a:lnTo>
                  <a:lnTo>
                    <a:pt x="762" y="399"/>
                  </a:lnTo>
                  <a:lnTo>
                    <a:pt x="762" y="399"/>
                  </a:lnTo>
                  <a:lnTo>
                    <a:pt x="762" y="401"/>
                  </a:lnTo>
                  <a:lnTo>
                    <a:pt x="760" y="403"/>
                  </a:lnTo>
                  <a:lnTo>
                    <a:pt x="758" y="403"/>
                  </a:lnTo>
                  <a:lnTo>
                    <a:pt x="754" y="405"/>
                  </a:lnTo>
                  <a:lnTo>
                    <a:pt x="750" y="409"/>
                  </a:lnTo>
                  <a:lnTo>
                    <a:pt x="750" y="409"/>
                  </a:lnTo>
                  <a:lnTo>
                    <a:pt x="750" y="409"/>
                  </a:lnTo>
                  <a:lnTo>
                    <a:pt x="750" y="409"/>
                  </a:lnTo>
                  <a:lnTo>
                    <a:pt x="752" y="409"/>
                  </a:lnTo>
                  <a:lnTo>
                    <a:pt x="758" y="405"/>
                  </a:lnTo>
                  <a:lnTo>
                    <a:pt x="758" y="405"/>
                  </a:lnTo>
                  <a:lnTo>
                    <a:pt x="758" y="405"/>
                  </a:lnTo>
                  <a:lnTo>
                    <a:pt x="758" y="405"/>
                  </a:lnTo>
                  <a:lnTo>
                    <a:pt x="752" y="411"/>
                  </a:lnTo>
                  <a:lnTo>
                    <a:pt x="754" y="409"/>
                  </a:lnTo>
                  <a:lnTo>
                    <a:pt x="756" y="409"/>
                  </a:lnTo>
                  <a:lnTo>
                    <a:pt x="756" y="409"/>
                  </a:lnTo>
                  <a:lnTo>
                    <a:pt x="756" y="409"/>
                  </a:lnTo>
                  <a:lnTo>
                    <a:pt x="758" y="409"/>
                  </a:lnTo>
                  <a:lnTo>
                    <a:pt x="762" y="405"/>
                  </a:lnTo>
                  <a:lnTo>
                    <a:pt x="764" y="403"/>
                  </a:lnTo>
                  <a:lnTo>
                    <a:pt x="764" y="405"/>
                  </a:lnTo>
                  <a:lnTo>
                    <a:pt x="764" y="405"/>
                  </a:lnTo>
                  <a:lnTo>
                    <a:pt x="764" y="405"/>
                  </a:lnTo>
                  <a:close/>
                  <a:moveTo>
                    <a:pt x="762" y="393"/>
                  </a:moveTo>
                  <a:lnTo>
                    <a:pt x="762" y="393"/>
                  </a:lnTo>
                  <a:lnTo>
                    <a:pt x="762" y="393"/>
                  </a:lnTo>
                  <a:lnTo>
                    <a:pt x="760" y="393"/>
                  </a:lnTo>
                  <a:lnTo>
                    <a:pt x="760" y="393"/>
                  </a:lnTo>
                  <a:lnTo>
                    <a:pt x="760" y="395"/>
                  </a:lnTo>
                  <a:lnTo>
                    <a:pt x="760" y="395"/>
                  </a:lnTo>
                  <a:lnTo>
                    <a:pt x="760" y="395"/>
                  </a:lnTo>
                  <a:lnTo>
                    <a:pt x="762" y="393"/>
                  </a:lnTo>
                  <a:close/>
                  <a:moveTo>
                    <a:pt x="791" y="341"/>
                  </a:moveTo>
                  <a:lnTo>
                    <a:pt x="791" y="343"/>
                  </a:lnTo>
                  <a:lnTo>
                    <a:pt x="789" y="343"/>
                  </a:lnTo>
                  <a:lnTo>
                    <a:pt x="791" y="343"/>
                  </a:lnTo>
                  <a:lnTo>
                    <a:pt x="793" y="343"/>
                  </a:lnTo>
                  <a:lnTo>
                    <a:pt x="793" y="341"/>
                  </a:lnTo>
                  <a:lnTo>
                    <a:pt x="793" y="341"/>
                  </a:lnTo>
                  <a:lnTo>
                    <a:pt x="791" y="341"/>
                  </a:lnTo>
                  <a:lnTo>
                    <a:pt x="791" y="341"/>
                  </a:lnTo>
                  <a:close/>
                  <a:moveTo>
                    <a:pt x="778" y="189"/>
                  </a:moveTo>
                  <a:lnTo>
                    <a:pt x="778" y="191"/>
                  </a:lnTo>
                  <a:lnTo>
                    <a:pt x="778" y="191"/>
                  </a:lnTo>
                  <a:lnTo>
                    <a:pt x="778" y="189"/>
                  </a:lnTo>
                  <a:lnTo>
                    <a:pt x="778" y="189"/>
                  </a:lnTo>
                  <a:lnTo>
                    <a:pt x="781" y="189"/>
                  </a:lnTo>
                  <a:lnTo>
                    <a:pt x="778" y="187"/>
                  </a:lnTo>
                  <a:lnTo>
                    <a:pt x="778" y="187"/>
                  </a:lnTo>
                  <a:lnTo>
                    <a:pt x="778" y="187"/>
                  </a:lnTo>
                  <a:lnTo>
                    <a:pt x="776" y="189"/>
                  </a:lnTo>
                  <a:lnTo>
                    <a:pt x="776" y="189"/>
                  </a:lnTo>
                  <a:lnTo>
                    <a:pt x="776" y="189"/>
                  </a:lnTo>
                  <a:lnTo>
                    <a:pt x="776" y="189"/>
                  </a:lnTo>
                  <a:lnTo>
                    <a:pt x="778" y="189"/>
                  </a:lnTo>
                  <a:close/>
                  <a:moveTo>
                    <a:pt x="768" y="405"/>
                  </a:moveTo>
                  <a:lnTo>
                    <a:pt x="768" y="405"/>
                  </a:lnTo>
                  <a:lnTo>
                    <a:pt x="770" y="403"/>
                  </a:lnTo>
                  <a:lnTo>
                    <a:pt x="770" y="403"/>
                  </a:lnTo>
                  <a:lnTo>
                    <a:pt x="772" y="403"/>
                  </a:lnTo>
                  <a:lnTo>
                    <a:pt x="772" y="401"/>
                  </a:lnTo>
                  <a:lnTo>
                    <a:pt x="772" y="401"/>
                  </a:lnTo>
                  <a:lnTo>
                    <a:pt x="772" y="401"/>
                  </a:lnTo>
                  <a:lnTo>
                    <a:pt x="770" y="401"/>
                  </a:lnTo>
                  <a:lnTo>
                    <a:pt x="770" y="401"/>
                  </a:lnTo>
                  <a:lnTo>
                    <a:pt x="768" y="403"/>
                  </a:lnTo>
                  <a:lnTo>
                    <a:pt x="768" y="403"/>
                  </a:lnTo>
                  <a:lnTo>
                    <a:pt x="766" y="405"/>
                  </a:lnTo>
                  <a:lnTo>
                    <a:pt x="766" y="405"/>
                  </a:lnTo>
                  <a:lnTo>
                    <a:pt x="766" y="405"/>
                  </a:lnTo>
                  <a:lnTo>
                    <a:pt x="768" y="405"/>
                  </a:lnTo>
                  <a:close/>
                  <a:moveTo>
                    <a:pt x="770" y="383"/>
                  </a:moveTo>
                  <a:lnTo>
                    <a:pt x="770" y="383"/>
                  </a:lnTo>
                  <a:lnTo>
                    <a:pt x="770" y="383"/>
                  </a:lnTo>
                  <a:lnTo>
                    <a:pt x="770" y="380"/>
                  </a:lnTo>
                  <a:lnTo>
                    <a:pt x="770" y="380"/>
                  </a:lnTo>
                  <a:lnTo>
                    <a:pt x="770" y="380"/>
                  </a:lnTo>
                  <a:lnTo>
                    <a:pt x="770" y="380"/>
                  </a:lnTo>
                  <a:lnTo>
                    <a:pt x="770" y="380"/>
                  </a:lnTo>
                  <a:lnTo>
                    <a:pt x="768" y="380"/>
                  </a:lnTo>
                  <a:lnTo>
                    <a:pt x="768" y="383"/>
                  </a:lnTo>
                  <a:lnTo>
                    <a:pt x="768" y="383"/>
                  </a:lnTo>
                  <a:lnTo>
                    <a:pt x="768" y="383"/>
                  </a:lnTo>
                  <a:lnTo>
                    <a:pt x="768" y="383"/>
                  </a:lnTo>
                  <a:lnTo>
                    <a:pt x="770" y="383"/>
                  </a:lnTo>
                  <a:close/>
                  <a:moveTo>
                    <a:pt x="764" y="397"/>
                  </a:moveTo>
                  <a:lnTo>
                    <a:pt x="764" y="397"/>
                  </a:lnTo>
                  <a:lnTo>
                    <a:pt x="764" y="397"/>
                  </a:lnTo>
                  <a:lnTo>
                    <a:pt x="764" y="395"/>
                  </a:lnTo>
                  <a:lnTo>
                    <a:pt x="764" y="395"/>
                  </a:lnTo>
                  <a:lnTo>
                    <a:pt x="764" y="395"/>
                  </a:lnTo>
                  <a:lnTo>
                    <a:pt x="764" y="395"/>
                  </a:lnTo>
                  <a:lnTo>
                    <a:pt x="764" y="395"/>
                  </a:lnTo>
                  <a:lnTo>
                    <a:pt x="764" y="395"/>
                  </a:lnTo>
                  <a:lnTo>
                    <a:pt x="764" y="395"/>
                  </a:lnTo>
                  <a:lnTo>
                    <a:pt x="764" y="395"/>
                  </a:lnTo>
                  <a:lnTo>
                    <a:pt x="764" y="395"/>
                  </a:lnTo>
                  <a:lnTo>
                    <a:pt x="762" y="397"/>
                  </a:lnTo>
                  <a:lnTo>
                    <a:pt x="764" y="397"/>
                  </a:lnTo>
                  <a:close/>
                  <a:moveTo>
                    <a:pt x="787" y="346"/>
                  </a:moveTo>
                  <a:lnTo>
                    <a:pt x="785" y="346"/>
                  </a:lnTo>
                  <a:lnTo>
                    <a:pt x="785" y="346"/>
                  </a:lnTo>
                  <a:lnTo>
                    <a:pt x="787" y="346"/>
                  </a:lnTo>
                  <a:lnTo>
                    <a:pt x="787" y="346"/>
                  </a:lnTo>
                  <a:lnTo>
                    <a:pt x="789" y="346"/>
                  </a:lnTo>
                  <a:lnTo>
                    <a:pt x="789" y="343"/>
                  </a:lnTo>
                  <a:lnTo>
                    <a:pt x="789" y="343"/>
                  </a:lnTo>
                  <a:lnTo>
                    <a:pt x="787" y="346"/>
                  </a:lnTo>
                  <a:lnTo>
                    <a:pt x="787" y="346"/>
                  </a:lnTo>
                  <a:close/>
                  <a:moveTo>
                    <a:pt x="832" y="278"/>
                  </a:moveTo>
                  <a:lnTo>
                    <a:pt x="834" y="276"/>
                  </a:lnTo>
                  <a:lnTo>
                    <a:pt x="832" y="276"/>
                  </a:lnTo>
                  <a:lnTo>
                    <a:pt x="830" y="276"/>
                  </a:lnTo>
                  <a:lnTo>
                    <a:pt x="832" y="276"/>
                  </a:lnTo>
                  <a:lnTo>
                    <a:pt x="832" y="274"/>
                  </a:lnTo>
                  <a:lnTo>
                    <a:pt x="832" y="274"/>
                  </a:lnTo>
                  <a:lnTo>
                    <a:pt x="832" y="274"/>
                  </a:lnTo>
                  <a:lnTo>
                    <a:pt x="830" y="272"/>
                  </a:lnTo>
                  <a:lnTo>
                    <a:pt x="830" y="272"/>
                  </a:lnTo>
                  <a:lnTo>
                    <a:pt x="828" y="274"/>
                  </a:lnTo>
                  <a:lnTo>
                    <a:pt x="828" y="274"/>
                  </a:lnTo>
                  <a:lnTo>
                    <a:pt x="826" y="274"/>
                  </a:lnTo>
                  <a:lnTo>
                    <a:pt x="824" y="272"/>
                  </a:lnTo>
                  <a:lnTo>
                    <a:pt x="817" y="274"/>
                  </a:lnTo>
                  <a:lnTo>
                    <a:pt x="815" y="274"/>
                  </a:lnTo>
                  <a:lnTo>
                    <a:pt x="815" y="274"/>
                  </a:lnTo>
                  <a:lnTo>
                    <a:pt x="820" y="272"/>
                  </a:lnTo>
                  <a:lnTo>
                    <a:pt x="820" y="272"/>
                  </a:lnTo>
                  <a:lnTo>
                    <a:pt x="822" y="272"/>
                  </a:lnTo>
                  <a:lnTo>
                    <a:pt x="822" y="269"/>
                  </a:lnTo>
                  <a:lnTo>
                    <a:pt x="822" y="267"/>
                  </a:lnTo>
                  <a:lnTo>
                    <a:pt x="822" y="263"/>
                  </a:lnTo>
                  <a:lnTo>
                    <a:pt x="822" y="263"/>
                  </a:lnTo>
                  <a:lnTo>
                    <a:pt x="822" y="261"/>
                  </a:lnTo>
                  <a:lnTo>
                    <a:pt x="820" y="261"/>
                  </a:lnTo>
                  <a:lnTo>
                    <a:pt x="815" y="261"/>
                  </a:lnTo>
                  <a:lnTo>
                    <a:pt x="815" y="261"/>
                  </a:lnTo>
                  <a:lnTo>
                    <a:pt x="813" y="259"/>
                  </a:lnTo>
                  <a:lnTo>
                    <a:pt x="811" y="257"/>
                  </a:lnTo>
                  <a:lnTo>
                    <a:pt x="811" y="257"/>
                  </a:lnTo>
                  <a:lnTo>
                    <a:pt x="811" y="255"/>
                  </a:lnTo>
                  <a:lnTo>
                    <a:pt x="809" y="255"/>
                  </a:lnTo>
                  <a:lnTo>
                    <a:pt x="807" y="255"/>
                  </a:lnTo>
                  <a:lnTo>
                    <a:pt x="805" y="255"/>
                  </a:lnTo>
                  <a:lnTo>
                    <a:pt x="803" y="253"/>
                  </a:lnTo>
                  <a:lnTo>
                    <a:pt x="803" y="253"/>
                  </a:lnTo>
                  <a:lnTo>
                    <a:pt x="803" y="253"/>
                  </a:lnTo>
                  <a:lnTo>
                    <a:pt x="803" y="251"/>
                  </a:lnTo>
                  <a:lnTo>
                    <a:pt x="801" y="249"/>
                  </a:lnTo>
                  <a:lnTo>
                    <a:pt x="801" y="249"/>
                  </a:lnTo>
                  <a:lnTo>
                    <a:pt x="799" y="249"/>
                  </a:lnTo>
                  <a:lnTo>
                    <a:pt x="797" y="253"/>
                  </a:lnTo>
                  <a:lnTo>
                    <a:pt x="795" y="253"/>
                  </a:lnTo>
                  <a:lnTo>
                    <a:pt x="795" y="253"/>
                  </a:lnTo>
                  <a:lnTo>
                    <a:pt x="793" y="253"/>
                  </a:lnTo>
                  <a:lnTo>
                    <a:pt x="795" y="251"/>
                  </a:lnTo>
                  <a:lnTo>
                    <a:pt x="793" y="249"/>
                  </a:lnTo>
                  <a:lnTo>
                    <a:pt x="793" y="249"/>
                  </a:lnTo>
                  <a:lnTo>
                    <a:pt x="793" y="249"/>
                  </a:lnTo>
                  <a:lnTo>
                    <a:pt x="795" y="247"/>
                  </a:lnTo>
                  <a:lnTo>
                    <a:pt x="797" y="247"/>
                  </a:lnTo>
                  <a:lnTo>
                    <a:pt x="797" y="247"/>
                  </a:lnTo>
                  <a:lnTo>
                    <a:pt x="797" y="245"/>
                  </a:lnTo>
                  <a:lnTo>
                    <a:pt x="797" y="245"/>
                  </a:lnTo>
                  <a:lnTo>
                    <a:pt x="795" y="243"/>
                  </a:lnTo>
                  <a:lnTo>
                    <a:pt x="795" y="243"/>
                  </a:lnTo>
                  <a:lnTo>
                    <a:pt x="795" y="243"/>
                  </a:lnTo>
                  <a:lnTo>
                    <a:pt x="795" y="243"/>
                  </a:lnTo>
                  <a:lnTo>
                    <a:pt x="793" y="243"/>
                  </a:lnTo>
                  <a:lnTo>
                    <a:pt x="791" y="243"/>
                  </a:lnTo>
                  <a:lnTo>
                    <a:pt x="787" y="245"/>
                  </a:lnTo>
                  <a:lnTo>
                    <a:pt x="785" y="247"/>
                  </a:lnTo>
                  <a:lnTo>
                    <a:pt x="783" y="249"/>
                  </a:lnTo>
                  <a:lnTo>
                    <a:pt x="781" y="251"/>
                  </a:lnTo>
                  <a:lnTo>
                    <a:pt x="774" y="257"/>
                  </a:lnTo>
                  <a:lnTo>
                    <a:pt x="772" y="259"/>
                  </a:lnTo>
                  <a:lnTo>
                    <a:pt x="768" y="263"/>
                  </a:lnTo>
                  <a:lnTo>
                    <a:pt x="766" y="263"/>
                  </a:lnTo>
                  <a:lnTo>
                    <a:pt x="766" y="265"/>
                  </a:lnTo>
                  <a:lnTo>
                    <a:pt x="764" y="267"/>
                  </a:lnTo>
                  <a:lnTo>
                    <a:pt x="764" y="269"/>
                  </a:lnTo>
                  <a:lnTo>
                    <a:pt x="764" y="269"/>
                  </a:lnTo>
                  <a:lnTo>
                    <a:pt x="764" y="272"/>
                  </a:lnTo>
                  <a:lnTo>
                    <a:pt x="762" y="272"/>
                  </a:lnTo>
                  <a:lnTo>
                    <a:pt x="760" y="272"/>
                  </a:lnTo>
                  <a:lnTo>
                    <a:pt x="752" y="274"/>
                  </a:lnTo>
                  <a:lnTo>
                    <a:pt x="752" y="276"/>
                  </a:lnTo>
                  <a:lnTo>
                    <a:pt x="750" y="276"/>
                  </a:lnTo>
                  <a:lnTo>
                    <a:pt x="748" y="278"/>
                  </a:lnTo>
                  <a:lnTo>
                    <a:pt x="746" y="278"/>
                  </a:lnTo>
                  <a:lnTo>
                    <a:pt x="746" y="280"/>
                  </a:lnTo>
                  <a:lnTo>
                    <a:pt x="746" y="280"/>
                  </a:lnTo>
                  <a:lnTo>
                    <a:pt x="746" y="280"/>
                  </a:lnTo>
                  <a:lnTo>
                    <a:pt x="746" y="280"/>
                  </a:lnTo>
                  <a:lnTo>
                    <a:pt x="748" y="280"/>
                  </a:lnTo>
                  <a:lnTo>
                    <a:pt x="750" y="280"/>
                  </a:lnTo>
                  <a:lnTo>
                    <a:pt x="754" y="280"/>
                  </a:lnTo>
                  <a:lnTo>
                    <a:pt x="756" y="280"/>
                  </a:lnTo>
                  <a:lnTo>
                    <a:pt x="764" y="278"/>
                  </a:lnTo>
                  <a:lnTo>
                    <a:pt x="764" y="278"/>
                  </a:lnTo>
                  <a:lnTo>
                    <a:pt x="764" y="278"/>
                  </a:lnTo>
                  <a:lnTo>
                    <a:pt x="764" y="280"/>
                  </a:lnTo>
                  <a:lnTo>
                    <a:pt x="762" y="286"/>
                  </a:lnTo>
                  <a:lnTo>
                    <a:pt x="760" y="288"/>
                  </a:lnTo>
                  <a:lnTo>
                    <a:pt x="762" y="288"/>
                  </a:lnTo>
                  <a:lnTo>
                    <a:pt x="764" y="288"/>
                  </a:lnTo>
                  <a:lnTo>
                    <a:pt x="768" y="286"/>
                  </a:lnTo>
                  <a:lnTo>
                    <a:pt x="770" y="286"/>
                  </a:lnTo>
                  <a:lnTo>
                    <a:pt x="772" y="284"/>
                  </a:lnTo>
                  <a:lnTo>
                    <a:pt x="774" y="284"/>
                  </a:lnTo>
                  <a:lnTo>
                    <a:pt x="776" y="284"/>
                  </a:lnTo>
                  <a:lnTo>
                    <a:pt x="778" y="282"/>
                  </a:lnTo>
                  <a:lnTo>
                    <a:pt x="781" y="280"/>
                  </a:lnTo>
                  <a:lnTo>
                    <a:pt x="781" y="280"/>
                  </a:lnTo>
                  <a:lnTo>
                    <a:pt x="783" y="280"/>
                  </a:lnTo>
                  <a:lnTo>
                    <a:pt x="785" y="280"/>
                  </a:lnTo>
                  <a:lnTo>
                    <a:pt x="791" y="276"/>
                  </a:lnTo>
                  <a:lnTo>
                    <a:pt x="793" y="276"/>
                  </a:lnTo>
                  <a:lnTo>
                    <a:pt x="793" y="276"/>
                  </a:lnTo>
                  <a:lnTo>
                    <a:pt x="795" y="274"/>
                  </a:lnTo>
                  <a:lnTo>
                    <a:pt x="795" y="272"/>
                  </a:lnTo>
                  <a:lnTo>
                    <a:pt x="797" y="272"/>
                  </a:lnTo>
                  <a:lnTo>
                    <a:pt x="799" y="272"/>
                  </a:lnTo>
                  <a:lnTo>
                    <a:pt x="801" y="272"/>
                  </a:lnTo>
                  <a:lnTo>
                    <a:pt x="803" y="272"/>
                  </a:lnTo>
                  <a:lnTo>
                    <a:pt x="803" y="272"/>
                  </a:lnTo>
                  <a:lnTo>
                    <a:pt x="803" y="272"/>
                  </a:lnTo>
                  <a:lnTo>
                    <a:pt x="801" y="274"/>
                  </a:lnTo>
                  <a:lnTo>
                    <a:pt x="803" y="274"/>
                  </a:lnTo>
                  <a:lnTo>
                    <a:pt x="807" y="274"/>
                  </a:lnTo>
                  <a:lnTo>
                    <a:pt x="807" y="274"/>
                  </a:lnTo>
                  <a:lnTo>
                    <a:pt x="805" y="278"/>
                  </a:lnTo>
                  <a:lnTo>
                    <a:pt x="807" y="278"/>
                  </a:lnTo>
                  <a:lnTo>
                    <a:pt x="809" y="278"/>
                  </a:lnTo>
                  <a:lnTo>
                    <a:pt x="811" y="280"/>
                  </a:lnTo>
                  <a:lnTo>
                    <a:pt x="817" y="282"/>
                  </a:lnTo>
                  <a:lnTo>
                    <a:pt x="820" y="282"/>
                  </a:lnTo>
                  <a:lnTo>
                    <a:pt x="820" y="282"/>
                  </a:lnTo>
                  <a:lnTo>
                    <a:pt x="820" y="282"/>
                  </a:lnTo>
                  <a:lnTo>
                    <a:pt x="822" y="282"/>
                  </a:lnTo>
                  <a:lnTo>
                    <a:pt x="826" y="280"/>
                  </a:lnTo>
                  <a:lnTo>
                    <a:pt x="830" y="278"/>
                  </a:lnTo>
                  <a:lnTo>
                    <a:pt x="832" y="278"/>
                  </a:lnTo>
                  <a:close/>
                  <a:moveTo>
                    <a:pt x="830" y="179"/>
                  </a:moveTo>
                  <a:lnTo>
                    <a:pt x="830" y="179"/>
                  </a:lnTo>
                  <a:lnTo>
                    <a:pt x="832" y="179"/>
                  </a:lnTo>
                  <a:lnTo>
                    <a:pt x="834" y="179"/>
                  </a:lnTo>
                  <a:lnTo>
                    <a:pt x="836" y="179"/>
                  </a:lnTo>
                  <a:lnTo>
                    <a:pt x="836" y="179"/>
                  </a:lnTo>
                  <a:lnTo>
                    <a:pt x="836" y="177"/>
                  </a:lnTo>
                  <a:lnTo>
                    <a:pt x="836" y="177"/>
                  </a:lnTo>
                  <a:lnTo>
                    <a:pt x="836" y="177"/>
                  </a:lnTo>
                  <a:lnTo>
                    <a:pt x="836" y="177"/>
                  </a:lnTo>
                  <a:lnTo>
                    <a:pt x="834" y="177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30" y="177"/>
                  </a:lnTo>
                  <a:lnTo>
                    <a:pt x="828" y="177"/>
                  </a:lnTo>
                  <a:lnTo>
                    <a:pt x="828" y="177"/>
                  </a:lnTo>
                  <a:lnTo>
                    <a:pt x="828" y="177"/>
                  </a:lnTo>
                  <a:lnTo>
                    <a:pt x="828" y="179"/>
                  </a:lnTo>
                  <a:lnTo>
                    <a:pt x="830" y="179"/>
                  </a:lnTo>
                  <a:close/>
                  <a:moveTo>
                    <a:pt x="803" y="241"/>
                  </a:moveTo>
                  <a:lnTo>
                    <a:pt x="803" y="241"/>
                  </a:lnTo>
                  <a:lnTo>
                    <a:pt x="801" y="241"/>
                  </a:lnTo>
                  <a:lnTo>
                    <a:pt x="801" y="241"/>
                  </a:lnTo>
                  <a:lnTo>
                    <a:pt x="799" y="241"/>
                  </a:lnTo>
                  <a:lnTo>
                    <a:pt x="799" y="243"/>
                  </a:lnTo>
                  <a:lnTo>
                    <a:pt x="799" y="243"/>
                  </a:lnTo>
                  <a:lnTo>
                    <a:pt x="799" y="245"/>
                  </a:lnTo>
                  <a:lnTo>
                    <a:pt x="797" y="245"/>
                  </a:lnTo>
                  <a:lnTo>
                    <a:pt x="797" y="245"/>
                  </a:lnTo>
                  <a:lnTo>
                    <a:pt x="799" y="247"/>
                  </a:lnTo>
                  <a:lnTo>
                    <a:pt x="799" y="247"/>
                  </a:lnTo>
                  <a:lnTo>
                    <a:pt x="799" y="247"/>
                  </a:lnTo>
                  <a:lnTo>
                    <a:pt x="799" y="249"/>
                  </a:lnTo>
                  <a:lnTo>
                    <a:pt x="799" y="249"/>
                  </a:lnTo>
                  <a:lnTo>
                    <a:pt x="801" y="247"/>
                  </a:lnTo>
                  <a:lnTo>
                    <a:pt x="801" y="247"/>
                  </a:lnTo>
                  <a:lnTo>
                    <a:pt x="803" y="247"/>
                  </a:lnTo>
                  <a:lnTo>
                    <a:pt x="803" y="247"/>
                  </a:lnTo>
                  <a:lnTo>
                    <a:pt x="803" y="245"/>
                  </a:lnTo>
                  <a:lnTo>
                    <a:pt x="803" y="243"/>
                  </a:lnTo>
                  <a:lnTo>
                    <a:pt x="803" y="243"/>
                  </a:lnTo>
                  <a:lnTo>
                    <a:pt x="803" y="241"/>
                  </a:lnTo>
                  <a:lnTo>
                    <a:pt x="803" y="241"/>
                  </a:lnTo>
                  <a:close/>
                  <a:moveTo>
                    <a:pt x="869" y="274"/>
                  </a:moveTo>
                  <a:lnTo>
                    <a:pt x="865" y="274"/>
                  </a:lnTo>
                  <a:lnTo>
                    <a:pt x="865" y="274"/>
                  </a:lnTo>
                  <a:lnTo>
                    <a:pt x="865" y="274"/>
                  </a:lnTo>
                  <a:lnTo>
                    <a:pt x="865" y="274"/>
                  </a:lnTo>
                  <a:lnTo>
                    <a:pt x="867" y="274"/>
                  </a:lnTo>
                  <a:lnTo>
                    <a:pt x="869" y="274"/>
                  </a:lnTo>
                  <a:lnTo>
                    <a:pt x="871" y="274"/>
                  </a:lnTo>
                  <a:lnTo>
                    <a:pt x="871" y="274"/>
                  </a:lnTo>
                  <a:lnTo>
                    <a:pt x="869" y="274"/>
                  </a:lnTo>
                  <a:lnTo>
                    <a:pt x="869" y="274"/>
                  </a:lnTo>
                  <a:close/>
                  <a:moveTo>
                    <a:pt x="861" y="282"/>
                  </a:moveTo>
                  <a:lnTo>
                    <a:pt x="861" y="282"/>
                  </a:lnTo>
                  <a:lnTo>
                    <a:pt x="859" y="282"/>
                  </a:lnTo>
                  <a:lnTo>
                    <a:pt x="854" y="282"/>
                  </a:lnTo>
                  <a:lnTo>
                    <a:pt x="852" y="282"/>
                  </a:lnTo>
                  <a:lnTo>
                    <a:pt x="852" y="282"/>
                  </a:lnTo>
                  <a:lnTo>
                    <a:pt x="850" y="282"/>
                  </a:lnTo>
                  <a:lnTo>
                    <a:pt x="850" y="284"/>
                  </a:lnTo>
                  <a:lnTo>
                    <a:pt x="852" y="286"/>
                  </a:lnTo>
                  <a:lnTo>
                    <a:pt x="854" y="288"/>
                  </a:lnTo>
                  <a:lnTo>
                    <a:pt x="854" y="288"/>
                  </a:lnTo>
                  <a:lnTo>
                    <a:pt x="857" y="288"/>
                  </a:lnTo>
                  <a:lnTo>
                    <a:pt x="859" y="288"/>
                  </a:lnTo>
                  <a:lnTo>
                    <a:pt x="861" y="286"/>
                  </a:lnTo>
                  <a:lnTo>
                    <a:pt x="861" y="286"/>
                  </a:lnTo>
                  <a:lnTo>
                    <a:pt x="863" y="286"/>
                  </a:lnTo>
                  <a:lnTo>
                    <a:pt x="863" y="286"/>
                  </a:lnTo>
                  <a:lnTo>
                    <a:pt x="861" y="284"/>
                  </a:lnTo>
                  <a:lnTo>
                    <a:pt x="861" y="282"/>
                  </a:lnTo>
                  <a:lnTo>
                    <a:pt x="861" y="282"/>
                  </a:lnTo>
                  <a:close/>
                  <a:moveTo>
                    <a:pt x="820" y="327"/>
                  </a:moveTo>
                  <a:lnTo>
                    <a:pt x="820" y="327"/>
                  </a:lnTo>
                  <a:lnTo>
                    <a:pt x="820" y="327"/>
                  </a:lnTo>
                  <a:lnTo>
                    <a:pt x="822" y="327"/>
                  </a:lnTo>
                  <a:lnTo>
                    <a:pt x="824" y="327"/>
                  </a:lnTo>
                  <a:lnTo>
                    <a:pt x="824" y="327"/>
                  </a:lnTo>
                  <a:lnTo>
                    <a:pt x="826" y="325"/>
                  </a:lnTo>
                  <a:lnTo>
                    <a:pt x="824" y="327"/>
                  </a:lnTo>
                  <a:lnTo>
                    <a:pt x="820" y="327"/>
                  </a:lnTo>
                  <a:close/>
                  <a:moveTo>
                    <a:pt x="828" y="302"/>
                  </a:moveTo>
                  <a:lnTo>
                    <a:pt x="828" y="302"/>
                  </a:lnTo>
                  <a:lnTo>
                    <a:pt x="828" y="302"/>
                  </a:lnTo>
                  <a:lnTo>
                    <a:pt x="828" y="300"/>
                  </a:lnTo>
                  <a:lnTo>
                    <a:pt x="826" y="300"/>
                  </a:lnTo>
                  <a:lnTo>
                    <a:pt x="826" y="300"/>
                  </a:lnTo>
                  <a:lnTo>
                    <a:pt x="826" y="300"/>
                  </a:lnTo>
                  <a:lnTo>
                    <a:pt x="824" y="300"/>
                  </a:lnTo>
                  <a:lnTo>
                    <a:pt x="822" y="300"/>
                  </a:lnTo>
                  <a:lnTo>
                    <a:pt x="822" y="300"/>
                  </a:lnTo>
                  <a:lnTo>
                    <a:pt x="820" y="300"/>
                  </a:lnTo>
                  <a:lnTo>
                    <a:pt x="815" y="302"/>
                  </a:lnTo>
                  <a:lnTo>
                    <a:pt x="815" y="304"/>
                  </a:lnTo>
                  <a:lnTo>
                    <a:pt x="813" y="304"/>
                  </a:lnTo>
                  <a:lnTo>
                    <a:pt x="813" y="304"/>
                  </a:lnTo>
                  <a:lnTo>
                    <a:pt x="813" y="306"/>
                  </a:lnTo>
                  <a:lnTo>
                    <a:pt x="811" y="309"/>
                  </a:lnTo>
                  <a:lnTo>
                    <a:pt x="811" y="309"/>
                  </a:lnTo>
                  <a:lnTo>
                    <a:pt x="811" y="311"/>
                  </a:lnTo>
                  <a:lnTo>
                    <a:pt x="811" y="311"/>
                  </a:lnTo>
                  <a:lnTo>
                    <a:pt x="813" y="311"/>
                  </a:lnTo>
                  <a:lnTo>
                    <a:pt x="813" y="313"/>
                  </a:lnTo>
                  <a:lnTo>
                    <a:pt x="813" y="313"/>
                  </a:lnTo>
                  <a:lnTo>
                    <a:pt x="815" y="313"/>
                  </a:lnTo>
                  <a:lnTo>
                    <a:pt x="815" y="313"/>
                  </a:lnTo>
                  <a:lnTo>
                    <a:pt x="815" y="313"/>
                  </a:lnTo>
                  <a:lnTo>
                    <a:pt x="817" y="311"/>
                  </a:lnTo>
                  <a:lnTo>
                    <a:pt x="820" y="309"/>
                  </a:lnTo>
                  <a:lnTo>
                    <a:pt x="822" y="309"/>
                  </a:lnTo>
                  <a:lnTo>
                    <a:pt x="824" y="306"/>
                  </a:lnTo>
                  <a:lnTo>
                    <a:pt x="826" y="306"/>
                  </a:lnTo>
                  <a:lnTo>
                    <a:pt x="826" y="304"/>
                  </a:lnTo>
                  <a:lnTo>
                    <a:pt x="828" y="30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9" name="Freeform 218">
              <a:extLst>
                <a:ext uri="{FF2B5EF4-FFF2-40B4-BE49-F238E27FC236}">
                  <a16:creationId xmlns:a16="http://schemas.microsoft.com/office/drawing/2014/main" id="{A0AE24EC-7E49-D644-B59B-07223CD1C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1449" y="3123324"/>
              <a:ext cx="7130" cy="7130"/>
            </a:xfrm>
            <a:custGeom>
              <a:avLst/>
              <a:gdLst>
                <a:gd name="T0" fmla="*/ 0 w 6"/>
                <a:gd name="T1" fmla="*/ 4 h 6"/>
                <a:gd name="T2" fmla="*/ 0 w 6"/>
                <a:gd name="T3" fmla="*/ 6 h 6"/>
                <a:gd name="T4" fmla="*/ 0 w 6"/>
                <a:gd name="T5" fmla="*/ 6 h 6"/>
                <a:gd name="T6" fmla="*/ 0 w 6"/>
                <a:gd name="T7" fmla="*/ 6 h 6"/>
                <a:gd name="T8" fmla="*/ 2 w 6"/>
                <a:gd name="T9" fmla="*/ 4 h 6"/>
                <a:gd name="T10" fmla="*/ 2 w 6"/>
                <a:gd name="T11" fmla="*/ 4 h 6"/>
                <a:gd name="T12" fmla="*/ 0 w 6"/>
                <a:gd name="T13" fmla="*/ 4 h 6"/>
                <a:gd name="T14" fmla="*/ 4 w 6"/>
                <a:gd name="T15" fmla="*/ 4 h 6"/>
                <a:gd name="T16" fmla="*/ 4 w 6"/>
                <a:gd name="T17" fmla="*/ 4 h 6"/>
                <a:gd name="T18" fmla="*/ 4 w 6"/>
                <a:gd name="T19" fmla="*/ 4 h 6"/>
                <a:gd name="T20" fmla="*/ 4 w 6"/>
                <a:gd name="T21" fmla="*/ 4 h 6"/>
                <a:gd name="T22" fmla="*/ 6 w 6"/>
                <a:gd name="T23" fmla="*/ 4 h 6"/>
                <a:gd name="T24" fmla="*/ 4 w 6"/>
                <a:gd name="T25" fmla="*/ 4 h 6"/>
                <a:gd name="T26" fmla="*/ 4 w 6"/>
                <a:gd name="T27" fmla="*/ 4 h 6"/>
                <a:gd name="T28" fmla="*/ 6 w 6"/>
                <a:gd name="T29" fmla="*/ 0 h 6"/>
                <a:gd name="T30" fmla="*/ 6 w 6"/>
                <a:gd name="T31" fmla="*/ 0 h 6"/>
                <a:gd name="T32" fmla="*/ 4 w 6"/>
                <a:gd name="T33" fmla="*/ 0 h 6"/>
                <a:gd name="T34" fmla="*/ 4 w 6"/>
                <a:gd name="T35" fmla="*/ 0 h 6"/>
                <a:gd name="T36" fmla="*/ 4 w 6"/>
                <a:gd name="T37" fmla="*/ 0 h 6"/>
                <a:gd name="T38" fmla="*/ 6 w 6"/>
                <a:gd name="T39" fmla="*/ 0 h 6"/>
                <a:gd name="T40" fmla="*/ 6 w 6"/>
                <a:gd name="T41" fmla="*/ 0 h 6"/>
                <a:gd name="T42" fmla="*/ 6 w 6"/>
                <a:gd name="T43" fmla="*/ 0 h 6"/>
                <a:gd name="T44" fmla="*/ 6 w 6"/>
                <a:gd name="T4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" h="6">
                  <a:moveTo>
                    <a:pt x="0" y="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0" name="Freeform 220">
              <a:extLst>
                <a:ext uri="{FF2B5EF4-FFF2-40B4-BE49-F238E27FC236}">
                  <a16:creationId xmlns:a16="http://schemas.microsoft.com/office/drawing/2014/main" id="{BC7ED597-05BD-B34C-BD1E-D4362B8F51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4177" y="3415667"/>
              <a:ext cx="751061" cy="850886"/>
            </a:xfrm>
            <a:custGeom>
              <a:avLst/>
              <a:gdLst>
                <a:gd name="T0" fmla="*/ 499 w 632"/>
                <a:gd name="T1" fmla="*/ 521 h 716"/>
                <a:gd name="T2" fmla="*/ 474 w 632"/>
                <a:gd name="T3" fmla="*/ 148 h 716"/>
                <a:gd name="T4" fmla="*/ 355 w 632"/>
                <a:gd name="T5" fmla="*/ 120 h 716"/>
                <a:gd name="T6" fmla="*/ 384 w 632"/>
                <a:gd name="T7" fmla="*/ 130 h 716"/>
                <a:gd name="T8" fmla="*/ 408 w 632"/>
                <a:gd name="T9" fmla="*/ 111 h 716"/>
                <a:gd name="T10" fmla="*/ 388 w 632"/>
                <a:gd name="T11" fmla="*/ 99 h 716"/>
                <a:gd name="T12" fmla="*/ 378 w 632"/>
                <a:gd name="T13" fmla="*/ 89 h 716"/>
                <a:gd name="T14" fmla="*/ 632 w 632"/>
                <a:gd name="T15" fmla="*/ 227 h 716"/>
                <a:gd name="T16" fmla="*/ 554 w 632"/>
                <a:gd name="T17" fmla="*/ 155 h 716"/>
                <a:gd name="T18" fmla="*/ 480 w 632"/>
                <a:gd name="T19" fmla="*/ 144 h 716"/>
                <a:gd name="T20" fmla="*/ 474 w 632"/>
                <a:gd name="T21" fmla="*/ 132 h 716"/>
                <a:gd name="T22" fmla="*/ 437 w 632"/>
                <a:gd name="T23" fmla="*/ 111 h 716"/>
                <a:gd name="T24" fmla="*/ 410 w 632"/>
                <a:gd name="T25" fmla="*/ 118 h 716"/>
                <a:gd name="T26" fmla="*/ 382 w 632"/>
                <a:gd name="T27" fmla="*/ 132 h 716"/>
                <a:gd name="T28" fmla="*/ 353 w 632"/>
                <a:gd name="T29" fmla="*/ 122 h 716"/>
                <a:gd name="T30" fmla="*/ 380 w 632"/>
                <a:gd name="T31" fmla="*/ 64 h 716"/>
                <a:gd name="T32" fmla="*/ 353 w 632"/>
                <a:gd name="T33" fmla="*/ 29 h 716"/>
                <a:gd name="T34" fmla="*/ 328 w 632"/>
                <a:gd name="T35" fmla="*/ 56 h 716"/>
                <a:gd name="T36" fmla="*/ 304 w 632"/>
                <a:gd name="T37" fmla="*/ 50 h 716"/>
                <a:gd name="T38" fmla="*/ 279 w 632"/>
                <a:gd name="T39" fmla="*/ 62 h 716"/>
                <a:gd name="T40" fmla="*/ 252 w 632"/>
                <a:gd name="T41" fmla="*/ 68 h 716"/>
                <a:gd name="T42" fmla="*/ 228 w 632"/>
                <a:gd name="T43" fmla="*/ 64 h 716"/>
                <a:gd name="T44" fmla="*/ 228 w 632"/>
                <a:gd name="T45" fmla="*/ 21 h 716"/>
                <a:gd name="T46" fmla="*/ 213 w 632"/>
                <a:gd name="T47" fmla="*/ 2 h 716"/>
                <a:gd name="T48" fmla="*/ 178 w 632"/>
                <a:gd name="T49" fmla="*/ 29 h 716"/>
                <a:gd name="T50" fmla="*/ 156 w 632"/>
                <a:gd name="T51" fmla="*/ 31 h 716"/>
                <a:gd name="T52" fmla="*/ 152 w 632"/>
                <a:gd name="T53" fmla="*/ 70 h 716"/>
                <a:gd name="T54" fmla="*/ 115 w 632"/>
                <a:gd name="T55" fmla="*/ 79 h 716"/>
                <a:gd name="T56" fmla="*/ 90 w 632"/>
                <a:gd name="T57" fmla="*/ 66 h 716"/>
                <a:gd name="T58" fmla="*/ 74 w 632"/>
                <a:gd name="T59" fmla="*/ 81 h 716"/>
                <a:gd name="T60" fmla="*/ 59 w 632"/>
                <a:gd name="T61" fmla="*/ 89 h 716"/>
                <a:gd name="T62" fmla="*/ 70 w 632"/>
                <a:gd name="T63" fmla="*/ 128 h 716"/>
                <a:gd name="T64" fmla="*/ 39 w 632"/>
                <a:gd name="T65" fmla="*/ 179 h 716"/>
                <a:gd name="T66" fmla="*/ 12 w 632"/>
                <a:gd name="T67" fmla="*/ 218 h 716"/>
                <a:gd name="T68" fmla="*/ 4 w 632"/>
                <a:gd name="T69" fmla="*/ 243 h 716"/>
                <a:gd name="T70" fmla="*/ 29 w 632"/>
                <a:gd name="T71" fmla="*/ 274 h 716"/>
                <a:gd name="T72" fmla="*/ 57 w 632"/>
                <a:gd name="T73" fmla="*/ 292 h 716"/>
                <a:gd name="T74" fmla="*/ 100 w 632"/>
                <a:gd name="T75" fmla="*/ 292 h 716"/>
                <a:gd name="T76" fmla="*/ 141 w 632"/>
                <a:gd name="T77" fmla="*/ 288 h 716"/>
                <a:gd name="T78" fmla="*/ 156 w 632"/>
                <a:gd name="T79" fmla="*/ 321 h 716"/>
                <a:gd name="T80" fmla="*/ 201 w 632"/>
                <a:gd name="T81" fmla="*/ 344 h 716"/>
                <a:gd name="T82" fmla="*/ 234 w 632"/>
                <a:gd name="T83" fmla="*/ 393 h 716"/>
                <a:gd name="T84" fmla="*/ 279 w 632"/>
                <a:gd name="T85" fmla="*/ 432 h 716"/>
                <a:gd name="T86" fmla="*/ 277 w 632"/>
                <a:gd name="T87" fmla="*/ 475 h 716"/>
                <a:gd name="T88" fmla="*/ 281 w 632"/>
                <a:gd name="T89" fmla="*/ 504 h 716"/>
                <a:gd name="T90" fmla="*/ 314 w 632"/>
                <a:gd name="T91" fmla="*/ 508 h 716"/>
                <a:gd name="T92" fmla="*/ 332 w 632"/>
                <a:gd name="T93" fmla="*/ 537 h 716"/>
                <a:gd name="T94" fmla="*/ 349 w 632"/>
                <a:gd name="T95" fmla="*/ 566 h 716"/>
                <a:gd name="T96" fmla="*/ 343 w 632"/>
                <a:gd name="T97" fmla="*/ 603 h 716"/>
                <a:gd name="T98" fmla="*/ 324 w 632"/>
                <a:gd name="T99" fmla="*/ 623 h 716"/>
                <a:gd name="T100" fmla="*/ 334 w 632"/>
                <a:gd name="T101" fmla="*/ 662 h 716"/>
                <a:gd name="T102" fmla="*/ 369 w 632"/>
                <a:gd name="T103" fmla="*/ 683 h 716"/>
                <a:gd name="T104" fmla="*/ 394 w 632"/>
                <a:gd name="T105" fmla="*/ 699 h 716"/>
                <a:gd name="T106" fmla="*/ 406 w 632"/>
                <a:gd name="T107" fmla="*/ 650 h 716"/>
                <a:gd name="T108" fmla="*/ 398 w 632"/>
                <a:gd name="T109" fmla="*/ 683 h 716"/>
                <a:gd name="T110" fmla="*/ 435 w 632"/>
                <a:gd name="T111" fmla="*/ 586 h 716"/>
                <a:gd name="T112" fmla="*/ 445 w 632"/>
                <a:gd name="T113" fmla="*/ 560 h 716"/>
                <a:gd name="T114" fmla="*/ 501 w 632"/>
                <a:gd name="T115" fmla="*/ 519 h 716"/>
                <a:gd name="T116" fmla="*/ 534 w 632"/>
                <a:gd name="T117" fmla="*/ 514 h 716"/>
                <a:gd name="T118" fmla="*/ 569 w 632"/>
                <a:gd name="T119" fmla="*/ 426 h 716"/>
                <a:gd name="T120" fmla="*/ 573 w 632"/>
                <a:gd name="T121" fmla="*/ 338 h 716"/>
                <a:gd name="T122" fmla="*/ 597 w 632"/>
                <a:gd name="T123" fmla="*/ 301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2" h="716">
                  <a:moveTo>
                    <a:pt x="441" y="601"/>
                  </a:moveTo>
                  <a:lnTo>
                    <a:pt x="441" y="603"/>
                  </a:lnTo>
                  <a:lnTo>
                    <a:pt x="441" y="603"/>
                  </a:lnTo>
                  <a:lnTo>
                    <a:pt x="441" y="607"/>
                  </a:lnTo>
                  <a:lnTo>
                    <a:pt x="441" y="607"/>
                  </a:lnTo>
                  <a:lnTo>
                    <a:pt x="441" y="605"/>
                  </a:lnTo>
                  <a:lnTo>
                    <a:pt x="443" y="603"/>
                  </a:lnTo>
                  <a:lnTo>
                    <a:pt x="443" y="601"/>
                  </a:lnTo>
                  <a:lnTo>
                    <a:pt x="441" y="601"/>
                  </a:lnTo>
                  <a:lnTo>
                    <a:pt x="441" y="601"/>
                  </a:lnTo>
                  <a:close/>
                  <a:moveTo>
                    <a:pt x="437" y="582"/>
                  </a:moveTo>
                  <a:lnTo>
                    <a:pt x="437" y="582"/>
                  </a:lnTo>
                  <a:lnTo>
                    <a:pt x="437" y="582"/>
                  </a:lnTo>
                  <a:lnTo>
                    <a:pt x="437" y="580"/>
                  </a:lnTo>
                  <a:lnTo>
                    <a:pt x="437" y="578"/>
                  </a:lnTo>
                  <a:lnTo>
                    <a:pt x="437" y="578"/>
                  </a:lnTo>
                  <a:lnTo>
                    <a:pt x="435" y="580"/>
                  </a:lnTo>
                  <a:lnTo>
                    <a:pt x="437" y="582"/>
                  </a:lnTo>
                  <a:close/>
                  <a:moveTo>
                    <a:pt x="484" y="533"/>
                  </a:moveTo>
                  <a:lnTo>
                    <a:pt x="482" y="533"/>
                  </a:lnTo>
                  <a:lnTo>
                    <a:pt x="480" y="535"/>
                  </a:lnTo>
                  <a:lnTo>
                    <a:pt x="482" y="537"/>
                  </a:lnTo>
                  <a:lnTo>
                    <a:pt x="484" y="537"/>
                  </a:lnTo>
                  <a:lnTo>
                    <a:pt x="484" y="537"/>
                  </a:lnTo>
                  <a:lnTo>
                    <a:pt x="484" y="535"/>
                  </a:lnTo>
                  <a:lnTo>
                    <a:pt x="484" y="535"/>
                  </a:lnTo>
                  <a:lnTo>
                    <a:pt x="484" y="535"/>
                  </a:lnTo>
                  <a:lnTo>
                    <a:pt x="484" y="533"/>
                  </a:lnTo>
                  <a:lnTo>
                    <a:pt x="484" y="533"/>
                  </a:lnTo>
                  <a:close/>
                  <a:moveTo>
                    <a:pt x="499" y="521"/>
                  </a:moveTo>
                  <a:lnTo>
                    <a:pt x="499" y="521"/>
                  </a:lnTo>
                  <a:lnTo>
                    <a:pt x="499" y="521"/>
                  </a:lnTo>
                  <a:lnTo>
                    <a:pt x="499" y="521"/>
                  </a:lnTo>
                  <a:lnTo>
                    <a:pt x="497" y="523"/>
                  </a:lnTo>
                  <a:lnTo>
                    <a:pt x="499" y="523"/>
                  </a:lnTo>
                  <a:lnTo>
                    <a:pt x="499" y="523"/>
                  </a:lnTo>
                  <a:lnTo>
                    <a:pt x="501" y="523"/>
                  </a:lnTo>
                  <a:lnTo>
                    <a:pt x="501" y="523"/>
                  </a:lnTo>
                  <a:lnTo>
                    <a:pt x="501" y="523"/>
                  </a:lnTo>
                  <a:lnTo>
                    <a:pt x="499" y="521"/>
                  </a:lnTo>
                  <a:close/>
                  <a:moveTo>
                    <a:pt x="569" y="344"/>
                  </a:moveTo>
                  <a:lnTo>
                    <a:pt x="569" y="344"/>
                  </a:lnTo>
                  <a:lnTo>
                    <a:pt x="571" y="344"/>
                  </a:lnTo>
                  <a:lnTo>
                    <a:pt x="571" y="346"/>
                  </a:lnTo>
                  <a:lnTo>
                    <a:pt x="571" y="346"/>
                  </a:lnTo>
                  <a:lnTo>
                    <a:pt x="571" y="344"/>
                  </a:lnTo>
                  <a:lnTo>
                    <a:pt x="571" y="344"/>
                  </a:lnTo>
                  <a:lnTo>
                    <a:pt x="571" y="344"/>
                  </a:lnTo>
                  <a:lnTo>
                    <a:pt x="569" y="344"/>
                  </a:lnTo>
                  <a:close/>
                  <a:moveTo>
                    <a:pt x="575" y="333"/>
                  </a:moveTo>
                  <a:lnTo>
                    <a:pt x="575" y="336"/>
                  </a:lnTo>
                  <a:lnTo>
                    <a:pt x="573" y="338"/>
                  </a:lnTo>
                  <a:lnTo>
                    <a:pt x="573" y="338"/>
                  </a:lnTo>
                  <a:lnTo>
                    <a:pt x="573" y="338"/>
                  </a:lnTo>
                  <a:lnTo>
                    <a:pt x="575" y="336"/>
                  </a:lnTo>
                  <a:lnTo>
                    <a:pt x="575" y="336"/>
                  </a:lnTo>
                  <a:lnTo>
                    <a:pt x="575" y="333"/>
                  </a:lnTo>
                  <a:lnTo>
                    <a:pt x="575" y="333"/>
                  </a:lnTo>
                  <a:close/>
                  <a:moveTo>
                    <a:pt x="474" y="150"/>
                  </a:moveTo>
                  <a:lnTo>
                    <a:pt x="474" y="148"/>
                  </a:lnTo>
                  <a:lnTo>
                    <a:pt x="474" y="148"/>
                  </a:lnTo>
                  <a:lnTo>
                    <a:pt x="474" y="146"/>
                  </a:lnTo>
                  <a:lnTo>
                    <a:pt x="474" y="146"/>
                  </a:lnTo>
                  <a:lnTo>
                    <a:pt x="474" y="148"/>
                  </a:lnTo>
                  <a:lnTo>
                    <a:pt x="472" y="148"/>
                  </a:lnTo>
                  <a:lnTo>
                    <a:pt x="474" y="150"/>
                  </a:lnTo>
                  <a:lnTo>
                    <a:pt x="472" y="153"/>
                  </a:lnTo>
                  <a:lnTo>
                    <a:pt x="474" y="150"/>
                  </a:lnTo>
                  <a:close/>
                  <a:moveTo>
                    <a:pt x="466" y="122"/>
                  </a:moveTo>
                  <a:lnTo>
                    <a:pt x="468" y="122"/>
                  </a:lnTo>
                  <a:lnTo>
                    <a:pt x="468" y="120"/>
                  </a:lnTo>
                  <a:lnTo>
                    <a:pt x="466" y="120"/>
                  </a:lnTo>
                  <a:lnTo>
                    <a:pt x="466" y="122"/>
                  </a:lnTo>
                  <a:lnTo>
                    <a:pt x="466" y="122"/>
                  </a:lnTo>
                  <a:lnTo>
                    <a:pt x="466" y="122"/>
                  </a:lnTo>
                  <a:lnTo>
                    <a:pt x="466" y="122"/>
                  </a:lnTo>
                  <a:lnTo>
                    <a:pt x="466" y="122"/>
                  </a:lnTo>
                  <a:close/>
                  <a:moveTo>
                    <a:pt x="353" y="124"/>
                  </a:moveTo>
                  <a:lnTo>
                    <a:pt x="355" y="124"/>
                  </a:lnTo>
                  <a:lnTo>
                    <a:pt x="359" y="122"/>
                  </a:lnTo>
                  <a:lnTo>
                    <a:pt x="361" y="120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5" y="109"/>
                  </a:lnTo>
                  <a:lnTo>
                    <a:pt x="365" y="107"/>
                  </a:lnTo>
                  <a:lnTo>
                    <a:pt x="361" y="107"/>
                  </a:lnTo>
                  <a:lnTo>
                    <a:pt x="359" y="109"/>
                  </a:lnTo>
                  <a:lnTo>
                    <a:pt x="357" y="113"/>
                  </a:lnTo>
                  <a:lnTo>
                    <a:pt x="357" y="118"/>
                  </a:lnTo>
                  <a:lnTo>
                    <a:pt x="355" y="120"/>
                  </a:lnTo>
                  <a:lnTo>
                    <a:pt x="353" y="124"/>
                  </a:lnTo>
                  <a:close/>
                  <a:moveTo>
                    <a:pt x="392" y="101"/>
                  </a:moveTo>
                  <a:lnTo>
                    <a:pt x="390" y="101"/>
                  </a:lnTo>
                  <a:lnTo>
                    <a:pt x="382" y="99"/>
                  </a:lnTo>
                  <a:lnTo>
                    <a:pt x="378" y="99"/>
                  </a:lnTo>
                  <a:lnTo>
                    <a:pt x="373" y="101"/>
                  </a:lnTo>
                  <a:lnTo>
                    <a:pt x="373" y="103"/>
                  </a:lnTo>
                  <a:lnTo>
                    <a:pt x="373" y="105"/>
                  </a:lnTo>
                  <a:lnTo>
                    <a:pt x="373" y="107"/>
                  </a:lnTo>
                  <a:lnTo>
                    <a:pt x="373" y="107"/>
                  </a:lnTo>
                  <a:lnTo>
                    <a:pt x="371" y="109"/>
                  </a:lnTo>
                  <a:lnTo>
                    <a:pt x="371" y="109"/>
                  </a:lnTo>
                  <a:lnTo>
                    <a:pt x="371" y="113"/>
                  </a:lnTo>
                  <a:lnTo>
                    <a:pt x="371" y="116"/>
                  </a:lnTo>
                  <a:lnTo>
                    <a:pt x="373" y="118"/>
                  </a:lnTo>
                  <a:lnTo>
                    <a:pt x="376" y="118"/>
                  </a:lnTo>
                  <a:lnTo>
                    <a:pt x="376" y="118"/>
                  </a:lnTo>
                  <a:lnTo>
                    <a:pt x="376" y="118"/>
                  </a:lnTo>
                  <a:lnTo>
                    <a:pt x="376" y="118"/>
                  </a:lnTo>
                  <a:lnTo>
                    <a:pt x="373" y="118"/>
                  </a:lnTo>
                  <a:lnTo>
                    <a:pt x="373" y="118"/>
                  </a:lnTo>
                  <a:lnTo>
                    <a:pt x="373" y="120"/>
                  </a:lnTo>
                  <a:lnTo>
                    <a:pt x="373" y="122"/>
                  </a:lnTo>
                  <a:lnTo>
                    <a:pt x="373" y="126"/>
                  </a:lnTo>
                  <a:lnTo>
                    <a:pt x="376" y="128"/>
                  </a:lnTo>
                  <a:lnTo>
                    <a:pt x="376" y="128"/>
                  </a:lnTo>
                  <a:lnTo>
                    <a:pt x="378" y="130"/>
                  </a:lnTo>
                  <a:lnTo>
                    <a:pt x="378" y="130"/>
                  </a:lnTo>
                  <a:lnTo>
                    <a:pt x="380" y="130"/>
                  </a:lnTo>
                  <a:lnTo>
                    <a:pt x="384" y="130"/>
                  </a:lnTo>
                  <a:lnTo>
                    <a:pt x="384" y="128"/>
                  </a:lnTo>
                  <a:lnTo>
                    <a:pt x="386" y="128"/>
                  </a:lnTo>
                  <a:lnTo>
                    <a:pt x="386" y="130"/>
                  </a:lnTo>
                  <a:lnTo>
                    <a:pt x="388" y="130"/>
                  </a:lnTo>
                  <a:lnTo>
                    <a:pt x="390" y="130"/>
                  </a:lnTo>
                  <a:lnTo>
                    <a:pt x="390" y="130"/>
                  </a:lnTo>
                  <a:lnTo>
                    <a:pt x="392" y="128"/>
                  </a:lnTo>
                  <a:lnTo>
                    <a:pt x="392" y="128"/>
                  </a:lnTo>
                  <a:lnTo>
                    <a:pt x="392" y="126"/>
                  </a:lnTo>
                  <a:lnTo>
                    <a:pt x="394" y="126"/>
                  </a:lnTo>
                  <a:lnTo>
                    <a:pt x="396" y="126"/>
                  </a:lnTo>
                  <a:lnTo>
                    <a:pt x="398" y="126"/>
                  </a:lnTo>
                  <a:lnTo>
                    <a:pt x="398" y="126"/>
                  </a:lnTo>
                  <a:lnTo>
                    <a:pt x="398" y="124"/>
                  </a:lnTo>
                  <a:lnTo>
                    <a:pt x="398" y="124"/>
                  </a:lnTo>
                  <a:lnTo>
                    <a:pt x="400" y="124"/>
                  </a:lnTo>
                  <a:lnTo>
                    <a:pt x="400" y="126"/>
                  </a:lnTo>
                  <a:lnTo>
                    <a:pt x="402" y="124"/>
                  </a:lnTo>
                  <a:lnTo>
                    <a:pt x="402" y="124"/>
                  </a:lnTo>
                  <a:lnTo>
                    <a:pt x="404" y="122"/>
                  </a:lnTo>
                  <a:lnTo>
                    <a:pt x="404" y="122"/>
                  </a:lnTo>
                  <a:lnTo>
                    <a:pt x="404" y="120"/>
                  </a:lnTo>
                  <a:lnTo>
                    <a:pt x="404" y="120"/>
                  </a:lnTo>
                  <a:lnTo>
                    <a:pt x="404" y="120"/>
                  </a:lnTo>
                  <a:lnTo>
                    <a:pt x="406" y="118"/>
                  </a:lnTo>
                  <a:lnTo>
                    <a:pt x="406" y="118"/>
                  </a:lnTo>
                  <a:lnTo>
                    <a:pt x="406" y="116"/>
                  </a:lnTo>
                  <a:lnTo>
                    <a:pt x="408" y="113"/>
                  </a:lnTo>
                  <a:lnTo>
                    <a:pt x="408" y="113"/>
                  </a:lnTo>
                  <a:lnTo>
                    <a:pt x="408" y="111"/>
                  </a:lnTo>
                  <a:lnTo>
                    <a:pt x="408" y="109"/>
                  </a:lnTo>
                  <a:lnTo>
                    <a:pt x="408" y="109"/>
                  </a:lnTo>
                  <a:lnTo>
                    <a:pt x="408" y="109"/>
                  </a:lnTo>
                  <a:lnTo>
                    <a:pt x="410" y="107"/>
                  </a:lnTo>
                  <a:lnTo>
                    <a:pt x="410" y="105"/>
                  </a:lnTo>
                  <a:lnTo>
                    <a:pt x="410" y="103"/>
                  </a:lnTo>
                  <a:lnTo>
                    <a:pt x="410" y="103"/>
                  </a:lnTo>
                  <a:lnTo>
                    <a:pt x="410" y="101"/>
                  </a:lnTo>
                  <a:lnTo>
                    <a:pt x="408" y="101"/>
                  </a:lnTo>
                  <a:lnTo>
                    <a:pt x="408" y="101"/>
                  </a:lnTo>
                  <a:lnTo>
                    <a:pt x="404" y="101"/>
                  </a:lnTo>
                  <a:lnTo>
                    <a:pt x="398" y="99"/>
                  </a:lnTo>
                  <a:lnTo>
                    <a:pt x="398" y="99"/>
                  </a:lnTo>
                  <a:lnTo>
                    <a:pt x="396" y="101"/>
                  </a:lnTo>
                  <a:lnTo>
                    <a:pt x="394" y="101"/>
                  </a:lnTo>
                  <a:lnTo>
                    <a:pt x="392" y="101"/>
                  </a:lnTo>
                  <a:close/>
                  <a:moveTo>
                    <a:pt x="367" y="101"/>
                  </a:moveTo>
                  <a:lnTo>
                    <a:pt x="369" y="103"/>
                  </a:lnTo>
                  <a:lnTo>
                    <a:pt x="373" y="99"/>
                  </a:lnTo>
                  <a:lnTo>
                    <a:pt x="373" y="99"/>
                  </a:lnTo>
                  <a:lnTo>
                    <a:pt x="373" y="99"/>
                  </a:lnTo>
                  <a:lnTo>
                    <a:pt x="371" y="97"/>
                  </a:lnTo>
                  <a:lnTo>
                    <a:pt x="371" y="97"/>
                  </a:lnTo>
                  <a:lnTo>
                    <a:pt x="369" y="99"/>
                  </a:lnTo>
                  <a:lnTo>
                    <a:pt x="367" y="101"/>
                  </a:lnTo>
                  <a:lnTo>
                    <a:pt x="367" y="101"/>
                  </a:lnTo>
                  <a:lnTo>
                    <a:pt x="367" y="101"/>
                  </a:lnTo>
                  <a:lnTo>
                    <a:pt x="367" y="101"/>
                  </a:lnTo>
                  <a:close/>
                  <a:moveTo>
                    <a:pt x="388" y="97"/>
                  </a:moveTo>
                  <a:lnTo>
                    <a:pt x="388" y="99"/>
                  </a:lnTo>
                  <a:lnTo>
                    <a:pt x="390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7"/>
                  </a:lnTo>
                  <a:lnTo>
                    <a:pt x="394" y="97"/>
                  </a:lnTo>
                  <a:lnTo>
                    <a:pt x="392" y="95"/>
                  </a:lnTo>
                  <a:lnTo>
                    <a:pt x="392" y="95"/>
                  </a:lnTo>
                  <a:lnTo>
                    <a:pt x="390" y="97"/>
                  </a:lnTo>
                  <a:lnTo>
                    <a:pt x="388" y="97"/>
                  </a:lnTo>
                  <a:close/>
                  <a:moveTo>
                    <a:pt x="382" y="93"/>
                  </a:moveTo>
                  <a:lnTo>
                    <a:pt x="380" y="93"/>
                  </a:lnTo>
                  <a:lnTo>
                    <a:pt x="380" y="95"/>
                  </a:lnTo>
                  <a:lnTo>
                    <a:pt x="380" y="97"/>
                  </a:lnTo>
                  <a:lnTo>
                    <a:pt x="380" y="97"/>
                  </a:lnTo>
                  <a:lnTo>
                    <a:pt x="384" y="97"/>
                  </a:lnTo>
                  <a:lnTo>
                    <a:pt x="384" y="97"/>
                  </a:lnTo>
                  <a:lnTo>
                    <a:pt x="386" y="97"/>
                  </a:lnTo>
                  <a:lnTo>
                    <a:pt x="388" y="97"/>
                  </a:lnTo>
                  <a:lnTo>
                    <a:pt x="390" y="93"/>
                  </a:lnTo>
                  <a:lnTo>
                    <a:pt x="390" y="93"/>
                  </a:lnTo>
                  <a:lnTo>
                    <a:pt x="386" y="91"/>
                  </a:lnTo>
                  <a:lnTo>
                    <a:pt x="382" y="93"/>
                  </a:lnTo>
                  <a:close/>
                  <a:moveTo>
                    <a:pt x="378" y="95"/>
                  </a:moveTo>
                  <a:lnTo>
                    <a:pt x="380" y="93"/>
                  </a:lnTo>
                  <a:lnTo>
                    <a:pt x="380" y="91"/>
                  </a:lnTo>
                  <a:lnTo>
                    <a:pt x="380" y="87"/>
                  </a:lnTo>
                  <a:lnTo>
                    <a:pt x="380" y="87"/>
                  </a:lnTo>
                  <a:lnTo>
                    <a:pt x="378" y="87"/>
                  </a:lnTo>
                  <a:lnTo>
                    <a:pt x="378" y="87"/>
                  </a:lnTo>
                  <a:lnTo>
                    <a:pt x="378" y="89"/>
                  </a:lnTo>
                  <a:lnTo>
                    <a:pt x="378" y="91"/>
                  </a:lnTo>
                  <a:lnTo>
                    <a:pt x="376" y="93"/>
                  </a:lnTo>
                  <a:lnTo>
                    <a:pt x="376" y="93"/>
                  </a:lnTo>
                  <a:lnTo>
                    <a:pt x="376" y="97"/>
                  </a:lnTo>
                  <a:lnTo>
                    <a:pt x="378" y="97"/>
                  </a:lnTo>
                  <a:lnTo>
                    <a:pt x="378" y="95"/>
                  </a:lnTo>
                  <a:close/>
                  <a:moveTo>
                    <a:pt x="382" y="91"/>
                  </a:moveTo>
                  <a:lnTo>
                    <a:pt x="384" y="87"/>
                  </a:lnTo>
                  <a:lnTo>
                    <a:pt x="384" y="87"/>
                  </a:lnTo>
                  <a:lnTo>
                    <a:pt x="384" y="85"/>
                  </a:lnTo>
                  <a:lnTo>
                    <a:pt x="384" y="85"/>
                  </a:lnTo>
                  <a:lnTo>
                    <a:pt x="384" y="87"/>
                  </a:lnTo>
                  <a:lnTo>
                    <a:pt x="382" y="87"/>
                  </a:lnTo>
                  <a:lnTo>
                    <a:pt x="380" y="87"/>
                  </a:lnTo>
                  <a:lnTo>
                    <a:pt x="380" y="91"/>
                  </a:lnTo>
                  <a:lnTo>
                    <a:pt x="380" y="91"/>
                  </a:lnTo>
                  <a:lnTo>
                    <a:pt x="382" y="91"/>
                  </a:lnTo>
                  <a:close/>
                  <a:moveTo>
                    <a:pt x="378" y="62"/>
                  </a:moveTo>
                  <a:lnTo>
                    <a:pt x="380" y="62"/>
                  </a:lnTo>
                  <a:lnTo>
                    <a:pt x="380" y="60"/>
                  </a:lnTo>
                  <a:lnTo>
                    <a:pt x="380" y="58"/>
                  </a:lnTo>
                  <a:lnTo>
                    <a:pt x="380" y="58"/>
                  </a:lnTo>
                  <a:lnTo>
                    <a:pt x="378" y="58"/>
                  </a:lnTo>
                  <a:lnTo>
                    <a:pt x="378" y="58"/>
                  </a:lnTo>
                  <a:lnTo>
                    <a:pt x="378" y="60"/>
                  </a:lnTo>
                  <a:lnTo>
                    <a:pt x="378" y="62"/>
                  </a:lnTo>
                  <a:lnTo>
                    <a:pt x="378" y="62"/>
                  </a:lnTo>
                  <a:close/>
                  <a:moveTo>
                    <a:pt x="632" y="233"/>
                  </a:moveTo>
                  <a:lnTo>
                    <a:pt x="632" y="231"/>
                  </a:lnTo>
                  <a:lnTo>
                    <a:pt x="632" y="227"/>
                  </a:lnTo>
                  <a:lnTo>
                    <a:pt x="632" y="227"/>
                  </a:lnTo>
                  <a:lnTo>
                    <a:pt x="632" y="225"/>
                  </a:lnTo>
                  <a:lnTo>
                    <a:pt x="630" y="222"/>
                  </a:lnTo>
                  <a:lnTo>
                    <a:pt x="630" y="214"/>
                  </a:lnTo>
                  <a:lnTo>
                    <a:pt x="628" y="210"/>
                  </a:lnTo>
                  <a:lnTo>
                    <a:pt x="626" y="206"/>
                  </a:lnTo>
                  <a:lnTo>
                    <a:pt x="626" y="200"/>
                  </a:lnTo>
                  <a:lnTo>
                    <a:pt x="622" y="194"/>
                  </a:lnTo>
                  <a:lnTo>
                    <a:pt x="622" y="192"/>
                  </a:lnTo>
                  <a:lnTo>
                    <a:pt x="620" y="192"/>
                  </a:lnTo>
                  <a:lnTo>
                    <a:pt x="614" y="190"/>
                  </a:lnTo>
                  <a:lnTo>
                    <a:pt x="610" y="192"/>
                  </a:lnTo>
                  <a:lnTo>
                    <a:pt x="605" y="190"/>
                  </a:lnTo>
                  <a:lnTo>
                    <a:pt x="603" y="192"/>
                  </a:lnTo>
                  <a:lnTo>
                    <a:pt x="601" y="190"/>
                  </a:lnTo>
                  <a:lnTo>
                    <a:pt x="599" y="188"/>
                  </a:lnTo>
                  <a:lnTo>
                    <a:pt x="597" y="188"/>
                  </a:lnTo>
                  <a:lnTo>
                    <a:pt x="593" y="188"/>
                  </a:lnTo>
                  <a:lnTo>
                    <a:pt x="591" y="183"/>
                  </a:lnTo>
                  <a:lnTo>
                    <a:pt x="587" y="181"/>
                  </a:lnTo>
                  <a:lnTo>
                    <a:pt x="583" y="177"/>
                  </a:lnTo>
                  <a:lnTo>
                    <a:pt x="579" y="175"/>
                  </a:lnTo>
                  <a:lnTo>
                    <a:pt x="575" y="169"/>
                  </a:lnTo>
                  <a:lnTo>
                    <a:pt x="575" y="169"/>
                  </a:lnTo>
                  <a:lnTo>
                    <a:pt x="573" y="165"/>
                  </a:lnTo>
                  <a:lnTo>
                    <a:pt x="569" y="165"/>
                  </a:lnTo>
                  <a:lnTo>
                    <a:pt x="564" y="161"/>
                  </a:lnTo>
                  <a:lnTo>
                    <a:pt x="562" y="159"/>
                  </a:lnTo>
                  <a:lnTo>
                    <a:pt x="558" y="157"/>
                  </a:lnTo>
                  <a:lnTo>
                    <a:pt x="554" y="155"/>
                  </a:lnTo>
                  <a:lnTo>
                    <a:pt x="554" y="153"/>
                  </a:lnTo>
                  <a:lnTo>
                    <a:pt x="550" y="153"/>
                  </a:lnTo>
                  <a:lnTo>
                    <a:pt x="548" y="150"/>
                  </a:lnTo>
                  <a:lnTo>
                    <a:pt x="544" y="148"/>
                  </a:lnTo>
                  <a:lnTo>
                    <a:pt x="540" y="148"/>
                  </a:lnTo>
                  <a:lnTo>
                    <a:pt x="534" y="150"/>
                  </a:lnTo>
                  <a:lnTo>
                    <a:pt x="527" y="150"/>
                  </a:lnTo>
                  <a:lnTo>
                    <a:pt x="525" y="150"/>
                  </a:lnTo>
                  <a:lnTo>
                    <a:pt x="523" y="150"/>
                  </a:lnTo>
                  <a:lnTo>
                    <a:pt x="521" y="150"/>
                  </a:lnTo>
                  <a:lnTo>
                    <a:pt x="519" y="148"/>
                  </a:lnTo>
                  <a:lnTo>
                    <a:pt x="517" y="148"/>
                  </a:lnTo>
                  <a:lnTo>
                    <a:pt x="515" y="148"/>
                  </a:lnTo>
                  <a:lnTo>
                    <a:pt x="511" y="148"/>
                  </a:lnTo>
                  <a:lnTo>
                    <a:pt x="505" y="146"/>
                  </a:lnTo>
                  <a:lnTo>
                    <a:pt x="503" y="144"/>
                  </a:lnTo>
                  <a:lnTo>
                    <a:pt x="501" y="144"/>
                  </a:lnTo>
                  <a:lnTo>
                    <a:pt x="499" y="142"/>
                  </a:lnTo>
                  <a:lnTo>
                    <a:pt x="495" y="140"/>
                  </a:lnTo>
                  <a:lnTo>
                    <a:pt x="493" y="140"/>
                  </a:lnTo>
                  <a:lnTo>
                    <a:pt x="491" y="142"/>
                  </a:lnTo>
                  <a:lnTo>
                    <a:pt x="491" y="142"/>
                  </a:lnTo>
                  <a:lnTo>
                    <a:pt x="486" y="144"/>
                  </a:lnTo>
                  <a:lnTo>
                    <a:pt x="484" y="144"/>
                  </a:lnTo>
                  <a:lnTo>
                    <a:pt x="484" y="144"/>
                  </a:lnTo>
                  <a:lnTo>
                    <a:pt x="482" y="146"/>
                  </a:lnTo>
                  <a:lnTo>
                    <a:pt x="480" y="148"/>
                  </a:lnTo>
                  <a:lnTo>
                    <a:pt x="478" y="148"/>
                  </a:lnTo>
                  <a:lnTo>
                    <a:pt x="480" y="146"/>
                  </a:lnTo>
                  <a:lnTo>
                    <a:pt x="480" y="144"/>
                  </a:lnTo>
                  <a:lnTo>
                    <a:pt x="480" y="144"/>
                  </a:lnTo>
                  <a:lnTo>
                    <a:pt x="480" y="142"/>
                  </a:lnTo>
                  <a:lnTo>
                    <a:pt x="480" y="142"/>
                  </a:lnTo>
                  <a:lnTo>
                    <a:pt x="478" y="142"/>
                  </a:lnTo>
                  <a:lnTo>
                    <a:pt x="478" y="144"/>
                  </a:lnTo>
                  <a:lnTo>
                    <a:pt x="476" y="146"/>
                  </a:lnTo>
                  <a:lnTo>
                    <a:pt x="476" y="150"/>
                  </a:lnTo>
                  <a:lnTo>
                    <a:pt x="472" y="155"/>
                  </a:lnTo>
                  <a:lnTo>
                    <a:pt x="470" y="157"/>
                  </a:lnTo>
                  <a:lnTo>
                    <a:pt x="470" y="155"/>
                  </a:lnTo>
                  <a:lnTo>
                    <a:pt x="472" y="148"/>
                  </a:lnTo>
                  <a:lnTo>
                    <a:pt x="472" y="146"/>
                  </a:lnTo>
                  <a:lnTo>
                    <a:pt x="472" y="144"/>
                  </a:lnTo>
                  <a:lnTo>
                    <a:pt x="474" y="144"/>
                  </a:lnTo>
                  <a:lnTo>
                    <a:pt x="474" y="142"/>
                  </a:lnTo>
                  <a:lnTo>
                    <a:pt x="474" y="142"/>
                  </a:lnTo>
                  <a:lnTo>
                    <a:pt x="476" y="140"/>
                  </a:lnTo>
                  <a:lnTo>
                    <a:pt x="476" y="138"/>
                  </a:lnTo>
                  <a:lnTo>
                    <a:pt x="476" y="136"/>
                  </a:lnTo>
                  <a:lnTo>
                    <a:pt x="474" y="138"/>
                  </a:lnTo>
                  <a:lnTo>
                    <a:pt x="472" y="138"/>
                  </a:lnTo>
                  <a:lnTo>
                    <a:pt x="472" y="140"/>
                  </a:lnTo>
                  <a:lnTo>
                    <a:pt x="470" y="140"/>
                  </a:lnTo>
                  <a:lnTo>
                    <a:pt x="470" y="138"/>
                  </a:lnTo>
                  <a:lnTo>
                    <a:pt x="470" y="138"/>
                  </a:lnTo>
                  <a:lnTo>
                    <a:pt x="472" y="138"/>
                  </a:lnTo>
                  <a:lnTo>
                    <a:pt x="472" y="136"/>
                  </a:lnTo>
                  <a:lnTo>
                    <a:pt x="472" y="136"/>
                  </a:lnTo>
                  <a:lnTo>
                    <a:pt x="474" y="134"/>
                  </a:lnTo>
                  <a:lnTo>
                    <a:pt x="474" y="132"/>
                  </a:lnTo>
                  <a:lnTo>
                    <a:pt x="472" y="130"/>
                  </a:lnTo>
                  <a:lnTo>
                    <a:pt x="472" y="130"/>
                  </a:lnTo>
                  <a:lnTo>
                    <a:pt x="470" y="130"/>
                  </a:lnTo>
                  <a:lnTo>
                    <a:pt x="470" y="130"/>
                  </a:lnTo>
                  <a:lnTo>
                    <a:pt x="470" y="130"/>
                  </a:lnTo>
                  <a:lnTo>
                    <a:pt x="470" y="128"/>
                  </a:lnTo>
                  <a:lnTo>
                    <a:pt x="468" y="128"/>
                  </a:lnTo>
                  <a:lnTo>
                    <a:pt x="468" y="126"/>
                  </a:lnTo>
                  <a:lnTo>
                    <a:pt x="466" y="126"/>
                  </a:lnTo>
                  <a:lnTo>
                    <a:pt x="464" y="124"/>
                  </a:lnTo>
                  <a:lnTo>
                    <a:pt x="464" y="124"/>
                  </a:lnTo>
                  <a:lnTo>
                    <a:pt x="462" y="128"/>
                  </a:lnTo>
                  <a:lnTo>
                    <a:pt x="462" y="128"/>
                  </a:lnTo>
                  <a:lnTo>
                    <a:pt x="460" y="128"/>
                  </a:lnTo>
                  <a:lnTo>
                    <a:pt x="460" y="126"/>
                  </a:lnTo>
                  <a:lnTo>
                    <a:pt x="458" y="122"/>
                  </a:lnTo>
                  <a:lnTo>
                    <a:pt x="458" y="122"/>
                  </a:lnTo>
                  <a:lnTo>
                    <a:pt x="456" y="122"/>
                  </a:lnTo>
                  <a:lnTo>
                    <a:pt x="454" y="120"/>
                  </a:lnTo>
                  <a:lnTo>
                    <a:pt x="449" y="120"/>
                  </a:lnTo>
                  <a:lnTo>
                    <a:pt x="449" y="118"/>
                  </a:lnTo>
                  <a:lnTo>
                    <a:pt x="447" y="118"/>
                  </a:lnTo>
                  <a:lnTo>
                    <a:pt x="445" y="118"/>
                  </a:lnTo>
                  <a:lnTo>
                    <a:pt x="445" y="116"/>
                  </a:lnTo>
                  <a:lnTo>
                    <a:pt x="445" y="116"/>
                  </a:lnTo>
                  <a:lnTo>
                    <a:pt x="443" y="116"/>
                  </a:lnTo>
                  <a:lnTo>
                    <a:pt x="441" y="116"/>
                  </a:lnTo>
                  <a:lnTo>
                    <a:pt x="439" y="116"/>
                  </a:lnTo>
                  <a:lnTo>
                    <a:pt x="439" y="113"/>
                  </a:lnTo>
                  <a:lnTo>
                    <a:pt x="437" y="111"/>
                  </a:lnTo>
                  <a:lnTo>
                    <a:pt x="437" y="111"/>
                  </a:lnTo>
                  <a:lnTo>
                    <a:pt x="435" y="111"/>
                  </a:lnTo>
                  <a:lnTo>
                    <a:pt x="435" y="111"/>
                  </a:lnTo>
                  <a:lnTo>
                    <a:pt x="433" y="111"/>
                  </a:lnTo>
                  <a:lnTo>
                    <a:pt x="431" y="111"/>
                  </a:lnTo>
                  <a:lnTo>
                    <a:pt x="431" y="109"/>
                  </a:lnTo>
                  <a:lnTo>
                    <a:pt x="429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1"/>
                  </a:lnTo>
                  <a:lnTo>
                    <a:pt x="425" y="111"/>
                  </a:lnTo>
                  <a:lnTo>
                    <a:pt x="425" y="109"/>
                  </a:lnTo>
                  <a:lnTo>
                    <a:pt x="423" y="109"/>
                  </a:lnTo>
                  <a:lnTo>
                    <a:pt x="423" y="111"/>
                  </a:lnTo>
                  <a:lnTo>
                    <a:pt x="421" y="109"/>
                  </a:lnTo>
                  <a:lnTo>
                    <a:pt x="421" y="109"/>
                  </a:lnTo>
                  <a:lnTo>
                    <a:pt x="421" y="109"/>
                  </a:lnTo>
                  <a:lnTo>
                    <a:pt x="419" y="109"/>
                  </a:lnTo>
                  <a:lnTo>
                    <a:pt x="419" y="111"/>
                  </a:lnTo>
                  <a:lnTo>
                    <a:pt x="417" y="109"/>
                  </a:lnTo>
                  <a:lnTo>
                    <a:pt x="417" y="109"/>
                  </a:lnTo>
                  <a:lnTo>
                    <a:pt x="415" y="111"/>
                  </a:lnTo>
                  <a:lnTo>
                    <a:pt x="415" y="111"/>
                  </a:lnTo>
                  <a:lnTo>
                    <a:pt x="415" y="111"/>
                  </a:lnTo>
                  <a:lnTo>
                    <a:pt x="412" y="113"/>
                  </a:lnTo>
                  <a:lnTo>
                    <a:pt x="412" y="116"/>
                  </a:lnTo>
                  <a:lnTo>
                    <a:pt x="412" y="116"/>
                  </a:lnTo>
                  <a:lnTo>
                    <a:pt x="410" y="118"/>
                  </a:lnTo>
                  <a:lnTo>
                    <a:pt x="410" y="120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10" y="124"/>
                  </a:lnTo>
                  <a:lnTo>
                    <a:pt x="412" y="124"/>
                  </a:lnTo>
                  <a:lnTo>
                    <a:pt x="410" y="126"/>
                  </a:lnTo>
                  <a:lnTo>
                    <a:pt x="410" y="126"/>
                  </a:lnTo>
                  <a:lnTo>
                    <a:pt x="408" y="126"/>
                  </a:lnTo>
                  <a:lnTo>
                    <a:pt x="408" y="124"/>
                  </a:lnTo>
                  <a:lnTo>
                    <a:pt x="406" y="124"/>
                  </a:lnTo>
                  <a:lnTo>
                    <a:pt x="402" y="130"/>
                  </a:lnTo>
                  <a:lnTo>
                    <a:pt x="398" y="132"/>
                  </a:lnTo>
                  <a:lnTo>
                    <a:pt x="398" y="132"/>
                  </a:lnTo>
                  <a:lnTo>
                    <a:pt x="394" y="140"/>
                  </a:lnTo>
                  <a:lnTo>
                    <a:pt x="394" y="142"/>
                  </a:lnTo>
                  <a:lnTo>
                    <a:pt x="392" y="144"/>
                  </a:lnTo>
                  <a:lnTo>
                    <a:pt x="392" y="146"/>
                  </a:lnTo>
                  <a:lnTo>
                    <a:pt x="392" y="146"/>
                  </a:lnTo>
                  <a:lnTo>
                    <a:pt x="392" y="144"/>
                  </a:lnTo>
                  <a:lnTo>
                    <a:pt x="392" y="144"/>
                  </a:lnTo>
                  <a:lnTo>
                    <a:pt x="394" y="138"/>
                  </a:lnTo>
                  <a:lnTo>
                    <a:pt x="394" y="138"/>
                  </a:lnTo>
                  <a:lnTo>
                    <a:pt x="394" y="134"/>
                  </a:lnTo>
                  <a:lnTo>
                    <a:pt x="396" y="128"/>
                  </a:lnTo>
                  <a:lnTo>
                    <a:pt x="392" y="132"/>
                  </a:lnTo>
                  <a:lnTo>
                    <a:pt x="390" y="132"/>
                  </a:lnTo>
                  <a:lnTo>
                    <a:pt x="386" y="132"/>
                  </a:lnTo>
                  <a:lnTo>
                    <a:pt x="386" y="130"/>
                  </a:lnTo>
                  <a:lnTo>
                    <a:pt x="384" y="132"/>
                  </a:lnTo>
                  <a:lnTo>
                    <a:pt x="382" y="132"/>
                  </a:lnTo>
                  <a:lnTo>
                    <a:pt x="382" y="132"/>
                  </a:lnTo>
                  <a:lnTo>
                    <a:pt x="378" y="134"/>
                  </a:lnTo>
                  <a:lnTo>
                    <a:pt x="376" y="132"/>
                  </a:lnTo>
                  <a:lnTo>
                    <a:pt x="376" y="130"/>
                  </a:lnTo>
                  <a:lnTo>
                    <a:pt x="373" y="130"/>
                  </a:lnTo>
                  <a:lnTo>
                    <a:pt x="373" y="128"/>
                  </a:lnTo>
                  <a:lnTo>
                    <a:pt x="373" y="128"/>
                  </a:lnTo>
                  <a:lnTo>
                    <a:pt x="371" y="124"/>
                  </a:lnTo>
                  <a:lnTo>
                    <a:pt x="371" y="122"/>
                  </a:lnTo>
                  <a:lnTo>
                    <a:pt x="371" y="122"/>
                  </a:lnTo>
                  <a:lnTo>
                    <a:pt x="371" y="120"/>
                  </a:lnTo>
                  <a:lnTo>
                    <a:pt x="369" y="118"/>
                  </a:lnTo>
                  <a:lnTo>
                    <a:pt x="369" y="118"/>
                  </a:lnTo>
                  <a:lnTo>
                    <a:pt x="371" y="116"/>
                  </a:lnTo>
                  <a:lnTo>
                    <a:pt x="371" y="116"/>
                  </a:lnTo>
                  <a:lnTo>
                    <a:pt x="369" y="113"/>
                  </a:lnTo>
                  <a:lnTo>
                    <a:pt x="369" y="116"/>
                  </a:lnTo>
                  <a:lnTo>
                    <a:pt x="367" y="116"/>
                  </a:lnTo>
                  <a:lnTo>
                    <a:pt x="365" y="118"/>
                  </a:lnTo>
                  <a:lnTo>
                    <a:pt x="363" y="120"/>
                  </a:lnTo>
                  <a:lnTo>
                    <a:pt x="359" y="122"/>
                  </a:lnTo>
                  <a:lnTo>
                    <a:pt x="359" y="122"/>
                  </a:lnTo>
                  <a:lnTo>
                    <a:pt x="353" y="126"/>
                  </a:lnTo>
                  <a:lnTo>
                    <a:pt x="349" y="128"/>
                  </a:lnTo>
                  <a:lnTo>
                    <a:pt x="347" y="126"/>
                  </a:lnTo>
                  <a:lnTo>
                    <a:pt x="343" y="126"/>
                  </a:lnTo>
                  <a:lnTo>
                    <a:pt x="343" y="126"/>
                  </a:lnTo>
                  <a:lnTo>
                    <a:pt x="349" y="122"/>
                  </a:lnTo>
                  <a:lnTo>
                    <a:pt x="353" y="124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20"/>
                  </a:lnTo>
                  <a:lnTo>
                    <a:pt x="355" y="118"/>
                  </a:lnTo>
                  <a:lnTo>
                    <a:pt x="357" y="116"/>
                  </a:lnTo>
                  <a:lnTo>
                    <a:pt x="357" y="113"/>
                  </a:lnTo>
                  <a:lnTo>
                    <a:pt x="357" y="111"/>
                  </a:lnTo>
                  <a:lnTo>
                    <a:pt x="359" y="107"/>
                  </a:lnTo>
                  <a:lnTo>
                    <a:pt x="361" y="107"/>
                  </a:lnTo>
                  <a:lnTo>
                    <a:pt x="361" y="105"/>
                  </a:lnTo>
                  <a:lnTo>
                    <a:pt x="363" y="101"/>
                  </a:lnTo>
                  <a:lnTo>
                    <a:pt x="363" y="99"/>
                  </a:lnTo>
                  <a:lnTo>
                    <a:pt x="367" y="97"/>
                  </a:lnTo>
                  <a:lnTo>
                    <a:pt x="369" y="95"/>
                  </a:lnTo>
                  <a:lnTo>
                    <a:pt x="369" y="95"/>
                  </a:lnTo>
                  <a:lnTo>
                    <a:pt x="371" y="93"/>
                  </a:lnTo>
                  <a:lnTo>
                    <a:pt x="373" y="93"/>
                  </a:lnTo>
                  <a:lnTo>
                    <a:pt x="376" y="89"/>
                  </a:lnTo>
                  <a:lnTo>
                    <a:pt x="378" y="85"/>
                  </a:lnTo>
                  <a:lnTo>
                    <a:pt x="380" y="83"/>
                  </a:lnTo>
                  <a:lnTo>
                    <a:pt x="380" y="83"/>
                  </a:lnTo>
                  <a:lnTo>
                    <a:pt x="384" y="79"/>
                  </a:lnTo>
                  <a:lnTo>
                    <a:pt x="384" y="79"/>
                  </a:lnTo>
                  <a:lnTo>
                    <a:pt x="386" y="76"/>
                  </a:lnTo>
                  <a:lnTo>
                    <a:pt x="386" y="76"/>
                  </a:lnTo>
                  <a:lnTo>
                    <a:pt x="386" y="74"/>
                  </a:lnTo>
                  <a:lnTo>
                    <a:pt x="386" y="70"/>
                  </a:lnTo>
                  <a:lnTo>
                    <a:pt x="386" y="66"/>
                  </a:lnTo>
                  <a:lnTo>
                    <a:pt x="384" y="66"/>
                  </a:lnTo>
                  <a:lnTo>
                    <a:pt x="382" y="64"/>
                  </a:lnTo>
                  <a:lnTo>
                    <a:pt x="380" y="64"/>
                  </a:lnTo>
                  <a:lnTo>
                    <a:pt x="378" y="64"/>
                  </a:lnTo>
                  <a:lnTo>
                    <a:pt x="376" y="62"/>
                  </a:lnTo>
                  <a:lnTo>
                    <a:pt x="376" y="60"/>
                  </a:lnTo>
                  <a:lnTo>
                    <a:pt x="376" y="58"/>
                  </a:lnTo>
                  <a:lnTo>
                    <a:pt x="373" y="58"/>
                  </a:lnTo>
                  <a:lnTo>
                    <a:pt x="373" y="58"/>
                  </a:lnTo>
                  <a:lnTo>
                    <a:pt x="373" y="58"/>
                  </a:lnTo>
                  <a:lnTo>
                    <a:pt x="373" y="56"/>
                  </a:lnTo>
                  <a:lnTo>
                    <a:pt x="373" y="54"/>
                  </a:lnTo>
                  <a:lnTo>
                    <a:pt x="371" y="52"/>
                  </a:lnTo>
                  <a:lnTo>
                    <a:pt x="371" y="50"/>
                  </a:lnTo>
                  <a:lnTo>
                    <a:pt x="371" y="48"/>
                  </a:lnTo>
                  <a:lnTo>
                    <a:pt x="369" y="42"/>
                  </a:lnTo>
                  <a:lnTo>
                    <a:pt x="369" y="37"/>
                  </a:lnTo>
                  <a:lnTo>
                    <a:pt x="367" y="29"/>
                  </a:lnTo>
                  <a:lnTo>
                    <a:pt x="365" y="21"/>
                  </a:lnTo>
                  <a:lnTo>
                    <a:pt x="365" y="19"/>
                  </a:lnTo>
                  <a:lnTo>
                    <a:pt x="361" y="19"/>
                  </a:lnTo>
                  <a:lnTo>
                    <a:pt x="361" y="19"/>
                  </a:lnTo>
                  <a:lnTo>
                    <a:pt x="361" y="19"/>
                  </a:lnTo>
                  <a:lnTo>
                    <a:pt x="359" y="23"/>
                  </a:lnTo>
                  <a:lnTo>
                    <a:pt x="359" y="23"/>
                  </a:lnTo>
                  <a:lnTo>
                    <a:pt x="357" y="23"/>
                  </a:lnTo>
                  <a:lnTo>
                    <a:pt x="357" y="25"/>
                  </a:lnTo>
                  <a:lnTo>
                    <a:pt x="357" y="25"/>
                  </a:lnTo>
                  <a:lnTo>
                    <a:pt x="355" y="27"/>
                  </a:lnTo>
                  <a:lnTo>
                    <a:pt x="355" y="27"/>
                  </a:lnTo>
                  <a:lnTo>
                    <a:pt x="355" y="29"/>
                  </a:lnTo>
                  <a:lnTo>
                    <a:pt x="353" y="29"/>
                  </a:lnTo>
                  <a:lnTo>
                    <a:pt x="353" y="29"/>
                  </a:lnTo>
                  <a:lnTo>
                    <a:pt x="351" y="33"/>
                  </a:lnTo>
                  <a:lnTo>
                    <a:pt x="351" y="35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7" y="39"/>
                  </a:lnTo>
                  <a:lnTo>
                    <a:pt x="347" y="39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4"/>
                  </a:lnTo>
                  <a:lnTo>
                    <a:pt x="345" y="44"/>
                  </a:lnTo>
                  <a:lnTo>
                    <a:pt x="345" y="48"/>
                  </a:lnTo>
                  <a:lnTo>
                    <a:pt x="345" y="50"/>
                  </a:lnTo>
                  <a:lnTo>
                    <a:pt x="343" y="50"/>
                  </a:lnTo>
                  <a:lnTo>
                    <a:pt x="343" y="52"/>
                  </a:lnTo>
                  <a:lnTo>
                    <a:pt x="341" y="54"/>
                  </a:lnTo>
                  <a:lnTo>
                    <a:pt x="341" y="54"/>
                  </a:lnTo>
                  <a:lnTo>
                    <a:pt x="339" y="56"/>
                  </a:lnTo>
                  <a:lnTo>
                    <a:pt x="339" y="56"/>
                  </a:lnTo>
                  <a:lnTo>
                    <a:pt x="337" y="58"/>
                  </a:lnTo>
                  <a:lnTo>
                    <a:pt x="337" y="58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2" y="56"/>
                  </a:lnTo>
                  <a:lnTo>
                    <a:pt x="332" y="56"/>
                  </a:lnTo>
                  <a:lnTo>
                    <a:pt x="332" y="56"/>
                  </a:lnTo>
                  <a:lnTo>
                    <a:pt x="330" y="54"/>
                  </a:lnTo>
                  <a:lnTo>
                    <a:pt x="330" y="54"/>
                  </a:lnTo>
                  <a:lnTo>
                    <a:pt x="330" y="56"/>
                  </a:lnTo>
                  <a:lnTo>
                    <a:pt x="328" y="56"/>
                  </a:lnTo>
                  <a:lnTo>
                    <a:pt x="328" y="56"/>
                  </a:lnTo>
                  <a:lnTo>
                    <a:pt x="326" y="56"/>
                  </a:lnTo>
                  <a:lnTo>
                    <a:pt x="324" y="54"/>
                  </a:lnTo>
                  <a:lnTo>
                    <a:pt x="324" y="54"/>
                  </a:lnTo>
                  <a:lnTo>
                    <a:pt x="324" y="54"/>
                  </a:lnTo>
                  <a:lnTo>
                    <a:pt x="324" y="54"/>
                  </a:lnTo>
                  <a:lnTo>
                    <a:pt x="322" y="54"/>
                  </a:lnTo>
                  <a:lnTo>
                    <a:pt x="322" y="56"/>
                  </a:lnTo>
                  <a:lnTo>
                    <a:pt x="322" y="56"/>
                  </a:lnTo>
                  <a:lnTo>
                    <a:pt x="318" y="58"/>
                  </a:lnTo>
                  <a:lnTo>
                    <a:pt x="318" y="58"/>
                  </a:lnTo>
                  <a:lnTo>
                    <a:pt x="318" y="58"/>
                  </a:lnTo>
                  <a:lnTo>
                    <a:pt x="316" y="58"/>
                  </a:lnTo>
                  <a:lnTo>
                    <a:pt x="316" y="58"/>
                  </a:lnTo>
                  <a:lnTo>
                    <a:pt x="314" y="56"/>
                  </a:lnTo>
                  <a:lnTo>
                    <a:pt x="312" y="56"/>
                  </a:lnTo>
                  <a:lnTo>
                    <a:pt x="312" y="56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08" y="52"/>
                  </a:lnTo>
                  <a:lnTo>
                    <a:pt x="308" y="52"/>
                  </a:lnTo>
                  <a:lnTo>
                    <a:pt x="306" y="52"/>
                  </a:lnTo>
                  <a:lnTo>
                    <a:pt x="306" y="52"/>
                  </a:lnTo>
                  <a:lnTo>
                    <a:pt x="306" y="52"/>
                  </a:lnTo>
                  <a:lnTo>
                    <a:pt x="306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2" y="50"/>
                  </a:lnTo>
                  <a:lnTo>
                    <a:pt x="302" y="50"/>
                  </a:lnTo>
                  <a:lnTo>
                    <a:pt x="302" y="50"/>
                  </a:lnTo>
                  <a:lnTo>
                    <a:pt x="300" y="52"/>
                  </a:lnTo>
                  <a:lnTo>
                    <a:pt x="300" y="52"/>
                  </a:lnTo>
                  <a:lnTo>
                    <a:pt x="298" y="52"/>
                  </a:lnTo>
                  <a:lnTo>
                    <a:pt x="293" y="52"/>
                  </a:lnTo>
                  <a:lnTo>
                    <a:pt x="291" y="54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7" y="52"/>
                  </a:lnTo>
                  <a:lnTo>
                    <a:pt x="287" y="54"/>
                  </a:lnTo>
                  <a:lnTo>
                    <a:pt x="287" y="54"/>
                  </a:lnTo>
                  <a:lnTo>
                    <a:pt x="287" y="54"/>
                  </a:lnTo>
                  <a:lnTo>
                    <a:pt x="285" y="54"/>
                  </a:lnTo>
                  <a:lnTo>
                    <a:pt x="285" y="56"/>
                  </a:lnTo>
                  <a:lnTo>
                    <a:pt x="287" y="56"/>
                  </a:lnTo>
                  <a:lnTo>
                    <a:pt x="287" y="58"/>
                  </a:lnTo>
                  <a:lnTo>
                    <a:pt x="289" y="58"/>
                  </a:lnTo>
                  <a:lnTo>
                    <a:pt x="289" y="60"/>
                  </a:lnTo>
                  <a:lnTo>
                    <a:pt x="289" y="60"/>
                  </a:lnTo>
                  <a:lnTo>
                    <a:pt x="289" y="62"/>
                  </a:lnTo>
                  <a:lnTo>
                    <a:pt x="289" y="62"/>
                  </a:lnTo>
                  <a:lnTo>
                    <a:pt x="287" y="64"/>
                  </a:lnTo>
                  <a:lnTo>
                    <a:pt x="283" y="62"/>
                  </a:lnTo>
                  <a:lnTo>
                    <a:pt x="281" y="62"/>
                  </a:lnTo>
                  <a:lnTo>
                    <a:pt x="281" y="62"/>
                  </a:lnTo>
                  <a:lnTo>
                    <a:pt x="279" y="62"/>
                  </a:lnTo>
                  <a:lnTo>
                    <a:pt x="279" y="62"/>
                  </a:lnTo>
                  <a:lnTo>
                    <a:pt x="279" y="62"/>
                  </a:lnTo>
                  <a:lnTo>
                    <a:pt x="277" y="62"/>
                  </a:lnTo>
                  <a:lnTo>
                    <a:pt x="277" y="62"/>
                  </a:lnTo>
                  <a:lnTo>
                    <a:pt x="275" y="62"/>
                  </a:lnTo>
                  <a:lnTo>
                    <a:pt x="275" y="62"/>
                  </a:lnTo>
                  <a:lnTo>
                    <a:pt x="273" y="62"/>
                  </a:lnTo>
                  <a:lnTo>
                    <a:pt x="271" y="62"/>
                  </a:lnTo>
                  <a:lnTo>
                    <a:pt x="271" y="62"/>
                  </a:lnTo>
                  <a:lnTo>
                    <a:pt x="271" y="60"/>
                  </a:lnTo>
                  <a:lnTo>
                    <a:pt x="269" y="60"/>
                  </a:lnTo>
                  <a:lnTo>
                    <a:pt x="269" y="60"/>
                  </a:lnTo>
                  <a:lnTo>
                    <a:pt x="267" y="62"/>
                  </a:lnTo>
                  <a:lnTo>
                    <a:pt x="267" y="60"/>
                  </a:lnTo>
                  <a:lnTo>
                    <a:pt x="267" y="62"/>
                  </a:lnTo>
                  <a:lnTo>
                    <a:pt x="265" y="62"/>
                  </a:lnTo>
                  <a:lnTo>
                    <a:pt x="263" y="64"/>
                  </a:lnTo>
                  <a:lnTo>
                    <a:pt x="263" y="66"/>
                  </a:lnTo>
                  <a:lnTo>
                    <a:pt x="263" y="66"/>
                  </a:lnTo>
                  <a:lnTo>
                    <a:pt x="261" y="66"/>
                  </a:lnTo>
                  <a:lnTo>
                    <a:pt x="259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8"/>
                  </a:lnTo>
                  <a:lnTo>
                    <a:pt x="254" y="68"/>
                  </a:lnTo>
                  <a:lnTo>
                    <a:pt x="254" y="68"/>
                  </a:lnTo>
                  <a:lnTo>
                    <a:pt x="254" y="70"/>
                  </a:lnTo>
                  <a:lnTo>
                    <a:pt x="252" y="68"/>
                  </a:lnTo>
                  <a:lnTo>
                    <a:pt x="252" y="68"/>
                  </a:lnTo>
                  <a:lnTo>
                    <a:pt x="252" y="68"/>
                  </a:lnTo>
                  <a:lnTo>
                    <a:pt x="250" y="68"/>
                  </a:lnTo>
                  <a:lnTo>
                    <a:pt x="250" y="68"/>
                  </a:lnTo>
                  <a:lnTo>
                    <a:pt x="250" y="68"/>
                  </a:lnTo>
                  <a:lnTo>
                    <a:pt x="250" y="68"/>
                  </a:lnTo>
                  <a:lnTo>
                    <a:pt x="248" y="68"/>
                  </a:lnTo>
                  <a:lnTo>
                    <a:pt x="248" y="70"/>
                  </a:lnTo>
                  <a:lnTo>
                    <a:pt x="248" y="70"/>
                  </a:lnTo>
                  <a:lnTo>
                    <a:pt x="246" y="70"/>
                  </a:lnTo>
                  <a:lnTo>
                    <a:pt x="248" y="72"/>
                  </a:lnTo>
                  <a:lnTo>
                    <a:pt x="248" y="72"/>
                  </a:lnTo>
                  <a:lnTo>
                    <a:pt x="246" y="74"/>
                  </a:lnTo>
                  <a:lnTo>
                    <a:pt x="246" y="74"/>
                  </a:lnTo>
                  <a:lnTo>
                    <a:pt x="244" y="74"/>
                  </a:lnTo>
                  <a:lnTo>
                    <a:pt x="244" y="74"/>
                  </a:lnTo>
                  <a:lnTo>
                    <a:pt x="242" y="74"/>
                  </a:lnTo>
                  <a:lnTo>
                    <a:pt x="242" y="74"/>
                  </a:lnTo>
                  <a:lnTo>
                    <a:pt x="242" y="74"/>
                  </a:lnTo>
                  <a:lnTo>
                    <a:pt x="240" y="74"/>
                  </a:lnTo>
                  <a:lnTo>
                    <a:pt x="240" y="72"/>
                  </a:lnTo>
                  <a:lnTo>
                    <a:pt x="238" y="72"/>
                  </a:lnTo>
                  <a:lnTo>
                    <a:pt x="236" y="72"/>
                  </a:lnTo>
                  <a:lnTo>
                    <a:pt x="234" y="70"/>
                  </a:lnTo>
                  <a:lnTo>
                    <a:pt x="234" y="70"/>
                  </a:lnTo>
                  <a:lnTo>
                    <a:pt x="234" y="68"/>
                  </a:lnTo>
                  <a:lnTo>
                    <a:pt x="232" y="66"/>
                  </a:lnTo>
                  <a:lnTo>
                    <a:pt x="230" y="66"/>
                  </a:lnTo>
                  <a:lnTo>
                    <a:pt x="230" y="66"/>
                  </a:lnTo>
                  <a:lnTo>
                    <a:pt x="228" y="64"/>
                  </a:lnTo>
                  <a:lnTo>
                    <a:pt x="228" y="64"/>
                  </a:lnTo>
                  <a:lnTo>
                    <a:pt x="228" y="64"/>
                  </a:lnTo>
                  <a:lnTo>
                    <a:pt x="228" y="62"/>
                  </a:lnTo>
                  <a:lnTo>
                    <a:pt x="228" y="62"/>
                  </a:lnTo>
                  <a:lnTo>
                    <a:pt x="228" y="62"/>
                  </a:lnTo>
                  <a:lnTo>
                    <a:pt x="228" y="62"/>
                  </a:lnTo>
                  <a:lnTo>
                    <a:pt x="228" y="58"/>
                  </a:lnTo>
                  <a:lnTo>
                    <a:pt x="228" y="56"/>
                  </a:lnTo>
                  <a:lnTo>
                    <a:pt x="226" y="54"/>
                  </a:lnTo>
                  <a:lnTo>
                    <a:pt x="226" y="54"/>
                  </a:lnTo>
                  <a:lnTo>
                    <a:pt x="224" y="50"/>
                  </a:lnTo>
                  <a:lnTo>
                    <a:pt x="224" y="48"/>
                  </a:lnTo>
                  <a:lnTo>
                    <a:pt x="224" y="46"/>
                  </a:lnTo>
                  <a:lnTo>
                    <a:pt x="224" y="42"/>
                  </a:lnTo>
                  <a:lnTo>
                    <a:pt x="224" y="39"/>
                  </a:lnTo>
                  <a:lnTo>
                    <a:pt x="226" y="37"/>
                  </a:lnTo>
                  <a:lnTo>
                    <a:pt x="226" y="35"/>
                  </a:lnTo>
                  <a:lnTo>
                    <a:pt x="226" y="35"/>
                  </a:lnTo>
                  <a:lnTo>
                    <a:pt x="226" y="33"/>
                  </a:lnTo>
                  <a:lnTo>
                    <a:pt x="226" y="31"/>
                  </a:lnTo>
                  <a:lnTo>
                    <a:pt x="228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7"/>
                  </a:lnTo>
                  <a:lnTo>
                    <a:pt x="230" y="25"/>
                  </a:lnTo>
                  <a:lnTo>
                    <a:pt x="232" y="25"/>
                  </a:lnTo>
                  <a:lnTo>
                    <a:pt x="232" y="25"/>
                  </a:lnTo>
                  <a:lnTo>
                    <a:pt x="230" y="25"/>
                  </a:lnTo>
                  <a:lnTo>
                    <a:pt x="230" y="23"/>
                  </a:lnTo>
                  <a:lnTo>
                    <a:pt x="230" y="21"/>
                  </a:lnTo>
                  <a:lnTo>
                    <a:pt x="228" y="21"/>
                  </a:lnTo>
                  <a:lnTo>
                    <a:pt x="228" y="19"/>
                  </a:lnTo>
                  <a:lnTo>
                    <a:pt x="228" y="19"/>
                  </a:lnTo>
                  <a:lnTo>
                    <a:pt x="230" y="17"/>
                  </a:lnTo>
                  <a:lnTo>
                    <a:pt x="230" y="17"/>
                  </a:lnTo>
                  <a:lnTo>
                    <a:pt x="228" y="17"/>
                  </a:lnTo>
                  <a:lnTo>
                    <a:pt x="228" y="15"/>
                  </a:lnTo>
                  <a:lnTo>
                    <a:pt x="226" y="15"/>
                  </a:lnTo>
                  <a:lnTo>
                    <a:pt x="226" y="15"/>
                  </a:lnTo>
                  <a:lnTo>
                    <a:pt x="224" y="15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22" y="13"/>
                  </a:lnTo>
                  <a:lnTo>
                    <a:pt x="222" y="13"/>
                  </a:lnTo>
                  <a:lnTo>
                    <a:pt x="224" y="11"/>
                  </a:lnTo>
                  <a:lnTo>
                    <a:pt x="224" y="11"/>
                  </a:lnTo>
                  <a:lnTo>
                    <a:pt x="224" y="9"/>
                  </a:lnTo>
                  <a:lnTo>
                    <a:pt x="224" y="7"/>
                  </a:lnTo>
                  <a:lnTo>
                    <a:pt x="224" y="5"/>
                  </a:lnTo>
                  <a:lnTo>
                    <a:pt x="224" y="5"/>
                  </a:lnTo>
                  <a:lnTo>
                    <a:pt x="224" y="2"/>
                  </a:lnTo>
                  <a:lnTo>
                    <a:pt x="224" y="2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19" y="2"/>
                  </a:lnTo>
                  <a:lnTo>
                    <a:pt x="217" y="2"/>
                  </a:lnTo>
                  <a:lnTo>
                    <a:pt x="217" y="2"/>
                  </a:lnTo>
                  <a:lnTo>
                    <a:pt x="215" y="2"/>
                  </a:lnTo>
                  <a:lnTo>
                    <a:pt x="213" y="0"/>
                  </a:lnTo>
                  <a:lnTo>
                    <a:pt x="213" y="2"/>
                  </a:lnTo>
                  <a:lnTo>
                    <a:pt x="213" y="2"/>
                  </a:lnTo>
                  <a:lnTo>
                    <a:pt x="213" y="2"/>
                  </a:lnTo>
                  <a:lnTo>
                    <a:pt x="213" y="5"/>
                  </a:lnTo>
                  <a:lnTo>
                    <a:pt x="215" y="5"/>
                  </a:lnTo>
                  <a:lnTo>
                    <a:pt x="215" y="7"/>
                  </a:lnTo>
                  <a:lnTo>
                    <a:pt x="213" y="7"/>
                  </a:lnTo>
                  <a:lnTo>
                    <a:pt x="213" y="9"/>
                  </a:lnTo>
                  <a:lnTo>
                    <a:pt x="211" y="9"/>
                  </a:lnTo>
                  <a:lnTo>
                    <a:pt x="211" y="11"/>
                  </a:lnTo>
                  <a:lnTo>
                    <a:pt x="209" y="11"/>
                  </a:lnTo>
                  <a:lnTo>
                    <a:pt x="209" y="13"/>
                  </a:lnTo>
                  <a:lnTo>
                    <a:pt x="207" y="15"/>
                  </a:lnTo>
                  <a:lnTo>
                    <a:pt x="207" y="15"/>
                  </a:lnTo>
                  <a:lnTo>
                    <a:pt x="207" y="15"/>
                  </a:lnTo>
                  <a:lnTo>
                    <a:pt x="205" y="15"/>
                  </a:lnTo>
                  <a:lnTo>
                    <a:pt x="203" y="15"/>
                  </a:lnTo>
                  <a:lnTo>
                    <a:pt x="201" y="15"/>
                  </a:lnTo>
                  <a:lnTo>
                    <a:pt x="201" y="17"/>
                  </a:lnTo>
                  <a:lnTo>
                    <a:pt x="199" y="19"/>
                  </a:lnTo>
                  <a:lnTo>
                    <a:pt x="195" y="21"/>
                  </a:lnTo>
                  <a:lnTo>
                    <a:pt x="191" y="21"/>
                  </a:lnTo>
                  <a:lnTo>
                    <a:pt x="189" y="21"/>
                  </a:lnTo>
                  <a:lnTo>
                    <a:pt x="185" y="21"/>
                  </a:lnTo>
                  <a:lnTo>
                    <a:pt x="185" y="21"/>
                  </a:lnTo>
                  <a:lnTo>
                    <a:pt x="183" y="23"/>
                  </a:lnTo>
                  <a:lnTo>
                    <a:pt x="183" y="23"/>
                  </a:lnTo>
                  <a:lnTo>
                    <a:pt x="180" y="23"/>
                  </a:lnTo>
                  <a:lnTo>
                    <a:pt x="180" y="23"/>
                  </a:lnTo>
                  <a:lnTo>
                    <a:pt x="180" y="25"/>
                  </a:lnTo>
                  <a:lnTo>
                    <a:pt x="178" y="29"/>
                  </a:lnTo>
                  <a:lnTo>
                    <a:pt x="178" y="31"/>
                  </a:lnTo>
                  <a:lnTo>
                    <a:pt x="176" y="31"/>
                  </a:lnTo>
                  <a:lnTo>
                    <a:pt x="174" y="29"/>
                  </a:lnTo>
                  <a:lnTo>
                    <a:pt x="172" y="27"/>
                  </a:lnTo>
                  <a:lnTo>
                    <a:pt x="170" y="25"/>
                  </a:lnTo>
                  <a:lnTo>
                    <a:pt x="170" y="25"/>
                  </a:lnTo>
                  <a:lnTo>
                    <a:pt x="168" y="25"/>
                  </a:lnTo>
                  <a:lnTo>
                    <a:pt x="166" y="25"/>
                  </a:lnTo>
                  <a:lnTo>
                    <a:pt x="166" y="25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0" y="25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58" y="23"/>
                  </a:lnTo>
                  <a:lnTo>
                    <a:pt x="156" y="21"/>
                  </a:lnTo>
                  <a:lnTo>
                    <a:pt x="156" y="21"/>
                  </a:lnTo>
                  <a:lnTo>
                    <a:pt x="156" y="21"/>
                  </a:lnTo>
                  <a:lnTo>
                    <a:pt x="150" y="21"/>
                  </a:lnTo>
                  <a:lnTo>
                    <a:pt x="150" y="21"/>
                  </a:lnTo>
                  <a:lnTo>
                    <a:pt x="150" y="21"/>
                  </a:lnTo>
                  <a:lnTo>
                    <a:pt x="148" y="19"/>
                  </a:lnTo>
                  <a:lnTo>
                    <a:pt x="148" y="19"/>
                  </a:lnTo>
                  <a:lnTo>
                    <a:pt x="146" y="19"/>
                  </a:lnTo>
                  <a:lnTo>
                    <a:pt x="146" y="19"/>
                  </a:lnTo>
                  <a:lnTo>
                    <a:pt x="148" y="23"/>
                  </a:lnTo>
                  <a:lnTo>
                    <a:pt x="148" y="23"/>
                  </a:lnTo>
                  <a:lnTo>
                    <a:pt x="150" y="25"/>
                  </a:lnTo>
                  <a:lnTo>
                    <a:pt x="154" y="29"/>
                  </a:lnTo>
                  <a:lnTo>
                    <a:pt x="156" y="31"/>
                  </a:lnTo>
                  <a:lnTo>
                    <a:pt x="156" y="33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42"/>
                  </a:lnTo>
                  <a:lnTo>
                    <a:pt x="158" y="46"/>
                  </a:lnTo>
                  <a:lnTo>
                    <a:pt x="158" y="48"/>
                  </a:lnTo>
                  <a:lnTo>
                    <a:pt x="158" y="50"/>
                  </a:lnTo>
                  <a:lnTo>
                    <a:pt x="158" y="50"/>
                  </a:lnTo>
                  <a:lnTo>
                    <a:pt x="158" y="52"/>
                  </a:lnTo>
                  <a:lnTo>
                    <a:pt x="158" y="52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68" y="54"/>
                  </a:lnTo>
                  <a:lnTo>
                    <a:pt x="168" y="56"/>
                  </a:lnTo>
                  <a:lnTo>
                    <a:pt x="168" y="58"/>
                  </a:lnTo>
                  <a:lnTo>
                    <a:pt x="166" y="58"/>
                  </a:lnTo>
                  <a:lnTo>
                    <a:pt x="166" y="58"/>
                  </a:lnTo>
                  <a:lnTo>
                    <a:pt x="164" y="60"/>
                  </a:lnTo>
                  <a:lnTo>
                    <a:pt x="160" y="60"/>
                  </a:lnTo>
                  <a:lnTo>
                    <a:pt x="160" y="60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8" y="64"/>
                  </a:lnTo>
                  <a:lnTo>
                    <a:pt x="156" y="68"/>
                  </a:lnTo>
                  <a:lnTo>
                    <a:pt x="156" y="68"/>
                  </a:lnTo>
                  <a:lnTo>
                    <a:pt x="154" y="70"/>
                  </a:lnTo>
                  <a:lnTo>
                    <a:pt x="152" y="70"/>
                  </a:lnTo>
                  <a:lnTo>
                    <a:pt x="150" y="70"/>
                  </a:lnTo>
                  <a:lnTo>
                    <a:pt x="150" y="70"/>
                  </a:lnTo>
                  <a:lnTo>
                    <a:pt x="150" y="72"/>
                  </a:lnTo>
                  <a:lnTo>
                    <a:pt x="148" y="72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4" y="74"/>
                  </a:lnTo>
                  <a:lnTo>
                    <a:pt x="141" y="76"/>
                  </a:lnTo>
                  <a:lnTo>
                    <a:pt x="139" y="76"/>
                  </a:lnTo>
                  <a:lnTo>
                    <a:pt x="139" y="79"/>
                  </a:lnTo>
                  <a:lnTo>
                    <a:pt x="137" y="81"/>
                  </a:lnTo>
                  <a:lnTo>
                    <a:pt x="135" y="81"/>
                  </a:lnTo>
                  <a:lnTo>
                    <a:pt x="135" y="83"/>
                  </a:lnTo>
                  <a:lnTo>
                    <a:pt x="133" y="85"/>
                  </a:lnTo>
                  <a:lnTo>
                    <a:pt x="133" y="85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1"/>
                  </a:lnTo>
                  <a:lnTo>
                    <a:pt x="131" y="79"/>
                  </a:lnTo>
                  <a:lnTo>
                    <a:pt x="131" y="79"/>
                  </a:lnTo>
                  <a:lnTo>
                    <a:pt x="131" y="79"/>
                  </a:lnTo>
                  <a:lnTo>
                    <a:pt x="129" y="81"/>
                  </a:lnTo>
                  <a:lnTo>
                    <a:pt x="127" y="81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3" y="83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19" y="83"/>
                  </a:lnTo>
                  <a:lnTo>
                    <a:pt x="115" y="79"/>
                  </a:lnTo>
                  <a:lnTo>
                    <a:pt x="111" y="74"/>
                  </a:lnTo>
                  <a:lnTo>
                    <a:pt x="109" y="76"/>
                  </a:lnTo>
                  <a:lnTo>
                    <a:pt x="109" y="74"/>
                  </a:lnTo>
                  <a:lnTo>
                    <a:pt x="109" y="74"/>
                  </a:lnTo>
                  <a:lnTo>
                    <a:pt x="109" y="72"/>
                  </a:lnTo>
                  <a:lnTo>
                    <a:pt x="109" y="68"/>
                  </a:lnTo>
                  <a:lnTo>
                    <a:pt x="109" y="66"/>
                  </a:lnTo>
                  <a:lnTo>
                    <a:pt x="107" y="64"/>
                  </a:lnTo>
                  <a:lnTo>
                    <a:pt x="105" y="60"/>
                  </a:lnTo>
                  <a:lnTo>
                    <a:pt x="105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98" y="62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2" y="64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0" y="60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86" y="66"/>
                  </a:lnTo>
                  <a:lnTo>
                    <a:pt x="82" y="66"/>
                  </a:lnTo>
                  <a:lnTo>
                    <a:pt x="78" y="66"/>
                  </a:lnTo>
                  <a:lnTo>
                    <a:pt x="76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0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6"/>
                  </a:lnTo>
                  <a:lnTo>
                    <a:pt x="66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8"/>
                  </a:lnTo>
                  <a:lnTo>
                    <a:pt x="63" y="72"/>
                  </a:lnTo>
                  <a:lnTo>
                    <a:pt x="63" y="79"/>
                  </a:lnTo>
                  <a:lnTo>
                    <a:pt x="63" y="76"/>
                  </a:lnTo>
                  <a:lnTo>
                    <a:pt x="66" y="76"/>
                  </a:lnTo>
                  <a:lnTo>
                    <a:pt x="66" y="79"/>
                  </a:lnTo>
                  <a:lnTo>
                    <a:pt x="68" y="76"/>
                  </a:lnTo>
                  <a:lnTo>
                    <a:pt x="68" y="79"/>
                  </a:lnTo>
                  <a:lnTo>
                    <a:pt x="70" y="79"/>
                  </a:lnTo>
                  <a:lnTo>
                    <a:pt x="70" y="79"/>
                  </a:lnTo>
                  <a:lnTo>
                    <a:pt x="70" y="79"/>
                  </a:lnTo>
                  <a:lnTo>
                    <a:pt x="70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6" y="85"/>
                  </a:lnTo>
                  <a:lnTo>
                    <a:pt x="66" y="85"/>
                  </a:lnTo>
                  <a:lnTo>
                    <a:pt x="63" y="87"/>
                  </a:lnTo>
                  <a:lnTo>
                    <a:pt x="63" y="87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59" y="93"/>
                  </a:lnTo>
                  <a:lnTo>
                    <a:pt x="59" y="97"/>
                  </a:lnTo>
                  <a:lnTo>
                    <a:pt x="59" y="99"/>
                  </a:lnTo>
                  <a:lnTo>
                    <a:pt x="59" y="101"/>
                  </a:lnTo>
                  <a:lnTo>
                    <a:pt x="61" y="103"/>
                  </a:lnTo>
                  <a:lnTo>
                    <a:pt x="63" y="103"/>
                  </a:lnTo>
                  <a:lnTo>
                    <a:pt x="66" y="105"/>
                  </a:lnTo>
                  <a:lnTo>
                    <a:pt x="66" y="105"/>
                  </a:lnTo>
                  <a:lnTo>
                    <a:pt x="68" y="107"/>
                  </a:lnTo>
                  <a:lnTo>
                    <a:pt x="68" y="107"/>
                  </a:lnTo>
                  <a:lnTo>
                    <a:pt x="68" y="107"/>
                  </a:lnTo>
                  <a:lnTo>
                    <a:pt x="68" y="109"/>
                  </a:lnTo>
                  <a:lnTo>
                    <a:pt x="68" y="109"/>
                  </a:lnTo>
                  <a:lnTo>
                    <a:pt x="68" y="109"/>
                  </a:lnTo>
                  <a:lnTo>
                    <a:pt x="68" y="111"/>
                  </a:lnTo>
                  <a:lnTo>
                    <a:pt x="68" y="111"/>
                  </a:lnTo>
                  <a:lnTo>
                    <a:pt x="68" y="113"/>
                  </a:lnTo>
                  <a:lnTo>
                    <a:pt x="68" y="113"/>
                  </a:lnTo>
                  <a:lnTo>
                    <a:pt x="68" y="113"/>
                  </a:lnTo>
                  <a:lnTo>
                    <a:pt x="70" y="113"/>
                  </a:lnTo>
                  <a:lnTo>
                    <a:pt x="70" y="116"/>
                  </a:lnTo>
                  <a:lnTo>
                    <a:pt x="70" y="116"/>
                  </a:lnTo>
                  <a:lnTo>
                    <a:pt x="70" y="116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72" y="120"/>
                  </a:lnTo>
                  <a:lnTo>
                    <a:pt x="70" y="120"/>
                  </a:lnTo>
                  <a:lnTo>
                    <a:pt x="70" y="124"/>
                  </a:lnTo>
                  <a:lnTo>
                    <a:pt x="70" y="128"/>
                  </a:lnTo>
                  <a:lnTo>
                    <a:pt x="70" y="130"/>
                  </a:lnTo>
                  <a:lnTo>
                    <a:pt x="68" y="134"/>
                  </a:lnTo>
                  <a:lnTo>
                    <a:pt x="68" y="140"/>
                  </a:lnTo>
                  <a:lnTo>
                    <a:pt x="68" y="146"/>
                  </a:lnTo>
                  <a:lnTo>
                    <a:pt x="66" y="153"/>
                  </a:lnTo>
                  <a:lnTo>
                    <a:pt x="66" y="159"/>
                  </a:lnTo>
                  <a:lnTo>
                    <a:pt x="63" y="165"/>
                  </a:lnTo>
                  <a:lnTo>
                    <a:pt x="63" y="171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59" y="175"/>
                  </a:lnTo>
                  <a:lnTo>
                    <a:pt x="59" y="175"/>
                  </a:lnTo>
                  <a:lnTo>
                    <a:pt x="59" y="175"/>
                  </a:lnTo>
                  <a:lnTo>
                    <a:pt x="57" y="175"/>
                  </a:lnTo>
                  <a:lnTo>
                    <a:pt x="57" y="173"/>
                  </a:lnTo>
                  <a:lnTo>
                    <a:pt x="55" y="173"/>
                  </a:lnTo>
                  <a:lnTo>
                    <a:pt x="53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49" y="173"/>
                  </a:lnTo>
                  <a:lnTo>
                    <a:pt x="49" y="175"/>
                  </a:lnTo>
                  <a:lnTo>
                    <a:pt x="47" y="175"/>
                  </a:lnTo>
                  <a:lnTo>
                    <a:pt x="47" y="177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1" y="179"/>
                  </a:lnTo>
                  <a:lnTo>
                    <a:pt x="39" y="179"/>
                  </a:lnTo>
                  <a:lnTo>
                    <a:pt x="37" y="179"/>
                  </a:lnTo>
                  <a:lnTo>
                    <a:pt x="35" y="179"/>
                  </a:lnTo>
                  <a:lnTo>
                    <a:pt x="33" y="179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29" y="181"/>
                  </a:lnTo>
                  <a:lnTo>
                    <a:pt x="26" y="183"/>
                  </a:lnTo>
                  <a:lnTo>
                    <a:pt x="24" y="185"/>
                  </a:lnTo>
                  <a:lnTo>
                    <a:pt x="22" y="188"/>
                  </a:lnTo>
                  <a:lnTo>
                    <a:pt x="20" y="190"/>
                  </a:lnTo>
                  <a:lnTo>
                    <a:pt x="18" y="190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6" y="194"/>
                  </a:lnTo>
                  <a:lnTo>
                    <a:pt x="14" y="198"/>
                  </a:lnTo>
                  <a:lnTo>
                    <a:pt x="14" y="200"/>
                  </a:lnTo>
                  <a:lnTo>
                    <a:pt x="14" y="200"/>
                  </a:lnTo>
                  <a:lnTo>
                    <a:pt x="14" y="204"/>
                  </a:lnTo>
                  <a:lnTo>
                    <a:pt x="12" y="206"/>
                  </a:lnTo>
                  <a:lnTo>
                    <a:pt x="12" y="208"/>
                  </a:lnTo>
                  <a:lnTo>
                    <a:pt x="10" y="208"/>
                  </a:lnTo>
                  <a:lnTo>
                    <a:pt x="12" y="210"/>
                  </a:lnTo>
                  <a:lnTo>
                    <a:pt x="12" y="212"/>
                  </a:lnTo>
                  <a:lnTo>
                    <a:pt x="12" y="214"/>
                  </a:lnTo>
                  <a:lnTo>
                    <a:pt x="12" y="214"/>
                  </a:lnTo>
                  <a:lnTo>
                    <a:pt x="12" y="216"/>
                  </a:lnTo>
                  <a:lnTo>
                    <a:pt x="12" y="216"/>
                  </a:lnTo>
                  <a:lnTo>
                    <a:pt x="12" y="218"/>
                  </a:lnTo>
                  <a:lnTo>
                    <a:pt x="10" y="218"/>
                  </a:lnTo>
                  <a:lnTo>
                    <a:pt x="8" y="220"/>
                  </a:lnTo>
                  <a:lnTo>
                    <a:pt x="4" y="222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2" y="227"/>
                  </a:lnTo>
                  <a:lnTo>
                    <a:pt x="2" y="229"/>
                  </a:lnTo>
                  <a:lnTo>
                    <a:pt x="4" y="229"/>
                  </a:lnTo>
                  <a:lnTo>
                    <a:pt x="4" y="231"/>
                  </a:lnTo>
                  <a:lnTo>
                    <a:pt x="4" y="231"/>
                  </a:lnTo>
                  <a:lnTo>
                    <a:pt x="4" y="233"/>
                  </a:lnTo>
                  <a:lnTo>
                    <a:pt x="2" y="233"/>
                  </a:lnTo>
                  <a:lnTo>
                    <a:pt x="2" y="233"/>
                  </a:lnTo>
                  <a:lnTo>
                    <a:pt x="2" y="233"/>
                  </a:lnTo>
                  <a:lnTo>
                    <a:pt x="2" y="233"/>
                  </a:lnTo>
                  <a:lnTo>
                    <a:pt x="0" y="233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5"/>
                  </a:lnTo>
                  <a:lnTo>
                    <a:pt x="0" y="235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2" y="237"/>
                  </a:lnTo>
                  <a:lnTo>
                    <a:pt x="4" y="239"/>
                  </a:lnTo>
                  <a:lnTo>
                    <a:pt x="4" y="239"/>
                  </a:lnTo>
                  <a:lnTo>
                    <a:pt x="4" y="241"/>
                  </a:lnTo>
                  <a:lnTo>
                    <a:pt x="4" y="241"/>
                  </a:lnTo>
                  <a:lnTo>
                    <a:pt x="4" y="241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8" y="249"/>
                  </a:lnTo>
                  <a:lnTo>
                    <a:pt x="8" y="249"/>
                  </a:lnTo>
                  <a:lnTo>
                    <a:pt x="8" y="251"/>
                  </a:lnTo>
                  <a:lnTo>
                    <a:pt x="8" y="251"/>
                  </a:lnTo>
                  <a:lnTo>
                    <a:pt x="10" y="251"/>
                  </a:lnTo>
                  <a:lnTo>
                    <a:pt x="10" y="253"/>
                  </a:lnTo>
                  <a:lnTo>
                    <a:pt x="10" y="253"/>
                  </a:lnTo>
                  <a:lnTo>
                    <a:pt x="12" y="253"/>
                  </a:lnTo>
                  <a:lnTo>
                    <a:pt x="12" y="255"/>
                  </a:lnTo>
                  <a:lnTo>
                    <a:pt x="12" y="255"/>
                  </a:lnTo>
                  <a:lnTo>
                    <a:pt x="14" y="257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8" y="262"/>
                  </a:lnTo>
                  <a:lnTo>
                    <a:pt x="18" y="264"/>
                  </a:lnTo>
                  <a:lnTo>
                    <a:pt x="16" y="268"/>
                  </a:lnTo>
                  <a:lnTo>
                    <a:pt x="14" y="270"/>
                  </a:lnTo>
                  <a:lnTo>
                    <a:pt x="18" y="270"/>
                  </a:lnTo>
                  <a:lnTo>
                    <a:pt x="20" y="270"/>
                  </a:lnTo>
                  <a:lnTo>
                    <a:pt x="24" y="270"/>
                  </a:lnTo>
                  <a:lnTo>
                    <a:pt x="26" y="272"/>
                  </a:lnTo>
                  <a:lnTo>
                    <a:pt x="29" y="272"/>
                  </a:lnTo>
                  <a:lnTo>
                    <a:pt x="29" y="272"/>
                  </a:lnTo>
                  <a:lnTo>
                    <a:pt x="29" y="274"/>
                  </a:lnTo>
                  <a:lnTo>
                    <a:pt x="31" y="276"/>
                  </a:lnTo>
                  <a:lnTo>
                    <a:pt x="31" y="276"/>
                  </a:lnTo>
                  <a:lnTo>
                    <a:pt x="33" y="278"/>
                  </a:lnTo>
                  <a:lnTo>
                    <a:pt x="31" y="280"/>
                  </a:lnTo>
                  <a:lnTo>
                    <a:pt x="33" y="280"/>
                  </a:lnTo>
                  <a:lnTo>
                    <a:pt x="33" y="280"/>
                  </a:lnTo>
                  <a:lnTo>
                    <a:pt x="37" y="280"/>
                  </a:lnTo>
                  <a:lnTo>
                    <a:pt x="41" y="280"/>
                  </a:lnTo>
                  <a:lnTo>
                    <a:pt x="45" y="280"/>
                  </a:lnTo>
                  <a:lnTo>
                    <a:pt x="47" y="280"/>
                  </a:lnTo>
                  <a:lnTo>
                    <a:pt x="49" y="278"/>
                  </a:lnTo>
                  <a:lnTo>
                    <a:pt x="49" y="278"/>
                  </a:lnTo>
                  <a:lnTo>
                    <a:pt x="51" y="276"/>
                  </a:lnTo>
                  <a:lnTo>
                    <a:pt x="53" y="274"/>
                  </a:lnTo>
                  <a:lnTo>
                    <a:pt x="53" y="274"/>
                  </a:lnTo>
                  <a:lnTo>
                    <a:pt x="53" y="272"/>
                  </a:lnTo>
                  <a:lnTo>
                    <a:pt x="55" y="272"/>
                  </a:lnTo>
                  <a:lnTo>
                    <a:pt x="55" y="272"/>
                  </a:lnTo>
                  <a:lnTo>
                    <a:pt x="57" y="272"/>
                  </a:lnTo>
                  <a:lnTo>
                    <a:pt x="57" y="270"/>
                  </a:lnTo>
                  <a:lnTo>
                    <a:pt x="57" y="272"/>
                  </a:lnTo>
                  <a:lnTo>
                    <a:pt x="57" y="272"/>
                  </a:lnTo>
                  <a:lnTo>
                    <a:pt x="57" y="274"/>
                  </a:lnTo>
                  <a:lnTo>
                    <a:pt x="57" y="276"/>
                  </a:lnTo>
                  <a:lnTo>
                    <a:pt x="57" y="276"/>
                  </a:lnTo>
                  <a:lnTo>
                    <a:pt x="57" y="278"/>
                  </a:lnTo>
                  <a:lnTo>
                    <a:pt x="57" y="280"/>
                  </a:lnTo>
                  <a:lnTo>
                    <a:pt x="57" y="284"/>
                  </a:lnTo>
                  <a:lnTo>
                    <a:pt x="57" y="288"/>
                  </a:lnTo>
                  <a:lnTo>
                    <a:pt x="57" y="292"/>
                  </a:lnTo>
                  <a:lnTo>
                    <a:pt x="57" y="296"/>
                  </a:lnTo>
                  <a:lnTo>
                    <a:pt x="57" y="299"/>
                  </a:lnTo>
                  <a:lnTo>
                    <a:pt x="59" y="299"/>
                  </a:lnTo>
                  <a:lnTo>
                    <a:pt x="59" y="299"/>
                  </a:lnTo>
                  <a:lnTo>
                    <a:pt x="61" y="299"/>
                  </a:lnTo>
                  <a:lnTo>
                    <a:pt x="61" y="301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6" y="301"/>
                  </a:lnTo>
                  <a:lnTo>
                    <a:pt x="68" y="299"/>
                  </a:lnTo>
                  <a:lnTo>
                    <a:pt x="68" y="299"/>
                  </a:lnTo>
                  <a:lnTo>
                    <a:pt x="70" y="299"/>
                  </a:lnTo>
                  <a:lnTo>
                    <a:pt x="74" y="299"/>
                  </a:lnTo>
                  <a:lnTo>
                    <a:pt x="74" y="299"/>
                  </a:lnTo>
                  <a:lnTo>
                    <a:pt x="76" y="299"/>
                  </a:lnTo>
                  <a:lnTo>
                    <a:pt x="80" y="299"/>
                  </a:lnTo>
                  <a:lnTo>
                    <a:pt x="84" y="299"/>
                  </a:lnTo>
                  <a:lnTo>
                    <a:pt x="86" y="299"/>
                  </a:lnTo>
                  <a:lnTo>
                    <a:pt x="88" y="301"/>
                  </a:lnTo>
                  <a:lnTo>
                    <a:pt x="88" y="301"/>
                  </a:lnTo>
                  <a:lnTo>
                    <a:pt x="88" y="301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1"/>
                  </a:lnTo>
                  <a:lnTo>
                    <a:pt x="94" y="299"/>
                  </a:lnTo>
                  <a:lnTo>
                    <a:pt x="94" y="299"/>
                  </a:lnTo>
                  <a:lnTo>
                    <a:pt x="96" y="299"/>
                  </a:lnTo>
                  <a:lnTo>
                    <a:pt x="98" y="294"/>
                  </a:lnTo>
                  <a:lnTo>
                    <a:pt x="98" y="294"/>
                  </a:lnTo>
                  <a:lnTo>
                    <a:pt x="100" y="292"/>
                  </a:lnTo>
                  <a:lnTo>
                    <a:pt x="102" y="292"/>
                  </a:lnTo>
                  <a:lnTo>
                    <a:pt x="102" y="292"/>
                  </a:lnTo>
                  <a:lnTo>
                    <a:pt x="105" y="292"/>
                  </a:lnTo>
                  <a:lnTo>
                    <a:pt x="105" y="292"/>
                  </a:lnTo>
                  <a:lnTo>
                    <a:pt x="107" y="290"/>
                  </a:lnTo>
                  <a:lnTo>
                    <a:pt x="109" y="288"/>
                  </a:lnTo>
                  <a:lnTo>
                    <a:pt x="111" y="288"/>
                  </a:lnTo>
                  <a:lnTo>
                    <a:pt x="111" y="286"/>
                  </a:lnTo>
                  <a:lnTo>
                    <a:pt x="113" y="286"/>
                  </a:lnTo>
                  <a:lnTo>
                    <a:pt x="113" y="286"/>
                  </a:lnTo>
                  <a:lnTo>
                    <a:pt x="119" y="280"/>
                  </a:lnTo>
                  <a:lnTo>
                    <a:pt x="121" y="278"/>
                  </a:lnTo>
                  <a:lnTo>
                    <a:pt x="123" y="278"/>
                  </a:lnTo>
                  <a:lnTo>
                    <a:pt x="125" y="278"/>
                  </a:lnTo>
                  <a:lnTo>
                    <a:pt x="127" y="278"/>
                  </a:lnTo>
                  <a:lnTo>
                    <a:pt x="133" y="276"/>
                  </a:lnTo>
                  <a:lnTo>
                    <a:pt x="135" y="276"/>
                  </a:lnTo>
                  <a:lnTo>
                    <a:pt x="137" y="278"/>
                  </a:lnTo>
                  <a:lnTo>
                    <a:pt x="137" y="278"/>
                  </a:lnTo>
                  <a:lnTo>
                    <a:pt x="139" y="276"/>
                  </a:lnTo>
                  <a:lnTo>
                    <a:pt x="139" y="276"/>
                  </a:lnTo>
                  <a:lnTo>
                    <a:pt x="141" y="276"/>
                  </a:lnTo>
                  <a:lnTo>
                    <a:pt x="141" y="276"/>
                  </a:lnTo>
                  <a:lnTo>
                    <a:pt x="141" y="278"/>
                  </a:lnTo>
                  <a:lnTo>
                    <a:pt x="141" y="280"/>
                  </a:lnTo>
                  <a:lnTo>
                    <a:pt x="141" y="282"/>
                  </a:lnTo>
                  <a:lnTo>
                    <a:pt x="144" y="284"/>
                  </a:lnTo>
                  <a:lnTo>
                    <a:pt x="144" y="286"/>
                  </a:lnTo>
                  <a:lnTo>
                    <a:pt x="141" y="288"/>
                  </a:lnTo>
                  <a:lnTo>
                    <a:pt x="141" y="288"/>
                  </a:lnTo>
                  <a:lnTo>
                    <a:pt x="141" y="290"/>
                  </a:lnTo>
                  <a:lnTo>
                    <a:pt x="141" y="292"/>
                  </a:lnTo>
                  <a:lnTo>
                    <a:pt x="141" y="294"/>
                  </a:lnTo>
                  <a:lnTo>
                    <a:pt x="144" y="296"/>
                  </a:lnTo>
                  <a:lnTo>
                    <a:pt x="144" y="299"/>
                  </a:lnTo>
                  <a:lnTo>
                    <a:pt x="144" y="301"/>
                  </a:lnTo>
                  <a:lnTo>
                    <a:pt x="141" y="303"/>
                  </a:lnTo>
                  <a:lnTo>
                    <a:pt x="144" y="303"/>
                  </a:lnTo>
                  <a:lnTo>
                    <a:pt x="144" y="305"/>
                  </a:lnTo>
                  <a:lnTo>
                    <a:pt x="144" y="305"/>
                  </a:lnTo>
                  <a:lnTo>
                    <a:pt x="144" y="305"/>
                  </a:lnTo>
                  <a:lnTo>
                    <a:pt x="144" y="307"/>
                  </a:lnTo>
                  <a:lnTo>
                    <a:pt x="146" y="309"/>
                  </a:lnTo>
                  <a:lnTo>
                    <a:pt x="146" y="309"/>
                  </a:lnTo>
                  <a:lnTo>
                    <a:pt x="146" y="311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8" y="313"/>
                  </a:lnTo>
                  <a:lnTo>
                    <a:pt x="148" y="313"/>
                  </a:lnTo>
                  <a:lnTo>
                    <a:pt x="148" y="313"/>
                  </a:lnTo>
                  <a:lnTo>
                    <a:pt x="148" y="313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7"/>
                  </a:lnTo>
                  <a:lnTo>
                    <a:pt x="152" y="317"/>
                  </a:lnTo>
                  <a:lnTo>
                    <a:pt x="152" y="317"/>
                  </a:lnTo>
                  <a:lnTo>
                    <a:pt x="154" y="319"/>
                  </a:lnTo>
                  <a:lnTo>
                    <a:pt x="156" y="319"/>
                  </a:lnTo>
                  <a:lnTo>
                    <a:pt x="156" y="321"/>
                  </a:lnTo>
                  <a:lnTo>
                    <a:pt x="158" y="321"/>
                  </a:lnTo>
                  <a:lnTo>
                    <a:pt x="158" y="323"/>
                  </a:lnTo>
                  <a:lnTo>
                    <a:pt x="160" y="325"/>
                  </a:lnTo>
                  <a:lnTo>
                    <a:pt x="162" y="325"/>
                  </a:lnTo>
                  <a:lnTo>
                    <a:pt x="166" y="327"/>
                  </a:lnTo>
                  <a:lnTo>
                    <a:pt x="168" y="327"/>
                  </a:lnTo>
                  <a:lnTo>
                    <a:pt x="170" y="325"/>
                  </a:lnTo>
                  <a:lnTo>
                    <a:pt x="172" y="325"/>
                  </a:lnTo>
                  <a:lnTo>
                    <a:pt x="172" y="327"/>
                  </a:lnTo>
                  <a:lnTo>
                    <a:pt x="174" y="327"/>
                  </a:lnTo>
                  <a:lnTo>
                    <a:pt x="174" y="329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80" y="329"/>
                  </a:lnTo>
                  <a:lnTo>
                    <a:pt x="180" y="329"/>
                  </a:lnTo>
                  <a:lnTo>
                    <a:pt x="183" y="329"/>
                  </a:lnTo>
                  <a:lnTo>
                    <a:pt x="183" y="331"/>
                  </a:lnTo>
                  <a:lnTo>
                    <a:pt x="183" y="331"/>
                  </a:lnTo>
                  <a:lnTo>
                    <a:pt x="185" y="333"/>
                  </a:lnTo>
                  <a:lnTo>
                    <a:pt x="187" y="336"/>
                  </a:lnTo>
                  <a:lnTo>
                    <a:pt x="187" y="336"/>
                  </a:lnTo>
                  <a:lnTo>
                    <a:pt x="189" y="336"/>
                  </a:lnTo>
                  <a:lnTo>
                    <a:pt x="191" y="338"/>
                  </a:lnTo>
                  <a:lnTo>
                    <a:pt x="193" y="338"/>
                  </a:lnTo>
                  <a:lnTo>
                    <a:pt x="195" y="338"/>
                  </a:lnTo>
                  <a:lnTo>
                    <a:pt x="197" y="338"/>
                  </a:lnTo>
                  <a:lnTo>
                    <a:pt x="197" y="340"/>
                  </a:lnTo>
                  <a:lnTo>
                    <a:pt x="199" y="340"/>
                  </a:lnTo>
                  <a:lnTo>
                    <a:pt x="201" y="344"/>
                  </a:lnTo>
                  <a:lnTo>
                    <a:pt x="201" y="344"/>
                  </a:lnTo>
                  <a:lnTo>
                    <a:pt x="203" y="346"/>
                  </a:lnTo>
                  <a:lnTo>
                    <a:pt x="207" y="346"/>
                  </a:lnTo>
                  <a:lnTo>
                    <a:pt x="207" y="346"/>
                  </a:lnTo>
                  <a:lnTo>
                    <a:pt x="209" y="346"/>
                  </a:lnTo>
                  <a:lnTo>
                    <a:pt x="213" y="346"/>
                  </a:lnTo>
                  <a:lnTo>
                    <a:pt x="215" y="344"/>
                  </a:lnTo>
                  <a:lnTo>
                    <a:pt x="217" y="346"/>
                  </a:lnTo>
                  <a:lnTo>
                    <a:pt x="222" y="348"/>
                  </a:lnTo>
                  <a:lnTo>
                    <a:pt x="224" y="350"/>
                  </a:lnTo>
                  <a:lnTo>
                    <a:pt x="224" y="350"/>
                  </a:lnTo>
                  <a:lnTo>
                    <a:pt x="226" y="352"/>
                  </a:lnTo>
                  <a:lnTo>
                    <a:pt x="226" y="352"/>
                  </a:lnTo>
                  <a:lnTo>
                    <a:pt x="226" y="354"/>
                  </a:lnTo>
                  <a:lnTo>
                    <a:pt x="226" y="356"/>
                  </a:lnTo>
                  <a:lnTo>
                    <a:pt x="226" y="356"/>
                  </a:lnTo>
                  <a:lnTo>
                    <a:pt x="226" y="358"/>
                  </a:lnTo>
                  <a:lnTo>
                    <a:pt x="226" y="358"/>
                  </a:lnTo>
                  <a:lnTo>
                    <a:pt x="228" y="360"/>
                  </a:lnTo>
                  <a:lnTo>
                    <a:pt x="228" y="362"/>
                  </a:lnTo>
                  <a:lnTo>
                    <a:pt x="228" y="364"/>
                  </a:lnTo>
                  <a:lnTo>
                    <a:pt x="230" y="366"/>
                  </a:lnTo>
                  <a:lnTo>
                    <a:pt x="230" y="375"/>
                  </a:lnTo>
                  <a:lnTo>
                    <a:pt x="228" y="375"/>
                  </a:lnTo>
                  <a:lnTo>
                    <a:pt x="226" y="375"/>
                  </a:lnTo>
                  <a:lnTo>
                    <a:pt x="226" y="375"/>
                  </a:lnTo>
                  <a:lnTo>
                    <a:pt x="228" y="379"/>
                  </a:lnTo>
                  <a:lnTo>
                    <a:pt x="232" y="381"/>
                  </a:lnTo>
                  <a:lnTo>
                    <a:pt x="232" y="387"/>
                  </a:lnTo>
                  <a:lnTo>
                    <a:pt x="232" y="389"/>
                  </a:lnTo>
                  <a:lnTo>
                    <a:pt x="234" y="393"/>
                  </a:lnTo>
                  <a:lnTo>
                    <a:pt x="234" y="395"/>
                  </a:lnTo>
                  <a:lnTo>
                    <a:pt x="240" y="395"/>
                  </a:lnTo>
                  <a:lnTo>
                    <a:pt x="246" y="397"/>
                  </a:lnTo>
                  <a:lnTo>
                    <a:pt x="252" y="397"/>
                  </a:lnTo>
                  <a:lnTo>
                    <a:pt x="261" y="397"/>
                  </a:lnTo>
                  <a:lnTo>
                    <a:pt x="261" y="397"/>
                  </a:lnTo>
                  <a:lnTo>
                    <a:pt x="263" y="397"/>
                  </a:lnTo>
                  <a:lnTo>
                    <a:pt x="263" y="395"/>
                  </a:lnTo>
                  <a:lnTo>
                    <a:pt x="263" y="395"/>
                  </a:lnTo>
                  <a:lnTo>
                    <a:pt x="263" y="397"/>
                  </a:lnTo>
                  <a:lnTo>
                    <a:pt x="263" y="399"/>
                  </a:lnTo>
                  <a:lnTo>
                    <a:pt x="263" y="399"/>
                  </a:lnTo>
                  <a:lnTo>
                    <a:pt x="261" y="403"/>
                  </a:lnTo>
                  <a:lnTo>
                    <a:pt x="261" y="403"/>
                  </a:lnTo>
                  <a:lnTo>
                    <a:pt x="263" y="408"/>
                  </a:lnTo>
                  <a:lnTo>
                    <a:pt x="263" y="412"/>
                  </a:lnTo>
                  <a:lnTo>
                    <a:pt x="265" y="414"/>
                  </a:lnTo>
                  <a:lnTo>
                    <a:pt x="265" y="414"/>
                  </a:lnTo>
                  <a:lnTo>
                    <a:pt x="267" y="416"/>
                  </a:lnTo>
                  <a:lnTo>
                    <a:pt x="271" y="418"/>
                  </a:lnTo>
                  <a:lnTo>
                    <a:pt x="273" y="420"/>
                  </a:lnTo>
                  <a:lnTo>
                    <a:pt x="273" y="418"/>
                  </a:lnTo>
                  <a:lnTo>
                    <a:pt x="275" y="420"/>
                  </a:lnTo>
                  <a:lnTo>
                    <a:pt x="275" y="422"/>
                  </a:lnTo>
                  <a:lnTo>
                    <a:pt x="277" y="426"/>
                  </a:lnTo>
                  <a:lnTo>
                    <a:pt x="279" y="430"/>
                  </a:lnTo>
                  <a:lnTo>
                    <a:pt x="279" y="430"/>
                  </a:lnTo>
                  <a:lnTo>
                    <a:pt x="279" y="432"/>
                  </a:lnTo>
                  <a:lnTo>
                    <a:pt x="279" y="432"/>
                  </a:lnTo>
                  <a:lnTo>
                    <a:pt x="279" y="432"/>
                  </a:lnTo>
                  <a:lnTo>
                    <a:pt x="279" y="432"/>
                  </a:lnTo>
                  <a:lnTo>
                    <a:pt x="277" y="436"/>
                  </a:lnTo>
                  <a:lnTo>
                    <a:pt x="277" y="440"/>
                  </a:lnTo>
                  <a:lnTo>
                    <a:pt x="277" y="445"/>
                  </a:lnTo>
                  <a:lnTo>
                    <a:pt x="277" y="445"/>
                  </a:lnTo>
                  <a:lnTo>
                    <a:pt x="277" y="445"/>
                  </a:lnTo>
                  <a:lnTo>
                    <a:pt x="277" y="447"/>
                  </a:lnTo>
                  <a:lnTo>
                    <a:pt x="277" y="447"/>
                  </a:lnTo>
                  <a:lnTo>
                    <a:pt x="277" y="447"/>
                  </a:lnTo>
                  <a:lnTo>
                    <a:pt x="275" y="451"/>
                  </a:lnTo>
                  <a:lnTo>
                    <a:pt x="275" y="453"/>
                  </a:lnTo>
                  <a:lnTo>
                    <a:pt x="273" y="457"/>
                  </a:lnTo>
                  <a:lnTo>
                    <a:pt x="273" y="459"/>
                  </a:lnTo>
                  <a:lnTo>
                    <a:pt x="275" y="461"/>
                  </a:lnTo>
                  <a:lnTo>
                    <a:pt x="277" y="463"/>
                  </a:lnTo>
                  <a:lnTo>
                    <a:pt x="277" y="465"/>
                  </a:lnTo>
                  <a:lnTo>
                    <a:pt x="275" y="465"/>
                  </a:lnTo>
                  <a:lnTo>
                    <a:pt x="275" y="465"/>
                  </a:lnTo>
                  <a:lnTo>
                    <a:pt x="275" y="467"/>
                  </a:lnTo>
                  <a:lnTo>
                    <a:pt x="273" y="467"/>
                  </a:lnTo>
                  <a:lnTo>
                    <a:pt x="273" y="467"/>
                  </a:lnTo>
                  <a:lnTo>
                    <a:pt x="273" y="469"/>
                  </a:lnTo>
                  <a:lnTo>
                    <a:pt x="273" y="469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5" y="473"/>
                  </a:lnTo>
                  <a:lnTo>
                    <a:pt x="275" y="473"/>
                  </a:lnTo>
                  <a:lnTo>
                    <a:pt x="277" y="475"/>
                  </a:lnTo>
                  <a:lnTo>
                    <a:pt x="277" y="475"/>
                  </a:lnTo>
                  <a:lnTo>
                    <a:pt x="277" y="477"/>
                  </a:lnTo>
                  <a:lnTo>
                    <a:pt x="277" y="477"/>
                  </a:lnTo>
                  <a:lnTo>
                    <a:pt x="279" y="477"/>
                  </a:lnTo>
                  <a:lnTo>
                    <a:pt x="277" y="479"/>
                  </a:lnTo>
                  <a:lnTo>
                    <a:pt x="279" y="479"/>
                  </a:lnTo>
                  <a:lnTo>
                    <a:pt x="279" y="479"/>
                  </a:lnTo>
                  <a:lnTo>
                    <a:pt x="279" y="479"/>
                  </a:lnTo>
                  <a:lnTo>
                    <a:pt x="279" y="482"/>
                  </a:lnTo>
                  <a:lnTo>
                    <a:pt x="279" y="482"/>
                  </a:lnTo>
                  <a:lnTo>
                    <a:pt x="279" y="484"/>
                  </a:lnTo>
                  <a:lnTo>
                    <a:pt x="279" y="486"/>
                  </a:lnTo>
                  <a:lnTo>
                    <a:pt x="279" y="486"/>
                  </a:lnTo>
                  <a:lnTo>
                    <a:pt x="279" y="488"/>
                  </a:lnTo>
                  <a:lnTo>
                    <a:pt x="279" y="488"/>
                  </a:lnTo>
                  <a:lnTo>
                    <a:pt x="279" y="490"/>
                  </a:lnTo>
                  <a:lnTo>
                    <a:pt x="279" y="490"/>
                  </a:lnTo>
                  <a:lnTo>
                    <a:pt x="279" y="492"/>
                  </a:lnTo>
                  <a:lnTo>
                    <a:pt x="279" y="492"/>
                  </a:lnTo>
                  <a:lnTo>
                    <a:pt x="279" y="494"/>
                  </a:lnTo>
                  <a:lnTo>
                    <a:pt x="279" y="494"/>
                  </a:lnTo>
                  <a:lnTo>
                    <a:pt x="279" y="496"/>
                  </a:lnTo>
                  <a:lnTo>
                    <a:pt x="279" y="496"/>
                  </a:lnTo>
                  <a:lnTo>
                    <a:pt x="279" y="498"/>
                  </a:lnTo>
                  <a:lnTo>
                    <a:pt x="279" y="498"/>
                  </a:lnTo>
                  <a:lnTo>
                    <a:pt x="279" y="500"/>
                  </a:lnTo>
                  <a:lnTo>
                    <a:pt x="279" y="500"/>
                  </a:lnTo>
                  <a:lnTo>
                    <a:pt x="279" y="502"/>
                  </a:lnTo>
                  <a:lnTo>
                    <a:pt x="279" y="502"/>
                  </a:lnTo>
                  <a:lnTo>
                    <a:pt x="279" y="502"/>
                  </a:lnTo>
                  <a:lnTo>
                    <a:pt x="281" y="504"/>
                  </a:lnTo>
                  <a:lnTo>
                    <a:pt x="281" y="504"/>
                  </a:lnTo>
                  <a:lnTo>
                    <a:pt x="283" y="502"/>
                  </a:lnTo>
                  <a:lnTo>
                    <a:pt x="283" y="502"/>
                  </a:lnTo>
                  <a:lnTo>
                    <a:pt x="285" y="504"/>
                  </a:lnTo>
                  <a:lnTo>
                    <a:pt x="285" y="504"/>
                  </a:lnTo>
                  <a:lnTo>
                    <a:pt x="287" y="504"/>
                  </a:lnTo>
                  <a:lnTo>
                    <a:pt x="289" y="504"/>
                  </a:lnTo>
                  <a:lnTo>
                    <a:pt x="289" y="504"/>
                  </a:lnTo>
                  <a:lnTo>
                    <a:pt x="291" y="504"/>
                  </a:lnTo>
                  <a:lnTo>
                    <a:pt x="293" y="504"/>
                  </a:lnTo>
                  <a:lnTo>
                    <a:pt x="295" y="506"/>
                  </a:lnTo>
                  <a:lnTo>
                    <a:pt x="295" y="506"/>
                  </a:lnTo>
                  <a:lnTo>
                    <a:pt x="298" y="506"/>
                  </a:lnTo>
                  <a:lnTo>
                    <a:pt x="300" y="506"/>
                  </a:lnTo>
                  <a:lnTo>
                    <a:pt x="300" y="506"/>
                  </a:lnTo>
                  <a:lnTo>
                    <a:pt x="302" y="506"/>
                  </a:lnTo>
                  <a:lnTo>
                    <a:pt x="302" y="504"/>
                  </a:lnTo>
                  <a:lnTo>
                    <a:pt x="302" y="504"/>
                  </a:lnTo>
                  <a:lnTo>
                    <a:pt x="302" y="502"/>
                  </a:lnTo>
                  <a:lnTo>
                    <a:pt x="304" y="502"/>
                  </a:lnTo>
                  <a:lnTo>
                    <a:pt x="304" y="502"/>
                  </a:lnTo>
                  <a:lnTo>
                    <a:pt x="306" y="504"/>
                  </a:lnTo>
                  <a:lnTo>
                    <a:pt x="306" y="504"/>
                  </a:lnTo>
                  <a:lnTo>
                    <a:pt x="308" y="506"/>
                  </a:lnTo>
                  <a:lnTo>
                    <a:pt x="308" y="506"/>
                  </a:lnTo>
                  <a:lnTo>
                    <a:pt x="310" y="506"/>
                  </a:lnTo>
                  <a:lnTo>
                    <a:pt x="312" y="506"/>
                  </a:lnTo>
                  <a:lnTo>
                    <a:pt x="312" y="506"/>
                  </a:lnTo>
                  <a:lnTo>
                    <a:pt x="314" y="506"/>
                  </a:lnTo>
                  <a:lnTo>
                    <a:pt x="314" y="508"/>
                  </a:lnTo>
                  <a:lnTo>
                    <a:pt x="316" y="508"/>
                  </a:lnTo>
                  <a:lnTo>
                    <a:pt x="316" y="510"/>
                  </a:lnTo>
                  <a:lnTo>
                    <a:pt x="316" y="512"/>
                  </a:lnTo>
                  <a:lnTo>
                    <a:pt x="318" y="512"/>
                  </a:lnTo>
                  <a:lnTo>
                    <a:pt x="318" y="512"/>
                  </a:lnTo>
                  <a:lnTo>
                    <a:pt x="318" y="514"/>
                  </a:lnTo>
                  <a:lnTo>
                    <a:pt x="318" y="516"/>
                  </a:lnTo>
                  <a:lnTo>
                    <a:pt x="318" y="516"/>
                  </a:lnTo>
                  <a:lnTo>
                    <a:pt x="318" y="519"/>
                  </a:lnTo>
                  <a:lnTo>
                    <a:pt x="318" y="521"/>
                  </a:lnTo>
                  <a:lnTo>
                    <a:pt x="318" y="521"/>
                  </a:lnTo>
                  <a:lnTo>
                    <a:pt x="320" y="523"/>
                  </a:lnTo>
                  <a:lnTo>
                    <a:pt x="320" y="525"/>
                  </a:lnTo>
                  <a:lnTo>
                    <a:pt x="320" y="525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20" y="529"/>
                  </a:lnTo>
                  <a:lnTo>
                    <a:pt x="320" y="531"/>
                  </a:lnTo>
                  <a:lnTo>
                    <a:pt x="322" y="531"/>
                  </a:lnTo>
                  <a:lnTo>
                    <a:pt x="322" y="533"/>
                  </a:lnTo>
                  <a:lnTo>
                    <a:pt x="322" y="533"/>
                  </a:lnTo>
                  <a:lnTo>
                    <a:pt x="322" y="535"/>
                  </a:lnTo>
                  <a:lnTo>
                    <a:pt x="324" y="537"/>
                  </a:lnTo>
                  <a:lnTo>
                    <a:pt x="324" y="537"/>
                  </a:lnTo>
                  <a:lnTo>
                    <a:pt x="326" y="537"/>
                  </a:lnTo>
                  <a:lnTo>
                    <a:pt x="328" y="537"/>
                  </a:lnTo>
                  <a:lnTo>
                    <a:pt x="328" y="537"/>
                  </a:lnTo>
                  <a:lnTo>
                    <a:pt x="330" y="537"/>
                  </a:lnTo>
                  <a:lnTo>
                    <a:pt x="332" y="537"/>
                  </a:lnTo>
                  <a:lnTo>
                    <a:pt x="332" y="535"/>
                  </a:lnTo>
                  <a:lnTo>
                    <a:pt x="334" y="535"/>
                  </a:lnTo>
                  <a:lnTo>
                    <a:pt x="334" y="535"/>
                  </a:lnTo>
                  <a:lnTo>
                    <a:pt x="337" y="535"/>
                  </a:lnTo>
                  <a:lnTo>
                    <a:pt x="337" y="535"/>
                  </a:lnTo>
                  <a:lnTo>
                    <a:pt x="339" y="535"/>
                  </a:lnTo>
                  <a:lnTo>
                    <a:pt x="341" y="537"/>
                  </a:lnTo>
                  <a:lnTo>
                    <a:pt x="343" y="539"/>
                  </a:lnTo>
                  <a:lnTo>
                    <a:pt x="343" y="539"/>
                  </a:lnTo>
                  <a:lnTo>
                    <a:pt x="341" y="539"/>
                  </a:lnTo>
                  <a:lnTo>
                    <a:pt x="341" y="541"/>
                  </a:lnTo>
                  <a:lnTo>
                    <a:pt x="343" y="543"/>
                  </a:lnTo>
                  <a:lnTo>
                    <a:pt x="343" y="547"/>
                  </a:lnTo>
                  <a:lnTo>
                    <a:pt x="341" y="553"/>
                  </a:lnTo>
                  <a:lnTo>
                    <a:pt x="341" y="558"/>
                  </a:lnTo>
                  <a:lnTo>
                    <a:pt x="343" y="558"/>
                  </a:lnTo>
                  <a:lnTo>
                    <a:pt x="341" y="560"/>
                  </a:lnTo>
                  <a:lnTo>
                    <a:pt x="341" y="564"/>
                  </a:lnTo>
                  <a:lnTo>
                    <a:pt x="341" y="566"/>
                  </a:lnTo>
                  <a:lnTo>
                    <a:pt x="341" y="566"/>
                  </a:lnTo>
                  <a:lnTo>
                    <a:pt x="343" y="568"/>
                  </a:lnTo>
                  <a:lnTo>
                    <a:pt x="343" y="568"/>
                  </a:lnTo>
                  <a:lnTo>
                    <a:pt x="345" y="566"/>
                  </a:lnTo>
                  <a:lnTo>
                    <a:pt x="345" y="566"/>
                  </a:lnTo>
                  <a:lnTo>
                    <a:pt x="347" y="566"/>
                  </a:lnTo>
                  <a:lnTo>
                    <a:pt x="347" y="566"/>
                  </a:lnTo>
                  <a:lnTo>
                    <a:pt x="347" y="566"/>
                  </a:lnTo>
                  <a:lnTo>
                    <a:pt x="347" y="566"/>
                  </a:lnTo>
                  <a:lnTo>
                    <a:pt x="349" y="566"/>
                  </a:lnTo>
                  <a:lnTo>
                    <a:pt x="349" y="566"/>
                  </a:lnTo>
                  <a:lnTo>
                    <a:pt x="351" y="568"/>
                  </a:lnTo>
                  <a:lnTo>
                    <a:pt x="351" y="568"/>
                  </a:lnTo>
                  <a:lnTo>
                    <a:pt x="353" y="570"/>
                  </a:lnTo>
                  <a:lnTo>
                    <a:pt x="353" y="574"/>
                  </a:lnTo>
                  <a:lnTo>
                    <a:pt x="355" y="576"/>
                  </a:lnTo>
                  <a:lnTo>
                    <a:pt x="357" y="578"/>
                  </a:lnTo>
                  <a:lnTo>
                    <a:pt x="357" y="580"/>
                  </a:lnTo>
                  <a:lnTo>
                    <a:pt x="357" y="580"/>
                  </a:lnTo>
                  <a:lnTo>
                    <a:pt x="357" y="582"/>
                  </a:lnTo>
                  <a:lnTo>
                    <a:pt x="357" y="586"/>
                  </a:lnTo>
                  <a:lnTo>
                    <a:pt x="357" y="588"/>
                  </a:lnTo>
                  <a:lnTo>
                    <a:pt x="357" y="588"/>
                  </a:lnTo>
                  <a:lnTo>
                    <a:pt x="357" y="591"/>
                  </a:lnTo>
                  <a:lnTo>
                    <a:pt x="357" y="593"/>
                  </a:lnTo>
                  <a:lnTo>
                    <a:pt x="357" y="595"/>
                  </a:lnTo>
                  <a:lnTo>
                    <a:pt x="355" y="597"/>
                  </a:lnTo>
                  <a:lnTo>
                    <a:pt x="355" y="597"/>
                  </a:lnTo>
                  <a:lnTo>
                    <a:pt x="353" y="597"/>
                  </a:lnTo>
                  <a:lnTo>
                    <a:pt x="353" y="599"/>
                  </a:lnTo>
                  <a:lnTo>
                    <a:pt x="351" y="597"/>
                  </a:lnTo>
                  <a:lnTo>
                    <a:pt x="351" y="599"/>
                  </a:lnTo>
                  <a:lnTo>
                    <a:pt x="351" y="601"/>
                  </a:lnTo>
                  <a:lnTo>
                    <a:pt x="349" y="601"/>
                  </a:lnTo>
                  <a:lnTo>
                    <a:pt x="347" y="601"/>
                  </a:lnTo>
                  <a:lnTo>
                    <a:pt x="347" y="601"/>
                  </a:lnTo>
                  <a:lnTo>
                    <a:pt x="347" y="601"/>
                  </a:lnTo>
                  <a:lnTo>
                    <a:pt x="345" y="601"/>
                  </a:lnTo>
                  <a:lnTo>
                    <a:pt x="345" y="603"/>
                  </a:lnTo>
                  <a:lnTo>
                    <a:pt x="343" y="603"/>
                  </a:lnTo>
                  <a:lnTo>
                    <a:pt x="343" y="603"/>
                  </a:lnTo>
                  <a:lnTo>
                    <a:pt x="343" y="603"/>
                  </a:lnTo>
                  <a:lnTo>
                    <a:pt x="341" y="603"/>
                  </a:lnTo>
                  <a:lnTo>
                    <a:pt x="341" y="605"/>
                  </a:lnTo>
                  <a:lnTo>
                    <a:pt x="341" y="605"/>
                  </a:lnTo>
                  <a:lnTo>
                    <a:pt x="341" y="607"/>
                  </a:lnTo>
                  <a:lnTo>
                    <a:pt x="339" y="607"/>
                  </a:lnTo>
                  <a:lnTo>
                    <a:pt x="339" y="607"/>
                  </a:lnTo>
                  <a:lnTo>
                    <a:pt x="339" y="609"/>
                  </a:lnTo>
                  <a:lnTo>
                    <a:pt x="339" y="609"/>
                  </a:lnTo>
                  <a:lnTo>
                    <a:pt x="337" y="609"/>
                  </a:lnTo>
                  <a:lnTo>
                    <a:pt x="334" y="611"/>
                  </a:lnTo>
                  <a:lnTo>
                    <a:pt x="334" y="611"/>
                  </a:lnTo>
                  <a:lnTo>
                    <a:pt x="332" y="613"/>
                  </a:lnTo>
                  <a:lnTo>
                    <a:pt x="332" y="613"/>
                  </a:lnTo>
                  <a:lnTo>
                    <a:pt x="330" y="615"/>
                  </a:lnTo>
                  <a:lnTo>
                    <a:pt x="330" y="615"/>
                  </a:lnTo>
                  <a:lnTo>
                    <a:pt x="330" y="617"/>
                  </a:lnTo>
                  <a:lnTo>
                    <a:pt x="330" y="617"/>
                  </a:lnTo>
                  <a:lnTo>
                    <a:pt x="330" y="617"/>
                  </a:lnTo>
                  <a:lnTo>
                    <a:pt x="330" y="617"/>
                  </a:lnTo>
                  <a:lnTo>
                    <a:pt x="328" y="617"/>
                  </a:lnTo>
                  <a:lnTo>
                    <a:pt x="328" y="617"/>
                  </a:lnTo>
                  <a:lnTo>
                    <a:pt x="328" y="617"/>
                  </a:lnTo>
                  <a:lnTo>
                    <a:pt x="328" y="619"/>
                  </a:lnTo>
                  <a:lnTo>
                    <a:pt x="328" y="619"/>
                  </a:lnTo>
                  <a:lnTo>
                    <a:pt x="326" y="619"/>
                  </a:lnTo>
                  <a:lnTo>
                    <a:pt x="326" y="619"/>
                  </a:lnTo>
                  <a:lnTo>
                    <a:pt x="326" y="621"/>
                  </a:lnTo>
                  <a:lnTo>
                    <a:pt x="326" y="621"/>
                  </a:lnTo>
                  <a:lnTo>
                    <a:pt x="324" y="623"/>
                  </a:lnTo>
                  <a:lnTo>
                    <a:pt x="324" y="625"/>
                  </a:lnTo>
                  <a:lnTo>
                    <a:pt x="322" y="628"/>
                  </a:lnTo>
                  <a:lnTo>
                    <a:pt x="322" y="630"/>
                  </a:lnTo>
                  <a:lnTo>
                    <a:pt x="320" y="632"/>
                  </a:lnTo>
                  <a:lnTo>
                    <a:pt x="320" y="632"/>
                  </a:lnTo>
                  <a:lnTo>
                    <a:pt x="318" y="634"/>
                  </a:lnTo>
                  <a:lnTo>
                    <a:pt x="318" y="636"/>
                  </a:lnTo>
                  <a:lnTo>
                    <a:pt x="318" y="638"/>
                  </a:lnTo>
                  <a:lnTo>
                    <a:pt x="316" y="640"/>
                  </a:lnTo>
                  <a:lnTo>
                    <a:pt x="314" y="642"/>
                  </a:lnTo>
                  <a:lnTo>
                    <a:pt x="312" y="644"/>
                  </a:lnTo>
                  <a:lnTo>
                    <a:pt x="310" y="646"/>
                  </a:lnTo>
                  <a:lnTo>
                    <a:pt x="310" y="646"/>
                  </a:lnTo>
                  <a:lnTo>
                    <a:pt x="310" y="648"/>
                  </a:lnTo>
                  <a:lnTo>
                    <a:pt x="308" y="650"/>
                  </a:lnTo>
                  <a:lnTo>
                    <a:pt x="306" y="652"/>
                  </a:lnTo>
                  <a:lnTo>
                    <a:pt x="308" y="652"/>
                  </a:lnTo>
                  <a:lnTo>
                    <a:pt x="310" y="652"/>
                  </a:lnTo>
                  <a:lnTo>
                    <a:pt x="314" y="652"/>
                  </a:lnTo>
                  <a:lnTo>
                    <a:pt x="314" y="652"/>
                  </a:lnTo>
                  <a:lnTo>
                    <a:pt x="314" y="650"/>
                  </a:lnTo>
                  <a:lnTo>
                    <a:pt x="316" y="650"/>
                  </a:lnTo>
                  <a:lnTo>
                    <a:pt x="316" y="650"/>
                  </a:lnTo>
                  <a:lnTo>
                    <a:pt x="318" y="650"/>
                  </a:lnTo>
                  <a:lnTo>
                    <a:pt x="320" y="652"/>
                  </a:lnTo>
                  <a:lnTo>
                    <a:pt x="326" y="656"/>
                  </a:lnTo>
                  <a:lnTo>
                    <a:pt x="330" y="658"/>
                  </a:lnTo>
                  <a:lnTo>
                    <a:pt x="332" y="660"/>
                  </a:lnTo>
                  <a:lnTo>
                    <a:pt x="332" y="662"/>
                  </a:lnTo>
                  <a:lnTo>
                    <a:pt x="334" y="662"/>
                  </a:lnTo>
                  <a:lnTo>
                    <a:pt x="334" y="667"/>
                  </a:lnTo>
                  <a:lnTo>
                    <a:pt x="334" y="667"/>
                  </a:lnTo>
                  <a:lnTo>
                    <a:pt x="334" y="667"/>
                  </a:lnTo>
                  <a:lnTo>
                    <a:pt x="334" y="667"/>
                  </a:lnTo>
                  <a:lnTo>
                    <a:pt x="337" y="667"/>
                  </a:lnTo>
                  <a:lnTo>
                    <a:pt x="337" y="667"/>
                  </a:lnTo>
                  <a:lnTo>
                    <a:pt x="339" y="667"/>
                  </a:lnTo>
                  <a:lnTo>
                    <a:pt x="339" y="665"/>
                  </a:lnTo>
                  <a:lnTo>
                    <a:pt x="339" y="665"/>
                  </a:lnTo>
                  <a:lnTo>
                    <a:pt x="339" y="665"/>
                  </a:lnTo>
                  <a:lnTo>
                    <a:pt x="341" y="665"/>
                  </a:lnTo>
                  <a:lnTo>
                    <a:pt x="341" y="662"/>
                  </a:lnTo>
                  <a:lnTo>
                    <a:pt x="341" y="665"/>
                  </a:lnTo>
                  <a:lnTo>
                    <a:pt x="343" y="665"/>
                  </a:lnTo>
                  <a:lnTo>
                    <a:pt x="345" y="667"/>
                  </a:lnTo>
                  <a:lnTo>
                    <a:pt x="345" y="669"/>
                  </a:lnTo>
                  <a:lnTo>
                    <a:pt x="345" y="669"/>
                  </a:lnTo>
                  <a:lnTo>
                    <a:pt x="347" y="669"/>
                  </a:lnTo>
                  <a:lnTo>
                    <a:pt x="347" y="671"/>
                  </a:lnTo>
                  <a:lnTo>
                    <a:pt x="349" y="671"/>
                  </a:lnTo>
                  <a:lnTo>
                    <a:pt x="349" y="673"/>
                  </a:lnTo>
                  <a:lnTo>
                    <a:pt x="351" y="671"/>
                  </a:lnTo>
                  <a:lnTo>
                    <a:pt x="353" y="673"/>
                  </a:lnTo>
                  <a:lnTo>
                    <a:pt x="357" y="675"/>
                  </a:lnTo>
                  <a:lnTo>
                    <a:pt x="359" y="677"/>
                  </a:lnTo>
                  <a:lnTo>
                    <a:pt x="361" y="677"/>
                  </a:lnTo>
                  <a:lnTo>
                    <a:pt x="363" y="679"/>
                  </a:lnTo>
                  <a:lnTo>
                    <a:pt x="365" y="681"/>
                  </a:lnTo>
                  <a:lnTo>
                    <a:pt x="367" y="683"/>
                  </a:lnTo>
                  <a:lnTo>
                    <a:pt x="369" y="683"/>
                  </a:lnTo>
                  <a:lnTo>
                    <a:pt x="369" y="683"/>
                  </a:lnTo>
                  <a:lnTo>
                    <a:pt x="371" y="685"/>
                  </a:lnTo>
                  <a:lnTo>
                    <a:pt x="371" y="685"/>
                  </a:lnTo>
                  <a:lnTo>
                    <a:pt x="373" y="685"/>
                  </a:lnTo>
                  <a:lnTo>
                    <a:pt x="373" y="687"/>
                  </a:lnTo>
                  <a:lnTo>
                    <a:pt x="373" y="687"/>
                  </a:lnTo>
                  <a:lnTo>
                    <a:pt x="376" y="689"/>
                  </a:lnTo>
                  <a:lnTo>
                    <a:pt x="376" y="691"/>
                  </a:lnTo>
                  <a:lnTo>
                    <a:pt x="378" y="693"/>
                  </a:lnTo>
                  <a:lnTo>
                    <a:pt x="382" y="695"/>
                  </a:lnTo>
                  <a:lnTo>
                    <a:pt x="384" y="695"/>
                  </a:lnTo>
                  <a:lnTo>
                    <a:pt x="384" y="697"/>
                  </a:lnTo>
                  <a:lnTo>
                    <a:pt x="386" y="697"/>
                  </a:lnTo>
                  <a:lnTo>
                    <a:pt x="384" y="699"/>
                  </a:lnTo>
                  <a:lnTo>
                    <a:pt x="384" y="702"/>
                  </a:lnTo>
                  <a:lnTo>
                    <a:pt x="382" y="704"/>
                  </a:lnTo>
                  <a:lnTo>
                    <a:pt x="382" y="704"/>
                  </a:lnTo>
                  <a:lnTo>
                    <a:pt x="380" y="706"/>
                  </a:lnTo>
                  <a:lnTo>
                    <a:pt x="380" y="706"/>
                  </a:lnTo>
                  <a:lnTo>
                    <a:pt x="382" y="712"/>
                  </a:lnTo>
                  <a:lnTo>
                    <a:pt x="382" y="714"/>
                  </a:lnTo>
                  <a:lnTo>
                    <a:pt x="382" y="714"/>
                  </a:lnTo>
                  <a:lnTo>
                    <a:pt x="382" y="716"/>
                  </a:lnTo>
                  <a:lnTo>
                    <a:pt x="384" y="716"/>
                  </a:lnTo>
                  <a:lnTo>
                    <a:pt x="384" y="716"/>
                  </a:lnTo>
                  <a:lnTo>
                    <a:pt x="386" y="716"/>
                  </a:lnTo>
                  <a:lnTo>
                    <a:pt x="390" y="710"/>
                  </a:lnTo>
                  <a:lnTo>
                    <a:pt x="392" y="708"/>
                  </a:lnTo>
                  <a:lnTo>
                    <a:pt x="394" y="706"/>
                  </a:lnTo>
                  <a:lnTo>
                    <a:pt x="394" y="699"/>
                  </a:lnTo>
                  <a:lnTo>
                    <a:pt x="396" y="693"/>
                  </a:lnTo>
                  <a:lnTo>
                    <a:pt x="396" y="691"/>
                  </a:lnTo>
                  <a:lnTo>
                    <a:pt x="398" y="689"/>
                  </a:lnTo>
                  <a:lnTo>
                    <a:pt x="398" y="687"/>
                  </a:lnTo>
                  <a:lnTo>
                    <a:pt x="398" y="685"/>
                  </a:lnTo>
                  <a:lnTo>
                    <a:pt x="396" y="683"/>
                  </a:lnTo>
                  <a:lnTo>
                    <a:pt x="396" y="683"/>
                  </a:lnTo>
                  <a:lnTo>
                    <a:pt x="396" y="679"/>
                  </a:lnTo>
                  <a:lnTo>
                    <a:pt x="398" y="677"/>
                  </a:lnTo>
                  <a:lnTo>
                    <a:pt x="398" y="675"/>
                  </a:lnTo>
                  <a:lnTo>
                    <a:pt x="398" y="673"/>
                  </a:lnTo>
                  <a:lnTo>
                    <a:pt x="398" y="673"/>
                  </a:lnTo>
                  <a:lnTo>
                    <a:pt x="402" y="671"/>
                  </a:lnTo>
                  <a:lnTo>
                    <a:pt x="404" y="669"/>
                  </a:lnTo>
                  <a:lnTo>
                    <a:pt x="404" y="667"/>
                  </a:lnTo>
                  <a:lnTo>
                    <a:pt x="404" y="667"/>
                  </a:lnTo>
                  <a:lnTo>
                    <a:pt x="404" y="665"/>
                  </a:lnTo>
                  <a:lnTo>
                    <a:pt x="406" y="662"/>
                  </a:lnTo>
                  <a:lnTo>
                    <a:pt x="404" y="660"/>
                  </a:lnTo>
                  <a:lnTo>
                    <a:pt x="406" y="660"/>
                  </a:lnTo>
                  <a:lnTo>
                    <a:pt x="406" y="662"/>
                  </a:lnTo>
                  <a:lnTo>
                    <a:pt x="406" y="658"/>
                  </a:lnTo>
                  <a:lnTo>
                    <a:pt x="406" y="656"/>
                  </a:lnTo>
                  <a:lnTo>
                    <a:pt x="406" y="656"/>
                  </a:lnTo>
                  <a:lnTo>
                    <a:pt x="408" y="654"/>
                  </a:lnTo>
                  <a:lnTo>
                    <a:pt x="404" y="652"/>
                  </a:lnTo>
                  <a:lnTo>
                    <a:pt x="404" y="650"/>
                  </a:lnTo>
                  <a:lnTo>
                    <a:pt x="404" y="648"/>
                  </a:lnTo>
                  <a:lnTo>
                    <a:pt x="404" y="648"/>
                  </a:lnTo>
                  <a:lnTo>
                    <a:pt x="406" y="650"/>
                  </a:lnTo>
                  <a:lnTo>
                    <a:pt x="406" y="652"/>
                  </a:lnTo>
                  <a:lnTo>
                    <a:pt x="408" y="652"/>
                  </a:lnTo>
                  <a:lnTo>
                    <a:pt x="410" y="654"/>
                  </a:lnTo>
                  <a:lnTo>
                    <a:pt x="410" y="654"/>
                  </a:lnTo>
                  <a:lnTo>
                    <a:pt x="415" y="652"/>
                  </a:lnTo>
                  <a:lnTo>
                    <a:pt x="417" y="652"/>
                  </a:lnTo>
                  <a:lnTo>
                    <a:pt x="417" y="654"/>
                  </a:lnTo>
                  <a:lnTo>
                    <a:pt x="417" y="656"/>
                  </a:lnTo>
                  <a:lnTo>
                    <a:pt x="417" y="656"/>
                  </a:lnTo>
                  <a:lnTo>
                    <a:pt x="415" y="656"/>
                  </a:lnTo>
                  <a:lnTo>
                    <a:pt x="415" y="656"/>
                  </a:lnTo>
                  <a:lnTo>
                    <a:pt x="417" y="660"/>
                  </a:lnTo>
                  <a:lnTo>
                    <a:pt x="415" y="662"/>
                  </a:lnTo>
                  <a:lnTo>
                    <a:pt x="412" y="665"/>
                  </a:lnTo>
                  <a:lnTo>
                    <a:pt x="412" y="667"/>
                  </a:lnTo>
                  <a:lnTo>
                    <a:pt x="412" y="667"/>
                  </a:lnTo>
                  <a:lnTo>
                    <a:pt x="412" y="669"/>
                  </a:lnTo>
                  <a:lnTo>
                    <a:pt x="410" y="667"/>
                  </a:lnTo>
                  <a:lnTo>
                    <a:pt x="410" y="669"/>
                  </a:lnTo>
                  <a:lnTo>
                    <a:pt x="410" y="671"/>
                  </a:lnTo>
                  <a:lnTo>
                    <a:pt x="410" y="673"/>
                  </a:lnTo>
                  <a:lnTo>
                    <a:pt x="408" y="675"/>
                  </a:lnTo>
                  <a:lnTo>
                    <a:pt x="406" y="677"/>
                  </a:lnTo>
                  <a:lnTo>
                    <a:pt x="404" y="681"/>
                  </a:lnTo>
                  <a:lnTo>
                    <a:pt x="402" y="681"/>
                  </a:lnTo>
                  <a:lnTo>
                    <a:pt x="402" y="681"/>
                  </a:lnTo>
                  <a:lnTo>
                    <a:pt x="400" y="681"/>
                  </a:lnTo>
                  <a:lnTo>
                    <a:pt x="400" y="681"/>
                  </a:lnTo>
                  <a:lnTo>
                    <a:pt x="398" y="681"/>
                  </a:lnTo>
                  <a:lnTo>
                    <a:pt x="398" y="683"/>
                  </a:lnTo>
                  <a:lnTo>
                    <a:pt x="398" y="683"/>
                  </a:lnTo>
                  <a:lnTo>
                    <a:pt x="398" y="685"/>
                  </a:lnTo>
                  <a:lnTo>
                    <a:pt x="400" y="687"/>
                  </a:lnTo>
                  <a:lnTo>
                    <a:pt x="400" y="685"/>
                  </a:lnTo>
                  <a:lnTo>
                    <a:pt x="402" y="683"/>
                  </a:lnTo>
                  <a:lnTo>
                    <a:pt x="406" y="679"/>
                  </a:lnTo>
                  <a:lnTo>
                    <a:pt x="410" y="675"/>
                  </a:lnTo>
                  <a:lnTo>
                    <a:pt x="415" y="671"/>
                  </a:lnTo>
                  <a:lnTo>
                    <a:pt x="417" y="667"/>
                  </a:lnTo>
                  <a:lnTo>
                    <a:pt x="417" y="665"/>
                  </a:lnTo>
                  <a:lnTo>
                    <a:pt x="421" y="656"/>
                  </a:lnTo>
                  <a:lnTo>
                    <a:pt x="423" y="644"/>
                  </a:lnTo>
                  <a:lnTo>
                    <a:pt x="427" y="636"/>
                  </a:lnTo>
                  <a:lnTo>
                    <a:pt x="429" y="632"/>
                  </a:lnTo>
                  <a:lnTo>
                    <a:pt x="433" y="628"/>
                  </a:lnTo>
                  <a:lnTo>
                    <a:pt x="435" y="623"/>
                  </a:lnTo>
                  <a:lnTo>
                    <a:pt x="439" y="621"/>
                  </a:lnTo>
                  <a:lnTo>
                    <a:pt x="439" y="619"/>
                  </a:lnTo>
                  <a:lnTo>
                    <a:pt x="439" y="617"/>
                  </a:lnTo>
                  <a:lnTo>
                    <a:pt x="441" y="615"/>
                  </a:lnTo>
                  <a:lnTo>
                    <a:pt x="441" y="613"/>
                  </a:lnTo>
                  <a:lnTo>
                    <a:pt x="439" y="607"/>
                  </a:lnTo>
                  <a:lnTo>
                    <a:pt x="439" y="603"/>
                  </a:lnTo>
                  <a:lnTo>
                    <a:pt x="439" y="599"/>
                  </a:lnTo>
                  <a:lnTo>
                    <a:pt x="439" y="597"/>
                  </a:lnTo>
                  <a:lnTo>
                    <a:pt x="439" y="597"/>
                  </a:lnTo>
                  <a:lnTo>
                    <a:pt x="439" y="595"/>
                  </a:lnTo>
                  <a:lnTo>
                    <a:pt x="439" y="595"/>
                  </a:lnTo>
                  <a:lnTo>
                    <a:pt x="437" y="591"/>
                  </a:lnTo>
                  <a:lnTo>
                    <a:pt x="435" y="586"/>
                  </a:lnTo>
                  <a:lnTo>
                    <a:pt x="435" y="586"/>
                  </a:lnTo>
                  <a:lnTo>
                    <a:pt x="435" y="584"/>
                  </a:lnTo>
                  <a:lnTo>
                    <a:pt x="435" y="582"/>
                  </a:lnTo>
                  <a:lnTo>
                    <a:pt x="435" y="580"/>
                  </a:lnTo>
                  <a:lnTo>
                    <a:pt x="433" y="580"/>
                  </a:lnTo>
                  <a:lnTo>
                    <a:pt x="435" y="578"/>
                  </a:lnTo>
                  <a:lnTo>
                    <a:pt x="435" y="578"/>
                  </a:lnTo>
                  <a:lnTo>
                    <a:pt x="435" y="578"/>
                  </a:lnTo>
                  <a:lnTo>
                    <a:pt x="435" y="574"/>
                  </a:lnTo>
                  <a:lnTo>
                    <a:pt x="435" y="572"/>
                  </a:lnTo>
                  <a:lnTo>
                    <a:pt x="435" y="572"/>
                  </a:lnTo>
                  <a:lnTo>
                    <a:pt x="435" y="572"/>
                  </a:lnTo>
                  <a:lnTo>
                    <a:pt x="437" y="572"/>
                  </a:lnTo>
                  <a:lnTo>
                    <a:pt x="437" y="568"/>
                  </a:lnTo>
                  <a:lnTo>
                    <a:pt x="437" y="566"/>
                  </a:lnTo>
                  <a:lnTo>
                    <a:pt x="435" y="566"/>
                  </a:lnTo>
                  <a:lnTo>
                    <a:pt x="433" y="566"/>
                  </a:lnTo>
                  <a:lnTo>
                    <a:pt x="433" y="564"/>
                  </a:lnTo>
                  <a:lnTo>
                    <a:pt x="433" y="564"/>
                  </a:lnTo>
                  <a:lnTo>
                    <a:pt x="435" y="564"/>
                  </a:lnTo>
                  <a:lnTo>
                    <a:pt x="437" y="564"/>
                  </a:lnTo>
                  <a:lnTo>
                    <a:pt x="437" y="564"/>
                  </a:lnTo>
                  <a:lnTo>
                    <a:pt x="437" y="562"/>
                  </a:lnTo>
                  <a:lnTo>
                    <a:pt x="437" y="562"/>
                  </a:lnTo>
                  <a:lnTo>
                    <a:pt x="439" y="562"/>
                  </a:lnTo>
                  <a:lnTo>
                    <a:pt x="441" y="562"/>
                  </a:lnTo>
                  <a:lnTo>
                    <a:pt x="439" y="564"/>
                  </a:lnTo>
                  <a:lnTo>
                    <a:pt x="441" y="564"/>
                  </a:lnTo>
                  <a:lnTo>
                    <a:pt x="443" y="560"/>
                  </a:lnTo>
                  <a:lnTo>
                    <a:pt x="445" y="560"/>
                  </a:lnTo>
                  <a:lnTo>
                    <a:pt x="445" y="558"/>
                  </a:lnTo>
                  <a:lnTo>
                    <a:pt x="443" y="558"/>
                  </a:lnTo>
                  <a:lnTo>
                    <a:pt x="443" y="558"/>
                  </a:lnTo>
                  <a:lnTo>
                    <a:pt x="443" y="556"/>
                  </a:lnTo>
                  <a:lnTo>
                    <a:pt x="445" y="556"/>
                  </a:lnTo>
                  <a:lnTo>
                    <a:pt x="445" y="556"/>
                  </a:lnTo>
                  <a:lnTo>
                    <a:pt x="449" y="551"/>
                  </a:lnTo>
                  <a:lnTo>
                    <a:pt x="456" y="547"/>
                  </a:lnTo>
                  <a:lnTo>
                    <a:pt x="460" y="541"/>
                  </a:lnTo>
                  <a:lnTo>
                    <a:pt x="464" y="539"/>
                  </a:lnTo>
                  <a:lnTo>
                    <a:pt x="472" y="533"/>
                  </a:lnTo>
                  <a:lnTo>
                    <a:pt x="474" y="533"/>
                  </a:lnTo>
                  <a:lnTo>
                    <a:pt x="478" y="533"/>
                  </a:lnTo>
                  <a:lnTo>
                    <a:pt x="480" y="535"/>
                  </a:lnTo>
                  <a:lnTo>
                    <a:pt x="480" y="535"/>
                  </a:lnTo>
                  <a:lnTo>
                    <a:pt x="480" y="533"/>
                  </a:lnTo>
                  <a:lnTo>
                    <a:pt x="480" y="531"/>
                  </a:lnTo>
                  <a:lnTo>
                    <a:pt x="482" y="531"/>
                  </a:lnTo>
                  <a:lnTo>
                    <a:pt x="484" y="531"/>
                  </a:lnTo>
                  <a:lnTo>
                    <a:pt x="488" y="527"/>
                  </a:lnTo>
                  <a:lnTo>
                    <a:pt x="493" y="525"/>
                  </a:lnTo>
                  <a:lnTo>
                    <a:pt x="493" y="525"/>
                  </a:lnTo>
                  <a:lnTo>
                    <a:pt x="495" y="525"/>
                  </a:lnTo>
                  <a:lnTo>
                    <a:pt x="493" y="523"/>
                  </a:lnTo>
                  <a:lnTo>
                    <a:pt x="493" y="523"/>
                  </a:lnTo>
                  <a:lnTo>
                    <a:pt x="493" y="521"/>
                  </a:lnTo>
                  <a:lnTo>
                    <a:pt x="493" y="521"/>
                  </a:lnTo>
                  <a:lnTo>
                    <a:pt x="497" y="519"/>
                  </a:lnTo>
                  <a:lnTo>
                    <a:pt x="501" y="519"/>
                  </a:lnTo>
                  <a:lnTo>
                    <a:pt x="501" y="519"/>
                  </a:lnTo>
                  <a:lnTo>
                    <a:pt x="505" y="519"/>
                  </a:lnTo>
                  <a:lnTo>
                    <a:pt x="507" y="519"/>
                  </a:lnTo>
                  <a:lnTo>
                    <a:pt x="507" y="519"/>
                  </a:lnTo>
                  <a:lnTo>
                    <a:pt x="505" y="521"/>
                  </a:lnTo>
                  <a:lnTo>
                    <a:pt x="505" y="521"/>
                  </a:lnTo>
                  <a:lnTo>
                    <a:pt x="503" y="521"/>
                  </a:lnTo>
                  <a:lnTo>
                    <a:pt x="505" y="521"/>
                  </a:lnTo>
                  <a:lnTo>
                    <a:pt x="507" y="521"/>
                  </a:lnTo>
                  <a:lnTo>
                    <a:pt x="509" y="521"/>
                  </a:lnTo>
                  <a:lnTo>
                    <a:pt x="513" y="519"/>
                  </a:lnTo>
                  <a:lnTo>
                    <a:pt x="515" y="519"/>
                  </a:lnTo>
                  <a:lnTo>
                    <a:pt x="515" y="519"/>
                  </a:lnTo>
                  <a:lnTo>
                    <a:pt x="515" y="516"/>
                  </a:lnTo>
                  <a:lnTo>
                    <a:pt x="515" y="516"/>
                  </a:lnTo>
                  <a:lnTo>
                    <a:pt x="513" y="516"/>
                  </a:lnTo>
                  <a:lnTo>
                    <a:pt x="515" y="514"/>
                  </a:lnTo>
                  <a:lnTo>
                    <a:pt x="515" y="514"/>
                  </a:lnTo>
                  <a:lnTo>
                    <a:pt x="517" y="514"/>
                  </a:lnTo>
                  <a:lnTo>
                    <a:pt x="517" y="514"/>
                  </a:lnTo>
                  <a:lnTo>
                    <a:pt x="517" y="516"/>
                  </a:lnTo>
                  <a:lnTo>
                    <a:pt x="517" y="519"/>
                  </a:lnTo>
                  <a:lnTo>
                    <a:pt x="517" y="519"/>
                  </a:lnTo>
                  <a:lnTo>
                    <a:pt x="519" y="519"/>
                  </a:lnTo>
                  <a:lnTo>
                    <a:pt x="521" y="519"/>
                  </a:lnTo>
                  <a:lnTo>
                    <a:pt x="525" y="519"/>
                  </a:lnTo>
                  <a:lnTo>
                    <a:pt x="532" y="519"/>
                  </a:lnTo>
                  <a:lnTo>
                    <a:pt x="534" y="519"/>
                  </a:lnTo>
                  <a:lnTo>
                    <a:pt x="534" y="516"/>
                  </a:lnTo>
                  <a:lnTo>
                    <a:pt x="536" y="514"/>
                  </a:lnTo>
                  <a:lnTo>
                    <a:pt x="534" y="514"/>
                  </a:lnTo>
                  <a:lnTo>
                    <a:pt x="534" y="512"/>
                  </a:lnTo>
                  <a:lnTo>
                    <a:pt x="534" y="512"/>
                  </a:lnTo>
                  <a:lnTo>
                    <a:pt x="538" y="506"/>
                  </a:lnTo>
                  <a:lnTo>
                    <a:pt x="540" y="506"/>
                  </a:lnTo>
                  <a:lnTo>
                    <a:pt x="546" y="502"/>
                  </a:lnTo>
                  <a:lnTo>
                    <a:pt x="548" y="500"/>
                  </a:lnTo>
                  <a:lnTo>
                    <a:pt x="548" y="500"/>
                  </a:lnTo>
                  <a:lnTo>
                    <a:pt x="548" y="494"/>
                  </a:lnTo>
                  <a:lnTo>
                    <a:pt x="548" y="494"/>
                  </a:lnTo>
                  <a:lnTo>
                    <a:pt x="546" y="492"/>
                  </a:lnTo>
                  <a:lnTo>
                    <a:pt x="548" y="488"/>
                  </a:lnTo>
                  <a:lnTo>
                    <a:pt x="550" y="484"/>
                  </a:lnTo>
                  <a:lnTo>
                    <a:pt x="550" y="482"/>
                  </a:lnTo>
                  <a:lnTo>
                    <a:pt x="550" y="479"/>
                  </a:lnTo>
                  <a:lnTo>
                    <a:pt x="552" y="479"/>
                  </a:lnTo>
                  <a:lnTo>
                    <a:pt x="556" y="475"/>
                  </a:lnTo>
                  <a:lnTo>
                    <a:pt x="556" y="471"/>
                  </a:lnTo>
                  <a:lnTo>
                    <a:pt x="556" y="469"/>
                  </a:lnTo>
                  <a:lnTo>
                    <a:pt x="558" y="467"/>
                  </a:lnTo>
                  <a:lnTo>
                    <a:pt x="558" y="463"/>
                  </a:lnTo>
                  <a:lnTo>
                    <a:pt x="560" y="459"/>
                  </a:lnTo>
                  <a:lnTo>
                    <a:pt x="564" y="457"/>
                  </a:lnTo>
                  <a:lnTo>
                    <a:pt x="564" y="457"/>
                  </a:lnTo>
                  <a:lnTo>
                    <a:pt x="564" y="455"/>
                  </a:lnTo>
                  <a:lnTo>
                    <a:pt x="564" y="451"/>
                  </a:lnTo>
                  <a:lnTo>
                    <a:pt x="564" y="442"/>
                  </a:lnTo>
                  <a:lnTo>
                    <a:pt x="564" y="438"/>
                  </a:lnTo>
                  <a:lnTo>
                    <a:pt x="564" y="432"/>
                  </a:lnTo>
                  <a:lnTo>
                    <a:pt x="566" y="428"/>
                  </a:lnTo>
                  <a:lnTo>
                    <a:pt x="569" y="426"/>
                  </a:lnTo>
                  <a:lnTo>
                    <a:pt x="571" y="424"/>
                  </a:lnTo>
                  <a:lnTo>
                    <a:pt x="573" y="422"/>
                  </a:lnTo>
                  <a:lnTo>
                    <a:pt x="571" y="422"/>
                  </a:lnTo>
                  <a:lnTo>
                    <a:pt x="571" y="416"/>
                  </a:lnTo>
                  <a:lnTo>
                    <a:pt x="571" y="412"/>
                  </a:lnTo>
                  <a:lnTo>
                    <a:pt x="571" y="410"/>
                  </a:lnTo>
                  <a:lnTo>
                    <a:pt x="571" y="405"/>
                  </a:lnTo>
                  <a:lnTo>
                    <a:pt x="573" y="399"/>
                  </a:lnTo>
                  <a:lnTo>
                    <a:pt x="573" y="395"/>
                  </a:lnTo>
                  <a:lnTo>
                    <a:pt x="575" y="389"/>
                  </a:lnTo>
                  <a:lnTo>
                    <a:pt x="575" y="387"/>
                  </a:lnTo>
                  <a:lnTo>
                    <a:pt x="573" y="383"/>
                  </a:lnTo>
                  <a:lnTo>
                    <a:pt x="571" y="377"/>
                  </a:lnTo>
                  <a:lnTo>
                    <a:pt x="571" y="370"/>
                  </a:lnTo>
                  <a:lnTo>
                    <a:pt x="571" y="366"/>
                  </a:lnTo>
                  <a:lnTo>
                    <a:pt x="571" y="354"/>
                  </a:lnTo>
                  <a:lnTo>
                    <a:pt x="571" y="354"/>
                  </a:lnTo>
                  <a:lnTo>
                    <a:pt x="571" y="356"/>
                  </a:lnTo>
                  <a:lnTo>
                    <a:pt x="569" y="354"/>
                  </a:lnTo>
                  <a:lnTo>
                    <a:pt x="569" y="354"/>
                  </a:lnTo>
                  <a:lnTo>
                    <a:pt x="569" y="350"/>
                  </a:lnTo>
                  <a:lnTo>
                    <a:pt x="571" y="348"/>
                  </a:lnTo>
                  <a:lnTo>
                    <a:pt x="571" y="348"/>
                  </a:lnTo>
                  <a:lnTo>
                    <a:pt x="569" y="346"/>
                  </a:lnTo>
                  <a:lnTo>
                    <a:pt x="569" y="346"/>
                  </a:lnTo>
                  <a:lnTo>
                    <a:pt x="569" y="346"/>
                  </a:lnTo>
                  <a:lnTo>
                    <a:pt x="569" y="344"/>
                  </a:lnTo>
                  <a:lnTo>
                    <a:pt x="569" y="342"/>
                  </a:lnTo>
                  <a:lnTo>
                    <a:pt x="571" y="342"/>
                  </a:lnTo>
                  <a:lnTo>
                    <a:pt x="573" y="338"/>
                  </a:lnTo>
                  <a:lnTo>
                    <a:pt x="573" y="336"/>
                  </a:lnTo>
                  <a:lnTo>
                    <a:pt x="573" y="333"/>
                  </a:lnTo>
                  <a:lnTo>
                    <a:pt x="573" y="333"/>
                  </a:lnTo>
                  <a:lnTo>
                    <a:pt x="571" y="331"/>
                  </a:lnTo>
                  <a:lnTo>
                    <a:pt x="573" y="331"/>
                  </a:lnTo>
                  <a:lnTo>
                    <a:pt x="573" y="331"/>
                  </a:lnTo>
                  <a:lnTo>
                    <a:pt x="573" y="329"/>
                  </a:lnTo>
                  <a:lnTo>
                    <a:pt x="575" y="329"/>
                  </a:lnTo>
                  <a:lnTo>
                    <a:pt x="577" y="331"/>
                  </a:lnTo>
                  <a:lnTo>
                    <a:pt x="577" y="336"/>
                  </a:lnTo>
                  <a:lnTo>
                    <a:pt x="579" y="336"/>
                  </a:lnTo>
                  <a:lnTo>
                    <a:pt x="579" y="336"/>
                  </a:lnTo>
                  <a:lnTo>
                    <a:pt x="581" y="333"/>
                  </a:lnTo>
                  <a:lnTo>
                    <a:pt x="585" y="327"/>
                  </a:lnTo>
                  <a:lnTo>
                    <a:pt x="585" y="325"/>
                  </a:lnTo>
                  <a:lnTo>
                    <a:pt x="589" y="319"/>
                  </a:lnTo>
                  <a:lnTo>
                    <a:pt x="593" y="311"/>
                  </a:lnTo>
                  <a:lnTo>
                    <a:pt x="593" y="309"/>
                  </a:lnTo>
                  <a:lnTo>
                    <a:pt x="593" y="307"/>
                  </a:lnTo>
                  <a:lnTo>
                    <a:pt x="593" y="303"/>
                  </a:lnTo>
                  <a:lnTo>
                    <a:pt x="595" y="303"/>
                  </a:lnTo>
                  <a:lnTo>
                    <a:pt x="595" y="305"/>
                  </a:lnTo>
                  <a:lnTo>
                    <a:pt x="595" y="305"/>
                  </a:lnTo>
                  <a:lnTo>
                    <a:pt x="593" y="305"/>
                  </a:lnTo>
                  <a:lnTo>
                    <a:pt x="593" y="307"/>
                  </a:lnTo>
                  <a:lnTo>
                    <a:pt x="595" y="307"/>
                  </a:lnTo>
                  <a:lnTo>
                    <a:pt x="597" y="303"/>
                  </a:lnTo>
                  <a:lnTo>
                    <a:pt x="597" y="301"/>
                  </a:lnTo>
                  <a:lnTo>
                    <a:pt x="597" y="301"/>
                  </a:lnTo>
                  <a:lnTo>
                    <a:pt x="597" y="301"/>
                  </a:lnTo>
                  <a:lnTo>
                    <a:pt x="601" y="296"/>
                  </a:lnTo>
                  <a:lnTo>
                    <a:pt x="603" y="292"/>
                  </a:lnTo>
                  <a:lnTo>
                    <a:pt x="605" y="292"/>
                  </a:lnTo>
                  <a:lnTo>
                    <a:pt x="610" y="290"/>
                  </a:lnTo>
                  <a:lnTo>
                    <a:pt x="610" y="290"/>
                  </a:lnTo>
                  <a:lnTo>
                    <a:pt x="612" y="284"/>
                  </a:lnTo>
                  <a:lnTo>
                    <a:pt x="614" y="282"/>
                  </a:lnTo>
                  <a:lnTo>
                    <a:pt x="616" y="278"/>
                  </a:lnTo>
                  <a:lnTo>
                    <a:pt x="618" y="276"/>
                  </a:lnTo>
                  <a:lnTo>
                    <a:pt x="616" y="276"/>
                  </a:lnTo>
                  <a:lnTo>
                    <a:pt x="618" y="276"/>
                  </a:lnTo>
                  <a:lnTo>
                    <a:pt x="618" y="276"/>
                  </a:lnTo>
                  <a:lnTo>
                    <a:pt x="622" y="272"/>
                  </a:lnTo>
                  <a:lnTo>
                    <a:pt x="626" y="266"/>
                  </a:lnTo>
                  <a:lnTo>
                    <a:pt x="628" y="262"/>
                  </a:lnTo>
                  <a:lnTo>
                    <a:pt x="630" y="251"/>
                  </a:lnTo>
                  <a:lnTo>
                    <a:pt x="632" y="245"/>
                  </a:lnTo>
                  <a:lnTo>
                    <a:pt x="632" y="243"/>
                  </a:lnTo>
                  <a:lnTo>
                    <a:pt x="632" y="241"/>
                  </a:lnTo>
                  <a:lnTo>
                    <a:pt x="632" y="239"/>
                  </a:lnTo>
                  <a:lnTo>
                    <a:pt x="632" y="239"/>
                  </a:lnTo>
                  <a:lnTo>
                    <a:pt x="632" y="237"/>
                  </a:lnTo>
                  <a:lnTo>
                    <a:pt x="632" y="237"/>
                  </a:lnTo>
                  <a:lnTo>
                    <a:pt x="632" y="235"/>
                  </a:lnTo>
                  <a:lnTo>
                    <a:pt x="632" y="233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1" name="Freeform 224">
              <a:extLst>
                <a:ext uri="{FF2B5EF4-FFF2-40B4-BE49-F238E27FC236}">
                  <a16:creationId xmlns:a16="http://schemas.microsoft.com/office/drawing/2014/main" id="{707487F5-AADE-054E-85B6-BC8350918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2118" y="3743662"/>
              <a:ext cx="243620" cy="285213"/>
            </a:xfrm>
            <a:custGeom>
              <a:avLst/>
              <a:gdLst>
                <a:gd name="T0" fmla="*/ 199 w 205"/>
                <a:gd name="T1" fmla="*/ 144 h 240"/>
                <a:gd name="T2" fmla="*/ 187 w 205"/>
                <a:gd name="T3" fmla="*/ 127 h 240"/>
                <a:gd name="T4" fmla="*/ 189 w 205"/>
                <a:gd name="T5" fmla="*/ 121 h 240"/>
                <a:gd name="T6" fmla="*/ 160 w 205"/>
                <a:gd name="T7" fmla="*/ 117 h 240"/>
                <a:gd name="T8" fmla="*/ 154 w 205"/>
                <a:gd name="T9" fmla="*/ 99 h 240"/>
                <a:gd name="T10" fmla="*/ 152 w 205"/>
                <a:gd name="T11" fmla="*/ 82 h 240"/>
                <a:gd name="T12" fmla="*/ 150 w 205"/>
                <a:gd name="T13" fmla="*/ 74 h 240"/>
                <a:gd name="T14" fmla="*/ 133 w 205"/>
                <a:gd name="T15" fmla="*/ 70 h 240"/>
                <a:gd name="T16" fmla="*/ 121 w 205"/>
                <a:gd name="T17" fmla="*/ 62 h 240"/>
                <a:gd name="T18" fmla="*/ 109 w 205"/>
                <a:gd name="T19" fmla="*/ 55 h 240"/>
                <a:gd name="T20" fmla="*/ 100 w 205"/>
                <a:gd name="T21" fmla="*/ 53 h 240"/>
                <a:gd name="T22" fmla="*/ 88 w 205"/>
                <a:gd name="T23" fmla="*/ 49 h 240"/>
                <a:gd name="T24" fmla="*/ 78 w 205"/>
                <a:gd name="T25" fmla="*/ 41 h 240"/>
                <a:gd name="T26" fmla="*/ 74 w 205"/>
                <a:gd name="T27" fmla="*/ 37 h 240"/>
                <a:gd name="T28" fmla="*/ 72 w 205"/>
                <a:gd name="T29" fmla="*/ 33 h 240"/>
                <a:gd name="T30" fmla="*/ 70 w 205"/>
                <a:gd name="T31" fmla="*/ 25 h 240"/>
                <a:gd name="T32" fmla="*/ 67 w 205"/>
                <a:gd name="T33" fmla="*/ 12 h 240"/>
                <a:gd name="T34" fmla="*/ 67 w 205"/>
                <a:gd name="T35" fmla="*/ 0 h 240"/>
                <a:gd name="T36" fmla="*/ 53 w 205"/>
                <a:gd name="T37" fmla="*/ 2 h 240"/>
                <a:gd name="T38" fmla="*/ 37 w 205"/>
                <a:gd name="T39" fmla="*/ 10 h 240"/>
                <a:gd name="T40" fmla="*/ 28 w 205"/>
                <a:gd name="T41" fmla="*/ 16 h 240"/>
                <a:gd name="T42" fmla="*/ 18 w 205"/>
                <a:gd name="T43" fmla="*/ 25 h 240"/>
                <a:gd name="T44" fmla="*/ 10 w 205"/>
                <a:gd name="T45" fmla="*/ 23 h 240"/>
                <a:gd name="T46" fmla="*/ 8 w 205"/>
                <a:gd name="T47" fmla="*/ 35 h 240"/>
                <a:gd name="T48" fmla="*/ 16 w 205"/>
                <a:gd name="T49" fmla="*/ 53 h 240"/>
                <a:gd name="T50" fmla="*/ 14 w 205"/>
                <a:gd name="T51" fmla="*/ 70 h 240"/>
                <a:gd name="T52" fmla="*/ 16 w 205"/>
                <a:gd name="T53" fmla="*/ 80 h 240"/>
                <a:gd name="T54" fmla="*/ 14 w 205"/>
                <a:gd name="T55" fmla="*/ 86 h 240"/>
                <a:gd name="T56" fmla="*/ 10 w 205"/>
                <a:gd name="T57" fmla="*/ 94 h 240"/>
                <a:gd name="T58" fmla="*/ 10 w 205"/>
                <a:gd name="T59" fmla="*/ 107 h 240"/>
                <a:gd name="T60" fmla="*/ 20 w 205"/>
                <a:gd name="T61" fmla="*/ 119 h 240"/>
                <a:gd name="T62" fmla="*/ 18 w 205"/>
                <a:gd name="T63" fmla="*/ 125 h 240"/>
                <a:gd name="T64" fmla="*/ 14 w 205"/>
                <a:gd name="T65" fmla="*/ 134 h 240"/>
                <a:gd name="T66" fmla="*/ 12 w 205"/>
                <a:gd name="T67" fmla="*/ 140 h 240"/>
                <a:gd name="T68" fmla="*/ 18 w 205"/>
                <a:gd name="T69" fmla="*/ 150 h 240"/>
                <a:gd name="T70" fmla="*/ 20 w 205"/>
                <a:gd name="T71" fmla="*/ 158 h 240"/>
                <a:gd name="T72" fmla="*/ 24 w 205"/>
                <a:gd name="T73" fmla="*/ 171 h 240"/>
                <a:gd name="T74" fmla="*/ 33 w 205"/>
                <a:gd name="T75" fmla="*/ 177 h 240"/>
                <a:gd name="T76" fmla="*/ 33 w 205"/>
                <a:gd name="T77" fmla="*/ 187 h 240"/>
                <a:gd name="T78" fmla="*/ 31 w 205"/>
                <a:gd name="T79" fmla="*/ 193 h 240"/>
                <a:gd name="T80" fmla="*/ 35 w 205"/>
                <a:gd name="T81" fmla="*/ 199 h 240"/>
                <a:gd name="T82" fmla="*/ 35 w 205"/>
                <a:gd name="T83" fmla="*/ 206 h 240"/>
                <a:gd name="T84" fmla="*/ 45 w 205"/>
                <a:gd name="T85" fmla="*/ 222 h 240"/>
                <a:gd name="T86" fmla="*/ 49 w 205"/>
                <a:gd name="T87" fmla="*/ 236 h 240"/>
                <a:gd name="T88" fmla="*/ 55 w 205"/>
                <a:gd name="T89" fmla="*/ 240 h 240"/>
                <a:gd name="T90" fmla="*/ 65 w 205"/>
                <a:gd name="T91" fmla="*/ 232 h 240"/>
                <a:gd name="T92" fmla="*/ 74 w 205"/>
                <a:gd name="T93" fmla="*/ 226 h 240"/>
                <a:gd name="T94" fmla="*/ 80 w 205"/>
                <a:gd name="T95" fmla="*/ 226 h 240"/>
                <a:gd name="T96" fmla="*/ 96 w 205"/>
                <a:gd name="T97" fmla="*/ 228 h 240"/>
                <a:gd name="T98" fmla="*/ 106 w 205"/>
                <a:gd name="T99" fmla="*/ 238 h 240"/>
                <a:gd name="T100" fmla="*/ 111 w 205"/>
                <a:gd name="T101" fmla="*/ 226 h 240"/>
                <a:gd name="T102" fmla="*/ 129 w 205"/>
                <a:gd name="T103" fmla="*/ 224 h 240"/>
                <a:gd name="T104" fmla="*/ 133 w 205"/>
                <a:gd name="T105" fmla="*/ 224 h 240"/>
                <a:gd name="T106" fmla="*/ 137 w 205"/>
                <a:gd name="T107" fmla="*/ 191 h 240"/>
                <a:gd name="T108" fmla="*/ 160 w 205"/>
                <a:gd name="T109" fmla="*/ 177 h 240"/>
                <a:gd name="T110" fmla="*/ 199 w 205"/>
                <a:gd name="T111" fmla="*/ 185 h 240"/>
                <a:gd name="T112" fmla="*/ 203 w 205"/>
                <a:gd name="T113" fmla="*/ 189 h 240"/>
                <a:gd name="T114" fmla="*/ 203 w 205"/>
                <a:gd name="T115" fmla="*/ 171 h 240"/>
                <a:gd name="T116" fmla="*/ 203 w 205"/>
                <a:gd name="T117" fmla="*/ 16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5" h="240">
                  <a:moveTo>
                    <a:pt x="205" y="154"/>
                  </a:moveTo>
                  <a:lnTo>
                    <a:pt x="205" y="154"/>
                  </a:lnTo>
                  <a:lnTo>
                    <a:pt x="203" y="150"/>
                  </a:lnTo>
                  <a:lnTo>
                    <a:pt x="201" y="146"/>
                  </a:lnTo>
                  <a:lnTo>
                    <a:pt x="201" y="144"/>
                  </a:lnTo>
                  <a:lnTo>
                    <a:pt x="199" y="142"/>
                  </a:lnTo>
                  <a:lnTo>
                    <a:pt x="199" y="144"/>
                  </a:lnTo>
                  <a:lnTo>
                    <a:pt x="197" y="142"/>
                  </a:lnTo>
                  <a:lnTo>
                    <a:pt x="193" y="140"/>
                  </a:lnTo>
                  <a:lnTo>
                    <a:pt x="191" y="138"/>
                  </a:lnTo>
                  <a:lnTo>
                    <a:pt x="191" y="138"/>
                  </a:lnTo>
                  <a:lnTo>
                    <a:pt x="189" y="136"/>
                  </a:lnTo>
                  <a:lnTo>
                    <a:pt x="189" y="132"/>
                  </a:lnTo>
                  <a:lnTo>
                    <a:pt x="187" y="127"/>
                  </a:lnTo>
                  <a:lnTo>
                    <a:pt x="187" y="127"/>
                  </a:lnTo>
                  <a:lnTo>
                    <a:pt x="189" y="123"/>
                  </a:lnTo>
                  <a:lnTo>
                    <a:pt x="189" y="123"/>
                  </a:lnTo>
                  <a:lnTo>
                    <a:pt x="189" y="121"/>
                  </a:lnTo>
                  <a:lnTo>
                    <a:pt x="189" y="119"/>
                  </a:lnTo>
                  <a:lnTo>
                    <a:pt x="189" y="119"/>
                  </a:lnTo>
                  <a:lnTo>
                    <a:pt x="189" y="121"/>
                  </a:lnTo>
                  <a:lnTo>
                    <a:pt x="187" y="121"/>
                  </a:lnTo>
                  <a:lnTo>
                    <a:pt x="187" y="121"/>
                  </a:lnTo>
                  <a:lnTo>
                    <a:pt x="178" y="121"/>
                  </a:lnTo>
                  <a:lnTo>
                    <a:pt x="172" y="121"/>
                  </a:lnTo>
                  <a:lnTo>
                    <a:pt x="166" y="119"/>
                  </a:lnTo>
                  <a:lnTo>
                    <a:pt x="160" y="119"/>
                  </a:lnTo>
                  <a:lnTo>
                    <a:pt x="160" y="117"/>
                  </a:lnTo>
                  <a:lnTo>
                    <a:pt x="158" y="113"/>
                  </a:lnTo>
                  <a:lnTo>
                    <a:pt x="158" y="111"/>
                  </a:lnTo>
                  <a:lnTo>
                    <a:pt x="158" y="105"/>
                  </a:lnTo>
                  <a:lnTo>
                    <a:pt x="154" y="103"/>
                  </a:lnTo>
                  <a:lnTo>
                    <a:pt x="152" y="99"/>
                  </a:lnTo>
                  <a:lnTo>
                    <a:pt x="152" y="99"/>
                  </a:lnTo>
                  <a:lnTo>
                    <a:pt x="154" y="99"/>
                  </a:lnTo>
                  <a:lnTo>
                    <a:pt x="156" y="99"/>
                  </a:lnTo>
                  <a:lnTo>
                    <a:pt x="156" y="90"/>
                  </a:lnTo>
                  <a:lnTo>
                    <a:pt x="154" y="88"/>
                  </a:lnTo>
                  <a:lnTo>
                    <a:pt x="154" y="86"/>
                  </a:lnTo>
                  <a:lnTo>
                    <a:pt x="154" y="84"/>
                  </a:lnTo>
                  <a:lnTo>
                    <a:pt x="152" y="82"/>
                  </a:lnTo>
                  <a:lnTo>
                    <a:pt x="152" y="82"/>
                  </a:lnTo>
                  <a:lnTo>
                    <a:pt x="152" y="80"/>
                  </a:lnTo>
                  <a:lnTo>
                    <a:pt x="152" y="80"/>
                  </a:lnTo>
                  <a:lnTo>
                    <a:pt x="152" y="78"/>
                  </a:lnTo>
                  <a:lnTo>
                    <a:pt x="152" y="76"/>
                  </a:lnTo>
                  <a:lnTo>
                    <a:pt x="152" y="76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48" y="72"/>
                  </a:lnTo>
                  <a:lnTo>
                    <a:pt x="143" y="70"/>
                  </a:lnTo>
                  <a:lnTo>
                    <a:pt x="141" y="68"/>
                  </a:lnTo>
                  <a:lnTo>
                    <a:pt x="139" y="70"/>
                  </a:lnTo>
                  <a:lnTo>
                    <a:pt x="135" y="70"/>
                  </a:lnTo>
                  <a:lnTo>
                    <a:pt x="133" y="70"/>
                  </a:lnTo>
                  <a:lnTo>
                    <a:pt x="133" y="70"/>
                  </a:lnTo>
                  <a:lnTo>
                    <a:pt x="129" y="70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5" y="64"/>
                  </a:lnTo>
                  <a:lnTo>
                    <a:pt x="123" y="64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19" y="62"/>
                  </a:lnTo>
                  <a:lnTo>
                    <a:pt x="117" y="62"/>
                  </a:lnTo>
                  <a:lnTo>
                    <a:pt x="115" y="60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1" y="57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9" y="53"/>
                  </a:lnTo>
                  <a:lnTo>
                    <a:pt x="106" y="53"/>
                  </a:lnTo>
                  <a:lnTo>
                    <a:pt x="106" y="53"/>
                  </a:lnTo>
                  <a:lnTo>
                    <a:pt x="104" y="53"/>
                  </a:lnTo>
                  <a:lnTo>
                    <a:pt x="102" y="53"/>
                  </a:lnTo>
                  <a:lnTo>
                    <a:pt x="100" y="53"/>
                  </a:lnTo>
                  <a:lnTo>
                    <a:pt x="100" y="51"/>
                  </a:lnTo>
                  <a:lnTo>
                    <a:pt x="98" y="51"/>
                  </a:lnTo>
                  <a:lnTo>
                    <a:pt x="98" y="49"/>
                  </a:lnTo>
                  <a:lnTo>
                    <a:pt x="96" y="49"/>
                  </a:lnTo>
                  <a:lnTo>
                    <a:pt x="94" y="51"/>
                  </a:lnTo>
                  <a:lnTo>
                    <a:pt x="92" y="51"/>
                  </a:lnTo>
                  <a:lnTo>
                    <a:pt x="88" y="49"/>
                  </a:lnTo>
                  <a:lnTo>
                    <a:pt x="86" y="49"/>
                  </a:lnTo>
                  <a:lnTo>
                    <a:pt x="84" y="47"/>
                  </a:lnTo>
                  <a:lnTo>
                    <a:pt x="84" y="45"/>
                  </a:lnTo>
                  <a:lnTo>
                    <a:pt x="82" y="45"/>
                  </a:lnTo>
                  <a:lnTo>
                    <a:pt x="82" y="43"/>
                  </a:lnTo>
                  <a:lnTo>
                    <a:pt x="80" y="43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6" y="41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5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0" y="31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7"/>
                  </a:lnTo>
                  <a:lnTo>
                    <a:pt x="67" y="27"/>
                  </a:lnTo>
                  <a:lnTo>
                    <a:pt x="70" y="25"/>
                  </a:lnTo>
                  <a:lnTo>
                    <a:pt x="70" y="23"/>
                  </a:lnTo>
                  <a:lnTo>
                    <a:pt x="70" y="20"/>
                  </a:lnTo>
                  <a:lnTo>
                    <a:pt x="67" y="18"/>
                  </a:lnTo>
                  <a:lnTo>
                    <a:pt x="67" y="16"/>
                  </a:lnTo>
                  <a:lnTo>
                    <a:pt x="67" y="14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70" y="10"/>
                  </a:lnTo>
                  <a:lnTo>
                    <a:pt x="70" y="8"/>
                  </a:lnTo>
                  <a:lnTo>
                    <a:pt x="67" y="6"/>
                  </a:lnTo>
                  <a:lnTo>
                    <a:pt x="67" y="4"/>
                  </a:lnTo>
                  <a:lnTo>
                    <a:pt x="67" y="2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3" y="2"/>
                  </a:lnTo>
                  <a:lnTo>
                    <a:pt x="51" y="2"/>
                  </a:lnTo>
                  <a:lnTo>
                    <a:pt x="49" y="2"/>
                  </a:lnTo>
                  <a:lnTo>
                    <a:pt x="47" y="2"/>
                  </a:lnTo>
                  <a:lnTo>
                    <a:pt x="45" y="4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5" y="12"/>
                  </a:lnTo>
                  <a:lnTo>
                    <a:pt x="33" y="14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8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2" y="23"/>
                  </a:lnTo>
                  <a:lnTo>
                    <a:pt x="10" y="23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33"/>
                  </a:lnTo>
                  <a:lnTo>
                    <a:pt x="8" y="35"/>
                  </a:lnTo>
                  <a:lnTo>
                    <a:pt x="10" y="39"/>
                  </a:lnTo>
                  <a:lnTo>
                    <a:pt x="12" y="43"/>
                  </a:lnTo>
                  <a:lnTo>
                    <a:pt x="14" y="47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5"/>
                  </a:lnTo>
                  <a:lnTo>
                    <a:pt x="14" y="55"/>
                  </a:lnTo>
                  <a:lnTo>
                    <a:pt x="14" y="57"/>
                  </a:lnTo>
                  <a:lnTo>
                    <a:pt x="12" y="57"/>
                  </a:lnTo>
                  <a:lnTo>
                    <a:pt x="12" y="60"/>
                  </a:lnTo>
                  <a:lnTo>
                    <a:pt x="14" y="68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4" y="74"/>
                  </a:lnTo>
                  <a:lnTo>
                    <a:pt x="14" y="78"/>
                  </a:lnTo>
                  <a:lnTo>
                    <a:pt x="16" y="78"/>
                  </a:lnTo>
                  <a:lnTo>
                    <a:pt x="16" y="80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4" y="82"/>
                  </a:lnTo>
                  <a:lnTo>
                    <a:pt x="14" y="84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2" y="92"/>
                  </a:lnTo>
                  <a:lnTo>
                    <a:pt x="10" y="92"/>
                  </a:lnTo>
                  <a:lnTo>
                    <a:pt x="10" y="94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12" y="103"/>
                  </a:lnTo>
                  <a:lnTo>
                    <a:pt x="12" y="105"/>
                  </a:lnTo>
                  <a:lnTo>
                    <a:pt x="10" y="107"/>
                  </a:lnTo>
                  <a:lnTo>
                    <a:pt x="10" y="109"/>
                  </a:lnTo>
                  <a:lnTo>
                    <a:pt x="12" y="111"/>
                  </a:lnTo>
                  <a:lnTo>
                    <a:pt x="14" y="117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8" y="119"/>
                  </a:lnTo>
                  <a:lnTo>
                    <a:pt x="20" y="119"/>
                  </a:lnTo>
                  <a:lnTo>
                    <a:pt x="20" y="121"/>
                  </a:lnTo>
                  <a:lnTo>
                    <a:pt x="20" y="121"/>
                  </a:lnTo>
                  <a:lnTo>
                    <a:pt x="20" y="121"/>
                  </a:lnTo>
                  <a:lnTo>
                    <a:pt x="20" y="121"/>
                  </a:lnTo>
                  <a:lnTo>
                    <a:pt x="18" y="123"/>
                  </a:lnTo>
                  <a:lnTo>
                    <a:pt x="18" y="123"/>
                  </a:lnTo>
                  <a:lnTo>
                    <a:pt x="18" y="125"/>
                  </a:lnTo>
                  <a:lnTo>
                    <a:pt x="18" y="127"/>
                  </a:lnTo>
                  <a:lnTo>
                    <a:pt x="18" y="127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32"/>
                  </a:lnTo>
                  <a:lnTo>
                    <a:pt x="14" y="134"/>
                  </a:lnTo>
                  <a:lnTo>
                    <a:pt x="14" y="134"/>
                  </a:lnTo>
                  <a:lnTo>
                    <a:pt x="12" y="136"/>
                  </a:lnTo>
                  <a:lnTo>
                    <a:pt x="12" y="136"/>
                  </a:lnTo>
                  <a:lnTo>
                    <a:pt x="10" y="138"/>
                  </a:lnTo>
                  <a:lnTo>
                    <a:pt x="10" y="138"/>
                  </a:lnTo>
                  <a:lnTo>
                    <a:pt x="10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4" y="144"/>
                  </a:lnTo>
                  <a:lnTo>
                    <a:pt x="16" y="148"/>
                  </a:lnTo>
                  <a:lnTo>
                    <a:pt x="16" y="150"/>
                  </a:lnTo>
                  <a:lnTo>
                    <a:pt x="18" y="150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4"/>
                  </a:lnTo>
                  <a:lnTo>
                    <a:pt x="20" y="154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0" y="158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2" y="164"/>
                  </a:lnTo>
                  <a:lnTo>
                    <a:pt x="24" y="166"/>
                  </a:lnTo>
                  <a:lnTo>
                    <a:pt x="24" y="169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6" y="173"/>
                  </a:lnTo>
                  <a:lnTo>
                    <a:pt x="28" y="173"/>
                  </a:lnTo>
                  <a:lnTo>
                    <a:pt x="31" y="175"/>
                  </a:lnTo>
                  <a:lnTo>
                    <a:pt x="31" y="175"/>
                  </a:lnTo>
                  <a:lnTo>
                    <a:pt x="33" y="177"/>
                  </a:lnTo>
                  <a:lnTo>
                    <a:pt x="33" y="177"/>
                  </a:lnTo>
                  <a:lnTo>
                    <a:pt x="33" y="177"/>
                  </a:lnTo>
                  <a:lnTo>
                    <a:pt x="33" y="179"/>
                  </a:lnTo>
                  <a:lnTo>
                    <a:pt x="33" y="179"/>
                  </a:lnTo>
                  <a:lnTo>
                    <a:pt x="33" y="181"/>
                  </a:lnTo>
                  <a:lnTo>
                    <a:pt x="31" y="183"/>
                  </a:lnTo>
                  <a:lnTo>
                    <a:pt x="31" y="183"/>
                  </a:lnTo>
                  <a:lnTo>
                    <a:pt x="33" y="185"/>
                  </a:lnTo>
                  <a:lnTo>
                    <a:pt x="33" y="187"/>
                  </a:lnTo>
                  <a:lnTo>
                    <a:pt x="33" y="187"/>
                  </a:lnTo>
                  <a:lnTo>
                    <a:pt x="33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3"/>
                  </a:lnTo>
                  <a:lnTo>
                    <a:pt x="33" y="193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197"/>
                  </a:lnTo>
                  <a:lnTo>
                    <a:pt x="33" y="197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5" y="201"/>
                  </a:lnTo>
                  <a:lnTo>
                    <a:pt x="35" y="201"/>
                  </a:lnTo>
                  <a:lnTo>
                    <a:pt x="35" y="203"/>
                  </a:lnTo>
                  <a:lnTo>
                    <a:pt x="35" y="206"/>
                  </a:lnTo>
                  <a:lnTo>
                    <a:pt x="35" y="206"/>
                  </a:lnTo>
                  <a:lnTo>
                    <a:pt x="37" y="206"/>
                  </a:lnTo>
                  <a:lnTo>
                    <a:pt x="39" y="210"/>
                  </a:lnTo>
                  <a:lnTo>
                    <a:pt x="41" y="212"/>
                  </a:lnTo>
                  <a:lnTo>
                    <a:pt x="43" y="216"/>
                  </a:lnTo>
                  <a:lnTo>
                    <a:pt x="43" y="218"/>
                  </a:lnTo>
                  <a:lnTo>
                    <a:pt x="45" y="220"/>
                  </a:lnTo>
                  <a:lnTo>
                    <a:pt x="45" y="222"/>
                  </a:lnTo>
                  <a:lnTo>
                    <a:pt x="45" y="224"/>
                  </a:lnTo>
                  <a:lnTo>
                    <a:pt x="47" y="226"/>
                  </a:lnTo>
                  <a:lnTo>
                    <a:pt x="47" y="228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9" y="234"/>
                  </a:lnTo>
                  <a:lnTo>
                    <a:pt x="49" y="236"/>
                  </a:lnTo>
                  <a:lnTo>
                    <a:pt x="49" y="238"/>
                  </a:lnTo>
                  <a:lnTo>
                    <a:pt x="49" y="238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53" y="240"/>
                  </a:lnTo>
                  <a:lnTo>
                    <a:pt x="55" y="240"/>
                  </a:lnTo>
                  <a:lnTo>
                    <a:pt x="59" y="240"/>
                  </a:lnTo>
                  <a:lnTo>
                    <a:pt x="61" y="240"/>
                  </a:lnTo>
                  <a:lnTo>
                    <a:pt x="61" y="238"/>
                  </a:lnTo>
                  <a:lnTo>
                    <a:pt x="63" y="236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5" y="232"/>
                  </a:lnTo>
                  <a:lnTo>
                    <a:pt x="67" y="232"/>
                  </a:lnTo>
                  <a:lnTo>
                    <a:pt x="67" y="230"/>
                  </a:lnTo>
                  <a:lnTo>
                    <a:pt x="67" y="228"/>
                  </a:lnTo>
                  <a:lnTo>
                    <a:pt x="67" y="228"/>
                  </a:lnTo>
                  <a:lnTo>
                    <a:pt x="70" y="228"/>
                  </a:lnTo>
                  <a:lnTo>
                    <a:pt x="72" y="226"/>
                  </a:lnTo>
                  <a:lnTo>
                    <a:pt x="74" y="226"/>
                  </a:lnTo>
                  <a:lnTo>
                    <a:pt x="74" y="224"/>
                  </a:lnTo>
                  <a:lnTo>
                    <a:pt x="74" y="222"/>
                  </a:lnTo>
                  <a:lnTo>
                    <a:pt x="74" y="222"/>
                  </a:lnTo>
                  <a:lnTo>
                    <a:pt x="76" y="222"/>
                  </a:lnTo>
                  <a:lnTo>
                    <a:pt x="76" y="222"/>
                  </a:lnTo>
                  <a:lnTo>
                    <a:pt x="78" y="222"/>
                  </a:lnTo>
                  <a:lnTo>
                    <a:pt x="80" y="226"/>
                  </a:lnTo>
                  <a:lnTo>
                    <a:pt x="82" y="226"/>
                  </a:lnTo>
                  <a:lnTo>
                    <a:pt x="84" y="226"/>
                  </a:lnTo>
                  <a:lnTo>
                    <a:pt x="86" y="226"/>
                  </a:lnTo>
                  <a:lnTo>
                    <a:pt x="86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6" y="228"/>
                  </a:lnTo>
                  <a:lnTo>
                    <a:pt x="98" y="228"/>
                  </a:lnTo>
                  <a:lnTo>
                    <a:pt x="98" y="228"/>
                  </a:lnTo>
                  <a:lnTo>
                    <a:pt x="100" y="228"/>
                  </a:lnTo>
                  <a:lnTo>
                    <a:pt x="102" y="232"/>
                  </a:lnTo>
                  <a:lnTo>
                    <a:pt x="102" y="234"/>
                  </a:lnTo>
                  <a:lnTo>
                    <a:pt x="104" y="236"/>
                  </a:lnTo>
                  <a:lnTo>
                    <a:pt x="106" y="238"/>
                  </a:lnTo>
                  <a:lnTo>
                    <a:pt x="106" y="240"/>
                  </a:lnTo>
                  <a:lnTo>
                    <a:pt x="106" y="240"/>
                  </a:lnTo>
                  <a:lnTo>
                    <a:pt x="106" y="236"/>
                  </a:lnTo>
                  <a:lnTo>
                    <a:pt x="109" y="234"/>
                  </a:lnTo>
                  <a:lnTo>
                    <a:pt x="109" y="232"/>
                  </a:lnTo>
                  <a:lnTo>
                    <a:pt x="111" y="226"/>
                  </a:lnTo>
                  <a:lnTo>
                    <a:pt x="111" y="226"/>
                  </a:lnTo>
                  <a:lnTo>
                    <a:pt x="113" y="226"/>
                  </a:lnTo>
                  <a:lnTo>
                    <a:pt x="113" y="224"/>
                  </a:lnTo>
                  <a:lnTo>
                    <a:pt x="113" y="226"/>
                  </a:lnTo>
                  <a:lnTo>
                    <a:pt x="115" y="226"/>
                  </a:lnTo>
                  <a:lnTo>
                    <a:pt x="115" y="224"/>
                  </a:lnTo>
                  <a:lnTo>
                    <a:pt x="121" y="224"/>
                  </a:lnTo>
                  <a:lnTo>
                    <a:pt x="129" y="224"/>
                  </a:lnTo>
                  <a:lnTo>
                    <a:pt x="129" y="224"/>
                  </a:lnTo>
                  <a:lnTo>
                    <a:pt x="129" y="226"/>
                  </a:lnTo>
                  <a:lnTo>
                    <a:pt x="129" y="228"/>
                  </a:lnTo>
                  <a:lnTo>
                    <a:pt x="131" y="228"/>
                  </a:lnTo>
                  <a:lnTo>
                    <a:pt x="131" y="230"/>
                  </a:lnTo>
                  <a:lnTo>
                    <a:pt x="131" y="228"/>
                  </a:lnTo>
                  <a:lnTo>
                    <a:pt x="133" y="224"/>
                  </a:lnTo>
                  <a:lnTo>
                    <a:pt x="133" y="220"/>
                  </a:lnTo>
                  <a:lnTo>
                    <a:pt x="133" y="214"/>
                  </a:lnTo>
                  <a:lnTo>
                    <a:pt x="135" y="208"/>
                  </a:lnTo>
                  <a:lnTo>
                    <a:pt x="135" y="203"/>
                  </a:lnTo>
                  <a:lnTo>
                    <a:pt x="133" y="199"/>
                  </a:lnTo>
                  <a:lnTo>
                    <a:pt x="135" y="195"/>
                  </a:lnTo>
                  <a:lnTo>
                    <a:pt x="137" y="191"/>
                  </a:lnTo>
                  <a:lnTo>
                    <a:pt x="139" y="189"/>
                  </a:lnTo>
                  <a:lnTo>
                    <a:pt x="139" y="185"/>
                  </a:lnTo>
                  <a:lnTo>
                    <a:pt x="141" y="181"/>
                  </a:lnTo>
                  <a:lnTo>
                    <a:pt x="143" y="181"/>
                  </a:lnTo>
                  <a:lnTo>
                    <a:pt x="152" y="179"/>
                  </a:lnTo>
                  <a:lnTo>
                    <a:pt x="154" y="179"/>
                  </a:lnTo>
                  <a:lnTo>
                    <a:pt x="160" y="177"/>
                  </a:lnTo>
                  <a:lnTo>
                    <a:pt x="168" y="175"/>
                  </a:lnTo>
                  <a:lnTo>
                    <a:pt x="174" y="175"/>
                  </a:lnTo>
                  <a:lnTo>
                    <a:pt x="182" y="175"/>
                  </a:lnTo>
                  <a:lnTo>
                    <a:pt x="189" y="179"/>
                  </a:lnTo>
                  <a:lnTo>
                    <a:pt x="193" y="181"/>
                  </a:lnTo>
                  <a:lnTo>
                    <a:pt x="199" y="185"/>
                  </a:lnTo>
                  <a:lnTo>
                    <a:pt x="199" y="185"/>
                  </a:lnTo>
                  <a:lnTo>
                    <a:pt x="199" y="189"/>
                  </a:lnTo>
                  <a:lnTo>
                    <a:pt x="199" y="191"/>
                  </a:lnTo>
                  <a:lnTo>
                    <a:pt x="199" y="191"/>
                  </a:lnTo>
                  <a:lnTo>
                    <a:pt x="201" y="191"/>
                  </a:lnTo>
                  <a:lnTo>
                    <a:pt x="201" y="189"/>
                  </a:lnTo>
                  <a:lnTo>
                    <a:pt x="201" y="189"/>
                  </a:lnTo>
                  <a:lnTo>
                    <a:pt x="203" y="189"/>
                  </a:lnTo>
                  <a:lnTo>
                    <a:pt x="203" y="187"/>
                  </a:lnTo>
                  <a:lnTo>
                    <a:pt x="201" y="185"/>
                  </a:lnTo>
                  <a:lnTo>
                    <a:pt x="199" y="183"/>
                  </a:lnTo>
                  <a:lnTo>
                    <a:pt x="199" y="181"/>
                  </a:lnTo>
                  <a:lnTo>
                    <a:pt x="201" y="177"/>
                  </a:lnTo>
                  <a:lnTo>
                    <a:pt x="201" y="175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4"/>
                  </a:lnTo>
                  <a:lnTo>
                    <a:pt x="203" y="160"/>
                  </a:lnTo>
                  <a:lnTo>
                    <a:pt x="205" y="156"/>
                  </a:lnTo>
                  <a:lnTo>
                    <a:pt x="205" y="156"/>
                  </a:lnTo>
                  <a:lnTo>
                    <a:pt x="205" y="156"/>
                  </a:lnTo>
                  <a:lnTo>
                    <a:pt x="205" y="156"/>
                  </a:lnTo>
                  <a:lnTo>
                    <a:pt x="205" y="154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2" name="Freeform 226">
              <a:extLst>
                <a:ext uri="{FF2B5EF4-FFF2-40B4-BE49-F238E27FC236}">
                  <a16:creationId xmlns:a16="http://schemas.microsoft.com/office/drawing/2014/main" id="{166C074D-6E7F-D44E-9957-911977262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5420" y="2825039"/>
              <a:ext cx="2377" cy="2377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0 w 2"/>
                <a:gd name="T9" fmla="*/ 2 h 2"/>
                <a:gd name="T10" fmla="*/ 2 w 2"/>
                <a:gd name="T11" fmla="*/ 2 h 2"/>
                <a:gd name="T12" fmla="*/ 2 w 2"/>
                <a:gd name="T13" fmla="*/ 0 h 2"/>
                <a:gd name="T14" fmla="*/ 2 w 2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3" name="Freeform 228">
              <a:extLst>
                <a:ext uri="{FF2B5EF4-FFF2-40B4-BE49-F238E27FC236}">
                  <a16:creationId xmlns:a16="http://schemas.microsoft.com/office/drawing/2014/main" id="{9EC27EBF-19FC-0C42-A0C4-AA6EFE0ED9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8471" y="3128077"/>
              <a:ext cx="30898" cy="55854"/>
            </a:xfrm>
            <a:custGeom>
              <a:avLst/>
              <a:gdLst>
                <a:gd name="T0" fmla="*/ 24 w 26"/>
                <a:gd name="T1" fmla="*/ 18 h 47"/>
                <a:gd name="T2" fmla="*/ 24 w 26"/>
                <a:gd name="T3" fmla="*/ 20 h 47"/>
                <a:gd name="T4" fmla="*/ 24 w 26"/>
                <a:gd name="T5" fmla="*/ 18 h 47"/>
                <a:gd name="T6" fmla="*/ 26 w 26"/>
                <a:gd name="T7" fmla="*/ 18 h 47"/>
                <a:gd name="T8" fmla="*/ 26 w 26"/>
                <a:gd name="T9" fmla="*/ 18 h 47"/>
                <a:gd name="T10" fmla="*/ 26 w 26"/>
                <a:gd name="T11" fmla="*/ 6 h 47"/>
                <a:gd name="T12" fmla="*/ 24 w 26"/>
                <a:gd name="T13" fmla="*/ 8 h 47"/>
                <a:gd name="T14" fmla="*/ 24 w 26"/>
                <a:gd name="T15" fmla="*/ 10 h 47"/>
                <a:gd name="T16" fmla="*/ 26 w 26"/>
                <a:gd name="T17" fmla="*/ 6 h 47"/>
                <a:gd name="T18" fmla="*/ 20 w 26"/>
                <a:gd name="T19" fmla="*/ 2 h 47"/>
                <a:gd name="T20" fmla="*/ 20 w 26"/>
                <a:gd name="T21" fmla="*/ 0 h 47"/>
                <a:gd name="T22" fmla="*/ 18 w 26"/>
                <a:gd name="T23" fmla="*/ 0 h 47"/>
                <a:gd name="T24" fmla="*/ 16 w 26"/>
                <a:gd name="T25" fmla="*/ 4 h 47"/>
                <a:gd name="T26" fmla="*/ 12 w 26"/>
                <a:gd name="T27" fmla="*/ 10 h 47"/>
                <a:gd name="T28" fmla="*/ 10 w 26"/>
                <a:gd name="T29" fmla="*/ 10 h 47"/>
                <a:gd name="T30" fmla="*/ 8 w 26"/>
                <a:gd name="T31" fmla="*/ 8 h 47"/>
                <a:gd name="T32" fmla="*/ 6 w 26"/>
                <a:gd name="T33" fmla="*/ 10 h 47"/>
                <a:gd name="T34" fmla="*/ 4 w 26"/>
                <a:gd name="T35" fmla="*/ 16 h 47"/>
                <a:gd name="T36" fmla="*/ 4 w 26"/>
                <a:gd name="T37" fmla="*/ 24 h 47"/>
                <a:gd name="T38" fmla="*/ 2 w 26"/>
                <a:gd name="T39" fmla="*/ 35 h 47"/>
                <a:gd name="T40" fmla="*/ 0 w 26"/>
                <a:gd name="T41" fmla="*/ 47 h 47"/>
                <a:gd name="T42" fmla="*/ 2 w 26"/>
                <a:gd name="T43" fmla="*/ 47 h 47"/>
                <a:gd name="T44" fmla="*/ 6 w 26"/>
                <a:gd name="T45" fmla="*/ 47 h 47"/>
                <a:gd name="T46" fmla="*/ 6 w 26"/>
                <a:gd name="T47" fmla="*/ 45 h 47"/>
                <a:gd name="T48" fmla="*/ 12 w 26"/>
                <a:gd name="T49" fmla="*/ 41 h 47"/>
                <a:gd name="T50" fmla="*/ 14 w 26"/>
                <a:gd name="T51" fmla="*/ 37 h 47"/>
                <a:gd name="T52" fmla="*/ 18 w 26"/>
                <a:gd name="T53" fmla="*/ 29 h 47"/>
                <a:gd name="T54" fmla="*/ 18 w 26"/>
                <a:gd name="T55" fmla="*/ 20 h 47"/>
                <a:gd name="T56" fmla="*/ 20 w 26"/>
                <a:gd name="T57" fmla="*/ 18 h 47"/>
                <a:gd name="T58" fmla="*/ 20 w 26"/>
                <a:gd name="T59" fmla="*/ 14 h 47"/>
                <a:gd name="T60" fmla="*/ 22 w 26"/>
                <a:gd name="T61" fmla="*/ 6 h 47"/>
                <a:gd name="T62" fmla="*/ 22 w 26"/>
                <a:gd name="T63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" h="47">
                  <a:moveTo>
                    <a:pt x="26" y="18"/>
                  </a:moveTo>
                  <a:lnTo>
                    <a:pt x="24" y="18"/>
                  </a:lnTo>
                  <a:lnTo>
                    <a:pt x="24" y="18"/>
                  </a:lnTo>
                  <a:lnTo>
                    <a:pt x="24" y="20"/>
                  </a:lnTo>
                  <a:lnTo>
                    <a:pt x="24" y="22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6"/>
                  </a:lnTo>
                  <a:lnTo>
                    <a:pt x="26" y="18"/>
                  </a:lnTo>
                  <a:close/>
                  <a:moveTo>
                    <a:pt x="26" y="6"/>
                  </a:moveTo>
                  <a:lnTo>
                    <a:pt x="26" y="6"/>
                  </a:lnTo>
                  <a:lnTo>
                    <a:pt x="26" y="6"/>
                  </a:lnTo>
                  <a:lnTo>
                    <a:pt x="24" y="8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6" y="6"/>
                  </a:lnTo>
                  <a:close/>
                  <a:moveTo>
                    <a:pt x="22" y="2"/>
                  </a:moveTo>
                  <a:lnTo>
                    <a:pt x="20" y="2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4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8" y="8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4" y="16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2" y="31"/>
                  </a:lnTo>
                  <a:lnTo>
                    <a:pt x="2" y="35"/>
                  </a:lnTo>
                  <a:lnTo>
                    <a:pt x="0" y="43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47"/>
                  </a:lnTo>
                  <a:lnTo>
                    <a:pt x="4" y="47"/>
                  </a:lnTo>
                  <a:lnTo>
                    <a:pt x="6" y="47"/>
                  </a:lnTo>
                  <a:lnTo>
                    <a:pt x="4" y="47"/>
                  </a:lnTo>
                  <a:lnTo>
                    <a:pt x="6" y="45"/>
                  </a:lnTo>
                  <a:lnTo>
                    <a:pt x="8" y="41"/>
                  </a:lnTo>
                  <a:lnTo>
                    <a:pt x="12" y="41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6" y="35"/>
                  </a:lnTo>
                  <a:lnTo>
                    <a:pt x="18" y="29"/>
                  </a:lnTo>
                  <a:lnTo>
                    <a:pt x="18" y="24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18" y="16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2" y="2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4" name="Freeform 231">
              <a:extLst>
                <a:ext uri="{FF2B5EF4-FFF2-40B4-BE49-F238E27FC236}">
                  <a16:creationId xmlns:a16="http://schemas.microsoft.com/office/drawing/2014/main" id="{1737ADBC-F154-C849-A83A-0E278E2C2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013" y="3239786"/>
              <a:ext cx="2377" cy="4754"/>
            </a:xfrm>
            <a:custGeom>
              <a:avLst/>
              <a:gdLst>
                <a:gd name="T0" fmla="*/ 2 w 2"/>
                <a:gd name="T1" fmla="*/ 2 h 4"/>
                <a:gd name="T2" fmla="*/ 0 w 2"/>
                <a:gd name="T3" fmla="*/ 0 h 4"/>
                <a:gd name="T4" fmla="*/ 0 w 2"/>
                <a:gd name="T5" fmla="*/ 0 h 4"/>
                <a:gd name="T6" fmla="*/ 0 w 2"/>
                <a:gd name="T7" fmla="*/ 4 h 4"/>
                <a:gd name="T8" fmla="*/ 0 w 2"/>
                <a:gd name="T9" fmla="*/ 4 h 4"/>
                <a:gd name="T10" fmla="*/ 2 w 2"/>
                <a:gd name="T11" fmla="*/ 4 h 4"/>
                <a:gd name="T12" fmla="*/ 2 w 2"/>
                <a:gd name="T13" fmla="*/ 4 h 4"/>
                <a:gd name="T14" fmla="*/ 2 w 2"/>
                <a:gd name="T15" fmla="*/ 4 h 4"/>
                <a:gd name="T16" fmla="*/ 2 w 2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4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5" name="Freeform 234">
              <a:extLst>
                <a:ext uri="{FF2B5EF4-FFF2-40B4-BE49-F238E27FC236}">
                  <a16:creationId xmlns:a16="http://schemas.microsoft.com/office/drawing/2014/main" id="{58B640C2-6F85-7648-86E7-1C52C5F4AA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7830" y="2942689"/>
              <a:ext cx="99825" cy="131911"/>
            </a:xfrm>
            <a:custGeom>
              <a:avLst/>
              <a:gdLst>
                <a:gd name="T0" fmla="*/ 70 w 84"/>
                <a:gd name="T1" fmla="*/ 106 h 111"/>
                <a:gd name="T2" fmla="*/ 68 w 84"/>
                <a:gd name="T3" fmla="*/ 108 h 111"/>
                <a:gd name="T4" fmla="*/ 78 w 84"/>
                <a:gd name="T5" fmla="*/ 106 h 111"/>
                <a:gd name="T6" fmla="*/ 78 w 84"/>
                <a:gd name="T7" fmla="*/ 100 h 111"/>
                <a:gd name="T8" fmla="*/ 84 w 84"/>
                <a:gd name="T9" fmla="*/ 86 h 111"/>
                <a:gd name="T10" fmla="*/ 80 w 84"/>
                <a:gd name="T11" fmla="*/ 84 h 111"/>
                <a:gd name="T12" fmla="*/ 84 w 84"/>
                <a:gd name="T13" fmla="*/ 86 h 111"/>
                <a:gd name="T14" fmla="*/ 68 w 84"/>
                <a:gd name="T15" fmla="*/ 78 h 111"/>
                <a:gd name="T16" fmla="*/ 65 w 84"/>
                <a:gd name="T17" fmla="*/ 82 h 111"/>
                <a:gd name="T18" fmla="*/ 61 w 84"/>
                <a:gd name="T19" fmla="*/ 88 h 111"/>
                <a:gd name="T20" fmla="*/ 68 w 84"/>
                <a:gd name="T21" fmla="*/ 82 h 111"/>
                <a:gd name="T22" fmla="*/ 61 w 84"/>
                <a:gd name="T23" fmla="*/ 78 h 111"/>
                <a:gd name="T24" fmla="*/ 63 w 84"/>
                <a:gd name="T25" fmla="*/ 78 h 111"/>
                <a:gd name="T26" fmla="*/ 49 w 84"/>
                <a:gd name="T27" fmla="*/ 65 h 111"/>
                <a:gd name="T28" fmla="*/ 49 w 84"/>
                <a:gd name="T29" fmla="*/ 63 h 111"/>
                <a:gd name="T30" fmla="*/ 47 w 84"/>
                <a:gd name="T31" fmla="*/ 69 h 111"/>
                <a:gd name="T32" fmla="*/ 53 w 84"/>
                <a:gd name="T33" fmla="*/ 74 h 111"/>
                <a:gd name="T34" fmla="*/ 37 w 84"/>
                <a:gd name="T35" fmla="*/ 61 h 111"/>
                <a:gd name="T36" fmla="*/ 41 w 84"/>
                <a:gd name="T37" fmla="*/ 65 h 111"/>
                <a:gd name="T38" fmla="*/ 61 w 84"/>
                <a:gd name="T39" fmla="*/ 53 h 111"/>
                <a:gd name="T40" fmla="*/ 14 w 84"/>
                <a:gd name="T41" fmla="*/ 53 h 111"/>
                <a:gd name="T42" fmla="*/ 12 w 84"/>
                <a:gd name="T43" fmla="*/ 51 h 111"/>
                <a:gd name="T44" fmla="*/ 8 w 84"/>
                <a:gd name="T45" fmla="*/ 49 h 111"/>
                <a:gd name="T46" fmla="*/ 10 w 84"/>
                <a:gd name="T47" fmla="*/ 57 h 111"/>
                <a:gd name="T48" fmla="*/ 14 w 84"/>
                <a:gd name="T49" fmla="*/ 55 h 111"/>
                <a:gd name="T50" fmla="*/ 49 w 84"/>
                <a:gd name="T51" fmla="*/ 51 h 111"/>
                <a:gd name="T52" fmla="*/ 45 w 84"/>
                <a:gd name="T53" fmla="*/ 43 h 111"/>
                <a:gd name="T54" fmla="*/ 47 w 84"/>
                <a:gd name="T55" fmla="*/ 49 h 111"/>
                <a:gd name="T56" fmla="*/ 47 w 84"/>
                <a:gd name="T57" fmla="*/ 53 h 111"/>
                <a:gd name="T58" fmla="*/ 16 w 84"/>
                <a:gd name="T59" fmla="*/ 34 h 111"/>
                <a:gd name="T60" fmla="*/ 20 w 84"/>
                <a:gd name="T61" fmla="*/ 34 h 111"/>
                <a:gd name="T62" fmla="*/ 12 w 84"/>
                <a:gd name="T63" fmla="*/ 47 h 111"/>
                <a:gd name="T64" fmla="*/ 10 w 84"/>
                <a:gd name="T65" fmla="*/ 37 h 111"/>
                <a:gd name="T66" fmla="*/ 6 w 84"/>
                <a:gd name="T67" fmla="*/ 32 h 111"/>
                <a:gd name="T68" fmla="*/ 4 w 84"/>
                <a:gd name="T69" fmla="*/ 43 h 111"/>
                <a:gd name="T70" fmla="*/ 2 w 84"/>
                <a:gd name="T71" fmla="*/ 45 h 111"/>
                <a:gd name="T72" fmla="*/ 6 w 84"/>
                <a:gd name="T73" fmla="*/ 47 h 111"/>
                <a:gd name="T74" fmla="*/ 37 w 84"/>
                <a:gd name="T75" fmla="*/ 43 h 111"/>
                <a:gd name="T76" fmla="*/ 39 w 84"/>
                <a:gd name="T77" fmla="*/ 32 h 111"/>
                <a:gd name="T78" fmla="*/ 31 w 84"/>
                <a:gd name="T79" fmla="*/ 26 h 111"/>
                <a:gd name="T80" fmla="*/ 35 w 84"/>
                <a:gd name="T81" fmla="*/ 30 h 111"/>
                <a:gd name="T82" fmla="*/ 37 w 84"/>
                <a:gd name="T83" fmla="*/ 37 h 111"/>
                <a:gd name="T84" fmla="*/ 37 w 84"/>
                <a:gd name="T85" fmla="*/ 43 h 111"/>
                <a:gd name="T86" fmla="*/ 8 w 84"/>
                <a:gd name="T87" fmla="*/ 4 h 111"/>
                <a:gd name="T88" fmla="*/ 4 w 84"/>
                <a:gd name="T89" fmla="*/ 8 h 111"/>
                <a:gd name="T90" fmla="*/ 2 w 84"/>
                <a:gd name="T91" fmla="*/ 8 h 111"/>
                <a:gd name="T92" fmla="*/ 16 w 84"/>
                <a:gd name="T93" fmla="*/ 6 h 111"/>
                <a:gd name="T94" fmla="*/ 26 w 84"/>
                <a:gd name="T95" fmla="*/ 6 h 111"/>
                <a:gd name="T96" fmla="*/ 20 w 84"/>
                <a:gd name="T97" fmla="*/ 2 h 111"/>
                <a:gd name="T98" fmla="*/ 22 w 84"/>
                <a:gd name="T99" fmla="*/ 2 h 111"/>
                <a:gd name="T100" fmla="*/ 26 w 84"/>
                <a:gd name="T101" fmla="*/ 12 h 111"/>
                <a:gd name="T102" fmla="*/ 22 w 84"/>
                <a:gd name="T103" fmla="*/ 18 h 111"/>
                <a:gd name="T104" fmla="*/ 29 w 84"/>
                <a:gd name="T105" fmla="*/ 1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111">
                  <a:moveTo>
                    <a:pt x="76" y="106"/>
                  </a:moveTo>
                  <a:lnTo>
                    <a:pt x="74" y="106"/>
                  </a:lnTo>
                  <a:lnTo>
                    <a:pt x="74" y="106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6" y="111"/>
                  </a:lnTo>
                  <a:lnTo>
                    <a:pt x="78" y="106"/>
                  </a:lnTo>
                  <a:lnTo>
                    <a:pt x="78" y="106"/>
                  </a:lnTo>
                  <a:lnTo>
                    <a:pt x="78" y="104"/>
                  </a:lnTo>
                  <a:lnTo>
                    <a:pt x="78" y="104"/>
                  </a:lnTo>
                  <a:lnTo>
                    <a:pt x="76" y="106"/>
                  </a:lnTo>
                  <a:close/>
                  <a:moveTo>
                    <a:pt x="78" y="100"/>
                  </a:moveTo>
                  <a:lnTo>
                    <a:pt x="78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78" y="100"/>
                  </a:lnTo>
                  <a:close/>
                  <a:moveTo>
                    <a:pt x="84" y="86"/>
                  </a:moveTo>
                  <a:lnTo>
                    <a:pt x="84" y="84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78" y="84"/>
                  </a:lnTo>
                  <a:lnTo>
                    <a:pt x="80" y="84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84" y="86"/>
                  </a:lnTo>
                  <a:lnTo>
                    <a:pt x="84" y="86"/>
                  </a:lnTo>
                  <a:lnTo>
                    <a:pt x="84" y="86"/>
                  </a:lnTo>
                  <a:close/>
                  <a:moveTo>
                    <a:pt x="68" y="80"/>
                  </a:moveTo>
                  <a:lnTo>
                    <a:pt x="68" y="78"/>
                  </a:lnTo>
                  <a:lnTo>
                    <a:pt x="68" y="78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5" y="82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3" y="84"/>
                  </a:lnTo>
                  <a:lnTo>
                    <a:pt x="63" y="86"/>
                  </a:lnTo>
                  <a:lnTo>
                    <a:pt x="61" y="88"/>
                  </a:lnTo>
                  <a:lnTo>
                    <a:pt x="59" y="88"/>
                  </a:lnTo>
                  <a:lnTo>
                    <a:pt x="61" y="88"/>
                  </a:lnTo>
                  <a:lnTo>
                    <a:pt x="63" y="86"/>
                  </a:lnTo>
                  <a:lnTo>
                    <a:pt x="65" y="84"/>
                  </a:lnTo>
                  <a:lnTo>
                    <a:pt x="68" y="82"/>
                  </a:lnTo>
                  <a:lnTo>
                    <a:pt x="68" y="80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3" y="8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3" y="78"/>
                  </a:lnTo>
                  <a:lnTo>
                    <a:pt x="63" y="76"/>
                  </a:lnTo>
                  <a:lnTo>
                    <a:pt x="61" y="76"/>
                  </a:lnTo>
                  <a:close/>
                  <a:moveTo>
                    <a:pt x="51" y="69"/>
                  </a:moveTo>
                  <a:lnTo>
                    <a:pt x="49" y="67"/>
                  </a:lnTo>
                  <a:lnTo>
                    <a:pt x="49" y="65"/>
                  </a:lnTo>
                  <a:lnTo>
                    <a:pt x="49" y="63"/>
                  </a:lnTo>
                  <a:lnTo>
                    <a:pt x="47" y="61"/>
                  </a:lnTo>
                  <a:lnTo>
                    <a:pt x="47" y="61"/>
                  </a:lnTo>
                  <a:lnTo>
                    <a:pt x="47" y="63"/>
                  </a:lnTo>
                  <a:lnTo>
                    <a:pt x="49" y="63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7" y="69"/>
                  </a:lnTo>
                  <a:lnTo>
                    <a:pt x="49" y="71"/>
                  </a:lnTo>
                  <a:lnTo>
                    <a:pt x="51" y="71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4"/>
                  </a:lnTo>
                  <a:lnTo>
                    <a:pt x="51" y="71"/>
                  </a:lnTo>
                  <a:lnTo>
                    <a:pt x="51" y="69"/>
                  </a:lnTo>
                  <a:close/>
                  <a:moveTo>
                    <a:pt x="39" y="63"/>
                  </a:move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9" y="63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3"/>
                  </a:lnTo>
                  <a:lnTo>
                    <a:pt x="39" y="63"/>
                  </a:lnTo>
                  <a:close/>
                  <a:moveTo>
                    <a:pt x="63" y="53"/>
                  </a:moveTo>
                  <a:lnTo>
                    <a:pt x="63" y="53"/>
                  </a:lnTo>
                  <a:lnTo>
                    <a:pt x="61" y="53"/>
                  </a:lnTo>
                  <a:lnTo>
                    <a:pt x="61" y="53"/>
                  </a:lnTo>
                  <a:lnTo>
                    <a:pt x="61" y="55"/>
                  </a:lnTo>
                  <a:lnTo>
                    <a:pt x="61" y="55"/>
                  </a:lnTo>
                  <a:lnTo>
                    <a:pt x="63" y="53"/>
                  </a:lnTo>
                  <a:close/>
                  <a:moveTo>
                    <a:pt x="14" y="53"/>
                  </a:moveTo>
                  <a:lnTo>
                    <a:pt x="12" y="51"/>
                  </a:lnTo>
                  <a:lnTo>
                    <a:pt x="12" y="53"/>
                  </a:lnTo>
                  <a:lnTo>
                    <a:pt x="10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8" y="51"/>
                  </a:lnTo>
                  <a:lnTo>
                    <a:pt x="8" y="49"/>
                  </a:lnTo>
                  <a:lnTo>
                    <a:pt x="6" y="51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7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12" y="59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3"/>
                  </a:lnTo>
                  <a:close/>
                  <a:moveTo>
                    <a:pt x="49" y="51"/>
                  </a:moveTo>
                  <a:lnTo>
                    <a:pt x="49" y="51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9" y="51"/>
                  </a:lnTo>
                  <a:lnTo>
                    <a:pt x="49" y="51"/>
                  </a:lnTo>
                  <a:close/>
                  <a:moveTo>
                    <a:pt x="20" y="34"/>
                  </a:moveTo>
                  <a:lnTo>
                    <a:pt x="18" y="34"/>
                  </a:lnTo>
                  <a:lnTo>
                    <a:pt x="16" y="34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8" y="37"/>
                  </a:lnTo>
                  <a:lnTo>
                    <a:pt x="20" y="37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  <a:moveTo>
                    <a:pt x="10" y="47"/>
                  </a:moveTo>
                  <a:lnTo>
                    <a:pt x="10" y="47"/>
                  </a:lnTo>
                  <a:lnTo>
                    <a:pt x="12" y="47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1"/>
                  </a:lnTo>
                  <a:lnTo>
                    <a:pt x="10" y="41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6" y="32"/>
                  </a:lnTo>
                  <a:lnTo>
                    <a:pt x="6" y="37"/>
                  </a:lnTo>
                  <a:lnTo>
                    <a:pt x="6" y="39"/>
                  </a:lnTo>
                  <a:lnTo>
                    <a:pt x="4" y="41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4" y="45"/>
                  </a:lnTo>
                  <a:lnTo>
                    <a:pt x="4" y="47"/>
                  </a:lnTo>
                  <a:lnTo>
                    <a:pt x="6" y="4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9"/>
                  </a:lnTo>
                  <a:lnTo>
                    <a:pt x="8" y="49"/>
                  </a:lnTo>
                  <a:lnTo>
                    <a:pt x="10" y="47"/>
                  </a:lnTo>
                  <a:close/>
                  <a:moveTo>
                    <a:pt x="37" y="43"/>
                  </a:moveTo>
                  <a:lnTo>
                    <a:pt x="37" y="43"/>
                  </a:lnTo>
                  <a:lnTo>
                    <a:pt x="37" y="41"/>
                  </a:lnTo>
                  <a:lnTo>
                    <a:pt x="39" y="39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2"/>
                  </a:lnTo>
                  <a:lnTo>
                    <a:pt x="37" y="30"/>
                  </a:lnTo>
                  <a:lnTo>
                    <a:pt x="35" y="28"/>
                  </a:lnTo>
                  <a:lnTo>
                    <a:pt x="33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3" y="28"/>
                  </a:lnTo>
                  <a:lnTo>
                    <a:pt x="35" y="30"/>
                  </a:lnTo>
                  <a:lnTo>
                    <a:pt x="37" y="30"/>
                  </a:lnTo>
                  <a:lnTo>
                    <a:pt x="37" y="32"/>
                  </a:lnTo>
                  <a:lnTo>
                    <a:pt x="39" y="34"/>
                  </a:lnTo>
                  <a:lnTo>
                    <a:pt x="39" y="37"/>
                  </a:lnTo>
                  <a:lnTo>
                    <a:pt x="37" y="37"/>
                  </a:lnTo>
                  <a:lnTo>
                    <a:pt x="37" y="39"/>
                  </a:lnTo>
                  <a:lnTo>
                    <a:pt x="35" y="39"/>
                  </a:lnTo>
                  <a:lnTo>
                    <a:pt x="35" y="41"/>
                  </a:lnTo>
                  <a:lnTo>
                    <a:pt x="37" y="41"/>
                  </a:lnTo>
                  <a:lnTo>
                    <a:pt x="37" y="43"/>
                  </a:lnTo>
                  <a:close/>
                  <a:moveTo>
                    <a:pt x="14" y="4"/>
                  </a:moveTo>
                  <a:lnTo>
                    <a:pt x="10" y="4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10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4"/>
                  </a:lnTo>
                  <a:close/>
                  <a:moveTo>
                    <a:pt x="26" y="6"/>
                  </a:move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2" y="2"/>
                  </a:lnTo>
                  <a:lnTo>
                    <a:pt x="24" y="6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4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9" y="12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6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6" name="Freeform 240">
              <a:extLst>
                <a:ext uri="{FF2B5EF4-FFF2-40B4-BE49-F238E27FC236}">
                  <a16:creationId xmlns:a16="http://schemas.microsoft.com/office/drawing/2014/main" id="{E65B3D8A-23FA-A941-A06C-A4AA181095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6088" y="4007484"/>
              <a:ext cx="294720" cy="715409"/>
            </a:xfrm>
            <a:custGeom>
              <a:avLst/>
              <a:gdLst>
                <a:gd name="T0" fmla="*/ 242 w 248"/>
                <a:gd name="T1" fmla="*/ 598 h 602"/>
                <a:gd name="T2" fmla="*/ 182 w 248"/>
                <a:gd name="T3" fmla="*/ 578 h 602"/>
                <a:gd name="T4" fmla="*/ 170 w 248"/>
                <a:gd name="T5" fmla="*/ 572 h 602"/>
                <a:gd name="T6" fmla="*/ 215 w 248"/>
                <a:gd name="T7" fmla="*/ 600 h 602"/>
                <a:gd name="T8" fmla="*/ 166 w 248"/>
                <a:gd name="T9" fmla="*/ 319 h 602"/>
                <a:gd name="T10" fmla="*/ 223 w 248"/>
                <a:gd name="T11" fmla="*/ 251 h 602"/>
                <a:gd name="T12" fmla="*/ 195 w 248"/>
                <a:gd name="T13" fmla="*/ 210 h 602"/>
                <a:gd name="T14" fmla="*/ 195 w 248"/>
                <a:gd name="T15" fmla="*/ 183 h 602"/>
                <a:gd name="T16" fmla="*/ 193 w 248"/>
                <a:gd name="T17" fmla="*/ 160 h 602"/>
                <a:gd name="T18" fmla="*/ 209 w 248"/>
                <a:gd name="T19" fmla="*/ 134 h 602"/>
                <a:gd name="T20" fmla="*/ 219 w 248"/>
                <a:gd name="T21" fmla="*/ 119 h 602"/>
                <a:gd name="T22" fmla="*/ 232 w 248"/>
                <a:gd name="T23" fmla="*/ 105 h 602"/>
                <a:gd name="T24" fmla="*/ 246 w 248"/>
                <a:gd name="T25" fmla="*/ 93 h 602"/>
                <a:gd name="T26" fmla="*/ 236 w 248"/>
                <a:gd name="T27" fmla="*/ 68 h 602"/>
                <a:gd name="T28" fmla="*/ 223 w 248"/>
                <a:gd name="T29" fmla="*/ 93 h 602"/>
                <a:gd name="T30" fmla="*/ 209 w 248"/>
                <a:gd name="T31" fmla="*/ 101 h 602"/>
                <a:gd name="T32" fmla="*/ 172 w 248"/>
                <a:gd name="T33" fmla="*/ 97 h 602"/>
                <a:gd name="T34" fmla="*/ 174 w 248"/>
                <a:gd name="T35" fmla="*/ 82 h 602"/>
                <a:gd name="T36" fmla="*/ 180 w 248"/>
                <a:gd name="T37" fmla="*/ 64 h 602"/>
                <a:gd name="T38" fmla="*/ 133 w 248"/>
                <a:gd name="T39" fmla="*/ 39 h 602"/>
                <a:gd name="T40" fmla="*/ 94 w 248"/>
                <a:gd name="T41" fmla="*/ 8 h 602"/>
                <a:gd name="T42" fmla="*/ 69 w 248"/>
                <a:gd name="T43" fmla="*/ 14 h 602"/>
                <a:gd name="T44" fmla="*/ 43 w 248"/>
                <a:gd name="T45" fmla="*/ 4 h 602"/>
                <a:gd name="T46" fmla="*/ 26 w 248"/>
                <a:gd name="T47" fmla="*/ 14 h 602"/>
                <a:gd name="T48" fmla="*/ 8 w 248"/>
                <a:gd name="T49" fmla="*/ 51 h 602"/>
                <a:gd name="T50" fmla="*/ 14 w 248"/>
                <a:gd name="T51" fmla="*/ 80 h 602"/>
                <a:gd name="T52" fmla="*/ 10 w 248"/>
                <a:gd name="T53" fmla="*/ 97 h 602"/>
                <a:gd name="T54" fmla="*/ 2 w 248"/>
                <a:gd name="T55" fmla="*/ 127 h 602"/>
                <a:gd name="T56" fmla="*/ 2 w 248"/>
                <a:gd name="T57" fmla="*/ 156 h 602"/>
                <a:gd name="T58" fmla="*/ 0 w 248"/>
                <a:gd name="T59" fmla="*/ 175 h 602"/>
                <a:gd name="T60" fmla="*/ 10 w 248"/>
                <a:gd name="T61" fmla="*/ 197 h 602"/>
                <a:gd name="T62" fmla="*/ 22 w 248"/>
                <a:gd name="T63" fmla="*/ 222 h 602"/>
                <a:gd name="T64" fmla="*/ 20 w 248"/>
                <a:gd name="T65" fmla="*/ 245 h 602"/>
                <a:gd name="T66" fmla="*/ 20 w 248"/>
                <a:gd name="T67" fmla="*/ 265 h 602"/>
                <a:gd name="T68" fmla="*/ 18 w 248"/>
                <a:gd name="T69" fmla="*/ 284 h 602"/>
                <a:gd name="T70" fmla="*/ 28 w 248"/>
                <a:gd name="T71" fmla="*/ 313 h 602"/>
                <a:gd name="T72" fmla="*/ 26 w 248"/>
                <a:gd name="T73" fmla="*/ 331 h 602"/>
                <a:gd name="T74" fmla="*/ 28 w 248"/>
                <a:gd name="T75" fmla="*/ 347 h 602"/>
                <a:gd name="T76" fmla="*/ 37 w 248"/>
                <a:gd name="T77" fmla="*/ 374 h 602"/>
                <a:gd name="T78" fmla="*/ 47 w 248"/>
                <a:gd name="T79" fmla="*/ 395 h 602"/>
                <a:gd name="T80" fmla="*/ 65 w 248"/>
                <a:gd name="T81" fmla="*/ 413 h 602"/>
                <a:gd name="T82" fmla="*/ 67 w 248"/>
                <a:gd name="T83" fmla="*/ 428 h 602"/>
                <a:gd name="T84" fmla="*/ 74 w 248"/>
                <a:gd name="T85" fmla="*/ 452 h 602"/>
                <a:gd name="T86" fmla="*/ 72 w 248"/>
                <a:gd name="T87" fmla="*/ 473 h 602"/>
                <a:gd name="T88" fmla="*/ 72 w 248"/>
                <a:gd name="T89" fmla="*/ 495 h 602"/>
                <a:gd name="T90" fmla="*/ 84 w 248"/>
                <a:gd name="T91" fmla="*/ 524 h 602"/>
                <a:gd name="T92" fmla="*/ 100 w 248"/>
                <a:gd name="T93" fmla="*/ 535 h 602"/>
                <a:gd name="T94" fmla="*/ 143 w 248"/>
                <a:gd name="T95" fmla="*/ 551 h 602"/>
                <a:gd name="T96" fmla="*/ 143 w 248"/>
                <a:gd name="T97" fmla="*/ 541 h 602"/>
                <a:gd name="T98" fmla="*/ 141 w 248"/>
                <a:gd name="T99" fmla="*/ 520 h 602"/>
                <a:gd name="T100" fmla="*/ 145 w 248"/>
                <a:gd name="T101" fmla="*/ 514 h 602"/>
                <a:gd name="T102" fmla="*/ 166 w 248"/>
                <a:gd name="T103" fmla="*/ 477 h 602"/>
                <a:gd name="T104" fmla="*/ 148 w 248"/>
                <a:gd name="T105" fmla="*/ 461 h 602"/>
                <a:gd name="T106" fmla="*/ 148 w 248"/>
                <a:gd name="T107" fmla="*/ 424 h 602"/>
                <a:gd name="T108" fmla="*/ 152 w 248"/>
                <a:gd name="T109" fmla="*/ 389 h 602"/>
                <a:gd name="T110" fmla="*/ 164 w 248"/>
                <a:gd name="T111" fmla="*/ 382 h 602"/>
                <a:gd name="T112" fmla="*/ 150 w 248"/>
                <a:gd name="T113" fmla="*/ 376 h 602"/>
                <a:gd name="T114" fmla="*/ 131 w 248"/>
                <a:gd name="T115" fmla="*/ 347 h 602"/>
                <a:gd name="T116" fmla="*/ 168 w 248"/>
                <a:gd name="T117" fmla="*/ 341 h 602"/>
                <a:gd name="T118" fmla="*/ 160 w 248"/>
                <a:gd name="T119" fmla="*/ 313 h 602"/>
                <a:gd name="T120" fmla="*/ 234 w 248"/>
                <a:gd name="T121" fmla="*/ 288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8" h="602">
                  <a:moveTo>
                    <a:pt x="248" y="596"/>
                  </a:moveTo>
                  <a:lnTo>
                    <a:pt x="246" y="596"/>
                  </a:lnTo>
                  <a:lnTo>
                    <a:pt x="244" y="596"/>
                  </a:lnTo>
                  <a:lnTo>
                    <a:pt x="244" y="596"/>
                  </a:lnTo>
                  <a:lnTo>
                    <a:pt x="244" y="596"/>
                  </a:lnTo>
                  <a:lnTo>
                    <a:pt x="242" y="596"/>
                  </a:lnTo>
                  <a:lnTo>
                    <a:pt x="240" y="596"/>
                  </a:lnTo>
                  <a:lnTo>
                    <a:pt x="238" y="596"/>
                  </a:lnTo>
                  <a:lnTo>
                    <a:pt x="238" y="596"/>
                  </a:lnTo>
                  <a:lnTo>
                    <a:pt x="238" y="598"/>
                  </a:lnTo>
                  <a:lnTo>
                    <a:pt x="236" y="598"/>
                  </a:lnTo>
                  <a:lnTo>
                    <a:pt x="236" y="598"/>
                  </a:lnTo>
                  <a:lnTo>
                    <a:pt x="236" y="598"/>
                  </a:lnTo>
                  <a:lnTo>
                    <a:pt x="238" y="600"/>
                  </a:lnTo>
                  <a:lnTo>
                    <a:pt x="240" y="598"/>
                  </a:lnTo>
                  <a:lnTo>
                    <a:pt x="240" y="598"/>
                  </a:lnTo>
                  <a:lnTo>
                    <a:pt x="242" y="598"/>
                  </a:lnTo>
                  <a:lnTo>
                    <a:pt x="246" y="598"/>
                  </a:lnTo>
                  <a:lnTo>
                    <a:pt x="246" y="598"/>
                  </a:lnTo>
                  <a:lnTo>
                    <a:pt x="248" y="596"/>
                  </a:lnTo>
                  <a:lnTo>
                    <a:pt x="248" y="596"/>
                  </a:lnTo>
                  <a:close/>
                  <a:moveTo>
                    <a:pt x="226" y="594"/>
                  </a:moveTo>
                  <a:lnTo>
                    <a:pt x="221" y="594"/>
                  </a:lnTo>
                  <a:lnTo>
                    <a:pt x="217" y="594"/>
                  </a:lnTo>
                  <a:lnTo>
                    <a:pt x="213" y="592"/>
                  </a:lnTo>
                  <a:lnTo>
                    <a:pt x="209" y="592"/>
                  </a:lnTo>
                  <a:lnTo>
                    <a:pt x="205" y="590"/>
                  </a:lnTo>
                  <a:lnTo>
                    <a:pt x="201" y="588"/>
                  </a:lnTo>
                  <a:lnTo>
                    <a:pt x="199" y="586"/>
                  </a:lnTo>
                  <a:lnTo>
                    <a:pt x="195" y="584"/>
                  </a:lnTo>
                  <a:lnTo>
                    <a:pt x="191" y="582"/>
                  </a:lnTo>
                  <a:lnTo>
                    <a:pt x="187" y="580"/>
                  </a:lnTo>
                  <a:lnTo>
                    <a:pt x="184" y="578"/>
                  </a:lnTo>
                  <a:lnTo>
                    <a:pt x="182" y="578"/>
                  </a:lnTo>
                  <a:lnTo>
                    <a:pt x="180" y="576"/>
                  </a:lnTo>
                  <a:lnTo>
                    <a:pt x="176" y="572"/>
                  </a:lnTo>
                  <a:lnTo>
                    <a:pt x="176" y="572"/>
                  </a:lnTo>
                  <a:lnTo>
                    <a:pt x="172" y="572"/>
                  </a:lnTo>
                  <a:lnTo>
                    <a:pt x="172" y="572"/>
                  </a:lnTo>
                  <a:lnTo>
                    <a:pt x="170" y="570"/>
                  </a:lnTo>
                  <a:lnTo>
                    <a:pt x="170" y="570"/>
                  </a:lnTo>
                  <a:lnTo>
                    <a:pt x="170" y="567"/>
                  </a:lnTo>
                  <a:lnTo>
                    <a:pt x="170" y="567"/>
                  </a:lnTo>
                  <a:lnTo>
                    <a:pt x="172" y="567"/>
                  </a:lnTo>
                  <a:lnTo>
                    <a:pt x="174" y="567"/>
                  </a:lnTo>
                  <a:lnTo>
                    <a:pt x="172" y="565"/>
                  </a:lnTo>
                  <a:lnTo>
                    <a:pt x="170" y="565"/>
                  </a:lnTo>
                  <a:lnTo>
                    <a:pt x="166" y="561"/>
                  </a:lnTo>
                  <a:lnTo>
                    <a:pt x="164" y="561"/>
                  </a:lnTo>
                  <a:lnTo>
                    <a:pt x="166" y="565"/>
                  </a:lnTo>
                  <a:lnTo>
                    <a:pt x="170" y="572"/>
                  </a:lnTo>
                  <a:lnTo>
                    <a:pt x="172" y="576"/>
                  </a:lnTo>
                  <a:lnTo>
                    <a:pt x="174" y="580"/>
                  </a:lnTo>
                  <a:lnTo>
                    <a:pt x="176" y="584"/>
                  </a:lnTo>
                  <a:lnTo>
                    <a:pt x="178" y="590"/>
                  </a:lnTo>
                  <a:lnTo>
                    <a:pt x="180" y="594"/>
                  </a:lnTo>
                  <a:lnTo>
                    <a:pt x="182" y="598"/>
                  </a:lnTo>
                  <a:lnTo>
                    <a:pt x="184" y="598"/>
                  </a:lnTo>
                  <a:lnTo>
                    <a:pt x="184" y="598"/>
                  </a:lnTo>
                  <a:lnTo>
                    <a:pt x="187" y="598"/>
                  </a:lnTo>
                  <a:lnTo>
                    <a:pt x="189" y="598"/>
                  </a:lnTo>
                  <a:lnTo>
                    <a:pt x="193" y="598"/>
                  </a:lnTo>
                  <a:lnTo>
                    <a:pt x="195" y="598"/>
                  </a:lnTo>
                  <a:lnTo>
                    <a:pt x="205" y="600"/>
                  </a:lnTo>
                  <a:lnTo>
                    <a:pt x="207" y="600"/>
                  </a:lnTo>
                  <a:lnTo>
                    <a:pt x="211" y="602"/>
                  </a:lnTo>
                  <a:lnTo>
                    <a:pt x="213" y="602"/>
                  </a:lnTo>
                  <a:lnTo>
                    <a:pt x="215" y="600"/>
                  </a:lnTo>
                  <a:lnTo>
                    <a:pt x="217" y="600"/>
                  </a:lnTo>
                  <a:lnTo>
                    <a:pt x="217" y="600"/>
                  </a:lnTo>
                  <a:lnTo>
                    <a:pt x="219" y="600"/>
                  </a:lnTo>
                  <a:lnTo>
                    <a:pt x="219" y="600"/>
                  </a:lnTo>
                  <a:lnTo>
                    <a:pt x="221" y="600"/>
                  </a:lnTo>
                  <a:lnTo>
                    <a:pt x="223" y="600"/>
                  </a:lnTo>
                  <a:lnTo>
                    <a:pt x="226" y="600"/>
                  </a:lnTo>
                  <a:lnTo>
                    <a:pt x="228" y="600"/>
                  </a:lnTo>
                  <a:lnTo>
                    <a:pt x="228" y="598"/>
                  </a:lnTo>
                  <a:lnTo>
                    <a:pt x="230" y="598"/>
                  </a:lnTo>
                  <a:lnTo>
                    <a:pt x="230" y="596"/>
                  </a:lnTo>
                  <a:lnTo>
                    <a:pt x="228" y="594"/>
                  </a:lnTo>
                  <a:lnTo>
                    <a:pt x="226" y="594"/>
                  </a:lnTo>
                  <a:close/>
                  <a:moveTo>
                    <a:pt x="168" y="319"/>
                  </a:moveTo>
                  <a:lnTo>
                    <a:pt x="166" y="319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70" y="321"/>
                  </a:lnTo>
                  <a:lnTo>
                    <a:pt x="170" y="321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8" y="319"/>
                  </a:lnTo>
                  <a:close/>
                  <a:moveTo>
                    <a:pt x="236" y="275"/>
                  </a:moveTo>
                  <a:lnTo>
                    <a:pt x="236" y="273"/>
                  </a:lnTo>
                  <a:lnTo>
                    <a:pt x="234" y="267"/>
                  </a:lnTo>
                  <a:lnTo>
                    <a:pt x="234" y="267"/>
                  </a:lnTo>
                  <a:lnTo>
                    <a:pt x="234" y="267"/>
                  </a:lnTo>
                  <a:lnTo>
                    <a:pt x="230" y="267"/>
                  </a:lnTo>
                  <a:lnTo>
                    <a:pt x="228" y="265"/>
                  </a:lnTo>
                  <a:lnTo>
                    <a:pt x="223" y="263"/>
                  </a:lnTo>
                  <a:lnTo>
                    <a:pt x="223" y="261"/>
                  </a:lnTo>
                  <a:lnTo>
                    <a:pt x="221" y="259"/>
                  </a:lnTo>
                  <a:lnTo>
                    <a:pt x="221" y="255"/>
                  </a:lnTo>
                  <a:lnTo>
                    <a:pt x="223" y="251"/>
                  </a:lnTo>
                  <a:lnTo>
                    <a:pt x="221" y="249"/>
                  </a:lnTo>
                  <a:lnTo>
                    <a:pt x="219" y="245"/>
                  </a:lnTo>
                  <a:lnTo>
                    <a:pt x="215" y="243"/>
                  </a:lnTo>
                  <a:lnTo>
                    <a:pt x="211" y="241"/>
                  </a:lnTo>
                  <a:lnTo>
                    <a:pt x="203" y="236"/>
                  </a:lnTo>
                  <a:lnTo>
                    <a:pt x="199" y="232"/>
                  </a:lnTo>
                  <a:lnTo>
                    <a:pt x="199" y="232"/>
                  </a:lnTo>
                  <a:lnTo>
                    <a:pt x="197" y="228"/>
                  </a:lnTo>
                  <a:lnTo>
                    <a:pt x="199" y="228"/>
                  </a:lnTo>
                  <a:lnTo>
                    <a:pt x="199" y="228"/>
                  </a:lnTo>
                  <a:lnTo>
                    <a:pt x="199" y="226"/>
                  </a:lnTo>
                  <a:lnTo>
                    <a:pt x="199" y="224"/>
                  </a:lnTo>
                  <a:lnTo>
                    <a:pt x="197" y="222"/>
                  </a:lnTo>
                  <a:lnTo>
                    <a:pt x="197" y="222"/>
                  </a:lnTo>
                  <a:lnTo>
                    <a:pt x="195" y="218"/>
                  </a:lnTo>
                  <a:lnTo>
                    <a:pt x="195" y="218"/>
                  </a:lnTo>
                  <a:lnTo>
                    <a:pt x="195" y="210"/>
                  </a:lnTo>
                  <a:lnTo>
                    <a:pt x="195" y="208"/>
                  </a:lnTo>
                  <a:lnTo>
                    <a:pt x="195" y="206"/>
                  </a:lnTo>
                  <a:lnTo>
                    <a:pt x="195" y="206"/>
                  </a:lnTo>
                  <a:lnTo>
                    <a:pt x="197" y="206"/>
                  </a:lnTo>
                  <a:lnTo>
                    <a:pt x="197" y="206"/>
                  </a:lnTo>
                  <a:lnTo>
                    <a:pt x="197" y="204"/>
                  </a:lnTo>
                  <a:lnTo>
                    <a:pt x="195" y="197"/>
                  </a:lnTo>
                  <a:lnTo>
                    <a:pt x="195" y="195"/>
                  </a:lnTo>
                  <a:lnTo>
                    <a:pt x="195" y="193"/>
                  </a:lnTo>
                  <a:lnTo>
                    <a:pt x="195" y="191"/>
                  </a:lnTo>
                  <a:lnTo>
                    <a:pt x="195" y="189"/>
                  </a:lnTo>
                  <a:lnTo>
                    <a:pt x="195" y="189"/>
                  </a:lnTo>
                  <a:lnTo>
                    <a:pt x="195" y="187"/>
                  </a:lnTo>
                  <a:lnTo>
                    <a:pt x="193" y="187"/>
                  </a:lnTo>
                  <a:lnTo>
                    <a:pt x="193" y="185"/>
                  </a:lnTo>
                  <a:lnTo>
                    <a:pt x="193" y="185"/>
                  </a:lnTo>
                  <a:lnTo>
                    <a:pt x="195" y="183"/>
                  </a:lnTo>
                  <a:lnTo>
                    <a:pt x="195" y="183"/>
                  </a:lnTo>
                  <a:lnTo>
                    <a:pt x="195" y="181"/>
                  </a:lnTo>
                  <a:lnTo>
                    <a:pt x="195" y="179"/>
                  </a:lnTo>
                  <a:lnTo>
                    <a:pt x="195" y="179"/>
                  </a:lnTo>
                  <a:lnTo>
                    <a:pt x="195" y="179"/>
                  </a:lnTo>
                  <a:lnTo>
                    <a:pt x="193" y="177"/>
                  </a:lnTo>
                  <a:lnTo>
                    <a:pt x="193" y="175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1"/>
                  </a:lnTo>
                  <a:lnTo>
                    <a:pt x="195" y="169"/>
                  </a:lnTo>
                  <a:lnTo>
                    <a:pt x="195" y="169"/>
                  </a:lnTo>
                  <a:lnTo>
                    <a:pt x="195" y="167"/>
                  </a:lnTo>
                  <a:lnTo>
                    <a:pt x="195" y="167"/>
                  </a:lnTo>
                  <a:lnTo>
                    <a:pt x="195" y="167"/>
                  </a:lnTo>
                  <a:lnTo>
                    <a:pt x="195" y="162"/>
                  </a:lnTo>
                  <a:lnTo>
                    <a:pt x="193" y="160"/>
                  </a:lnTo>
                  <a:lnTo>
                    <a:pt x="193" y="158"/>
                  </a:lnTo>
                  <a:lnTo>
                    <a:pt x="195" y="156"/>
                  </a:lnTo>
                  <a:lnTo>
                    <a:pt x="195" y="156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7" y="152"/>
                  </a:lnTo>
                  <a:lnTo>
                    <a:pt x="199" y="150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201" y="146"/>
                  </a:lnTo>
                  <a:lnTo>
                    <a:pt x="203" y="144"/>
                  </a:lnTo>
                  <a:lnTo>
                    <a:pt x="205" y="142"/>
                  </a:lnTo>
                  <a:lnTo>
                    <a:pt x="207" y="140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9" y="134"/>
                  </a:lnTo>
                  <a:lnTo>
                    <a:pt x="209" y="134"/>
                  </a:lnTo>
                  <a:lnTo>
                    <a:pt x="211" y="132"/>
                  </a:lnTo>
                  <a:lnTo>
                    <a:pt x="211" y="130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5" y="123"/>
                  </a:lnTo>
                  <a:lnTo>
                    <a:pt x="215" y="123"/>
                  </a:lnTo>
                  <a:lnTo>
                    <a:pt x="215" y="121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7" y="121"/>
                  </a:lnTo>
                  <a:lnTo>
                    <a:pt x="217" y="119"/>
                  </a:lnTo>
                  <a:lnTo>
                    <a:pt x="217" y="119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9" y="119"/>
                  </a:lnTo>
                  <a:lnTo>
                    <a:pt x="219" y="119"/>
                  </a:lnTo>
                  <a:lnTo>
                    <a:pt x="219" y="119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3" y="113"/>
                  </a:lnTo>
                  <a:lnTo>
                    <a:pt x="223" y="113"/>
                  </a:lnTo>
                  <a:lnTo>
                    <a:pt x="226" y="111"/>
                  </a:lnTo>
                  <a:lnTo>
                    <a:pt x="228" y="111"/>
                  </a:lnTo>
                  <a:lnTo>
                    <a:pt x="228" y="111"/>
                  </a:lnTo>
                  <a:lnTo>
                    <a:pt x="228" y="109"/>
                  </a:lnTo>
                  <a:lnTo>
                    <a:pt x="228" y="109"/>
                  </a:lnTo>
                  <a:lnTo>
                    <a:pt x="230" y="109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4" y="105"/>
                  </a:lnTo>
                  <a:lnTo>
                    <a:pt x="234" y="103"/>
                  </a:lnTo>
                  <a:lnTo>
                    <a:pt x="236" y="103"/>
                  </a:lnTo>
                  <a:lnTo>
                    <a:pt x="236" y="103"/>
                  </a:lnTo>
                  <a:lnTo>
                    <a:pt x="236" y="103"/>
                  </a:lnTo>
                  <a:lnTo>
                    <a:pt x="238" y="103"/>
                  </a:lnTo>
                  <a:lnTo>
                    <a:pt x="240" y="103"/>
                  </a:lnTo>
                  <a:lnTo>
                    <a:pt x="240" y="101"/>
                  </a:lnTo>
                  <a:lnTo>
                    <a:pt x="240" y="99"/>
                  </a:lnTo>
                  <a:lnTo>
                    <a:pt x="242" y="101"/>
                  </a:lnTo>
                  <a:lnTo>
                    <a:pt x="242" y="99"/>
                  </a:lnTo>
                  <a:lnTo>
                    <a:pt x="244" y="99"/>
                  </a:lnTo>
                  <a:lnTo>
                    <a:pt x="244" y="99"/>
                  </a:lnTo>
                  <a:lnTo>
                    <a:pt x="246" y="97"/>
                  </a:lnTo>
                  <a:lnTo>
                    <a:pt x="246" y="95"/>
                  </a:lnTo>
                  <a:lnTo>
                    <a:pt x="246" y="93"/>
                  </a:lnTo>
                  <a:lnTo>
                    <a:pt x="246" y="90"/>
                  </a:lnTo>
                  <a:lnTo>
                    <a:pt x="246" y="90"/>
                  </a:lnTo>
                  <a:lnTo>
                    <a:pt x="246" y="88"/>
                  </a:lnTo>
                  <a:lnTo>
                    <a:pt x="246" y="84"/>
                  </a:lnTo>
                  <a:lnTo>
                    <a:pt x="246" y="82"/>
                  </a:lnTo>
                  <a:lnTo>
                    <a:pt x="246" y="82"/>
                  </a:lnTo>
                  <a:lnTo>
                    <a:pt x="246" y="80"/>
                  </a:lnTo>
                  <a:lnTo>
                    <a:pt x="244" y="78"/>
                  </a:lnTo>
                  <a:lnTo>
                    <a:pt x="242" y="76"/>
                  </a:lnTo>
                  <a:lnTo>
                    <a:pt x="242" y="72"/>
                  </a:lnTo>
                  <a:lnTo>
                    <a:pt x="240" y="70"/>
                  </a:lnTo>
                  <a:lnTo>
                    <a:pt x="240" y="70"/>
                  </a:lnTo>
                  <a:lnTo>
                    <a:pt x="238" y="68"/>
                  </a:lnTo>
                  <a:lnTo>
                    <a:pt x="238" y="68"/>
                  </a:lnTo>
                  <a:lnTo>
                    <a:pt x="236" y="68"/>
                  </a:lnTo>
                  <a:lnTo>
                    <a:pt x="236" y="68"/>
                  </a:lnTo>
                  <a:lnTo>
                    <a:pt x="236" y="68"/>
                  </a:lnTo>
                  <a:lnTo>
                    <a:pt x="236" y="68"/>
                  </a:lnTo>
                  <a:lnTo>
                    <a:pt x="234" y="68"/>
                  </a:lnTo>
                  <a:lnTo>
                    <a:pt x="234" y="68"/>
                  </a:lnTo>
                  <a:lnTo>
                    <a:pt x="232" y="70"/>
                  </a:lnTo>
                  <a:lnTo>
                    <a:pt x="232" y="70"/>
                  </a:lnTo>
                  <a:lnTo>
                    <a:pt x="230" y="68"/>
                  </a:lnTo>
                  <a:lnTo>
                    <a:pt x="230" y="68"/>
                  </a:lnTo>
                  <a:lnTo>
                    <a:pt x="230" y="76"/>
                  </a:lnTo>
                  <a:lnTo>
                    <a:pt x="230" y="82"/>
                  </a:lnTo>
                  <a:lnTo>
                    <a:pt x="230" y="86"/>
                  </a:lnTo>
                  <a:lnTo>
                    <a:pt x="228" y="88"/>
                  </a:lnTo>
                  <a:lnTo>
                    <a:pt x="228" y="88"/>
                  </a:lnTo>
                  <a:lnTo>
                    <a:pt x="228" y="88"/>
                  </a:lnTo>
                  <a:lnTo>
                    <a:pt x="228" y="90"/>
                  </a:lnTo>
                  <a:lnTo>
                    <a:pt x="226" y="90"/>
                  </a:lnTo>
                  <a:lnTo>
                    <a:pt x="226" y="93"/>
                  </a:lnTo>
                  <a:lnTo>
                    <a:pt x="223" y="93"/>
                  </a:lnTo>
                  <a:lnTo>
                    <a:pt x="223" y="93"/>
                  </a:lnTo>
                  <a:lnTo>
                    <a:pt x="223" y="95"/>
                  </a:lnTo>
                  <a:lnTo>
                    <a:pt x="221" y="95"/>
                  </a:lnTo>
                  <a:lnTo>
                    <a:pt x="219" y="95"/>
                  </a:lnTo>
                  <a:lnTo>
                    <a:pt x="219" y="97"/>
                  </a:lnTo>
                  <a:lnTo>
                    <a:pt x="219" y="97"/>
                  </a:lnTo>
                  <a:lnTo>
                    <a:pt x="217" y="97"/>
                  </a:lnTo>
                  <a:lnTo>
                    <a:pt x="217" y="99"/>
                  </a:lnTo>
                  <a:lnTo>
                    <a:pt x="217" y="101"/>
                  </a:lnTo>
                  <a:lnTo>
                    <a:pt x="217" y="101"/>
                  </a:lnTo>
                  <a:lnTo>
                    <a:pt x="217" y="103"/>
                  </a:lnTo>
                  <a:lnTo>
                    <a:pt x="215" y="103"/>
                  </a:lnTo>
                  <a:lnTo>
                    <a:pt x="213" y="101"/>
                  </a:lnTo>
                  <a:lnTo>
                    <a:pt x="213" y="101"/>
                  </a:lnTo>
                  <a:lnTo>
                    <a:pt x="211" y="101"/>
                  </a:lnTo>
                  <a:lnTo>
                    <a:pt x="209" y="101"/>
                  </a:lnTo>
                  <a:lnTo>
                    <a:pt x="209" y="101"/>
                  </a:lnTo>
                  <a:lnTo>
                    <a:pt x="207" y="103"/>
                  </a:lnTo>
                  <a:lnTo>
                    <a:pt x="207" y="105"/>
                  </a:lnTo>
                  <a:lnTo>
                    <a:pt x="205" y="105"/>
                  </a:lnTo>
                  <a:lnTo>
                    <a:pt x="205" y="103"/>
                  </a:lnTo>
                  <a:lnTo>
                    <a:pt x="203" y="103"/>
                  </a:lnTo>
                  <a:lnTo>
                    <a:pt x="201" y="105"/>
                  </a:lnTo>
                  <a:lnTo>
                    <a:pt x="199" y="103"/>
                  </a:lnTo>
                  <a:lnTo>
                    <a:pt x="199" y="103"/>
                  </a:lnTo>
                  <a:lnTo>
                    <a:pt x="197" y="103"/>
                  </a:lnTo>
                  <a:lnTo>
                    <a:pt x="195" y="103"/>
                  </a:lnTo>
                  <a:lnTo>
                    <a:pt x="191" y="103"/>
                  </a:lnTo>
                  <a:lnTo>
                    <a:pt x="182" y="101"/>
                  </a:lnTo>
                  <a:lnTo>
                    <a:pt x="178" y="101"/>
                  </a:lnTo>
                  <a:lnTo>
                    <a:pt x="170" y="101"/>
                  </a:lnTo>
                  <a:lnTo>
                    <a:pt x="170" y="99"/>
                  </a:lnTo>
                  <a:lnTo>
                    <a:pt x="170" y="97"/>
                  </a:lnTo>
                  <a:lnTo>
                    <a:pt x="172" y="97"/>
                  </a:lnTo>
                  <a:lnTo>
                    <a:pt x="172" y="95"/>
                  </a:lnTo>
                  <a:lnTo>
                    <a:pt x="172" y="95"/>
                  </a:lnTo>
                  <a:lnTo>
                    <a:pt x="172" y="93"/>
                  </a:lnTo>
                  <a:lnTo>
                    <a:pt x="174" y="93"/>
                  </a:lnTo>
                  <a:lnTo>
                    <a:pt x="174" y="93"/>
                  </a:lnTo>
                  <a:lnTo>
                    <a:pt x="174" y="93"/>
                  </a:lnTo>
                  <a:lnTo>
                    <a:pt x="174" y="90"/>
                  </a:lnTo>
                  <a:lnTo>
                    <a:pt x="174" y="90"/>
                  </a:lnTo>
                  <a:lnTo>
                    <a:pt x="174" y="90"/>
                  </a:lnTo>
                  <a:lnTo>
                    <a:pt x="174" y="88"/>
                  </a:lnTo>
                  <a:lnTo>
                    <a:pt x="174" y="88"/>
                  </a:lnTo>
                  <a:lnTo>
                    <a:pt x="176" y="88"/>
                  </a:lnTo>
                  <a:lnTo>
                    <a:pt x="176" y="86"/>
                  </a:lnTo>
                  <a:lnTo>
                    <a:pt x="174" y="84"/>
                  </a:lnTo>
                  <a:lnTo>
                    <a:pt x="174" y="84"/>
                  </a:lnTo>
                  <a:lnTo>
                    <a:pt x="174" y="82"/>
                  </a:lnTo>
                  <a:lnTo>
                    <a:pt x="174" y="82"/>
                  </a:lnTo>
                  <a:lnTo>
                    <a:pt x="176" y="80"/>
                  </a:lnTo>
                  <a:lnTo>
                    <a:pt x="176" y="80"/>
                  </a:lnTo>
                  <a:lnTo>
                    <a:pt x="176" y="80"/>
                  </a:lnTo>
                  <a:lnTo>
                    <a:pt x="176" y="78"/>
                  </a:lnTo>
                  <a:lnTo>
                    <a:pt x="178" y="78"/>
                  </a:lnTo>
                  <a:lnTo>
                    <a:pt x="178" y="76"/>
                  </a:lnTo>
                  <a:lnTo>
                    <a:pt x="178" y="76"/>
                  </a:lnTo>
                  <a:lnTo>
                    <a:pt x="178" y="74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0"/>
                  </a:lnTo>
                  <a:lnTo>
                    <a:pt x="180" y="70"/>
                  </a:lnTo>
                  <a:lnTo>
                    <a:pt x="182" y="70"/>
                  </a:lnTo>
                  <a:lnTo>
                    <a:pt x="182" y="68"/>
                  </a:lnTo>
                  <a:lnTo>
                    <a:pt x="182" y="66"/>
                  </a:lnTo>
                  <a:lnTo>
                    <a:pt x="182" y="66"/>
                  </a:lnTo>
                  <a:lnTo>
                    <a:pt x="180" y="64"/>
                  </a:lnTo>
                  <a:lnTo>
                    <a:pt x="178" y="60"/>
                  </a:lnTo>
                  <a:lnTo>
                    <a:pt x="174" y="60"/>
                  </a:lnTo>
                  <a:lnTo>
                    <a:pt x="172" y="58"/>
                  </a:lnTo>
                  <a:lnTo>
                    <a:pt x="170" y="58"/>
                  </a:lnTo>
                  <a:lnTo>
                    <a:pt x="170" y="58"/>
                  </a:lnTo>
                  <a:lnTo>
                    <a:pt x="168" y="58"/>
                  </a:lnTo>
                  <a:lnTo>
                    <a:pt x="168" y="55"/>
                  </a:lnTo>
                  <a:lnTo>
                    <a:pt x="166" y="55"/>
                  </a:lnTo>
                  <a:lnTo>
                    <a:pt x="162" y="53"/>
                  </a:lnTo>
                  <a:lnTo>
                    <a:pt x="154" y="49"/>
                  </a:lnTo>
                  <a:lnTo>
                    <a:pt x="152" y="47"/>
                  </a:lnTo>
                  <a:lnTo>
                    <a:pt x="150" y="47"/>
                  </a:lnTo>
                  <a:lnTo>
                    <a:pt x="148" y="45"/>
                  </a:lnTo>
                  <a:lnTo>
                    <a:pt x="143" y="41"/>
                  </a:lnTo>
                  <a:lnTo>
                    <a:pt x="139" y="39"/>
                  </a:lnTo>
                  <a:lnTo>
                    <a:pt x="137" y="39"/>
                  </a:lnTo>
                  <a:lnTo>
                    <a:pt x="133" y="39"/>
                  </a:lnTo>
                  <a:lnTo>
                    <a:pt x="127" y="37"/>
                  </a:lnTo>
                  <a:lnTo>
                    <a:pt x="123" y="35"/>
                  </a:lnTo>
                  <a:lnTo>
                    <a:pt x="123" y="33"/>
                  </a:lnTo>
                  <a:lnTo>
                    <a:pt x="121" y="31"/>
                  </a:lnTo>
                  <a:lnTo>
                    <a:pt x="117" y="29"/>
                  </a:lnTo>
                  <a:lnTo>
                    <a:pt x="115" y="29"/>
                  </a:lnTo>
                  <a:lnTo>
                    <a:pt x="115" y="29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11" y="25"/>
                  </a:lnTo>
                  <a:lnTo>
                    <a:pt x="108" y="23"/>
                  </a:lnTo>
                  <a:lnTo>
                    <a:pt x="104" y="18"/>
                  </a:lnTo>
                  <a:lnTo>
                    <a:pt x="102" y="14"/>
                  </a:lnTo>
                  <a:lnTo>
                    <a:pt x="100" y="10"/>
                  </a:lnTo>
                  <a:lnTo>
                    <a:pt x="96" y="10"/>
                  </a:lnTo>
                  <a:lnTo>
                    <a:pt x="96" y="8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84" y="2"/>
                  </a:lnTo>
                  <a:lnTo>
                    <a:pt x="78" y="2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6" y="2"/>
                  </a:lnTo>
                  <a:lnTo>
                    <a:pt x="76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2" y="10"/>
                  </a:lnTo>
                  <a:lnTo>
                    <a:pt x="72" y="12"/>
                  </a:lnTo>
                  <a:lnTo>
                    <a:pt x="69" y="14"/>
                  </a:lnTo>
                  <a:lnTo>
                    <a:pt x="69" y="18"/>
                  </a:lnTo>
                  <a:lnTo>
                    <a:pt x="69" y="18"/>
                  </a:lnTo>
                  <a:lnTo>
                    <a:pt x="69" y="16"/>
                  </a:lnTo>
                  <a:lnTo>
                    <a:pt x="67" y="14"/>
                  </a:lnTo>
                  <a:lnTo>
                    <a:pt x="65" y="12"/>
                  </a:lnTo>
                  <a:lnTo>
                    <a:pt x="65" y="10"/>
                  </a:lnTo>
                  <a:lnTo>
                    <a:pt x="63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59" y="6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7" y="4"/>
                  </a:lnTo>
                  <a:lnTo>
                    <a:pt x="45" y="4"/>
                  </a:lnTo>
                  <a:lnTo>
                    <a:pt x="43" y="4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2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3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28" y="10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4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26" y="21"/>
                  </a:lnTo>
                  <a:lnTo>
                    <a:pt x="26" y="27"/>
                  </a:lnTo>
                  <a:lnTo>
                    <a:pt x="26" y="3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41"/>
                  </a:lnTo>
                  <a:lnTo>
                    <a:pt x="20" y="41"/>
                  </a:lnTo>
                  <a:lnTo>
                    <a:pt x="16" y="43"/>
                  </a:lnTo>
                  <a:lnTo>
                    <a:pt x="14" y="45"/>
                  </a:lnTo>
                  <a:lnTo>
                    <a:pt x="12" y="47"/>
                  </a:lnTo>
                  <a:lnTo>
                    <a:pt x="10" y="47"/>
                  </a:lnTo>
                  <a:lnTo>
                    <a:pt x="10" y="49"/>
                  </a:lnTo>
                  <a:lnTo>
                    <a:pt x="8" y="4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3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8" y="62"/>
                  </a:lnTo>
                  <a:lnTo>
                    <a:pt x="8" y="66"/>
                  </a:lnTo>
                  <a:lnTo>
                    <a:pt x="8" y="68"/>
                  </a:lnTo>
                  <a:lnTo>
                    <a:pt x="10" y="70"/>
                  </a:lnTo>
                  <a:lnTo>
                    <a:pt x="10" y="72"/>
                  </a:lnTo>
                  <a:lnTo>
                    <a:pt x="14" y="78"/>
                  </a:lnTo>
                  <a:lnTo>
                    <a:pt x="14" y="80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6"/>
                  </a:lnTo>
                  <a:lnTo>
                    <a:pt x="14" y="88"/>
                  </a:lnTo>
                  <a:lnTo>
                    <a:pt x="16" y="90"/>
                  </a:lnTo>
                  <a:lnTo>
                    <a:pt x="18" y="93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6" y="97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2" y="97"/>
                  </a:lnTo>
                  <a:lnTo>
                    <a:pt x="12" y="97"/>
                  </a:lnTo>
                  <a:lnTo>
                    <a:pt x="12" y="97"/>
                  </a:lnTo>
                  <a:lnTo>
                    <a:pt x="10" y="97"/>
                  </a:lnTo>
                  <a:lnTo>
                    <a:pt x="10" y="99"/>
                  </a:lnTo>
                  <a:lnTo>
                    <a:pt x="10" y="103"/>
                  </a:lnTo>
                  <a:lnTo>
                    <a:pt x="8" y="103"/>
                  </a:lnTo>
                  <a:lnTo>
                    <a:pt x="8" y="105"/>
                  </a:lnTo>
                  <a:lnTo>
                    <a:pt x="8" y="109"/>
                  </a:lnTo>
                  <a:lnTo>
                    <a:pt x="8" y="111"/>
                  </a:lnTo>
                  <a:lnTo>
                    <a:pt x="8" y="111"/>
                  </a:lnTo>
                  <a:lnTo>
                    <a:pt x="6" y="113"/>
                  </a:lnTo>
                  <a:lnTo>
                    <a:pt x="6" y="115"/>
                  </a:lnTo>
                  <a:lnTo>
                    <a:pt x="4" y="117"/>
                  </a:lnTo>
                  <a:lnTo>
                    <a:pt x="4" y="117"/>
                  </a:lnTo>
                  <a:lnTo>
                    <a:pt x="4" y="117"/>
                  </a:lnTo>
                  <a:lnTo>
                    <a:pt x="4" y="119"/>
                  </a:lnTo>
                  <a:lnTo>
                    <a:pt x="2" y="121"/>
                  </a:lnTo>
                  <a:lnTo>
                    <a:pt x="2" y="123"/>
                  </a:lnTo>
                  <a:lnTo>
                    <a:pt x="2" y="125"/>
                  </a:lnTo>
                  <a:lnTo>
                    <a:pt x="2" y="127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0" y="134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2" y="146"/>
                  </a:lnTo>
                  <a:lnTo>
                    <a:pt x="4" y="148"/>
                  </a:lnTo>
                  <a:lnTo>
                    <a:pt x="4" y="150"/>
                  </a:lnTo>
                  <a:lnTo>
                    <a:pt x="4" y="152"/>
                  </a:lnTo>
                  <a:lnTo>
                    <a:pt x="4" y="152"/>
                  </a:lnTo>
                  <a:lnTo>
                    <a:pt x="6" y="152"/>
                  </a:lnTo>
                  <a:lnTo>
                    <a:pt x="6" y="152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4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8"/>
                  </a:lnTo>
                  <a:lnTo>
                    <a:pt x="2" y="158"/>
                  </a:lnTo>
                  <a:lnTo>
                    <a:pt x="2" y="162"/>
                  </a:lnTo>
                  <a:lnTo>
                    <a:pt x="2" y="164"/>
                  </a:lnTo>
                  <a:lnTo>
                    <a:pt x="0" y="167"/>
                  </a:lnTo>
                  <a:lnTo>
                    <a:pt x="2" y="167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2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0" y="177"/>
                  </a:lnTo>
                  <a:lnTo>
                    <a:pt x="0" y="179"/>
                  </a:lnTo>
                  <a:lnTo>
                    <a:pt x="2" y="181"/>
                  </a:lnTo>
                  <a:lnTo>
                    <a:pt x="4" y="183"/>
                  </a:lnTo>
                  <a:lnTo>
                    <a:pt x="4" y="185"/>
                  </a:lnTo>
                  <a:lnTo>
                    <a:pt x="6" y="185"/>
                  </a:lnTo>
                  <a:lnTo>
                    <a:pt x="6" y="185"/>
                  </a:lnTo>
                  <a:lnTo>
                    <a:pt x="6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6" y="189"/>
                  </a:lnTo>
                  <a:lnTo>
                    <a:pt x="8" y="191"/>
                  </a:lnTo>
                  <a:lnTo>
                    <a:pt x="8" y="191"/>
                  </a:lnTo>
                  <a:lnTo>
                    <a:pt x="10" y="193"/>
                  </a:lnTo>
                  <a:lnTo>
                    <a:pt x="10" y="195"/>
                  </a:lnTo>
                  <a:lnTo>
                    <a:pt x="10" y="197"/>
                  </a:lnTo>
                  <a:lnTo>
                    <a:pt x="12" y="201"/>
                  </a:lnTo>
                  <a:lnTo>
                    <a:pt x="14" y="201"/>
                  </a:lnTo>
                  <a:lnTo>
                    <a:pt x="14" y="204"/>
                  </a:lnTo>
                  <a:lnTo>
                    <a:pt x="14" y="204"/>
                  </a:lnTo>
                  <a:lnTo>
                    <a:pt x="14" y="206"/>
                  </a:lnTo>
                  <a:lnTo>
                    <a:pt x="14" y="208"/>
                  </a:lnTo>
                  <a:lnTo>
                    <a:pt x="14" y="208"/>
                  </a:lnTo>
                  <a:lnTo>
                    <a:pt x="16" y="210"/>
                  </a:lnTo>
                  <a:lnTo>
                    <a:pt x="16" y="210"/>
                  </a:lnTo>
                  <a:lnTo>
                    <a:pt x="18" y="210"/>
                  </a:lnTo>
                  <a:lnTo>
                    <a:pt x="20" y="210"/>
                  </a:lnTo>
                  <a:lnTo>
                    <a:pt x="20" y="212"/>
                  </a:lnTo>
                  <a:lnTo>
                    <a:pt x="20" y="212"/>
                  </a:lnTo>
                  <a:lnTo>
                    <a:pt x="20" y="214"/>
                  </a:lnTo>
                  <a:lnTo>
                    <a:pt x="20" y="216"/>
                  </a:lnTo>
                  <a:lnTo>
                    <a:pt x="20" y="218"/>
                  </a:lnTo>
                  <a:lnTo>
                    <a:pt x="22" y="222"/>
                  </a:lnTo>
                  <a:lnTo>
                    <a:pt x="22" y="224"/>
                  </a:lnTo>
                  <a:lnTo>
                    <a:pt x="22" y="226"/>
                  </a:lnTo>
                  <a:lnTo>
                    <a:pt x="24" y="228"/>
                  </a:lnTo>
                  <a:lnTo>
                    <a:pt x="22" y="228"/>
                  </a:lnTo>
                  <a:lnTo>
                    <a:pt x="22" y="228"/>
                  </a:lnTo>
                  <a:lnTo>
                    <a:pt x="22" y="228"/>
                  </a:lnTo>
                  <a:lnTo>
                    <a:pt x="20" y="228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2"/>
                  </a:lnTo>
                  <a:lnTo>
                    <a:pt x="20" y="234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8"/>
                  </a:lnTo>
                  <a:lnTo>
                    <a:pt x="20" y="241"/>
                  </a:lnTo>
                  <a:lnTo>
                    <a:pt x="20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7"/>
                  </a:lnTo>
                  <a:lnTo>
                    <a:pt x="18" y="247"/>
                  </a:lnTo>
                  <a:lnTo>
                    <a:pt x="20" y="247"/>
                  </a:lnTo>
                  <a:lnTo>
                    <a:pt x="20" y="249"/>
                  </a:lnTo>
                  <a:lnTo>
                    <a:pt x="20" y="251"/>
                  </a:lnTo>
                  <a:lnTo>
                    <a:pt x="22" y="251"/>
                  </a:lnTo>
                  <a:lnTo>
                    <a:pt x="22" y="253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4" y="259"/>
                  </a:lnTo>
                  <a:lnTo>
                    <a:pt x="24" y="261"/>
                  </a:lnTo>
                  <a:lnTo>
                    <a:pt x="24" y="263"/>
                  </a:lnTo>
                  <a:lnTo>
                    <a:pt x="22" y="263"/>
                  </a:lnTo>
                  <a:lnTo>
                    <a:pt x="22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6" y="269"/>
                  </a:lnTo>
                  <a:lnTo>
                    <a:pt x="16" y="271"/>
                  </a:lnTo>
                  <a:lnTo>
                    <a:pt x="18" y="271"/>
                  </a:lnTo>
                  <a:lnTo>
                    <a:pt x="16" y="273"/>
                  </a:lnTo>
                  <a:lnTo>
                    <a:pt x="16" y="275"/>
                  </a:lnTo>
                  <a:lnTo>
                    <a:pt x="16" y="275"/>
                  </a:lnTo>
                  <a:lnTo>
                    <a:pt x="18" y="278"/>
                  </a:lnTo>
                  <a:lnTo>
                    <a:pt x="18" y="280"/>
                  </a:lnTo>
                  <a:lnTo>
                    <a:pt x="18" y="282"/>
                  </a:lnTo>
                  <a:lnTo>
                    <a:pt x="18" y="284"/>
                  </a:lnTo>
                  <a:lnTo>
                    <a:pt x="18" y="284"/>
                  </a:lnTo>
                  <a:lnTo>
                    <a:pt x="20" y="286"/>
                  </a:lnTo>
                  <a:lnTo>
                    <a:pt x="20" y="288"/>
                  </a:lnTo>
                  <a:lnTo>
                    <a:pt x="20" y="290"/>
                  </a:lnTo>
                  <a:lnTo>
                    <a:pt x="20" y="290"/>
                  </a:lnTo>
                  <a:lnTo>
                    <a:pt x="22" y="294"/>
                  </a:lnTo>
                  <a:lnTo>
                    <a:pt x="24" y="296"/>
                  </a:lnTo>
                  <a:lnTo>
                    <a:pt x="26" y="298"/>
                  </a:lnTo>
                  <a:lnTo>
                    <a:pt x="26" y="302"/>
                  </a:lnTo>
                  <a:lnTo>
                    <a:pt x="28" y="304"/>
                  </a:lnTo>
                  <a:lnTo>
                    <a:pt x="28" y="306"/>
                  </a:lnTo>
                  <a:lnTo>
                    <a:pt x="30" y="306"/>
                  </a:lnTo>
                  <a:lnTo>
                    <a:pt x="30" y="308"/>
                  </a:lnTo>
                  <a:lnTo>
                    <a:pt x="30" y="308"/>
                  </a:lnTo>
                  <a:lnTo>
                    <a:pt x="30" y="310"/>
                  </a:lnTo>
                  <a:lnTo>
                    <a:pt x="30" y="310"/>
                  </a:lnTo>
                  <a:lnTo>
                    <a:pt x="28" y="313"/>
                  </a:lnTo>
                  <a:lnTo>
                    <a:pt x="28" y="313"/>
                  </a:lnTo>
                  <a:lnTo>
                    <a:pt x="26" y="313"/>
                  </a:lnTo>
                  <a:lnTo>
                    <a:pt x="26" y="315"/>
                  </a:lnTo>
                  <a:lnTo>
                    <a:pt x="24" y="315"/>
                  </a:lnTo>
                  <a:lnTo>
                    <a:pt x="24" y="317"/>
                  </a:lnTo>
                  <a:lnTo>
                    <a:pt x="26" y="321"/>
                  </a:lnTo>
                  <a:lnTo>
                    <a:pt x="26" y="321"/>
                  </a:lnTo>
                  <a:lnTo>
                    <a:pt x="26" y="323"/>
                  </a:lnTo>
                  <a:lnTo>
                    <a:pt x="26" y="325"/>
                  </a:lnTo>
                  <a:lnTo>
                    <a:pt x="26" y="325"/>
                  </a:lnTo>
                  <a:lnTo>
                    <a:pt x="26" y="327"/>
                  </a:lnTo>
                  <a:lnTo>
                    <a:pt x="26" y="327"/>
                  </a:lnTo>
                  <a:lnTo>
                    <a:pt x="26" y="327"/>
                  </a:lnTo>
                  <a:lnTo>
                    <a:pt x="26" y="327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6" y="329"/>
                  </a:lnTo>
                  <a:lnTo>
                    <a:pt x="26" y="331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8" y="335"/>
                  </a:lnTo>
                  <a:lnTo>
                    <a:pt x="26" y="335"/>
                  </a:lnTo>
                  <a:lnTo>
                    <a:pt x="26" y="335"/>
                  </a:lnTo>
                  <a:lnTo>
                    <a:pt x="26" y="337"/>
                  </a:lnTo>
                  <a:lnTo>
                    <a:pt x="26" y="337"/>
                  </a:lnTo>
                  <a:lnTo>
                    <a:pt x="28" y="339"/>
                  </a:lnTo>
                  <a:lnTo>
                    <a:pt x="30" y="339"/>
                  </a:lnTo>
                  <a:lnTo>
                    <a:pt x="30" y="339"/>
                  </a:lnTo>
                  <a:lnTo>
                    <a:pt x="28" y="341"/>
                  </a:lnTo>
                  <a:lnTo>
                    <a:pt x="28" y="341"/>
                  </a:lnTo>
                  <a:lnTo>
                    <a:pt x="28" y="343"/>
                  </a:lnTo>
                  <a:lnTo>
                    <a:pt x="28" y="343"/>
                  </a:lnTo>
                  <a:lnTo>
                    <a:pt x="28" y="345"/>
                  </a:lnTo>
                  <a:lnTo>
                    <a:pt x="28" y="347"/>
                  </a:lnTo>
                  <a:lnTo>
                    <a:pt x="30" y="350"/>
                  </a:lnTo>
                  <a:lnTo>
                    <a:pt x="30" y="352"/>
                  </a:lnTo>
                  <a:lnTo>
                    <a:pt x="33" y="356"/>
                  </a:lnTo>
                  <a:lnTo>
                    <a:pt x="33" y="358"/>
                  </a:lnTo>
                  <a:lnTo>
                    <a:pt x="35" y="362"/>
                  </a:lnTo>
                  <a:lnTo>
                    <a:pt x="35" y="362"/>
                  </a:lnTo>
                  <a:lnTo>
                    <a:pt x="35" y="362"/>
                  </a:lnTo>
                  <a:lnTo>
                    <a:pt x="37" y="366"/>
                  </a:lnTo>
                  <a:lnTo>
                    <a:pt x="39" y="368"/>
                  </a:lnTo>
                  <a:lnTo>
                    <a:pt x="41" y="370"/>
                  </a:lnTo>
                  <a:lnTo>
                    <a:pt x="41" y="370"/>
                  </a:lnTo>
                  <a:lnTo>
                    <a:pt x="39" y="372"/>
                  </a:lnTo>
                  <a:lnTo>
                    <a:pt x="39" y="372"/>
                  </a:lnTo>
                  <a:lnTo>
                    <a:pt x="37" y="372"/>
                  </a:lnTo>
                  <a:lnTo>
                    <a:pt x="37" y="372"/>
                  </a:lnTo>
                  <a:lnTo>
                    <a:pt x="37" y="372"/>
                  </a:lnTo>
                  <a:lnTo>
                    <a:pt x="37" y="374"/>
                  </a:lnTo>
                  <a:lnTo>
                    <a:pt x="37" y="374"/>
                  </a:lnTo>
                  <a:lnTo>
                    <a:pt x="37" y="376"/>
                  </a:lnTo>
                  <a:lnTo>
                    <a:pt x="39" y="378"/>
                  </a:lnTo>
                  <a:lnTo>
                    <a:pt x="39" y="378"/>
                  </a:lnTo>
                  <a:lnTo>
                    <a:pt x="39" y="380"/>
                  </a:lnTo>
                  <a:lnTo>
                    <a:pt x="39" y="380"/>
                  </a:lnTo>
                  <a:lnTo>
                    <a:pt x="39" y="382"/>
                  </a:lnTo>
                  <a:lnTo>
                    <a:pt x="41" y="387"/>
                  </a:lnTo>
                  <a:lnTo>
                    <a:pt x="41" y="389"/>
                  </a:lnTo>
                  <a:lnTo>
                    <a:pt x="43" y="389"/>
                  </a:lnTo>
                  <a:lnTo>
                    <a:pt x="45" y="389"/>
                  </a:lnTo>
                  <a:lnTo>
                    <a:pt x="47" y="391"/>
                  </a:lnTo>
                  <a:lnTo>
                    <a:pt x="49" y="391"/>
                  </a:lnTo>
                  <a:lnTo>
                    <a:pt x="49" y="393"/>
                  </a:lnTo>
                  <a:lnTo>
                    <a:pt x="47" y="393"/>
                  </a:lnTo>
                  <a:lnTo>
                    <a:pt x="47" y="393"/>
                  </a:lnTo>
                  <a:lnTo>
                    <a:pt x="47" y="395"/>
                  </a:lnTo>
                  <a:lnTo>
                    <a:pt x="49" y="397"/>
                  </a:lnTo>
                  <a:lnTo>
                    <a:pt x="51" y="397"/>
                  </a:lnTo>
                  <a:lnTo>
                    <a:pt x="51" y="399"/>
                  </a:lnTo>
                  <a:lnTo>
                    <a:pt x="51" y="399"/>
                  </a:lnTo>
                  <a:lnTo>
                    <a:pt x="51" y="401"/>
                  </a:lnTo>
                  <a:lnTo>
                    <a:pt x="53" y="403"/>
                  </a:lnTo>
                  <a:lnTo>
                    <a:pt x="53" y="403"/>
                  </a:lnTo>
                  <a:lnTo>
                    <a:pt x="53" y="405"/>
                  </a:lnTo>
                  <a:lnTo>
                    <a:pt x="53" y="405"/>
                  </a:lnTo>
                  <a:lnTo>
                    <a:pt x="53" y="407"/>
                  </a:lnTo>
                  <a:lnTo>
                    <a:pt x="53" y="407"/>
                  </a:lnTo>
                  <a:lnTo>
                    <a:pt x="53" y="409"/>
                  </a:lnTo>
                  <a:lnTo>
                    <a:pt x="55" y="411"/>
                  </a:lnTo>
                  <a:lnTo>
                    <a:pt x="55" y="411"/>
                  </a:lnTo>
                  <a:lnTo>
                    <a:pt x="63" y="411"/>
                  </a:lnTo>
                  <a:lnTo>
                    <a:pt x="65" y="413"/>
                  </a:lnTo>
                  <a:lnTo>
                    <a:pt x="65" y="413"/>
                  </a:lnTo>
                  <a:lnTo>
                    <a:pt x="65" y="415"/>
                  </a:lnTo>
                  <a:lnTo>
                    <a:pt x="65" y="415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3" y="417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59" y="417"/>
                  </a:lnTo>
                  <a:lnTo>
                    <a:pt x="55" y="419"/>
                  </a:lnTo>
                  <a:lnTo>
                    <a:pt x="55" y="417"/>
                  </a:lnTo>
                  <a:lnTo>
                    <a:pt x="55" y="419"/>
                  </a:lnTo>
                  <a:lnTo>
                    <a:pt x="55" y="421"/>
                  </a:lnTo>
                  <a:lnTo>
                    <a:pt x="59" y="421"/>
                  </a:lnTo>
                  <a:lnTo>
                    <a:pt x="63" y="421"/>
                  </a:lnTo>
                  <a:lnTo>
                    <a:pt x="63" y="426"/>
                  </a:lnTo>
                  <a:lnTo>
                    <a:pt x="65" y="428"/>
                  </a:lnTo>
                  <a:lnTo>
                    <a:pt x="67" y="428"/>
                  </a:lnTo>
                  <a:lnTo>
                    <a:pt x="69" y="430"/>
                  </a:lnTo>
                  <a:lnTo>
                    <a:pt x="67" y="432"/>
                  </a:lnTo>
                  <a:lnTo>
                    <a:pt x="67" y="434"/>
                  </a:lnTo>
                  <a:lnTo>
                    <a:pt x="65" y="434"/>
                  </a:lnTo>
                  <a:lnTo>
                    <a:pt x="65" y="434"/>
                  </a:lnTo>
                  <a:lnTo>
                    <a:pt x="65" y="436"/>
                  </a:lnTo>
                  <a:lnTo>
                    <a:pt x="67" y="438"/>
                  </a:lnTo>
                  <a:lnTo>
                    <a:pt x="67" y="440"/>
                  </a:lnTo>
                  <a:lnTo>
                    <a:pt x="69" y="440"/>
                  </a:lnTo>
                  <a:lnTo>
                    <a:pt x="69" y="442"/>
                  </a:lnTo>
                  <a:lnTo>
                    <a:pt x="67" y="444"/>
                  </a:lnTo>
                  <a:lnTo>
                    <a:pt x="67" y="444"/>
                  </a:lnTo>
                  <a:lnTo>
                    <a:pt x="67" y="446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72" y="450"/>
                  </a:lnTo>
                  <a:lnTo>
                    <a:pt x="74" y="452"/>
                  </a:lnTo>
                  <a:lnTo>
                    <a:pt x="74" y="454"/>
                  </a:lnTo>
                  <a:lnTo>
                    <a:pt x="74" y="454"/>
                  </a:lnTo>
                  <a:lnTo>
                    <a:pt x="72" y="456"/>
                  </a:lnTo>
                  <a:lnTo>
                    <a:pt x="72" y="456"/>
                  </a:lnTo>
                  <a:lnTo>
                    <a:pt x="72" y="458"/>
                  </a:lnTo>
                  <a:lnTo>
                    <a:pt x="72" y="461"/>
                  </a:lnTo>
                  <a:lnTo>
                    <a:pt x="74" y="461"/>
                  </a:lnTo>
                  <a:lnTo>
                    <a:pt x="74" y="463"/>
                  </a:lnTo>
                  <a:lnTo>
                    <a:pt x="74" y="463"/>
                  </a:lnTo>
                  <a:lnTo>
                    <a:pt x="74" y="463"/>
                  </a:lnTo>
                  <a:lnTo>
                    <a:pt x="74" y="465"/>
                  </a:lnTo>
                  <a:lnTo>
                    <a:pt x="74" y="467"/>
                  </a:lnTo>
                  <a:lnTo>
                    <a:pt x="72" y="467"/>
                  </a:lnTo>
                  <a:lnTo>
                    <a:pt x="69" y="469"/>
                  </a:lnTo>
                  <a:lnTo>
                    <a:pt x="72" y="471"/>
                  </a:lnTo>
                  <a:lnTo>
                    <a:pt x="72" y="473"/>
                  </a:lnTo>
                  <a:lnTo>
                    <a:pt x="72" y="473"/>
                  </a:lnTo>
                  <a:lnTo>
                    <a:pt x="72" y="475"/>
                  </a:lnTo>
                  <a:lnTo>
                    <a:pt x="72" y="477"/>
                  </a:lnTo>
                  <a:lnTo>
                    <a:pt x="74" y="477"/>
                  </a:lnTo>
                  <a:lnTo>
                    <a:pt x="76" y="479"/>
                  </a:lnTo>
                  <a:lnTo>
                    <a:pt x="78" y="481"/>
                  </a:lnTo>
                  <a:lnTo>
                    <a:pt x="78" y="483"/>
                  </a:lnTo>
                  <a:lnTo>
                    <a:pt x="76" y="485"/>
                  </a:lnTo>
                  <a:lnTo>
                    <a:pt x="74" y="485"/>
                  </a:lnTo>
                  <a:lnTo>
                    <a:pt x="74" y="487"/>
                  </a:lnTo>
                  <a:lnTo>
                    <a:pt x="76" y="489"/>
                  </a:lnTo>
                  <a:lnTo>
                    <a:pt x="76" y="491"/>
                  </a:lnTo>
                  <a:lnTo>
                    <a:pt x="76" y="491"/>
                  </a:lnTo>
                  <a:lnTo>
                    <a:pt x="76" y="493"/>
                  </a:lnTo>
                  <a:lnTo>
                    <a:pt x="76" y="493"/>
                  </a:lnTo>
                  <a:lnTo>
                    <a:pt x="74" y="495"/>
                  </a:lnTo>
                  <a:lnTo>
                    <a:pt x="74" y="495"/>
                  </a:lnTo>
                  <a:lnTo>
                    <a:pt x="72" y="495"/>
                  </a:lnTo>
                  <a:lnTo>
                    <a:pt x="72" y="498"/>
                  </a:lnTo>
                  <a:lnTo>
                    <a:pt x="72" y="500"/>
                  </a:lnTo>
                  <a:lnTo>
                    <a:pt x="74" y="502"/>
                  </a:lnTo>
                  <a:lnTo>
                    <a:pt x="69" y="502"/>
                  </a:lnTo>
                  <a:lnTo>
                    <a:pt x="69" y="502"/>
                  </a:lnTo>
                  <a:lnTo>
                    <a:pt x="69" y="504"/>
                  </a:lnTo>
                  <a:lnTo>
                    <a:pt x="69" y="506"/>
                  </a:lnTo>
                  <a:lnTo>
                    <a:pt x="72" y="508"/>
                  </a:lnTo>
                  <a:lnTo>
                    <a:pt x="74" y="510"/>
                  </a:lnTo>
                  <a:lnTo>
                    <a:pt x="74" y="512"/>
                  </a:lnTo>
                  <a:lnTo>
                    <a:pt x="74" y="514"/>
                  </a:lnTo>
                  <a:lnTo>
                    <a:pt x="76" y="516"/>
                  </a:lnTo>
                  <a:lnTo>
                    <a:pt x="78" y="518"/>
                  </a:lnTo>
                  <a:lnTo>
                    <a:pt x="80" y="520"/>
                  </a:lnTo>
                  <a:lnTo>
                    <a:pt x="82" y="522"/>
                  </a:lnTo>
                  <a:lnTo>
                    <a:pt x="82" y="524"/>
                  </a:lnTo>
                  <a:lnTo>
                    <a:pt x="84" y="524"/>
                  </a:lnTo>
                  <a:lnTo>
                    <a:pt x="84" y="526"/>
                  </a:lnTo>
                  <a:lnTo>
                    <a:pt x="86" y="526"/>
                  </a:lnTo>
                  <a:lnTo>
                    <a:pt x="86" y="526"/>
                  </a:lnTo>
                  <a:lnTo>
                    <a:pt x="88" y="526"/>
                  </a:lnTo>
                  <a:lnTo>
                    <a:pt x="88" y="524"/>
                  </a:lnTo>
                  <a:lnTo>
                    <a:pt x="90" y="524"/>
                  </a:lnTo>
                  <a:lnTo>
                    <a:pt x="92" y="524"/>
                  </a:lnTo>
                  <a:lnTo>
                    <a:pt x="92" y="524"/>
                  </a:lnTo>
                  <a:lnTo>
                    <a:pt x="94" y="524"/>
                  </a:lnTo>
                  <a:lnTo>
                    <a:pt x="94" y="524"/>
                  </a:lnTo>
                  <a:lnTo>
                    <a:pt x="96" y="526"/>
                  </a:lnTo>
                  <a:lnTo>
                    <a:pt x="98" y="528"/>
                  </a:lnTo>
                  <a:lnTo>
                    <a:pt x="98" y="530"/>
                  </a:lnTo>
                  <a:lnTo>
                    <a:pt x="100" y="533"/>
                  </a:lnTo>
                  <a:lnTo>
                    <a:pt x="98" y="533"/>
                  </a:lnTo>
                  <a:lnTo>
                    <a:pt x="98" y="533"/>
                  </a:lnTo>
                  <a:lnTo>
                    <a:pt x="100" y="535"/>
                  </a:lnTo>
                  <a:lnTo>
                    <a:pt x="100" y="535"/>
                  </a:lnTo>
                  <a:lnTo>
                    <a:pt x="102" y="537"/>
                  </a:lnTo>
                  <a:lnTo>
                    <a:pt x="102" y="539"/>
                  </a:lnTo>
                  <a:lnTo>
                    <a:pt x="102" y="541"/>
                  </a:lnTo>
                  <a:lnTo>
                    <a:pt x="104" y="543"/>
                  </a:lnTo>
                  <a:lnTo>
                    <a:pt x="106" y="543"/>
                  </a:lnTo>
                  <a:lnTo>
                    <a:pt x="108" y="545"/>
                  </a:lnTo>
                  <a:lnTo>
                    <a:pt x="111" y="545"/>
                  </a:lnTo>
                  <a:lnTo>
                    <a:pt x="111" y="547"/>
                  </a:lnTo>
                  <a:lnTo>
                    <a:pt x="113" y="549"/>
                  </a:lnTo>
                  <a:lnTo>
                    <a:pt x="113" y="549"/>
                  </a:lnTo>
                  <a:lnTo>
                    <a:pt x="117" y="549"/>
                  </a:lnTo>
                  <a:lnTo>
                    <a:pt x="121" y="549"/>
                  </a:lnTo>
                  <a:lnTo>
                    <a:pt x="127" y="549"/>
                  </a:lnTo>
                  <a:lnTo>
                    <a:pt x="133" y="549"/>
                  </a:lnTo>
                  <a:lnTo>
                    <a:pt x="139" y="549"/>
                  </a:lnTo>
                  <a:lnTo>
                    <a:pt x="143" y="551"/>
                  </a:lnTo>
                  <a:lnTo>
                    <a:pt x="148" y="551"/>
                  </a:lnTo>
                  <a:lnTo>
                    <a:pt x="152" y="551"/>
                  </a:lnTo>
                  <a:lnTo>
                    <a:pt x="156" y="553"/>
                  </a:lnTo>
                  <a:lnTo>
                    <a:pt x="160" y="553"/>
                  </a:lnTo>
                  <a:lnTo>
                    <a:pt x="162" y="553"/>
                  </a:lnTo>
                  <a:lnTo>
                    <a:pt x="164" y="553"/>
                  </a:lnTo>
                  <a:lnTo>
                    <a:pt x="164" y="555"/>
                  </a:lnTo>
                  <a:lnTo>
                    <a:pt x="164" y="555"/>
                  </a:lnTo>
                  <a:lnTo>
                    <a:pt x="162" y="553"/>
                  </a:lnTo>
                  <a:lnTo>
                    <a:pt x="158" y="549"/>
                  </a:lnTo>
                  <a:lnTo>
                    <a:pt x="152" y="543"/>
                  </a:lnTo>
                  <a:lnTo>
                    <a:pt x="152" y="543"/>
                  </a:lnTo>
                  <a:lnTo>
                    <a:pt x="150" y="543"/>
                  </a:lnTo>
                  <a:lnTo>
                    <a:pt x="148" y="543"/>
                  </a:lnTo>
                  <a:lnTo>
                    <a:pt x="145" y="543"/>
                  </a:lnTo>
                  <a:lnTo>
                    <a:pt x="145" y="543"/>
                  </a:lnTo>
                  <a:lnTo>
                    <a:pt x="143" y="541"/>
                  </a:lnTo>
                  <a:lnTo>
                    <a:pt x="145" y="541"/>
                  </a:lnTo>
                  <a:lnTo>
                    <a:pt x="148" y="541"/>
                  </a:lnTo>
                  <a:lnTo>
                    <a:pt x="150" y="541"/>
                  </a:lnTo>
                  <a:lnTo>
                    <a:pt x="150" y="541"/>
                  </a:lnTo>
                  <a:lnTo>
                    <a:pt x="148" y="539"/>
                  </a:lnTo>
                  <a:lnTo>
                    <a:pt x="148" y="537"/>
                  </a:lnTo>
                  <a:lnTo>
                    <a:pt x="143" y="533"/>
                  </a:lnTo>
                  <a:lnTo>
                    <a:pt x="141" y="530"/>
                  </a:lnTo>
                  <a:lnTo>
                    <a:pt x="141" y="530"/>
                  </a:lnTo>
                  <a:lnTo>
                    <a:pt x="141" y="533"/>
                  </a:lnTo>
                  <a:lnTo>
                    <a:pt x="141" y="533"/>
                  </a:lnTo>
                  <a:lnTo>
                    <a:pt x="141" y="530"/>
                  </a:lnTo>
                  <a:lnTo>
                    <a:pt x="141" y="528"/>
                  </a:lnTo>
                  <a:lnTo>
                    <a:pt x="141" y="526"/>
                  </a:lnTo>
                  <a:lnTo>
                    <a:pt x="141" y="524"/>
                  </a:lnTo>
                  <a:lnTo>
                    <a:pt x="141" y="522"/>
                  </a:lnTo>
                  <a:lnTo>
                    <a:pt x="141" y="520"/>
                  </a:lnTo>
                  <a:lnTo>
                    <a:pt x="143" y="518"/>
                  </a:lnTo>
                  <a:lnTo>
                    <a:pt x="145" y="518"/>
                  </a:lnTo>
                  <a:lnTo>
                    <a:pt x="145" y="516"/>
                  </a:lnTo>
                  <a:lnTo>
                    <a:pt x="148" y="516"/>
                  </a:lnTo>
                  <a:lnTo>
                    <a:pt x="145" y="516"/>
                  </a:lnTo>
                  <a:lnTo>
                    <a:pt x="143" y="514"/>
                  </a:lnTo>
                  <a:lnTo>
                    <a:pt x="143" y="514"/>
                  </a:lnTo>
                  <a:lnTo>
                    <a:pt x="141" y="514"/>
                  </a:lnTo>
                  <a:lnTo>
                    <a:pt x="137" y="514"/>
                  </a:lnTo>
                  <a:lnTo>
                    <a:pt x="137" y="512"/>
                  </a:lnTo>
                  <a:lnTo>
                    <a:pt x="141" y="512"/>
                  </a:lnTo>
                  <a:lnTo>
                    <a:pt x="141" y="512"/>
                  </a:lnTo>
                  <a:lnTo>
                    <a:pt x="139" y="510"/>
                  </a:lnTo>
                  <a:lnTo>
                    <a:pt x="139" y="510"/>
                  </a:lnTo>
                  <a:lnTo>
                    <a:pt x="141" y="512"/>
                  </a:lnTo>
                  <a:lnTo>
                    <a:pt x="143" y="514"/>
                  </a:lnTo>
                  <a:lnTo>
                    <a:pt x="145" y="514"/>
                  </a:lnTo>
                  <a:lnTo>
                    <a:pt x="148" y="516"/>
                  </a:lnTo>
                  <a:lnTo>
                    <a:pt x="150" y="516"/>
                  </a:lnTo>
                  <a:lnTo>
                    <a:pt x="152" y="514"/>
                  </a:lnTo>
                  <a:lnTo>
                    <a:pt x="154" y="512"/>
                  </a:lnTo>
                  <a:lnTo>
                    <a:pt x="154" y="510"/>
                  </a:lnTo>
                  <a:lnTo>
                    <a:pt x="152" y="502"/>
                  </a:lnTo>
                  <a:lnTo>
                    <a:pt x="150" y="502"/>
                  </a:lnTo>
                  <a:lnTo>
                    <a:pt x="150" y="500"/>
                  </a:lnTo>
                  <a:lnTo>
                    <a:pt x="152" y="495"/>
                  </a:lnTo>
                  <a:lnTo>
                    <a:pt x="152" y="491"/>
                  </a:lnTo>
                  <a:lnTo>
                    <a:pt x="154" y="489"/>
                  </a:lnTo>
                  <a:lnTo>
                    <a:pt x="154" y="489"/>
                  </a:lnTo>
                  <a:lnTo>
                    <a:pt x="158" y="487"/>
                  </a:lnTo>
                  <a:lnTo>
                    <a:pt x="160" y="485"/>
                  </a:lnTo>
                  <a:lnTo>
                    <a:pt x="162" y="483"/>
                  </a:lnTo>
                  <a:lnTo>
                    <a:pt x="166" y="479"/>
                  </a:lnTo>
                  <a:lnTo>
                    <a:pt x="166" y="477"/>
                  </a:lnTo>
                  <a:lnTo>
                    <a:pt x="166" y="477"/>
                  </a:lnTo>
                  <a:lnTo>
                    <a:pt x="166" y="477"/>
                  </a:lnTo>
                  <a:lnTo>
                    <a:pt x="166" y="475"/>
                  </a:lnTo>
                  <a:lnTo>
                    <a:pt x="164" y="475"/>
                  </a:lnTo>
                  <a:lnTo>
                    <a:pt x="162" y="475"/>
                  </a:lnTo>
                  <a:lnTo>
                    <a:pt x="162" y="475"/>
                  </a:lnTo>
                  <a:lnTo>
                    <a:pt x="160" y="475"/>
                  </a:lnTo>
                  <a:lnTo>
                    <a:pt x="162" y="473"/>
                  </a:lnTo>
                  <a:lnTo>
                    <a:pt x="164" y="473"/>
                  </a:lnTo>
                  <a:lnTo>
                    <a:pt x="164" y="471"/>
                  </a:lnTo>
                  <a:lnTo>
                    <a:pt x="164" y="471"/>
                  </a:lnTo>
                  <a:lnTo>
                    <a:pt x="164" y="467"/>
                  </a:lnTo>
                  <a:lnTo>
                    <a:pt x="162" y="465"/>
                  </a:lnTo>
                  <a:lnTo>
                    <a:pt x="160" y="463"/>
                  </a:lnTo>
                  <a:lnTo>
                    <a:pt x="158" y="461"/>
                  </a:lnTo>
                  <a:lnTo>
                    <a:pt x="150" y="461"/>
                  </a:lnTo>
                  <a:lnTo>
                    <a:pt x="148" y="461"/>
                  </a:lnTo>
                  <a:lnTo>
                    <a:pt x="135" y="452"/>
                  </a:lnTo>
                  <a:lnTo>
                    <a:pt x="133" y="450"/>
                  </a:lnTo>
                  <a:lnTo>
                    <a:pt x="131" y="448"/>
                  </a:lnTo>
                  <a:lnTo>
                    <a:pt x="129" y="446"/>
                  </a:lnTo>
                  <a:lnTo>
                    <a:pt x="129" y="444"/>
                  </a:lnTo>
                  <a:lnTo>
                    <a:pt x="129" y="442"/>
                  </a:lnTo>
                  <a:lnTo>
                    <a:pt x="129" y="442"/>
                  </a:lnTo>
                  <a:lnTo>
                    <a:pt x="129" y="438"/>
                  </a:lnTo>
                  <a:lnTo>
                    <a:pt x="129" y="434"/>
                  </a:lnTo>
                  <a:lnTo>
                    <a:pt x="133" y="428"/>
                  </a:lnTo>
                  <a:lnTo>
                    <a:pt x="133" y="428"/>
                  </a:lnTo>
                  <a:lnTo>
                    <a:pt x="137" y="428"/>
                  </a:lnTo>
                  <a:lnTo>
                    <a:pt x="137" y="428"/>
                  </a:lnTo>
                  <a:lnTo>
                    <a:pt x="137" y="426"/>
                  </a:lnTo>
                  <a:lnTo>
                    <a:pt x="139" y="424"/>
                  </a:lnTo>
                  <a:lnTo>
                    <a:pt x="141" y="421"/>
                  </a:lnTo>
                  <a:lnTo>
                    <a:pt x="148" y="424"/>
                  </a:lnTo>
                  <a:lnTo>
                    <a:pt x="150" y="424"/>
                  </a:lnTo>
                  <a:lnTo>
                    <a:pt x="150" y="421"/>
                  </a:lnTo>
                  <a:lnTo>
                    <a:pt x="150" y="419"/>
                  </a:lnTo>
                  <a:lnTo>
                    <a:pt x="148" y="419"/>
                  </a:lnTo>
                  <a:lnTo>
                    <a:pt x="148" y="417"/>
                  </a:lnTo>
                  <a:lnTo>
                    <a:pt x="150" y="413"/>
                  </a:lnTo>
                  <a:lnTo>
                    <a:pt x="150" y="411"/>
                  </a:lnTo>
                  <a:lnTo>
                    <a:pt x="150" y="409"/>
                  </a:lnTo>
                  <a:lnTo>
                    <a:pt x="150" y="407"/>
                  </a:lnTo>
                  <a:lnTo>
                    <a:pt x="150" y="405"/>
                  </a:lnTo>
                  <a:lnTo>
                    <a:pt x="145" y="401"/>
                  </a:lnTo>
                  <a:lnTo>
                    <a:pt x="145" y="399"/>
                  </a:lnTo>
                  <a:lnTo>
                    <a:pt x="145" y="397"/>
                  </a:lnTo>
                  <a:lnTo>
                    <a:pt x="145" y="397"/>
                  </a:lnTo>
                  <a:lnTo>
                    <a:pt x="148" y="393"/>
                  </a:lnTo>
                  <a:lnTo>
                    <a:pt x="150" y="391"/>
                  </a:lnTo>
                  <a:lnTo>
                    <a:pt x="152" y="389"/>
                  </a:lnTo>
                  <a:lnTo>
                    <a:pt x="154" y="389"/>
                  </a:lnTo>
                  <a:lnTo>
                    <a:pt x="156" y="387"/>
                  </a:lnTo>
                  <a:lnTo>
                    <a:pt x="156" y="387"/>
                  </a:lnTo>
                  <a:lnTo>
                    <a:pt x="154" y="387"/>
                  </a:lnTo>
                  <a:lnTo>
                    <a:pt x="154" y="387"/>
                  </a:lnTo>
                  <a:lnTo>
                    <a:pt x="150" y="384"/>
                  </a:lnTo>
                  <a:lnTo>
                    <a:pt x="143" y="382"/>
                  </a:lnTo>
                  <a:lnTo>
                    <a:pt x="143" y="380"/>
                  </a:lnTo>
                  <a:lnTo>
                    <a:pt x="145" y="380"/>
                  </a:lnTo>
                  <a:lnTo>
                    <a:pt x="148" y="378"/>
                  </a:lnTo>
                  <a:lnTo>
                    <a:pt x="150" y="378"/>
                  </a:lnTo>
                  <a:lnTo>
                    <a:pt x="154" y="378"/>
                  </a:lnTo>
                  <a:lnTo>
                    <a:pt x="154" y="380"/>
                  </a:lnTo>
                  <a:lnTo>
                    <a:pt x="156" y="382"/>
                  </a:lnTo>
                  <a:lnTo>
                    <a:pt x="158" y="384"/>
                  </a:lnTo>
                  <a:lnTo>
                    <a:pt x="160" y="384"/>
                  </a:lnTo>
                  <a:lnTo>
                    <a:pt x="164" y="382"/>
                  </a:lnTo>
                  <a:lnTo>
                    <a:pt x="164" y="382"/>
                  </a:lnTo>
                  <a:lnTo>
                    <a:pt x="164" y="382"/>
                  </a:lnTo>
                  <a:lnTo>
                    <a:pt x="164" y="378"/>
                  </a:lnTo>
                  <a:lnTo>
                    <a:pt x="162" y="376"/>
                  </a:lnTo>
                  <a:lnTo>
                    <a:pt x="162" y="374"/>
                  </a:lnTo>
                  <a:lnTo>
                    <a:pt x="160" y="372"/>
                  </a:lnTo>
                  <a:lnTo>
                    <a:pt x="160" y="372"/>
                  </a:lnTo>
                  <a:lnTo>
                    <a:pt x="158" y="372"/>
                  </a:lnTo>
                  <a:lnTo>
                    <a:pt x="156" y="372"/>
                  </a:lnTo>
                  <a:lnTo>
                    <a:pt x="154" y="372"/>
                  </a:lnTo>
                  <a:lnTo>
                    <a:pt x="152" y="372"/>
                  </a:lnTo>
                  <a:lnTo>
                    <a:pt x="152" y="374"/>
                  </a:lnTo>
                  <a:lnTo>
                    <a:pt x="156" y="374"/>
                  </a:lnTo>
                  <a:lnTo>
                    <a:pt x="156" y="376"/>
                  </a:lnTo>
                  <a:lnTo>
                    <a:pt x="156" y="376"/>
                  </a:lnTo>
                  <a:lnTo>
                    <a:pt x="154" y="376"/>
                  </a:lnTo>
                  <a:lnTo>
                    <a:pt x="150" y="376"/>
                  </a:lnTo>
                  <a:lnTo>
                    <a:pt x="148" y="376"/>
                  </a:lnTo>
                  <a:lnTo>
                    <a:pt x="148" y="376"/>
                  </a:lnTo>
                  <a:lnTo>
                    <a:pt x="148" y="374"/>
                  </a:lnTo>
                  <a:lnTo>
                    <a:pt x="148" y="374"/>
                  </a:lnTo>
                  <a:lnTo>
                    <a:pt x="148" y="374"/>
                  </a:lnTo>
                  <a:lnTo>
                    <a:pt x="148" y="374"/>
                  </a:lnTo>
                  <a:lnTo>
                    <a:pt x="145" y="372"/>
                  </a:lnTo>
                  <a:lnTo>
                    <a:pt x="141" y="372"/>
                  </a:lnTo>
                  <a:lnTo>
                    <a:pt x="139" y="370"/>
                  </a:lnTo>
                  <a:lnTo>
                    <a:pt x="137" y="368"/>
                  </a:lnTo>
                  <a:lnTo>
                    <a:pt x="137" y="364"/>
                  </a:lnTo>
                  <a:lnTo>
                    <a:pt x="137" y="362"/>
                  </a:lnTo>
                  <a:lnTo>
                    <a:pt x="133" y="356"/>
                  </a:lnTo>
                  <a:lnTo>
                    <a:pt x="131" y="354"/>
                  </a:lnTo>
                  <a:lnTo>
                    <a:pt x="131" y="350"/>
                  </a:lnTo>
                  <a:lnTo>
                    <a:pt x="131" y="350"/>
                  </a:lnTo>
                  <a:lnTo>
                    <a:pt x="131" y="347"/>
                  </a:lnTo>
                  <a:lnTo>
                    <a:pt x="133" y="345"/>
                  </a:lnTo>
                  <a:lnTo>
                    <a:pt x="133" y="347"/>
                  </a:lnTo>
                  <a:lnTo>
                    <a:pt x="135" y="347"/>
                  </a:lnTo>
                  <a:lnTo>
                    <a:pt x="135" y="347"/>
                  </a:lnTo>
                  <a:lnTo>
                    <a:pt x="135" y="347"/>
                  </a:lnTo>
                  <a:lnTo>
                    <a:pt x="137" y="350"/>
                  </a:lnTo>
                  <a:lnTo>
                    <a:pt x="141" y="350"/>
                  </a:lnTo>
                  <a:lnTo>
                    <a:pt x="145" y="352"/>
                  </a:lnTo>
                  <a:lnTo>
                    <a:pt x="152" y="354"/>
                  </a:lnTo>
                  <a:lnTo>
                    <a:pt x="154" y="354"/>
                  </a:lnTo>
                  <a:lnTo>
                    <a:pt x="160" y="354"/>
                  </a:lnTo>
                  <a:lnTo>
                    <a:pt x="164" y="354"/>
                  </a:lnTo>
                  <a:lnTo>
                    <a:pt x="166" y="352"/>
                  </a:lnTo>
                  <a:lnTo>
                    <a:pt x="172" y="350"/>
                  </a:lnTo>
                  <a:lnTo>
                    <a:pt x="172" y="347"/>
                  </a:lnTo>
                  <a:lnTo>
                    <a:pt x="172" y="345"/>
                  </a:lnTo>
                  <a:lnTo>
                    <a:pt x="168" y="341"/>
                  </a:lnTo>
                  <a:lnTo>
                    <a:pt x="168" y="339"/>
                  </a:lnTo>
                  <a:lnTo>
                    <a:pt x="168" y="337"/>
                  </a:lnTo>
                  <a:lnTo>
                    <a:pt x="166" y="333"/>
                  </a:lnTo>
                  <a:lnTo>
                    <a:pt x="168" y="333"/>
                  </a:lnTo>
                  <a:lnTo>
                    <a:pt x="168" y="333"/>
                  </a:lnTo>
                  <a:lnTo>
                    <a:pt x="170" y="331"/>
                  </a:lnTo>
                  <a:lnTo>
                    <a:pt x="168" y="327"/>
                  </a:lnTo>
                  <a:lnTo>
                    <a:pt x="168" y="325"/>
                  </a:lnTo>
                  <a:lnTo>
                    <a:pt x="168" y="325"/>
                  </a:lnTo>
                  <a:lnTo>
                    <a:pt x="166" y="323"/>
                  </a:lnTo>
                  <a:lnTo>
                    <a:pt x="168" y="323"/>
                  </a:lnTo>
                  <a:lnTo>
                    <a:pt x="166" y="323"/>
                  </a:lnTo>
                  <a:lnTo>
                    <a:pt x="164" y="321"/>
                  </a:lnTo>
                  <a:lnTo>
                    <a:pt x="164" y="321"/>
                  </a:lnTo>
                  <a:lnTo>
                    <a:pt x="162" y="319"/>
                  </a:lnTo>
                  <a:lnTo>
                    <a:pt x="162" y="317"/>
                  </a:lnTo>
                  <a:lnTo>
                    <a:pt x="160" y="313"/>
                  </a:lnTo>
                  <a:lnTo>
                    <a:pt x="160" y="313"/>
                  </a:lnTo>
                  <a:lnTo>
                    <a:pt x="162" y="313"/>
                  </a:lnTo>
                  <a:lnTo>
                    <a:pt x="166" y="315"/>
                  </a:lnTo>
                  <a:lnTo>
                    <a:pt x="168" y="315"/>
                  </a:lnTo>
                  <a:lnTo>
                    <a:pt x="172" y="317"/>
                  </a:lnTo>
                  <a:lnTo>
                    <a:pt x="176" y="317"/>
                  </a:lnTo>
                  <a:lnTo>
                    <a:pt x="180" y="317"/>
                  </a:lnTo>
                  <a:lnTo>
                    <a:pt x="182" y="317"/>
                  </a:lnTo>
                  <a:lnTo>
                    <a:pt x="199" y="313"/>
                  </a:lnTo>
                  <a:lnTo>
                    <a:pt x="201" y="313"/>
                  </a:lnTo>
                  <a:lnTo>
                    <a:pt x="209" y="310"/>
                  </a:lnTo>
                  <a:lnTo>
                    <a:pt x="221" y="306"/>
                  </a:lnTo>
                  <a:lnTo>
                    <a:pt x="228" y="300"/>
                  </a:lnTo>
                  <a:lnTo>
                    <a:pt x="230" y="300"/>
                  </a:lnTo>
                  <a:lnTo>
                    <a:pt x="230" y="296"/>
                  </a:lnTo>
                  <a:lnTo>
                    <a:pt x="230" y="292"/>
                  </a:lnTo>
                  <a:lnTo>
                    <a:pt x="234" y="288"/>
                  </a:lnTo>
                  <a:lnTo>
                    <a:pt x="236" y="278"/>
                  </a:lnTo>
                  <a:lnTo>
                    <a:pt x="236" y="275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7" name="Freeform 241">
              <a:extLst>
                <a:ext uri="{FF2B5EF4-FFF2-40B4-BE49-F238E27FC236}">
                  <a16:creationId xmlns:a16="http://schemas.microsoft.com/office/drawing/2014/main" id="{7C309AE9-A941-A742-9200-906D1E9020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0173" y="3144715"/>
              <a:ext cx="4754" cy="15449"/>
            </a:xfrm>
            <a:custGeom>
              <a:avLst/>
              <a:gdLst>
                <a:gd name="T0" fmla="*/ 2 w 4"/>
                <a:gd name="T1" fmla="*/ 10 h 13"/>
                <a:gd name="T2" fmla="*/ 2 w 4"/>
                <a:gd name="T3" fmla="*/ 10 h 13"/>
                <a:gd name="T4" fmla="*/ 0 w 4"/>
                <a:gd name="T5" fmla="*/ 10 h 13"/>
                <a:gd name="T6" fmla="*/ 0 w 4"/>
                <a:gd name="T7" fmla="*/ 13 h 13"/>
                <a:gd name="T8" fmla="*/ 0 w 4"/>
                <a:gd name="T9" fmla="*/ 13 h 13"/>
                <a:gd name="T10" fmla="*/ 2 w 4"/>
                <a:gd name="T11" fmla="*/ 13 h 13"/>
                <a:gd name="T12" fmla="*/ 4 w 4"/>
                <a:gd name="T13" fmla="*/ 13 h 13"/>
                <a:gd name="T14" fmla="*/ 4 w 4"/>
                <a:gd name="T15" fmla="*/ 13 h 13"/>
                <a:gd name="T16" fmla="*/ 4 w 4"/>
                <a:gd name="T17" fmla="*/ 13 h 13"/>
                <a:gd name="T18" fmla="*/ 4 w 4"/>
                <a:gd name="T19" fmla="*/ 10 h 13"/>
                <a:gd name="T20" fmla="*/ 4 w 4"/>
                <a:gd name="T21" fmla="*/ 10 h 13"/>
                <a:gd name="T22" fmla="*/ 2 w 4"/>
                <a:gd name="T23" fmla="*/ 10 h 13"/>
                <a:gd name="T24" fmla="*/ 4 w 4"/>
                <a:gd name="T25" fmla="*/ 2 h 13"/>
                <a:gd name="T26" fmla="*/ 4 w 4"/>
                <a:gd name="T27" fmla="*/ 2 h 13"/>
                <a:gd name="T28" fmla="*/ 4 w 4"/>
                <a:gd name="T29" fmla="*/ 0 h 13"/>
                <a:gd name="T30" fmla="*/ 4 w 4"/>
                <a:gd name="T31" fmla="*/ 0 h 13"/>
                <a:gd name="T32" fmla="*/ 2 w 4"/>
                <a:gd name="T33" fmla="*/ 0 h 13"/>
                <a:gd name="T34" fmla="*/ 2 w 4"/>
                <a:gd name="T35" fmla="*/ 0 h 13"/>
                <a:gd name="T36" fmla="*/ 2 w 4"/>
                <a:gd name="T37" fmla="*/ 0 h 13"/>
                <a:gd name="T38" fmla="*/ 2 w 4"/>
                <a:gd name="T39" fmla="*/ 0 h 13"/>
                <a:gd name="T40" fmla="*/ 2 w 4"/>
                <a:gd name="T41" fmla="*/ 2 h 13"/>
                <a:gd name="T42" fmla="*/ 4 w 4"/>
                <a:gd name="T4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" h="13">
                  <a:moveTo>
                    <a:pt x="2" y="10"/>
                  </a:moveTo>
                  <a:lnTo>
                    <a:pt x="2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0"/>
                  </a:lnTo>
                  <a:close/>
                  <a:moveTo>
                    <a:pt x="4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8" name="Freeform 242">
              <a:extLst>
                <a:ext uri="{FF2B5EF4-FFF2-40B4-BE49-F238E27FC236}">
                  <a16:creationId xmlns:a16="http://schemas.microsoft.com/office/drawing/2014/main" id="{04ABF872-F2B6-8441-97A8-03EE7839E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8782" y="3132831"/>
              <a:ext cx="4754" cy="2377"/>
            </a:xfrm>
            <a:custGeom>
              <a:avLst/>
              <a:gdLst>
                <a:gd name="T0" fmla="*/ 2 w 4"/>
                <a:gd name="T1" fmla="*/ 0 h 2"/>
                <a:gd name="T2" fmla="*/ 0 w 4"/>
                <a:gd name="T3" fmla="*/ 2 h 2"/>
                <a:gd name="T4" fmla="*/ 0 w 4"/>
                <a:gd name="T5" fmla="*/ 2 h 2"/>
                <a:gd name="T6" fmla="*/ 4 w 4"/>
                <a:gd name="T7" fmla="*/ 0 h 2"/>
                <a:gd name="T8" fmla="*/ 4 w 4"/>
                <a:gd name="T9" fmla="*/ 0 h 2"/>
                <a:gd name="T10" fmla="*/ 2 w 4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249" name="TextBox 248">
            <a:extLst>
              <a:ext uri="{FF2B5EF4-FFF2-40B4-BE49-F238E27FC236}">
                <a16:creationId xmlns:a16="http://schemas.microsoft.com/office/drawing/2014/main" id="{6BF8DF7D-10EB-784A-A97D-F89653BFBB29}"/>
              </a:ext>
            </a:extLst>
          </p:cNvPr>
          <p:cNvSpPr txBox="1"/>
          <p:nvPr/>
        </p:nvSpPr>
        <p:spPr>
          <a:xfrm>
            <a:off x="533596" y="6199061"/>
            <a:ext cx="609706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© 2025 CFA Institute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71425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A5E5D93-9D6E-14B3-CCAB-2E2929937A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5E5D93-9D6E-14B3-CCAB-2E2929937A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4A4924-7CC3-4BF6-9C5C-A8E770D15754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42937" y="589352"/>
            <a:ext cx="11168063" cy="646331"/>
          </a:xfrm>
        </p:spPr>
        <p:txBody>
          <a:bodyPr vert="horz"/>
          <a:lstStyle/>
          <a:p>
            <a:r>
              <a:rPr lang="en-US" sz="3600">
                <a:solidFill>
                  <a:schemeClr val="accent2"/>
                </a:solidFill>
              </a:rPr>
              <a:t>Where do they work?</a:t>
            </a:r>
            <a:endParaRPr lang="en-US" sz="4000">
              <a:solidFill>
                <a:schemeClr val="accent2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BEA15E4-AF57-A2FC-BD35-03CA81129C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974229"/>
              </p:ext>
            </p:extLst>
          </p:nvPr>
        </p:nvGraphicFramePr>
        <p:xfrm>
          <a:off x="642937" y="1650134"/>
          <a:ext cx="6699778" cy="4171622"/>
        </p:xfrm>
        <a:graphic>
          <a:graphicData uri="http://schemas.openxmlformats.org/drawingml/2006/table">
            <a:tbl>
              <a:tblPr/>
              <a:tblGrid>
                <a:gridCol w="1078379">
                  <a:extLst>
                    <a:ext uri="{9D8B030D-6E8A-4147-A177-3AD203B41FA5}">
                      <a16:colId xmlns:a16="http://schemas.microsoft.com/office/drawing/2014/main" val="449662950"/>
                    </a:ext>
                  </a:extLst>
                </a:gridCol>
                <a:gridCol w="2788124">
                  <a:extLst>
                    <a:ext uri="{9D8B030D-6E8A-4147-A177-3AD203B41FA5}">
                      <a16:colId xmlns:a16="http://schemas.microsoft.com/office/drawing/2014/main" val="4067619949"/>
                    </a:ext>
                  </a:extLst>
                </a:gridCol>
                <a:gridCol w="2833275">
                  <a:extLst>
                    <a:ext uri="{9D8B030D-6E8A-4147-A177-3AD203B41FA5}">
                      <a16:colId xmlns:a16="http://schemas.microsoft.com/office/drawing/2014/main" val="3364906190"/>
                    </a:ext>
                  </a:extLst>
                </a:gridCol>
              </a:tblGrid>
              <a:tr h="442822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4"/>
                          </a:solidFill>
                          <a:effectLst/>
                          <a:latin typeface="Azo Sans" panose="02000000000000000000" pitchFamily="2" charset="0"/>
                        </a:rPr>
                        <a:t>Rank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4"/>
                          </a:solidFill>
                          <a:effectLst/>
                          <a:latin typeface="Azo Sans" panose="02000000000000000000" pitchFamily="2" charset="0"/>
                        </a:rPr>
                        <a:t>Company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accent4"/>
                          </a:solidFill>
                          <a:effectLst/>
                          <a:latin typeface="Azo Sans" panose="02000000000000000000" pitchFamily="2" charset="0"/>
                        </a:rPr>
                        <a:t>Number of CFAs on staff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2319307"/>
                  </a:ext>
                </a:extLst>
              </a:tr>
              <a:tr h="37288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1.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JPMorgan Chase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2,582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5613463"/>
                  </a:ext>
                </a:extLst>
              </a:tr>
              <a:tr h="37288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2.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RBC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2,532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8896766"/>
                  </a:ext>
                </a:extLst>
              </a:tr>
              <a:tr h="37288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3.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UBS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2,159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613099"/>
                  </a:ext>
                </a:extLst>
              </a:tr>
              <a:tr h="37288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4.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Bank of America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1,680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549217"/>
                  </a:ext>
                </a:extLst>
              </a:tr>
              <a:tr h="37288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5.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Morgan Stanley 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1,640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597922"/>
                  </a:ext>
                </a:extLst>
              </a:tr>
              <a:tr h="37288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6.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TD Bank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1,481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711028"/>
                  </a:ext>
                </a:extLst>
              </a:tr>
              <a:tr h="37288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7.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HSBC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1,424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725707"/>
                  </a:ext>
                </a:extLst>
              </a:tr>
              <a:tr h="37288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8.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BlackRock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1,365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3605524"/>
                  </a:ext>
                </a:extLst>
              </a:tr>
              <a:tr h="37288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9.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Citigroup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1,365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1540983"/>
                  </a:ext>
                </a:extLst>
              </a:tr>
              <a:tr h="37288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10.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Goldman Sachs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accent2"/>
                          </a:solidFill>
                          <a:effectLst/>
                          <a:latin typeface="Azo Sans" panose="02000000000000000000" pitchFamily="2" charset="0"/>
                        </a:rPr>
                        <a:t>1,329</a:t>
                      </a:r>
                    </a:p>
                  </a:txBody>
                  <a:tcPr marL="68068" marR="68068" marT="34034" marB="3403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7A8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899216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862FB3D-F0D5-D772-5789-5B8D81BF5757}"/>
              </a:ext>
            </a:extLst>
          </p:cNvPr>
          <p:cNvSpPr txBox="1"/>
          <p:nvPr/>
        </p:nvSpPr>
        <p:spPr>
          <a:xfrm>
            <a:off x="8335274" y="1617684"/>
            <a:ext cx="3018526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e top 60 employers of CF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rterholder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0F44222-64B8-41B4-9427-96743D8A4B5C}"/>
              </a:ext>
            </a:extLst>
          </p:cNvPr>
          <p:cNvCxnSpPr>
            <a:cxnSpLocks/>
          </p:cNvCxnSpPr>
          <p:nvPr/>
        </p:nvCxnSpPr>
        <p:spPr>
          <a:xfrm>
            <a:off x="9844537" y="2391537"/>
            <a:ext cx="1" cy="508958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9FB8F132-AA72-588D-E09C-793497FB81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0953" y="3028017"/>
            <a:ext cx="2586514" cy="2586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00104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E1479DFF-91E1-FF5F-0177-26EFA7561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846" y="3020877"/>
            <a:ext cx="4270248" cy="1554480"/>
          </a:xfrm>
        </p:spPr>
        <p:txBody>
          <a:bodyPr/>
          <a:lstStyle/>
          <a:p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lecha S Medium"/>
                <a:ea typeface="+mj-ea"/>
                <a:cs typeface="+mj-cs"/>
              </a:rPr>
              <a:t>CFA®</a:t>
            </a:r>
            <a:r>
              <a:rPr lang="en-US" sz="4800" dirty="0"/>
              <a:t> Program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7E00B34-D6C0-C29B-CF63-16F991DA96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90846" y="2740192"/>
            <a:ext cx="2592056" cy="169277"/>
          </a:xfrm>
        </p:spPr>
        <p:txBody>
          <a:bodyPr/>
          <a:lstStyle/>
          <a:p>
            <a:r>
              <a:rPr lang="en-US" dirty="0">
                <a:solidFill>
                  <a:schemeClr val="accent4"/>
                </a:solidFill>
                <a:latin typeface="Azo Sans" panose="02000000000000000000" pitchFamily="2" charset="0"/>
              </a:rPr>
              <a:t>Overview &amp; Enhancements</a:t>
            </a:r>
            <a:r>
              <a:rPr lang="en-US" dirty="0">
                <a:latin typeface="Azo Sans" panose="02000000000000000000" pitchFamily="2" charset="0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5807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E5F46E0-3924-463C-A6C4-21966ED78A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15411" y="1463"/>
          <a:ext cx="1463" cy="1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E5F46E0-3924-463C-A6C4-21966ED78A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615411" y="1463"/>
                        <a:ext cx="1463" cy="14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70CB7C-D245-4DF2-9A22-5D34440DD1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13949" y="1"/>
            <a:ext cx="146257" cy="146257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8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17091" name="Rectangle 2"/>
          <p:cNvSpPr>
            <a:spLocks noGrp="1" noChangeArrowheads="1"/>
          </p:cNvSpPr>
          <p:nvPr>
            <p:ph type="title" idx="4294967295"/>
          </p:nvPr>
        </p:nvSpPr>
        <p:spPr bwMode="gray">
          <a:xfrm>
            <a:off x="331786" y="312210"/>
            <a:ext cx="8797925" cy="835025"/>
          </a:xfrm>
        </p:spPr>
        <p:txBody>
          <a:bodyPr vert="horz"/>
          <a:lstStyle/>
          <a:p>
            <a:r>
              <a:rPr lang="de-DE" sz="3600" dirty="0">
                <a:solidFill>
                  <a:schemeClr val="accent2"/>
                </a:solidFill>
                <a:latin typeface="Flecha S Medium"/>
              </a:rPr>
              <a:t>Why pursue the CFA Program?</a:t>
            </a:r>
            <a:br>
              <a:rPr lang="de-DE" sz="2200" dirty="0">
                <a:latin typeface="Flecha S Medium" panose="02050703060505060204" pitchFamily="18" charset="0"/>
              </a:rPr>
            </a:br>
            <a:r>
              <a:rPr lang="de-DE" sz="1650" dirty="0">
                <a:solidFill>
                  <a:schemeClr val="accent2"/>
                </a:solidFill>
                <a:latin typeface="Flecha S Medium"/>
              </a:rPr>
              <a:t>PRIMARY RESEARCH OF 309 CHARTERHOLDERS GLOBALLY IN FALL 2020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8F039C01-1702-43CE-99A5-D24E92F9BD7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940779" y="1391178"/>
          <a:ext cx="5574821" cy="5154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91F6A9B7-BAF6-43E5-BDAA-10CBD5B028D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415192" y="4252382"/>
            <a:ext cx="1500188" cy="196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fld id="{1922386D-1EAB-42AE-B080-1E03A9C0BABE}" type="datetime'P''a''i''d'' fo''''r'' by'''''''' ''''e''m''''''''pl''oyer'">
              <a:rPr kumimoji="0" lang="en-US" altLang="en-US" sz="1289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pPr marL="0" marR="0" lvl="0" indent="0" algn="r" defTabSz="130806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Pts val="2400"/>
                <a:buFont typeface="Verdana" pitchFamily="34" charset="0"/>
                <a:buNone/>
                <a:tabLst/>
                <a:defRPr/>
              </a:pPr>
              <a:t>Paid for by employer</a:t>
            </a:fld>
            <a:endParaRPr kumimoji="0" lang="en-US" altLang="zh-CN" sz="1289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687AF57C-2CA6-498A-9CFF-97E3E817B49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651729" y="1949978"/>
            <a:ext cx="126365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Value for money</a:t>
            </a:r>
            <a:endParaRPr kumimoji="0" lang="en-US" altLang="zh-CN" sz="1289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80F7D9E1-D5B6-43F4-9B2C-C01D28013B9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440467" y="1466849"/>
            <a:ext cx="247491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Signalling value / differentiation</a:t>
            </a:r>
            <a:b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</a:br>
            <a: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in a competitive job market</a:t>
            </a:r>
            <a:endParaRPr kumimoji="0" lang="en-US" altLang="zh-CN" sz="1289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1C691E0B-16D0-4D4B-9783-2F69988AD33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72167" y="2334153"/>
            <a:ext cx="2843213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Pre-req for switching to the buy-side</a:t>
            </a:r>
            <a:endParaRPr kumimoji="0" lang="en-US" altLang="zh-CN" sz="1289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B63D8339-9E73-44DA-B3B3-BF80219EB29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907191" y="2618316"/>
            <a:ext cx="2008188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Pursuit of broader,</a:t>
            </a:r>
            <a:b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</a:br>
            <a: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more practical knowledge</a:t>
            </a:r>
            <a:endParaRPr kumimoji="0" lang="en-US" altLang="zh-CN" sz="1289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153B4479-4929-4E1A-A9A2-A5DFCC2D82C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469167" y="3100915"/>
            <a:ext cx="1446213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Global recognition</a:t>
            </a:r>
            <a:endParaRPr kumimoji="0" lang="en-US" altLang="zh-CN" sz="1289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534A129E-2642-4A53-AAE5-402185EDD1C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707167" y="3485090"/>
            <a:ext cx="2208213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fld id="{CE79BF59-961F-4977-9816-FF83127B8C93}" type="datetime'S''w''itchi''''''''''''''''ng f''rom th''e sci''e''nce''s'"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pPr marL="0" marR="0" lvl="0" indent="0" algn="r" defTabSz="130806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Pts val="2400"/>
                <a:buFont typeface="Verdana" pitchFamily="34" charset="0"/>
                <a:buNone/>
                <a:tabLst/>
                <a:defRPr/>
              </a:pPr>
              <a:t>Switching from the sciences</a:t>
            </a:fld>
            <a:endParaRPr kumimoji="0" lang="en-US" altLang="zh-CN" sz="1289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78" name="Text Placeholder 10">
            <a:extLst>
              <a:ext uri="{FF2B5EF4-FFF2-40B4-BE49-F238E27FC236}">
                <a16:creationId xmlns:a16="http://schemas.microsoft.com/office/drawing/2014/main" id="{163CFA4D-5F20-4739-BD6A-DD9F9E4BC8B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007204" y="3770840"/>
            <a:ext cx="190817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Already studied much of</a:t>
            </a:r>
            <a:b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</a:br>
            <a:r>
              <a:rPr kumimoji="0" lang="en-US" altLang="en-US" sz="1289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t>the curriculum at school</a:t>
            </a:r>
            <a:endParaRPr kumimoji="0" lang="en-US" altLang="zh-CN" sz="1289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96" name="Text Placeholder 10">
            <a:extLst>
              <a:ext uri="{FF2B5EF4-FFF2-40B4-BE49-F238E27FC236}">
                <a16:creationId xmlns:a16="http://schemas.microsoft.com/office/drawing/2014/main" id="{0A74C2FF-8CAA-4C0B-BBEA-961CB26A4BC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567467" y="5403848"/>
            <a:ext cx="2347913" cy="196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fld id="{DCAD1B8D-333F-4247-AC76-F6D6DE180D57}" type="datetime'Enhan''''cing cr''''ed''ibili''t''y wi''t''''h clien''''ts'''">
              <a:rPr kumimoji="0" lang="en-US" altLang="en-US" sz="1289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pPr marL="0" marR="0" lvl="0" indent="0" algn="r" defTabSz="130806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Pts val="2400"/>
                <a:buFont typeface="Verdana" pitchFamily="34" charset="0"/>
                <a:buNone/>
                <a:tabLst/>
                <a:defRPr/>
              </a:pPr>
              <a:t>Enhancing credibility with clients</a:t>
            </a:fld>
            <a:endParaRPr kumimoji="0" lang="en-US" altLang="zh-CN" sz="1289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8C643971-C373-4A3C-8B47-E60B112C745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253267" y="4636028"/>
            <a:ext cx="1662113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fld id="{DD20C9FD-5E40-4736-A166-5F919BF3BE4F}" type="datetime'Mand''''''''''''''a''''''ted'''' by'''' ''em''pl''oye''''''r'">
              <a:rPr kumimoji="0" lang="en-US" altLang="en-US" sz="1289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pPr marL="0" marR="0" lvl="0" indent="0" algn="r" defTabSz="130806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Pts val="2400"/>
                <a:buFont typeface="Verdana" pitchFamily="34" charset="0"/>
                <a:buNone/>
                <a:tabLst/>
                <a:defRPr/>
              </a:pPr>
              <a:t>Mandated by employer</a:t>
            </a:fld>
            <a:endParaRPr kumimoji="0" lang="en-US" altLang="zh-CN" sz="1289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B1578F65-4F87-49C5-9071-EDF366C57D1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07279" y="5020566"/>
            <a:ext cx="1308100" cy="195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fld id="{CA2FA1DD-4B08-4050-99E7-3A0318A9D548}" type="datetime'Cu''''''r''''r''''''''ic''''''ul''um'' qu''a''''''lity'''">
              <a:rPr kumimoji="0" lang="en-US" altLang="en-US" sz="1289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pPr marL="0" marR="0" lvl="0" indent="0" algn="r" defTabSz="130806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Pts val="2400"/>
                <a:buFont typeface="Verdana" pitchFamily="34" charset="0"/>
                <a:buNone/>
                <a:tabLst/>
                <a:defRPr/>
              </a:pPr>
              <a:t>Curriculum quality</a:t>
            </a:fld>
            <a:endParaRPr kumimoji="0" lang="en-US" altLang="zh-CN" sz="1289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100" name="Text Placeholder 10">
            <a:extLst>
              <a:ext uri="{FF2B5EF4-FFF2-40B4-BE49-F238E27FC236}">
                <a16:creationId xmlns:a16="http://schemas.microsoft.com/office/drawing/2014/main" id="{247BCE8D-6F62-413A-B201-5F3A58ACC04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842228" y="5786965"/>
            <a:ext cx="107315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fld id="{A0BBA6FE-AEE2-48D8-952B-021B81FA15A6}" type="datetime'''''''''''''''G''loba''''l'' mo''''b''''''ili''''t''''''''y'''">
              <a:rPr kumimoji="0" lang="en-US" altLang="en-US" sz="1289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pPr marL="0" marR="0" lvl="0" indent="0" algn="r" defTabSz="130806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Pts val="2400"/>
                <a:buFont typeface="Verdana" pitchFamily="34" charset="0"/>
                <a:buNone/>
                <a:tabLst/>
                <a:defRPr/>
              </a:pPr>
              <a:t>Global mobility</a:t>
            </a:fld>
            <a:endParaRPr kumimoji="0" lang="en-US" altLang="zh-CN" sz="1289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  <p:sp>
        <p:nvSpPr>
          <p:cNvPr id="105" name="Text Placeholder 10">
            <a:extLst>
              <a:ext uri="{FF2B5EF4-FFF2-40B4-BE49-F238E27FC236}">
                <a16:creationId xmlns:a16="http://schemas.microsoft.com/office/drawing/2014/main" id="{D60D57BB-5D08-406F-B305-115249654CA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035779" y="6171140"/>
            <a:ext cx="187960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80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fld id="{88C17E3C-48CB-4408-B1D4-3F92DB55735E}" type="datetime'Ne''''''two''''''''rk''''ing ''''with'''' Me''m''''be''''r''s'">
              <a:rPr kumimoji="0" lang="en-US" altLang="en-US" sz="1289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+mn-cs"/>
              </a:rPr>
              <a:pPr marL="0" marR="0" lvl="0" indent="0" algn="r" defTabSz="130806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Pts val="2400"/>
                <a:buFont typeface="Verdana" pitchFamily="34" charset="0"/>
                <a:buNone/>
                <a:tabLst/>
                <a:defRPr/>
              </a:pPr>
              <a:t>Networking with Members</a:t>
            </a:fld>
            <a:endParaRPr kumimoji="0" lang="en-US" altLang="zh-CN" sz="1289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zo Sans" panose="02000000000000000000" pitchFamily="2" charset="0"/>
              <a:ea typeface="黑体" panose="02010609060101010101" pitchFamily="49" charset="-122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76260009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2D83A5-8FDE-8744-B336-0442EEA50952}"/>
              </a:ext>
            </a:extLst>
          </p:cNvPr>
          <p:cNvSpPr txBox="1">
            <a:spLocks/>
          </p:cNvSpPr>
          <p:nvPr/>
        </p:nvSpPr>
        <p:spPr>
          <a:xfrm>
            <a:off x="838200" y="242513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lecha S Medium" panose="02050703060505060204" pitchFamily="18" charset="0"/>
                <a:ea typeface="+mj-ea"/>
                <a:cs typeface="+mj-cs"/>
              </a:rPr>
              <a:t>CFA® Program-2025 Curriculum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C48D0F1-B8E8-6449-85E7-0854804E3F28}"/>
              </a:ext>
            </a:extLst>
          </p:cNvPr>
          <p:cNvSpPr txBox="1"/>
          <p:nvPr/>
        </p:nvSpPr>
        <p:spPr>
          <a:xfrm>
            <a:off x="440591" y="6472252"/>
            <a:ext cx="609706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zo Sans" panose="02000000000000000000" pitchFamily="2" charset="0"/>
                <a:ea typeface="+mn-ea"/>
                <a:cs typeface="Arial" panose="020B0604020202020204" pitchFamily="34" charset="0"/>
              </a:rPr>
              <a:t>© 2025 CFA Institute. All Rights Reserved.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70DEDDF-E1AB-0837-8B86-897A0B52743A}"/>
              </a:ext>
            </a:extLst>
          </p:cNvPr>
          <p:cNvGrpSpPr/>
          <p:nvPr/>
        </p:nvGrpSpPr>
        <p:grpSpPr>
          <a:xfrm>
            <a:off x="1039087" y="1008856"/>
            <a:ext cx="10474863" cy="5392007"/>
            <a:chOff x="1039087" y="1008856"/>
            <a:chExt cx="10474863" cy="5392007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042F499-7A42-3534-3715-4EC356949D4D}"/>
                </a:ext>
              </a:extLst>
            </p:cNvPr>
            <p:cNvSpPr/>
            <p:nvPr/>
          </p:nvSpPr>
          <p:spPr>
            <a:xfrm>
              <a:off x="1072363" y="4716892"/>
              <a:ext cx="6788764" cy="150050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6EBDE"/>
                </a:solidFill>
                <a:effectLst/>
                <a:uLnTx/>
                <a:uFillTx/>
                <a:latin typeface="Flecha S Medium" panose="02050703060505060204" pitchFamily="18" charset="0"/>
                <a:ea typeface="+mn-ea"/>
                <a:cs typeface="+mn-cs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1C74718-CE72-B4C1-0C03-18D4913B02E4}"/>
                </a:ext>
              </a:extLst>
            </p:cNvPr>
            <p:cNvGrpSpPr/>
            <p:nvPr/>
          </p:nvGrpSpPr>
          <p:grpSpPr>
            <a:xfrm>
              <a:off x="1039087" y="1008856"/>
              <a:ext cx="10474863" cy="5392007"/>
              <a:chOff x="1029889" y="1057167"/>
              <a:chExt cx="10474863" cy="5392007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EEDF5A7D-383E-4B4C-CB39-1A0AD0FAE88E}"/>
                  </a:ext>
                </a:extLst>
              </p:cNvPr>
              <p:cNvGrpSpPr/>
              <p:nvPr/>
            </p:nvGrpSpPr>
            <p:grpSpPr>
              <a:xfrm>
                <a:off x="1029889" y="1057167"/>
                <a:ext cx="10474862" cy="5218068"/>
                <a:chOff x="838074" y="1371125"/>
                <a:chExt cx="10474862" cy="5218068"/>
              </a:xfrm>
            </p:grpSpPr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07AAED1B-F56C-638A-8920-DC981D1F6D8D}"/>
                    </a:ext>
                  </a:extLst>
                </p:cNvPr>
                <p:cNvGrpSpPr/>
                <p:nvPr/>
              </p:nvGrpSpPr>
              <p:grpSpPr>
                <a:xfrm>
                  <a:off x="840208" y="1371125"/>
                  <a:ext cx="10472728" cy="1180263"/>
                  <a:chOff x="840208" y="1370009"/>
                  <a:chExt cx="10472728" cy="1180263"/>
                </a:xfrm>
              </p:grpSpPr>
              <p:sp>
                <p:nvSpPr>
                  <p:cNvPr id="8" name="Pentagon 7">
                    <a:extLst>
                      <a:ext uri="{FF2B5EF4-FFF2-40B4-BE49-F238E27FC236}">
                        <a16:creationId xmlns:a16="http://schemas.microsoft.com/office/drawing/2014/main" id="{56F9594D-28AC-3D4F-9228-09FD0B8E2F4C}"/>
                      </a:ext>
                    </a:extLst>
                  </p:cNvPr>
                  <p:cNvSpPr/>
                  <p:nvPr/>
                </p:nvSpPr>
                <p:spPr>
                  <a:xfrm>
                    <a:off x="840208" y="1370009"/>
                    <a:ext cx="6858000" cy="365760"/>
                  </a:xfrm>
                  <a:prstGeom prst="homePlate">
                    <a:avLst/>
                  </a:prstGeom>
                  <a:gradFill flip="none" rotWithShape="1">
                    <a:gsLst>
                      <a:gs pos="0">
                        <a:schemeClr val="tx1"/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6EBDE"/>
                        </a:solidFill>
                        <a:effectLst/>
                        <a:uLnTx/>
                        <a:uFillTx/>
                        <a:latin typeface="Azo Sans" panose="02000000000000000000" pitchFamily="2" charset="0"/>
                        <a:ea typeface="+mn-ea"/>
                        <a:cs typeface="Arial" panose="020B0604020202020204" pitchFamily="34" charset="0"/>
                      </a:rPr>
                      <a:t>Knowledge/</a:t>
                    </a:r>
                    <a:r>
                      <a: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6EBDE"/>
                        </a:solidFill>
                        <a:effectLst/>
                        <a:uLnTx/>
                        <a:uFillTx/>
                        <a:latin typeface="CFA Breuer Text" panose="02000506040000020004"/>
                        <a:ea typeface="+mn-ea"/>
                        <a:cs typeface="Arial" panose="020B0604020202020204" pitchFamily="34" charset="0"/>
                      </a:rPr>
                      <a:t>Comprehension</a:t>
                    </a:r>
                  </a:p>
                </p:txBody>
              </p:sp>
              <p:sp>
                <p:nvSpPr>
                  <p:cNvPr id="9" name="Chevron 12">
                    <a:extLst>
                      <a:ext uri="{FF2B5EF4-FFF2-40B4-BE49-F238E27FC236}">
                        <a16:creationId xmlns:a16="http://schemas.microsoft.com/office/drawing/2014/main" id="{6A93829D-392E-3448-BD3F-98346719760D}"/>
                      </a:ext>
                    </a:extLst>
                  </p:cNvPr>
                  <p:cNvSpPr/>
                  <p:nvPr/>
                </p:nvSpPr>
                <p:spPr>
                  <a:xfrm>
                    <a:off x="2606308" y="1777637"/>
                    <a:ext cx="6858000" cy="365760"/>
                  </a:xfrm>
                  <a:custGeom>
                    <a:avLst/>
                    <a:gdLst>
                      <a:gd name="connsiteX0" fmla="*/ 0 w 5231175"/>
                      <a:gd name="connsiteY0" fmla="*/ 0 h 182880"/>
                      <a:gd name="connsiteX1" fmla="*/ 5139735 w 5231175"/>
                      <a:gd name="connsiteY1" fmla="*/ 0 h 182880"/>
                      <a:gd name="connsiteX2" fmla="*/ 5231175 w 5231175"/>
                      <a:gd name="connsiteY2" fmla="*/ 91440 h 182880"/>
                      <a:gd name="connsiteX3" fmla="*/ 5139735 w 5231175"/>
                      <a:gd name="connsiteY3" fmla="*/ 182880 h 182880"/>
                      <a:gd name="connsiteX4" fmla="*/ 0 w 5231175"/>
                      <a:gd name="connsiteY4" fmla="*/ 182880 h 182880"/>
                      <a:gd name="connsiteX5" fmla="*/ 91440 w 5231175"/>
                      <a:gd name="connsiteY5" fmla="*/ 91440 h 182880"/>
                      <a:gd name="connsiteX6" fmla="*/ 0 w 5231175"/>
                      <a:gd name="connsiteY6" fmla="*/ 0 h 182880"/>
                      <a:gd name="connsiteX0" fmla="*/ 0 w 5231175"/>
                      <a:gd name="connsiteY0" fmla="*/ 0 h 182880"/>
                      <a:gd name="connsiteX1" fmla="*/ 5139735 w 5231175"/>
                      <a:gd name="connsiteY1" fmla="*/ 0 h 182880"/>
                      <a:gd name="connsiteX2" fmla="*/ 5231175 w 5231175"/>
                      <a:gd name="connsiteY2" fmla="*/ 91440 h 182880"/>
                      <a:gd name="connsiteX3" fmla="*/ 5139735 w 5231175"/>
                      <a:gd name="connsiteY3" fmla="*/ 182880 h 182880"/>
                      <a:gd name="connsiteX4" fmla="*/ 0 w 5231175"/>
                      <a:gd name="connsiteY4" fmla="*/ 182880 h 182880"/>
                      <a:gd name="connsiteX5" fmla="*/ 0 w 5231175"/>
                      <a:gd name="connsiteY5" fmla="*/ 0 h 182880"/>
                      <a:gd name="connsiteX0" fmla="*/ 0 w 5231175"/>
                      <a:gd name="connsiteY0" fmla="*/ 0 h 182880"/>
                      <a:gd name="connsiteX1" fmla="*/ 5139735 w 5231175"/>
                      <a:gd name="connsiteY1" fmla="*/ 0 h 182880"/>
                      <a:gd name="connsiteX2" fmla="*/ 5231175 w 5231175"/>
                      <a:gd name="connsiteY2" fmla="*/ 91440 h 182880"/>
                      <a:gd name="connsiteX3" fmla="*/ 5139735 w 5231175"/>
                      <a:gd name="connsiteY3" fmla="*/ 182880 h 182880"/>
                      <a:gd name="connsiteX4" fmla="*/ 0 w 5231175"/>
                      <a:gd name="connsiteY4" fmla="*/ 182880 h 182880"/>
                      <a:gd name="connsiteX5" fmla="*/ 0 w 5231175"/>
                      <a:gd name="connsiteY5" fmla="*/ 0 h 182880"/>
                      <a:gd name="connsiteX0" fmla="*/ 0 w 5231175"/>
                      <a:gd name="connsiteY0" fmla="*/ 0 h 182880"/>
                      <a:gd name="connsiteX1" fmla="*/ 5139735 w 5231175"/>
                      <a:gd name="connsiteY1" fmla="*/ 0 h 182880"/>
                      <a:gd name="connsiteX2" fmla="*/ 5231175 w 5231175"/>
                      <a:gd name="connsiteY2" fmla="*/ 91440 h 182880"/>
                      <a:gd name="connsiteX3" fmla="*/ 5139735 w 5231175"/>
                      <a:gd name="connsiteY3" fmla="*/ 182880 h 182880"/>
                      <a:gd name="connsiteX4" fmla="*/ 0 w 5231175"/>
                      <a:gd name="connsiteY4" fmla="*/ 182880 h 182880"/>
                      <a:gd name="connsiteX5" fmla="*/ 0 w 5231175"/>
                      <a:gd name="connsiteY5" fmla="*/ 0 h 1828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31175" h="182880">
                        <a:moveTo>
                          <a:pt x="0" y="0"/>
                        </a:moveTo>
                        <a:lnTo>
                          <a:pt x="5139735" y="0"/>
                        </a:lnTo>
                        <a:lnTo>
                          <a:pt x="5231175" y="91440"/>
                        </a:lnTo>
                        <a:lnTo>
                          <a:pt x="5139735" y="182880"/>
                        </a:lnTo>
                        <a:lnTo>
                          <a:pt x="0" y="182880"/>
                        </a:lnTo>
                        <a:cubicBezTo>
                          <a:pt x="160841" y="79088"/>
                          <a:pt x="0" y="60960"/>
                          <a:pt x="0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tx1"/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6EBDE"/>
                        </a:solidFill>
                        <a:effectLst/>
                        <a:uLnTx/>
                        <a:uFillTx/>
                        <a:latin typeface="CFA Breuer Text" panose="02000506040000020004"/>
                        <a:ea typeface="+mn-ea"/>
                        <a:cs typeface="Arial" panose="020B0604020202020204" pitchFamily="34" charset="0"/>
                      </a:rPr>
                      <a:t>Application/Analysis</a:t>
                    </a:r>
                  </a:p>
                </p:txBody>
              </p:sp>
              <p:sp>
                <p:nvSpPr>
                  <p:cNvPr id="10" name="Chevron 39">
                    <a:extLst>
                      <a:ext uri="{FF2B5EF4-FFF2-40B4-BE49-F238E27FC236}">
                        <a16:creationId xmlns:a16="http://schemas.microsoft.com/office/drawing/2014/main" id="{A7BBB649-F939-E744-8FD0-9ED20652F9D6}"/>
                      </a:ext>
                    </a:extLst>
                  </p:cNvPr>
                  <p:cNvSpPr/>
                  <p:nvPr/>
                </p:nvSpPr>
                <p:spPr>
                  <a:xfrm>
                    <a:off x="4228846" y="2184512"/>
                    <a:ext cx="7084090" cy="365760"/>
                  </a:xfrm>
                  <a:custGeom>
                    <a:avLst/>
                    <a:gdLst>
                      <a:gd name="connsiteX0" fmla="*/ 0 w 4808352"/>
                      <a:gd name="connsiteY0" fmla="*/ 0 h 182880"/>
                      <a:gd name="connsiteX1" fmla="*/ 4716912 w 4808352"/>
                      <a:gd name="connsiteY1" fmla="*/ 0 h 182880"/>
                      <a:gd name="connsiteX2" fmla="*/ 4808352 w 4808352"/>
                      <a:gd name="connsiteY2" fmla="*/ 91440 h 182880"/>
                      <a:gd name="connsiteX3" fmla="*/ 4716912 w 4808352"/>
                      <a:gd name="connsiteY3" fmla="*/ 182880 h 182880"/>
                      <a:gd name="connsiteX4" fmla="*/ 0 w 4808352"/>
                      <a:gd name="connsiteY4" fmla="*/ 182880 h 182880"/>
                      <a:gd name="connsiteX5" fmla="*/ 91440 w 4808352"/>
                      <a:gd name="connsiteY5" fmla="*/ 91440 h 182880"/>
                      <a:gd name="connsiteX6" fmla="*/ 0 w 4808352"/>
                      <a:gd name="connsiteY6" fmla="*/ 0 h 182880"/>
                      <a:gd name="connsiteX0" fmla="*/ 0 w 4808352"/>
                      <a:gd name="connsiteY0" fmla="*/ 0 h 182880"/>
                      <a:gd name="connsiteX1" fmla="*/ 4716912 w 4808352"/>
                      <a:gd name="connsiteY1" fmla="*/ 0 h 182880"/>
                      <a:gd name="connsiteX2" fmla="*/ 4808352 w 4808352"/>
                      <a:gd name="connsiteY2" fmla="*/ 91440 h 182880"/>
                      <a:gd name="connsiteX3" fmla="*/ 4716912 w 4808352"/>
                      <a:gd name="connsiteY3" fmla="*/ 182880 h 182880"/>
                      <a:gd name="connsiteX4" fmla="*/ 0 w 4808352"/>
                      <a:gd name="connsiteY4" fmla="*/ 182880 h 182880"/>
                      <a:gd name="connsiteX5" fmla="*/ 91440 w 4808352"/>
                      <a:gd name="connsiteY5" fmla="*/ 91440 h 182880"/>
                      <a:gd name="connsiteX6" fmla="*/ 54824 w 4808352"/>
                      <a:gd name="connsiteY6" fmla="*/ 69890 h 182880"/>
                      <a:gd name="connsiteX7" fmla="*/ 0 w 4808352"/>
                      <a:gd name="connsiteY7" fmla="*/ 0 h 182880"/>
                      <a:gd name="connsiteX0" fmla="*/ 0 w 4808352"/>
                      <a:gd name="connsiteY0" fmla="*/ 0 h 182880"/>
                      <a:gd name="connsiteX1" fmla="*/ 4716912 w 4808352"/>
                      <a:gd name="connsiteY1" fmla="*/ 0 h 182880"/>
                      <a:gd name="connsiteX2" fmla="*/ 4808352 w 4808352"/>
                      <a:gd name="connsiteY2" fmla="*/ 91440 h 182880"/>
                      <a:gd name="connsiteX3" fmla="*/ 4716912 w 4808352"/>
                      <a:gd name="connsiteY3" fmla="*/ 182880 h 182880"/>
                      <a:gd name="connsiteX4" fmla="*/ 0 w 4808352"/>
                      <a:gd name="connsiteY4" fmla="*/ 182880 h 182880"/>
                      <a:gd name="connsiteX5" fmla="*/ 54824 w 4808352"/>
                      <a:gd name="connsiteY5" fmla="*/ 69890 h 182880"/>
                      <a:gd name="connsiteX6" fmla="*/ 0 w 4808352"/>
                      <a:gd name="connsiteY6" fmla="*/ 0 h 182880"/>
                      <a:gd name="connsiteX0" fmla="*/ 0 w 4808352"/>
                      <a:gd name="connsiteY0" fmla="*/ 0 h 182880"/>
                      <a:gd name="connsiteX1" fmla="*/ 4716912 w 4808352"/>
                      <a:gd name="connsiteY1" fmla="*/ 0 h 182880"/>
                      <a:gd name="connsiteX2" fmla="*/ 4808352 w 4808352"/>
                      <a:gd name="connsiteY2" fmla="*/ 91440 h 182880"/>
                      <a:gd name="connsiteX3" fmla="*/ 4716912 w 4808352"/>
                      <a:gd name="connsiteY3" fmla="*/ 182880 h 182880"/>
                      <a:gd name="connsiteX4" fmla="*/ 0 w 4808352"/>
                      <a:gd name="connsiteY4" fmla="*/ 182880 h 182880"/>
                      <a:gd name="connsiteX5" fmla="*/ 0 w 4808352"/>
                      <a:gd name="connsiteY5" fmla="*/ 0 h 182880"/>
                      <a:gd name="connsiteX0" fmla="*/ 0 w 4808352"/>
                      <a:gd name="connsiteY0" fmla="*/ 0 h 182880"/>
                      <a:gd name="connsiteX1" fmla="*/ 4716912 w 4808352"/>
                      <a:gd name="connsiteY1" fmla="*/ 0 h 182880"/>
                      <a:gd name="connsiteX2" fmla="*/ 4808352 w 4808352"/>
                      <a:gd name="connsiteY2" fmla="*/ 91440 h 182880"/>
                      <a:gd name="connsiteX3" fmla="*/ 4716912 w 4808352"/>
                      <a:gd name="connsiteY3" fmla="*/ 182880 h 182880"/>
                      <a:gd name="connsiteX4" fmla="*/ 0 w 4808352"/>
                      <a:gd name="connsiteY4" fmla="*/ 182880 h 182880"/>
                      <a:gd name="connsiteX5" fmla="*/ 0 w 4808352"/>
                      <a:gd name="connsiteY5" fmla="*/ 0 h 182880"/>
                      <a:gd name="connsiteX0" fmla="*/ 0 w 4724804"/>
                      <a:gd name="connsiteY0" fmla="*/ 0 h 182880"/>
                      <a:gd name="connsiteX1" fmla="*/ 4716912 w 4724804"/>
                      <a:gd name="connsiteY1" fmla="*/ 0 h 182880"/>
                      <a:gd name="connsiteX2" fmla="*/ 4724804 w 4724804"/>
                      <a:gd name="connsiteY2" fmla="*/ 91440 h 182880"/>
                      <a:gd name="connsiteX3" fmla="*/ 4716912 w 4724804"/>
                      <a:gd name="connsiteY3" fmla="*/ 182880 h 182880"/>
                      <a:gd name="connsiteX4" fmla="*/ 0 w 4724804"/>
                      <a:gd name="connsiteY4" fmla="*/ 182880 h 182880"/>
                      <a:gd name="connsiteX5" fmla="*/ 0 w 4724804"/>
                      <a:gd name="connsiteY5" fmla="*/ 0 h 1828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724804" h="182880">
                        <a:moveTo>
                          <a:pt x="0" y="0"/>
                        </a:moveTo>
                        <a:lnTo>
                          <a:pt x="4716912" y="0"/>
                        </a:lnTo>
                        <a:lnTo>
                          <a:pt x="4724804" y="91440"/>
                        </a:lnTo>
                        <a:lnTo>
                          <a:pt x="4716912" y="182880"/>
                        </a:lnTo>
                        <a:lnTo>
                          <a:pt x="0" y="182880"/>
                        </a:lnTo>
                        <a:cubicBezTo>
                          <a:pt x="0" y="121920"/>
                          <a:pt x="102829" y="116031"/>
                          <a:pt x="0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tx1"/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6EBDE"/>
                        </a:solidFill>
                        <a:effectLst/>
                        <a:uLnTx/>
                        <a:uFillTx/>
                        <a:latin typeface="CFA Breuer Text" panose="02000506040000020004"/>
                        <a:ea typeface="+mn-ea"/>
                        <a:cs typeface="Arial" panose="020B0604020202020204" pitchFamily="34" charset="0"/>
                      </a:rPr>
                      <a:t>Synthesis/Evaluation</a:t>
                    </a:r>
                  </a:p>
                </p:txBody>
              </p:sp>
            </p:grpSp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D0CEFCA6-135A-F78C-E352-FD30D57DAAE5}"/>
                    </a:ext>
                  </a:extLst>
                </p:cNvPr>
                <p:cNvGrpSpPr/>
                <p:nvPr/>
              </p:nvGrpSpPr>
              <p:grpSpPr>
                <a:xfrm>
                  <a:off x="838074" y="3296894"/>
                  <a:ext cx="10474862" cy="3292299"/>
                  <a:chOff x="838074" y="3296894"/>
                  <a:chExt cx="10474862" cy="3292299"/>
                </a:xfrm>
              </p:grpSpPr>
              <p:grpSp>
                <p:nvGrpSpPr>
                  <p:cNvPr id="48" name="Group 47">
                    <a:extLst>
                      <a:ext uri="{FF2B5EF4-FFF2-40B4-BE49-F238E27FC236}">
                        <a16:creationId xmlns:a16="http://schemas.microsoft.com/office/drawing/2014/main" id="{DBC2E2AC-BD57-B026-7C0F-B3DD26A5AF77}"/>
                      </a:ext>
                    </a:extLst>
                  </p:cNvPr>
                  <p:cNvGrpSpPr/>
                  <p:nvPr/>
                </p:nvGrpSpPr>
                <p:grpSpPr>
                  <a:xfrm>
                    <a:off x="859061" y="4386440"/>
                    <a:ext cx="10453875" cy="2202753"/>
                    <a:chOff x="859061" y="4386440"/>
                    <a:chExt cx="10453875" cy="2202753"/>
                  </a:xfrm>
                </p:grpSpPr>
                <p:sp>
                  <p:nvSpPr>
                    <p:cNvPr id="25" name="Rectangle 24">
                      <a:extLst>
                        <a:ext uri="{FF2B5EF4-FFF2-40B4-BE49-F238E27FC236}">
                          <a16:creationId xmlns:a16="http://schemas.microsoft.com/office/drawing/2014/main" id="{B9AC93DF-D118-EE49-8279-14FB54D0C8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9061" y="4386440"/>
                      <a:ext cx="10453875" cy="274320"/>
                    </a:xfrm>
                    <a:prstGeom prst="rect">
                      <a:avLst/>
                    </a:prstGeom>
                    <a:solidFill>
                      <a:schemeClr val="accent5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Ethics and Professional Standards</a:t>
                      </a:r>
                    </a:p>
                  </p:txBody>
                </p:sp>
                <p:sp>
                  <p:nvSpPr>
                    <p:cNvPr id="27" name="Rectangle 26">
                      <a:extLst>
                        <a:ext uri="{FF2B5EF4-FFF2-40B4-BE49-F238E27FC236}">
                          <a16:creationId xmlns:a16="http://schemas.microsoft.com/office/drawing/2014/main" id="{80D8B30E-58FF-9E41-89CB-205B951737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6600" y="4679731"/>
                      <a:ext cx="6811761" cy="340377"/>
                    </a:xfrm>
                    <a:prstGeom prst="rect">
                      <a:avLst/>
                    </a:prstGeom>
                    <a:solidFill>
                      <a:srgbClr val="0070C0"/>
                    </a:solidFill>
                    <a:ln w="254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t"/>
                    <a:lstStyle/>
                    <a:p>
                      <a:pPr marL="180000" marR="0" lvl="0" indent="-18000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FA Breuer Text" panose="02000506040000020004" pitchFamily="2" charset="77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Portfolio</a:t>
                      </a:r>
                      <a:r>
                        <a:rPr kumimoji="0" lang="en-US" sz="1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Management</a:t>
                      </a: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FA Breuer Text" panose="020005060400000200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" name="Rectangle 27">
                      <a:extLst>
                        <a:ext uri="{FF2B5EF4-FFF2-40B4-BE49-F238E27FC236}">
                          <a16:creationId xmlns:a16="http://schemas.microsoft.com/office/drawing/2014/main" id="{BAEA051F-DFCA-5648-B6D6-126103B9CE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79433" y="4681340"/>
                      <a:ext cx="3533503" cy="580922"/>
                    </a:xfrm>
                    <a:prstGeom prst="rect">
                      <a:avLst/>
                    </a:prstGeom>
                    <a:solidFill>
                      <a:srgbClr val="7A46FF"/>
                    </a:solidFill>
                    <a:ln w="254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t"/>
                    <a:lstStyle/>
                    <a:p>
                      <a:pPr marL="180000" marR="0" lvl="0" indent="-18000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FA Breuer Text" panose="02000506040000020004" pitchFamily="2" charset="77"/>
                          <a:ea typeface="+mn-ea"/>
                          <a:cs typeface="+mn-cs"/>
                        </a:rPr>
                        <a:t>Portfolio Construction</a:t>
                      </a:r>
                    </a:p>
                    <a:p>
                      <a:pPr marL="180000" marR="0" lvl="0" indent="-18000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FA Breuer Text" panose="02000506040000020004" pitchFamily="2" charset="77"/>
                          <a:ea typeface="+mn-ea"/>
                          <a:cs typeface="+mn-cs"/>
                        </a:rPr>
                        <a:t>Derivative and Risk Management</a:t>
                      </a:r>
                    </a:p>
                  </p:txBody>
                </p:sp>
                <p:sp>
                  <p:nvSpPr>
                    <p:cNvPr id="29" name="TextBox 28">
                      <a:extLst>
                        <a:ext uri="{FF2B5EF4-FFF2-40B4-BE49-F238E27FC236}">
                          <a16:creationId xmlns:a16="http://schemas.microsoft.com/office/drawing/2014/main" id="{A8A47C8E-DE88-3B4D-A41F-D242F3556E9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04121" y="5388647"/>
                      <a:ext cx="3110040" cy="1200329"/>
                    </a:xfrm>
                    <a:prstGeom prst="rect">
                      <a:avLst/>
                    </a:prstGeom>
                    <a:noFill/>
                  </p:spPr>
                  <p:txBody>
                    <a:bodyPr wrap="square">
                      <a:spAutoFit/>
                    </a:bodyPr>
                    <a:lstStyle/>
                    <a:p>
                      <a:pPr marL="180000" marR="0" lvl="1" indent="-18000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Quantitative Methods</a:t>
                      </a:r>
                    </a:p>
                    <a:p>
                      <a:pPr marL="180000" marR="0" lvl="1" indent="-18000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Economics</a:t>
                      </a:r>
                    </a:p>
                    <a:p>
                      <a:pPr marL="180000" marR="0" lvl="1" indent="-18000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Financial Statement Analysis</a:t>
                      </a:r>
                    </a:p>
                    <a:p>
                      <a:pPr marL="180000" marR="0" lvl="1" indent="-18000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Corporate Issuers</a:t>
                      </a:r>
                    </a:p>
                  </p:txBody>
                </p:sp>
                <p:sp>
                  <p:nvSpPr>
                    <p:cNvPr id="30" name="TextBox 29">
                      <a:extLst>
                        <a:ext uri="{FF2B5EF4-FFF2-40B4-BE49-F238E27FC236}">
                          <a16:creationId xmlns:a16="http://schemas.microsoft.com/office/drawing/2014/main" id="{2F3895F5-01DC-5D4F-82F4-14923E24A21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474142" y="5388864"/>
                      <a:ext cx="3094648" cy="1200329"/>
                    </a:xfrm>
                    <a:prstGeom prst="rect">
                      <a:avLst/>
                    </a:prstGeom>
                    <a:noFill/>
                  </p:spPr>
                  <p:txBody>
                    <a:bodyPr wrap="square">
                      <a:spAutoFit/>
                    </a:bodyPr>
                    <a:lstStyle/>
                    <a:p>
                      <a:pPr marL="180000" marR="0" lvl="1" indent="-18000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Equity Investments</a:t>
                      </a:r>
                    </a:p>
                    <a:p>
                      <a:pPr marL="180000" marR="0" lvl="1" indent="-18000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Fixed Income</a:t>
                      </a:r>
                    </a:p>
                    <a:p>
                      <a:pPr marL="180000" marR="0" lvl="1" indent="-18000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Derivatives</a:t>
                      </a:r>
                    </a:p>
                    <a:p>
                      <a:pPr marL="180000" marR="0" lvl="1" indent="-18000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Alternative Investments</a:t>
                      </a:r>
                    </a:p>
                  </p:txBody>
                </p:sp>
              </p:grpSp>
              <p:grpSp>
                <p:nvGrpSpPr>
                  <p:cNvPr id="47" name="Group 46">
                    <a:extLst>
                      <a:ext uri="{FF2B5EF4-FFF2-40B4-BE49-F238E27FC236}">
                        <a16:creationId xmlns:a16="http://schemas.microsoft.com/office/drawing/2014/main" id="{C60D605E-1F45-3550-9B82-FBFAB9FA2B6F}"/>
                      </a:ext>
                    </a:extLst>
                  </p:cNvPr>
                  <p:cNvGrpSpPr/>
                  <p:nvPr/>
                </p:nvGrpSpPr>
                <p:grpSpPr>
                  <a:xfrm>
                    <a:off x="838074" y="3296894"/>
                    <a:ext cx="8218810" cy="227973"/>
                    <a:chOff x="596027" y="3352802"/>
                    <a:chExt cx="8218810" cy="227973"/>
                  </a:xfrm>
                </p:grpSpPr>
                <p:sp>
                  <p:nvSpPr>
                    <p:cNvPr id="11" name="TextBox 10">
                      <a:extLst>
                        <a:ext uri="{FF2B5EF4-FFF2-40B4-BE49-F238E27FC236}">
                          <a16:creationId xmlns:a16="http://schemas.microsoft.com/office/drawing/2014/main" id="{D8736941-1A66-6143-B927-0B49F6D2A37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96027" y="3371852"/>
                      <a:ext cx="1253536" cy="20892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zo Sans" panose="02000000000000000000" pitchFamily="2" charset="0"/>
                          <a:ea typeface="+mn-ea"/>
                          <a:cs typeface="Arial" panose="020B0604020202020204" pitchFamily="34" charset="0"/>
                        </a:rPr>
                        <a:t>Level I</a:t>
                      </a:r>
                    </a:p>
                  </p:txBody>
                </p:sp>
                <p:sp>
                  <p:nvSpPr>
                    <p:cNvPr id="16" name="TextBox 15">
                      <a:extLst>
                        <a:ext uri="{FF2B5EF4-FFF2-40B4-BE49-F238E27FC236}">
                          <a16:creationId xmlns:a16="http://schemas.microsoft.com/office/drawing/2014/main" id="{7F8DAC1C-7F14-A94C-8628-3D2AAC50CA3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983268" y="3367172"/>
                      <a:ext cx="1253536" cy="20892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Level II</a:t>
                      </a:r>
                    </a:p>
                  </p:txBody>
                </p:sp>
                <p:sp>
                  <p:nvSpPr>
                    <p:cNvPr id="21" name="TextBox 20">
                      <a:extLst>
                        <a:ext uri="{FF2B5EF4-FFF2-40B4-BE49-F238E27FC236}">
                          <a16:creationId xmlns:a16="http://schemas.microsoft.com/office/drawing/2014/main" id="{0FC800EF-680E-D142-A7C6-A060C2A9CFB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1301" y="3352802"/>
                      <a:ext cx="1253536" cy="20892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FA Breuer Text" panose="02000506040000020004"/>
                          <a:ea typeface="+mn-ea"/>
                          <a:cs typeface="Arial" panose="020B0604020202020204" pitchFamily="34" charset="0"/>
                        </a:rPr>
                        <a:t>Level</a:t>
                      </a:r>
                      <a:r>
                        <a:rPr kumimoji="0" lang="en-US" sz="2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zo Sans" panose="02000000000000000000" pitchFamily="2" charset="0"/>
                          <a:ea typeface="+mn-ea"/>
                          <a:cs typeface="Arial" panose="020B0604020202020204" pitchFamily="34" charset="0"/>
                        </a:rPr>
                        <a:t> III</a:t>
                      </a:r>
                    </a:p>
                  </p:txBody>
                </p:sp>
              </p:grpSp>
              <p:sp>
                <p:nvSpPr>
                  <p:cNvPr id="7" name="Rectangle 6">
                    <a:extLst>
                      <a:ext uri="{FF2B5EF4-FFF2-40B4-BE49-F238E27FC236}">
                        <a16:creationId xmlns:a16="http://schemas.microsoft.com/office/drawing/2014/main" id="{90681D52-9A67-7133-25B8-9E2467208996}"/>
                      </a:ext>
                    </a:extLst>
                  </p:cNvPr>
                  <p:cNvSpPr/>
                  <p:nvPr/>
                </p:nvSpPr>
                <p:spPr>
                  <a:xfrm>
                    <a:off x="7779434" y="5258880"/>
                    <a:ext cx="3533502" cy="601501"/>
                  </a:xfrm>
                  <a:prstGeom prst="rect">
                    <a:avLst/>
                  </a:prstGeom>
                  <a:solidFill>
                    <a:srgbClr val="0D00C2"/>
                  </a:solidFill>
                  <a:ln w="254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t"/>
                  <a:lstStyle/>
                  <a:p>
                    <a:pPr marL="180000" marR="0" lvl="0" indent="-18000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FA Breuer Text" panose="02000506040000020004" pitchFamily="2" charset="77"/>
                        <a:ea typeface="+mn-ea"/>
                        <a:cs typeface="+mn-cs"/>
                      </a:rPr>
                      <a:t>Asset Allocation</a:t>
                    </a:r>
                  </a:p>
                  <a:p>
                    <a:pPr marL="180000" marR="0" lvl="0" indent="-18000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FA Breuer Text" panose="02000506040000020004" pitchFamily="2" charset="77"/>
                        <a:ea typeface="+mn-ea"/>
                        <a:cs typeface="+mn-cs"/>
                      </a:rPr>
                      <a:t>Performance Measurement</a:t>
                    </a:r>
                  </a:p>
                  <a:p>
                    <a:pPr marL="180000" marR="0" lvl="0" indent="-18000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FA Breuer Text" panose="02000506040000020004" pitchFamily="2" charset="77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9CD1AD7B-485D-813F-5408-21EE9F9911A6}"/>
                  </a:ext>
                </a:extLst>
              </p:cNvPr>
              <p:cNvSpPr txBox="1"/>
              <p:nvPr/>
            </p:nvSpPr>
            <p:spPr>
              <a:xfrm>
                <a:off x="7971482" y="5525844"/>
                <a:ext cx="3533270" cy="923330"/>
              </a:xfrm>
              <a:prstGeom prst="rect">
                <a:avLst/>
              </a:prstGeom>
              <a:solidFill>
                <a:schemeClr val="tx2"/>
              </a:solidFill>
            </p:spPr>
            <p:txBody>
              <a:bodyPr wrap="square">
                <a:spAutoFit/>
              </a:bodyPr>
              <a:lstStyle/>
              <a:p>
                <a:pPr marL="0" marR="0" lvl="1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FA Breuer Text" panose="02000506040000020004"/>
                    <a:ea typeface="+mn-ea"/>
                    <a:cs typeface="Arial" panose="020B0604020202020204" pitchFamily="34" charset="0"/>
                  </a:rPr>
                  <a:t>Portfolio Management Pathway </a:t>
                </a:r>
                <a:r>
                  <a:rPr kumimoji="0" lang="en-US" sz="18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FA Breuer Text" panose="02000506040000020004"/>
                    <a:ea typeface="+mn-ea"/>
                    <a:cs typeface="Arial" panose="020B0604020202020204" pitchFamily="34" charset="0"/>
                  </a:rPr>
                  <a:t>OR</a:t>
                </a:r>
              </a:p>
              <a:p>
                <a:pPr marL="0" marR="0" lvl="1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FA Breuer Text" panose="02000506040000020004"/>
                    <a:ea typeface="+mn-ea"/>
                    <a:cs typeface="Arial" panose="020B0604020202020204" pitchFamily="34" charset="0"/>
                  </a:rPr>
                  <a:t>Private Markets Pathway </a:t>
                </a:r>
                <a:r>
                  <a:rPr kumimoji="0" lang="en-US" sz="18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FA Breuer Text" panose="02000506040000020004"/>
                    <a:ea typeface="+mn-ea"/>
                    <a:cs typeface="Arial" panose="020B0604020202020204" pitchFamily="34" charset="0"/>
                  </a:rPr>
                  <a:t>OR</a:t>
                </a:r>
              </a:p>
              <a:p>
                <a:pPr marL="0" marR="0" lvl="1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FA Breuer Text" panose="02000506040000020004"/>
                    <a:ea typeface="+mn-ea"/>
                    <a:cs typeface="Arial" panose="020B0604020202020204" pitchFamily="34" charset="0"/>
                  </a:rPr>
                  <a:t>Private Wealth Pathway</a:t>
                </a: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073D6A-E284-2020-1E00-CD75F73458EF}"/>
                </a:ext>
              </a:extLst>
            </p:cNvPr>
            <p:cNvGrpSpPr/>
            <p:nvPr/>
          </p:nvGrpSpPr>
          <p:grpSpPr>
            <a:xfrm>
              <a:off x="2318319" y="2262429"/>
              <a:ext cx="1720475" cy="1718977"/>
              <a:chOff x="2268729" y="2310974"/>
              <a:chExt cx="1720475" cy="1718977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3301165-BB22-F0E2-90A9-C2CAB1A50DEE}"/>
                  </a:ext>
                </a:extLst>
              </p:cNvPr>
              <p:cNvSpPr/>
              <p:nvPr/>
            </p:nvSpPr>
            <p:spPr>
              <a:xfrm>
                <a:off x="2268729" y="2310974"/>
                <a:ext cx="1720475" cy="1718977"/>
              </a:xfrm>
              <a:prstGeom prst="ellipse">
                <a:avLst/>
              </a:prstGeom>
              <a:solidFill>
                <a:srgbClr val="0070C0"/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64606566-2FF6-83BA-865B-04B82343E55D}"/>
                  </a:ext>
                </a:extLst>
              </p:cNvPr>
              <p:cNvSpPr/>
              <p:nvPr/>
            </p:nvSpPr>
            <p:spPr>
              <a:xfrm>
                <a:off x="2419237" y="2452216"/>
                <a:ext cx="1416862" cy="1415628"/>
              </a:xfrm>
              <a:prstGeom prst="ellipse">
                <a:avLst/>
              </a:prstGeom>
              <a:solidFill>
                <a:srgbClr val="4476FF"/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F8409583-C58F-73EE-3B65-B2CD7E2A4C60}"/>
                  </a:ext>
                </a:extLst>
              </p:cNvPr>
              <p:cNvSpPr/>
              <p:nvPr/>
            </p:nvSpPr>
            <p:spPr>
              <a:xfrm>
                <a:off x="2621969" y="2644234"/>
                <a:ext cx="1012044" cy="1011163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67804ED-DA14-59E9-E4E4-9AE21AB5E738}"/>
                  </a:ext>
                </a:extLst>
              </p:cNvPr>
              <p:cNvSpPr/>
              <p:nvPr/>
            </p:nvSpPr>
            <p:spPr>
              <a:xfrm>
                <a:off x="2836029" y="2852926"/>
                <a:ext cx="603504" cy="603504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FA Breuer Text" panose="02000506040000020004"/>
                    <a:ea typeface="+mn-ea"/>
                    <a:cs typeface="Arial" panose="020B0604020202020204" pitchFamily="34" charset="0"/>
                  </a:rPr>
                  <a:t>Ethics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FA Breuer Text" panose="020005060400000200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587358E-2D62-2DFB-740B-C785E227FEED}"/>
                </a:ext>
              </a:extLst>
            </p:cNvPr>
            <p:cNvSpPr/>
            <p:nvPr/>
          </p:nvSpPr>
          <p:spPr>
            <a:xfrm>
              <a:off x="4519949" y="4717730"/>
              <a:ext cx="3337560" cy="343630"/>
            </a:xfrm>
            <a:prstGeom prst="rect">
              <a:avLst/>
            </a:prstGeom>
            <a:solidFill>
              <a:srgbClr val="4476FF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180000" marR="0" lvl="0" indent="-18000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FA Breuer Text" panose="02000506040000020004" pitchFamily="2" charset="77"/>
                  <a:ea typeface="+mn-ea"/>
                  <a:cs typeface="+mn-cs"/>
                </a:rPr>
                <a:t>Asset Classes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CE91E5D-DA5A-FE47-462F-8BFDBCE59872}"/>
                </a:ext>
              </a:extLst>
            </p:cNvPr>
            <p:cNvSpPr/>
            <p:nvPr/>
          </p:nvSpPr>
          <p:spPr>
            <a:xfrm>
              <a:off x="1081233" y="4717143"/>
              <a:ext cx="3337560" cy="34037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180000" marR="0" lvl="0" indent="-18000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FA Breuer Text" panose="02000506040000020004" pitchFamily="2" charset="77"/>
                  <a:ea typeface="+mn-ea"/>
                  <a:cs typeface="+mn-cs"/>
                </a:rPr>
                <a:t>         </a:t>
              </a: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FA Breuer Text" panose="02000506040000020004" pitchFamily="2" charset="77"/>
                  <a:ea typeface="+mn-ea"/>
                  <a:cs typeface="+mn-cs"/>
                </a:rPr>
                <a:t>Investment Tools</a:t>
              </a: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FA Breuer Text" panose="02000506040000020004" pitchFamily="2" charset="77"/>
                <a:ea typeface="+mn-ea"/>
                <a:cs typeface="+mn-cs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7AD5AB4-33C5-448F-FF06-91FAFD671A46}"/>
                </a:ext>
              </a:extLst>
            </p:cNvPr>
            <p:cNvGrpSpPr/>
            <p:nvPr/>
          </p:nvGrpSpPr>
          <p:grpSpPr>
            <a:xfrm>
              <a:off x="5709219" y="2252904"/>
              <a:ext cx="1720475" cy="1718977"/>
              <a:chOff x="2268729" y="2310974"/>
              <a:chExt cx="1720475" cy="1718977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9D57659B-F948-23FD-4F74-3D98FDF8CA29}"/>
                  </a:ext>
                </a:extLst>
              </p:cNvPr>
              <p:cNvSpPr/>
              <p:nvPr/>
            </p:nvSpPr>
            <p:spPr>
              <a:xfrm>
                <a:off x="2268729" y="2310974"/>
                <a:ext cx="1720475" cy="1718977"/>
              </a:xfrm>
              <a:prstGeom prst="ellipse">
                <a:avLst/>
              </a:prstGeom>
              <a:solidFill>
                <a:srgbClr val="0070C0"/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F38DF1D6-80F0-412B-8FD8-AC3B55D05CC0}"/>
                  </a:ext>
                </a:extLst>
              </p:cNvPr>
              <p:cNvSpPr/>
              <p:nvPr/>
            </p:nvSpPr>
            <p:spPr>
              <a:xfrm>
                <a:off x="2419237" y="2452216"/>
                <a:ext cx="1416862" cy="1415628"/>
              </a:xfrm>
              <a:prstGeom prst="ellipse">
                <a:avLst/>
              </a:prstGeom>
              <a:solidFill>
                <a:srgbClr val="4476FF"/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057D0068-A05E-5720-A612-628D22ADD100}"/>
                  </a:ext>
                </a:extLst>
              </p:cNvPr>
              <p:cNvSpPr/>
              <p:nvPr/>
            </p:nvSpPr>
            <p:spPr>
              <a:xfrm>
                <a:off x="2621969" y="2644234"/>
                <a:ext cx="1012044" cy="1011163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48166FF7-E43A-C8B0-344F-BC4BEDD9781C}"/>
                  </a:ext>
                </a:extLst>
              </p:cNvPr>
              <p:cNvSpPr/>
              <p:nvPr/>
            </p:nvSpPr>
            <p:spPr>
              <a:xfrm>
                <a:off x="2836029" y="2852926"/>
                <a:ext cx="603504" cy="603504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FA Breuer Text" panose="02000506040000020004"/>
                    <a:ea typeface="+mn-ea"/>
                    <a:cs typeface="Arial" panose="020B0604020202020204" pitchFamily="34" charset="0"/>
                  </a:rPr>
                  <a:t>Ethics</a:t>
                </a: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3F8DF82-471F-3125-7A11-C87EA8C71715}"/>
                </a:ext>
              </a:extLst>
            </p:cNvPr>
            <p:cNvGrpSpPr/>
            <p:nvPr/>
          </p:nvGrpSpPr>
          <p:grpSpPr>
            <a:xfrm>
              <a:off x="9262044" y="2241781"/>
              <a:ext cx="1720475" cy="1718977"/>
              <a:chOff x="2268729" y="2310974"/>
              <a:chExt cx="1720475" cy="1718977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9158FC36-AB13-7595-5C3D-0AADAB54E377}"/>
                  </a:ext>
                </a:extLst>
              </p:cNvPr>
              <p:cNvSpPr/>
              <p:nvPr/>
            </p:nvSpPr>
            <p:spPr>
              <a:xfrm>
                <a:off x="2268729" y="2310974"/>
                <a:ext cx="1720475" cy="1718977"/>
              </a:xfrm>
              <a:prstGeom prst="ellipse">
                <a:avLst/>
              </a:prstGeom>
              <a:solidFill>
                <a:schemeClr val="tx2"/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B6FA404-27CE-D724-086F-A518E33CC6E6}"/>
                  </a:ext>
                </a:extLst>
              </p:cNvPr>
              <p:cNvSpPr/>
              <p:nvPr/>
            </p:nvSpPr>
            <p:spPr>
              <a:xfrm>
                <a:off x="2419237" y="2452216"/>
                <a:ext cx="1416862" cy="1415628"/>
              </a:xfrm>
              <a:prstGeom prst="ellipse">
                <a:avLst/>
              </a:prstGeom>
              <a:solidFill>
                <a:srgbClr val="0D00C2"/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8D5F8769-EE23-5238-D989-9ABACAEDD0A2}"/>
                  </a:ext>
                </a:extLst>
              </p:cNvPr>
              <p:cNvSpPr/>
              <p:nvPr/>
            </p:nvSpPr>
            <p:spPr>
              <a:xfrm>
                <a:off x="2621969" y="2644234"/>
                <a:ext cx="1012044" cy="1011163"/>
              </a:xfrm>
              <a:prstGeom prst="ellipse">
                <a:avLst/>
              </a:prstGeom>
              <a:solidFill>
                <a:schemeClr val="accent6"/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zo Sans" panose="02000000000000000000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F01EE481-46EA-D727-D99E-7666B734D7C1}"/>
                  </a:ext>
                </a:extLst>
              </p:cNvPr>
              <p:cNvSpPr/>
              <p:nvPr/>
            </p:nvSpPr>
            <p:spPr>
              <a:xfrm>
                <a:off x="2836029" y="2852926"/>
                <a:ext cx="603504" cy="603504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 w="158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FA Breuer Text" panose="02000506040000020004"/>
                    <a:ea typeface="+mn-ea"/>
                    <a:cs typeface="Arial" panose="020B0604020202020204" pitchFamily="34" charset="0"/>
                  </a:rPr>
                  <a:t>Ethics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FA Breuer Text" panose="02000506040000020004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81442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fEeboF1WxeupdKMdhX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MvT9xdtHQCa1OwM.ln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u22awFE8fOEi9inyat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AiLdQqi2CC71PP1fXo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pzrgnnqzG5gV8Gfc1O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F.se5jpywM_MFrJV1v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3cXFdydeTGRlvmpIj1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7TVeS5DITVCCgWo.3k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8F02l6a7Wm_TsSOauI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ioKE9coHhP7lZvvDPB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viIK84EQNQH2aVhteM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o0x4FlnNJZJuQ7UbXn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FSPANMODE" val="spa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CkT.aJTZw5q7AnI8S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53tUmSzD2ukZjKSppm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0mJ7kjX_VJFaIaCtMeFQ"/>
</p:tagLst>
</file>

<file path=ppt/theme/theme1.xml><?xml version="1.0" encoding="utf-8"?>
<a:theme xmlns:a="http://schemas.openxmlformats.org/drawingml/2006/main" name="Custom Design">
  <a:themeElements>
    <a:clrScheme name="CFA">
      <a:dk1>
        <a:srgbClr val="060059"/>
      </a:dk1>
      <a:lt1>
        <a:srgbClr val="F6EBDE"/>
      </a:lt1>
      <a:dk2>
        <a:srgbClr val="050058"/>
      </a:dk2>
      <a:lt2>
        <a:srgbClr val="F6EBDE"/>
      </a:lt2>
      <a:accent1>
        <a:srgbClr val="000000"/>
      </a:accent1>
      <a:accent2>
        <a:srgbClr val="FFFFFF"/>
      </a:accent2>
      <a:accent3>
        <a:srgbClr val="4376FE"/>
      </a:accent3>
      <a:accent4>
        <a:srgbClr val="FFC000"/>
      </a:accent4>
      <a:accent5>
        <a:srgbClr val="00BBFF"/>
      </a:accent5>
      <a:accent6>
        <a:srgbClr val="7A46FF"/>
      </a:accent6>
      <a:hlink>
        <a:srgbClr val="4376FE"/>
      </a:hlink>
      <a:folHlink>
        <a:srgbClr val="4376F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Branded Template" id="{5C32DF86-BE78-410A-892B-CF5C9CF33621}" vid="{0758DA55-FE20-4625-895A-51A6B88D9379}"/>
    </a:ext>
  </a:extLst>
</a:theme>
</file>

<file path=ppt/theme/theme2.xml><?xml version="1.0" encoding="utf-8"?>
<a:theme xmlns:a="http://schemas.openxmlformats.org/drawingml/2006/main" name="2_Custom Design">
  <a:themeElements>
    <a:clrScheme name="CFA">
      <a:dk1>
        <a:srgbClr val="060059"/>
      </a:dk1>
      <a:lt1>
        <a:srgbClr val="F6EBDE"/>
      </a:lt1>
      <a:dk2>
        <a:srgbClr val="050058"/>
      </a:dk2>
      <a:lt2>
        <a:srgbClr val="F6EBDE"/>
      </a:lt2>
      <a:accent1>
        <a:srgbClr val="000000"/>
      </a:accent1>
      <a:accent2>
        <a:srgbClr val="FFFFFF"/>
      </a:accent2>
      <a:accent3>
        <a:srgbClr val="4376FE"/>
      </a:accent3>
      <a:accent4>
        <a:srgbClr val="FFC000"/>
      </a:accent4>
      <a:accent5>
        <a:srgbClr val="00BBFF"/>
      </a:accent5>
      <a:accent6>
        <a:srgbClr val="7A46FF"/>
      </a:accent6>
      <a:hlink>
        <a:srgbClr val="4376FE"/>
      </a:hlink>
      <a:folHlink>
        <a:srgbClr val="4376F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Branded Template" id="{5C32DF86-BE78-410A-892B-CF5C9CF33621}" vid="{0758DA55-FE20-4625-895A-51A6B88D9379}"/>
    </a:ext>
  </a:extLst>
</a:theme>
</file>

<file path=ppt/theme/theme3.xml><?xml version="1.0" encoding="utf-8"?>
<a:theme xmlns:a="http://schemas.openxmlformats.org/drawingml/2006/main" name="1_Custom Design">
  <a:themeElements>
    <a:clrScheme name="CFA">
      <a:dk1>
        <a:srgbClr val="060059"/>
      </a:dk1>
      <a:lt1>
        <a:srgbClr val="F6EBDE"/>
      </a:lt1>
      <a:dk2>
        <a:srgbClr val="050058"/>
      </a:dk2>
      <a:lt2>
        <a:srgbClr val="F6EBDE"/>
      </a:lt2>
      <a:accent1>
        <a:srgbClr val="000000"/>
      </a:accent1>
      <a:accent2>
        <a:srgbClr val="FFFFFF"/>
      </a:accent2>
      <a:accent3>
        <a:srgbClr val="4376FE"/>
      </a:accent3>
      <a:accent4>
        <a:srgbClr val="FFC000"/>
      </a:accent4>
      <a:accent5>
        <a:srgbClr val="00BBFF"/>
      </a:accent5>
      <a:accent6>
        <a:srgbClr val="7A46FF"/>
      </a:accent6>
      <a:hlink>
        <a:srgbClr val="4376FE"/>
      </a:hlink>
      <a:folHlink>
        <a:srgbClr val="4376F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Branded Template" id="{5C32DF86-BE78-410A-892B-CF5C9CF33621}" vid="{0758DA55-FE20-4625-895A-51A6B88D9379}"/>
    </a:ext>
  </a:extLst>
</a:theme>
</file>

<file path=ppt/theme/theme4.xml><?xml version="1.0" encoding="utf-8"?>
<a:theme xmlns:a="http://schemas.openxmlformats.org/drawingml/2006/main" name="1_Dark Blue/Footer">
  <a:themeElements>
    <a:clrScheme name="">
      <a:dk1>
        <a:srgbClr val="060059"/>
      </a:dk1>
      <a:lt1>
        <a:srgbClr val="F6EBDE"/>
      </a:lt1>
      <a:dk2>
        <a:srgbClr val="050058"/>
      </a:dk2>
      <a:lt2>
        <a:srgbClr val="F6EBDE"/>
      </a:lt2>
      <a:accent1>
        <a:srgbClr val="000000"/>
      </a:accent1>
      <a:accent2>
        <a:srgbClr val="FFFFFF"/>
      </a:accent2>
      <a:accent3>
        <a:srgbClr val="4376FE"/>
      </a:accent3>
      <a:accent4>
        <a:srgbClr val="FFC000"/>
      </a:accent4>
      <a:accent5>
        <a:srgbClr val="00BBFF"/>
      </a:accent5>
      <a:accent6>
        <a:srgbClr val="7A46FF"/>
      </a:accent6>
      <a:hlink>
        <a:srgbClr val="4376FE"/>
      </a:hlink>
      <a:folHlink>
        <a:srgbClr val="4376FE"/>
      </a:folHlink>
    </a:clrScheme>
    <a:fontScheme name="Georgia">
      <a:maj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</TotalTime>
  <Words>1247</Words>
  <Application>Microsoft Office PowerPoint</Application>
  <PresentationFormat>Widescreen</PresentationFormat>
  <Paragraphs>331</Paragraphs>
  <Slides>2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8" baseType="lpstr">
      <vt:lpstr>Aptos</vt:lpstr>
      <vt:lpstr>Arial</vt:lpstr>
      <vt:lpstr>Azo Sans</vt:lpstr>
      <vt:lpstr>Azo Sans Md</vt:lpstr>
      <vt:lpstr>Calibri</vt:lpstr>
      <vt:lpstr>CFA Breuer Text</vt:lpstr>
      <vt:lpstr>CFA Breuer Text Light</vt:lpstr>
      <vt:lpstr>Flecha S Medium</vt:lpstr>
      <vt:lpstr>Georgia</vt:lpstr>
      <vt:lpstr>Tahoma</vt:lpstr>
      <vt:lpstr>Verdana</vt:lpstr>
      <vt:lpstr>Wingdings</vt:lpstr>
      <vt:lpstr>Custom Design</vt:lpstr>
      <vt:lpstr>2_Custom Design</vt:lpstr>
      <vt:lpstr>1_Custom Design</vt:lpstr>
      <vt:lpstr>1_Dark Blue/Footer</vt:lpstr>
      <vt:lpstr>think-cell Slide</vt:lpstr>
      <vt:lpstr>CFA® Institute</vt:lpstr>
      <vt:lpstr>Today’s agenda</vt:lpstr>
      <vt:lpstr>CFA® Institute</vt:lpstr>
      <vt:lpstr>PowerPoint Presentation</vt:lpstr>
      <vt:lpstr>PowerPoint Presentation</vt:lpstr>
      <vt:lpstr>Where do they work?</vt:lpstr>
      <vt:lpstr>CFA® Program</vt:lpstr>
      <vt:lpstr>Why pursue the CFA Program? PRIMARY RESEARCH OF 309 CHARTERHOLDERS GLOBALLY IN FALL 2020</vt:lpstr>
      <vt:lpstr>PowerPoint Presentation</vt:lpstr>
      <vt:lpstr>Curriculum topics</vt:lpstr>
      <vt:lpstr>PowerPoint Presentation</vt:lpstr>
      <vt:lpstr>Computer-based testing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ittany Morasse</dc:creator>
  <cp:lastModifiedBy>Brittany Morasse</cp:lastModifiedBy>
  <cp:revision>1</cp:revision>
  <dcterms:created xsi:type="dcterms:W3CDTF">2025-10-30T15:28:43Z</dcterms:created>
  <dcterms:modified xsi:type="dcterms:W3CDTF">2025-10-30T15:49:23Z</dcterms:modified>
</cp:coreProperties>
</file>